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7.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8.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9.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0.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1.xml" ContentType="application/vnd.openxmlformats-officedocument.theme+xml"/>
  <Override PartName="/ppt/slideLayouts/slideLayout145.xml" ContentType="application/vnd.openxmlformats-officedocument.presentationml.slideLayout+xml"/>
  <Override PartName="/ppt/theme/theme12.xml" ContentType="application/vnd.openxmlformats-officedocument.theme+xml"/>
  <Override PartName="/ppt/slideLayouts/slideLayout146.xml" ContentType="application/vnd.openxmlformats-officedocument.presentationml.slideLayout+xml"/>
  <Override PartName="/ppt/theme/theme13.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4.xml" ContentType="application/vnd.openxmlformats-officedocument.theme+xml"/>
  <Override PartName="/ppt/slideLayouts/slideLayout149.xml" ContentType="application/vnd.openxmlformats-officedocument.presentationml.slideLayout+xml"/>
  <Override PartName="/ppt/theme/theme15.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7.xml" ContentType="application/vnd.openxmlformats-officedocument.theme+xml"/>
  <Override PartName="/ppt/slideLayouts/slideLayout154.xml" ContentType="application/vnd.openxmlformats-officedocument.presentationml.slideLayout+xml"/>
  <Override PartName="/ppt/theme/theme1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9.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0.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7.xml" ContentType="application/vnd.openxmlformats-officedocument.drawingml.chart+xml"/>
  <Override PartName="/ppt/theme/themeOverride1.xml" ContentType="application/vnd.openxmlformats-officedocument.themeOverride+xml"/>
  <Override PartName="/ppt/charts/chart8.xml" ContentType="application/vnd.openxmlformats-officedocument.drawingml.chart+xml"/>
  <Override PartName="/ppt/theme/themeOverride2.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43.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49" r:id="rId4"/>
    <p:sldMasterId id="2147484256" r:id="rId5"/>
    <p:sldMasterId id="2147484085" r:id="rId6"/>
    <p:sldMasterId id="2147484102" r:id="rId7"/>
    <p:sldMasterId id="2147484117" r:id="rId8"/>
    <p:sldMasterId id="2147484149" r:id="rId9"/>
    <p:sldMasterId id="2147484164" r:id="rId10"/>
    <p:sldMasterId id="2147484180" r:id="rId11"/>
    <p:sldMasterId id="2147484196" r:id="rId12"/>
    <p:sldMasterId id="2147484243" r:id="rId13"/>
    <p:sldMasterId id="2147484234" r:id="rId14"/>
    <p:sldMasterId id="2147484087" r:id="rId15"/>
    <p:sldMasterId id="2147484241" r:id="rId16"/>
    <p:sldMasterId id="2147484245" r:id="rId17"/>
    <p:sldMasterId id="2147484248" r:id="rId18"/>
    <p:sldMasterId id="2147484250" r:id="rId19"/>
    <p:sldMasterId id="2147484254" r:id="rId20"/>
    <p:sldMasterId id="2147484258" r:id="rId21"/>
    <p:sldMasterId id="2147484272" r:id="rId22"/>
    <p:sldMasterId id="2147484289" r:id="rId23"/>
    <p:sldMasterId id="2147484304" r:id="rId24"/>
  </p:sldMasterIdLst>
  <p:notesMasterIdLst>
    <p:notesMasterId r:id="rId153"/>
  </p:notesMasterIdLst>
  <p:handoutMasterIdLst>
    <p:handoutMasterId r:id="rId154"/>
  </p:handoutMasterIdLst>
  <p:sldIdLst>
    <p:sldId id="329" r:id="rId25"/>
    <p:sldId id="520" r:id="rId26"/>
    <p:sldId id="1613" r:id="rId27"/>
    <p:sldId id="1690" r:id="rId28"/>
    <p:sldId id="1431" r:id="rId29"/>
    <p:sldId id="1678" r:id="rId30"/>
    <p:sldId id="540" r:id="rId31"/>
    <p:sldId id="639" r:id="rId32"/>
    <p:sldId id="1639" r:id="rId33"/>
    <p:sldId id="1916" r:id="rId34"/>
    <p:sldId id="277" r:id="rId35"/>
    <p:sldId id="299" r:id="rId36"/>
    <p:sldId id="1801" r:id="rId37"/>
    <p:sldId id="1802" r:id="rId38"/>
    <p:sldId id="1803" r:id="rId39"/>
    <p:sldId id="1689" r:id="rId40"/>
    <p:sldId id="1688" r:id="rId41"/>
    <p:sldId id="1687" r:id="rId42"/>
    <p:sldId id="1686" r:id="rId43"/>
    <p:sldId id="1908" r:id="rId44"/>
    <p:sldId id="1685" r:id="rId45"/>
    <p:sldId id="1684" r:id="rId46"/>
    <p:sldId id="1683" r:id="rId47"/>
    <p:sldId id="1682" r:id="rId48"/>
    <p:sldId id="1681" r:id="rId49"/>
    <p:sldId id="1680" r:id="rId50"/>
    <p:sldId id="1679" r:id="rId51"/>
    <p:sldId id="536" r:id="rId52"/>
    <p:sldId id="577" r:id="rId53"/>
    <p:sldId id="1862" r:id="rId54"/>
    <p:sldId id="1890" r:id="rId55"/>
    <p:sldId id="578" r:id="rId56"/>
    <p:sldId id="579" r:id="rId57"/>
    <p:sldId id="580" r:id="rId58"/>
    <p:sldId id="1891" r:id="rId59"/>
    <p:sldId id="1892" r:id="rId60"/>
    <p:sldId id="1893" r:id="rId61"/>
    <p:sldId id="596" r:id="rId62"/>
    <p:sldId id="595" r:id="rId63"/>
    <p:sldId id="592" r:id="rId64"/>
    <p:sldId id="1904" r:id="rId65"/>
    <p:sldId id="1905" r:id="rId66"/>
    <p:sldId id="601" r:id="rId67"/>
    <p:sldId id="1903" r:id="rId68"/>
    <p:sldId id="467" r:id="rId69"/>
    <p:sldId id="1886" r:id="rId70"/>
    <p:sldId id="1887" r:id="rId71"/>
    <p:sldId id="1888" r:id="rId72"/>
    <p:sldId id="1889" r:id="rId73"/>
    <p:sldId id="411" r:id="rId74"/>
    <p:sldId id="1913" r:id="rId75"/>
    <p:sldId id="562" r:id="rId76"/>
    <p:sldId id="311" r:id="rId77"/>
    <p:sldId id="1914" r:id="rId78"/>
    <p:sldId id="1895" r:id="rId79"/>
    <p:sldId id="1912" r:id="rId80"/>
    <p:sldId id="1875" r:id="rId81"/>
    <p:sldId id="1876" r:id="rId82"/>
    <p:sldId id="1877" r:id="rId83"/>
    <p:sldId id="1878" r:id="rId84"/>
    <p:sldId id="1879" r:id="rId85"/>
    <p:sldId id="1880" r:id="rId86"/>
    <p:sldId id="374" r:id="rId87"/>
    <p:sldId id="882" r:id="rId88"/>
    <p:sldId id="972" r:id="rId89"/>
    <p:sldId id="1910" r:id="rId90"/>
    <p:sldId id="966" r:id="rId91"/>
    <p:sldId id="974" r:id="rId92"/>
    <p:sldId id="976" r:id="rId93"/>
    <p:sldId id="975" r:id="rId94"/>
    <p:sldId id="973" r:id="rId95"/>
    <p:sldId id="1915" r:id="rId96"/>
    <p:sldId id="1874" r:id="rId97"/>
    <p:sldId id="1882" r:id="rId98"/>
    <p:sldId id="1883" r:id="rId99"/>
    <p:sldId id="1911" r:id="rId100"/>
    <p:sldId id="1884" r:id="rId101"/>
    <p:sldId id="569" r:id="rId102"/>
    <p:sldId id="571" r:id="rId103"/>
    <p:sldId id="406" r:id="rId104"/>
    <p:sldId id="528" r:id="rId105"/>
    <p:sldId id="408" r:id="rId106"/>
    <p:sldId id="1863" r:id="rId107"/>
    <p:sldId id="1864" r:id="rId108"/>
    <p:sldId id="1433" r:id="rId109"/>
    <p:sldId id="1532" r:id="rId110"/>
    <p:sldId id="1549" r:id="rId111"/>
    <p:sldId id="501" r:id="rId112"/>
    <p:sldId id="1899" r:id="rId113"/>
    <p:sldId id="1898" r:id="rId114"/>
    <p:sldId id="1900" r:id="rId115"/>
    <p:sldId id="472" r:id="rId116"/>
    <p:sldId id="531" r:id="rId117"/>
    <p:sldId id="473" r:id="rId118"/>
    <p:sldId id="529" r:id="rId119"/>
    <p:sldId id="642" r:id="rId120"/>
    <p:sldId id="484" r:id="rId121"/>
    <p:sldId id="660" r:id="rId122"/>
    <p:sldId id="270" r:id="rId123"/>
    <p:sldId id="258" r:id="rId124"/>
    <p:sldId id="493" r:id="rId125"/>
    <p:sldId id="466" r:id="rId126"/>
    <p:sldId id="344" r:id="rId127"/>
    <p:sldId id="349" r:id="rId128"/>
    <p:sldId id="364" r:id="rId129"/>
    <p:sldId id="705" r:id="rId130"/>
    <p:sldId id="706" r:id="rId131"/>
    <p:sldId id="707" r:id="rId132"/>
    <p:sldId id="375" r:id="rId133"/>
    <p:sldId id="471" r:id="rId134"/>
    <p:sldId id="1691" r:id="rId135"/>
    <p:sldId id="544" r:id="rId136"/>
    <p:sldId id="1615" r:id="rId137"/>
    <p:sldId id="1692" r:id="rId138"/>
    <p:sldId id="661" r:id="rId139"/>
    <p:sldId id="525" r:id="rId140"/>
    <p:sldId id="663" r:id="rId141"/>
    <p:sldId id="664" r:id="rId142"/>
    <p:sldId id="1860" r:id="rId143"/>
    <p:sldId id="665" r:id="rId144"/>
    <p:sldId id="708" r:id="rId145"/>
    <p:sldId id="1872" r:id="rId146"/>
    <p:sldId id="376" r:id="rId147"/>
    <p:sldId id="609" r:id="rId148"/>
    <p:sldId id="649" r:id="rId149"/>
    <p:sldId id="648" r:id="rId150"/>
    <p:sldId id="647" r:id="rId151"/>
    <p:sldId id="666" r:id="rId152"/>
  </p:sldIdLst>
  <p:sldSz cx="12192000" cy="6858000"/>
  <p:notesSz cx="6810375" cy="9942513"/>
  <p:defaultTex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3132">
          <p15:clr>
            <a:srgbClr val="A4A3A4"/>
          </p15:clr>
        </p15:guide>
        <p15:guide id="2" pos="214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esca Caggiula" initials="FC" lastIdx="1" clrIdx="0">
    <p:extLst>
      <p:ext uri="{19B8F6BF-5375-455C-9EA6-DF929625EA0E}">
        <p15:presenceInfo xmlns:p15="http://schemas.microsoft.com/office/powerpoint/2012/main" userId="S-1-5-21-2553327907-1786230388-378346584-175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3787"/>
    <a:srgbClr val="5A2364"/>
    <a:srgbClr val="B41937"/>
    <a:srgbClr val="EB871E"/>
    <a:srgbClr val="66CC33"/>
    <a:srgbClr val="FF2CC3"/>
    <a:srgbClr val="5B9BD5"/>
    <a:srgbClr val="000000"/>
    <a:srgbClr val="BDA89E"/>
    <a:srgbClr val="77BC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4B1A6F-8FCA-4B29-888A-F4FEF29568D8}" v="40" dt="2023-03-09T11:41:23.054"/>
  </p1510:revLst>
</p1510:revInfo>
</file>

<file path=ppt/tableStyles.xml><?xml version="1.0" encoding="utf-8"?>
<a:tblStyleLst xmlns:a="http://schemas.openxmlformats.org/drawingml/2006/main" def="{5C22544A-7EE6-4342-B048-85BDC9FD1C3A}">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2" d="100"/>
          <a:sy n="62" d="100"/>
        </p:scale>
        <p:origin x="804" y="56"/>
      </p:cViewPr>
      <p:guideLst>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guide orient="horz" pos="3132"/>
        <p:guide pos="2145"/>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117" Type="http://schemas.openxmlformats.org/officeDocument/2006/relationships/slide" Target="slides/slide93.xml"/><Relationship Id="rId21" Type="http://schemas.openxmlformats.org/officeDocument/2006/relationships/slideMaster" Target="slideMasters/slideMaster18.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slide" Target="slides/slide109.xml"/><Relationship Id="rId138" Type="http://schemas.openxmlformats.org/officeDocument/2006/relationships/slide" Target="slides/slide114.xml"/><Relationship Id="rId154" Type="http://schemas.openxmlformats.org/officeDocument/2006/relationships/handoutMaster" Target="handoutMasters/handoutMaster1.xml"/><Relationship Id="rId159" Type="http://schemas.openxmlformats.org/officeDocument/2006/relationships/tableStyles" Target="tableStyles.xml"/><Relationship Id="rId16" Type="http://schemas.openxmlformats.org/officeDocument/2006/relationships/slideMaster" Target="slideMasters/slideMaster13.xml"/><Relationship Id="rId107" Type="http://schemas.openxmlformats.org/officeDocument/2006/relationships/slide" Target="slides/slide83.xml"/><Relationship Id="rId11" Type="http://schemas.openxmlformats.org/officeDocument/2006/relationships/slideMaster" Target="slideMasters/slideMaster8.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28" Type="http://schemas.openxmlformats.org/officeDocument/2006/relationships/slide" Target="slides/slide104.xml"/><Relationship Id="rId144" Type="http://schemas.openxmlformats.org/officeDocument/2006/relationships/slide" Target="slides/slide120.xml"/><Relationship Id="rId149" Type="http://schemas.openxmlformats.org/officeDocument/2006/relationships/slide" Target="slides/slide125.xml"/><Relationship Id="rId5" Type="http://schemas.openxmlformats.org/officeDocument/2006/relationships/slideMaster" Target="slideMasters/slideMaster2.xml"/><Relationship Id="rId90" Type="http://schemas.openxmlformats.org/officeDocument/2006/relationships/slide" Target="slides/slide66.xml"/><Relationship Id="rId95" Type="http://schemas.openxmlformats.org/officeDocument/2006/relationships/slide" Target="slides/slide71.xml"/><Relationship Id="rId160" Type="http://schemas.microsoft.com/office/2016/11/relationships/changesInfo" Target="changesInfos/changesInfo1.xml"/><Relationship Id="rId22" Type="http://schemas.openxmlformats.org/officeDocument/2006/relationships/slideMaster" Target="slideMasters/slideMaster19.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slide" Target="slides/slide89.xml"/><Relationship Id="rId118" Type="http://schemas.openxmlformats.org/officeDocument/2006/relationships/slide" Target="slides/slide94.xml"/><Relationship Id="rId134" Type="http://schemas.openxmlformats.org/officeDocument/2006/relationships/slide" Target="slides/slide110.xml"/><Relationship Id="rId139" Type="http://schemas.openxmlformats.org/officeDocument/2006/relationships/slide" Target="slides/slide115.xml"/><Relationship Id="rId80" Type="http://schemas.openxmlformats.org/officeDocument/2006/relationships/slide" Target="slides/slide56.xml"/><Relationship Id="rId85" Type="http://schemas.openxmlformats.org/officeDocument/2006/relationships/slide" Target="slides/slide61.xml"/><Relationship Id="rId150" Type="http://schemas.openxmlformats.org/officeDocument/2006/relationships/slide" Target="slides/slide126.xml"/><Relationship Id="rId155" Type="http://schemas.openxmlformats.org/officeDocument/2006/relationships/commentAuthors" Target="commentAuthors.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slide" Target="slides/slide84.xml"/><Relationship Id="rId124" Type="http://schemas.openxmlformats.org/officeDocument/2006/relationships/slide" Target="slides/slide100.xml"/><Relationship Id="rId129" Type="http://schemas.openxmlformats.org/officeDocument/2006/relationships/slide" Target="slides/slide105.xml"/><Relationship Id="rId20" Type="http://schemas.openxmlformats.org/officeDocument/2006/relationships/slideMaster" Target="slideMasters/slideMaster17.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slide" Target="slides/slide67.xml"/><Relationship Id="rId96" Type="http://schemas.openxmlformats.org/officeDocument/2006/relationships/slide" Target="slides/slide72.xml"/><Relationship Id="rId111" Type="http://schemas.openxmlformats.org/officeDocument/2006/relationships/slide" Target="slides/slide87.xml"/><Relationship Id="rId132" Type="http://schemas.openxmlformats.org/officeDocument/2006/relationships/slide" Target="slides/slide108.xml"/><Relationship Id="rId140" Type="http://schemas.openxmlformats.org/officeDocument/2006/relationships/slide" Target="slides/slide116.xml"/><Relationship Id="rId145" Type="http://schemas.openxmlformats.org/officeDocument/2006/relationships/slide" Target="slides/slide121.xml"/><Relationship Id="rId153" Type="http://schemas.openxmlformats.org/officeDocument/2006/relationships/notesMaster" Target="notesMasters/notesMaster1.xml"/><Relationship Id="rId16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6" Type="http://schemas.openxmlformats.org/officeDocument/2006/relationships/slide" Target="slides/slide82.xml"/><Relationship Id="rId114" Type="http://schemas.openxmlformats.org/officeDocument/2006/relationships/slide" Target="slides/slide90.xml"/><Relationship Id="rId119" Type="http://schemas.openxmlformats.org/officeDocument/2006/relationships/slide" Target="slides/slide95.xml"/><Relationship Id="rId127" Type="http://schemas.openxmlformats.org/officeDocument/2006/relationships/slide" Target="slides/slide103.xml"/><Relationship Id="rId10" Type="http://schemas.openxmlformats.org/officeDocument/2006/relationships/slideMaster" Target="slideMasters/slideMaster7.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130" Type="http://schemas.openxmlformats.org/officeDocument/2006/relationships/slide" Target="slides/slide106.xml"/><Relationship Id="rId135" Type="http://schemas.openxmlformats.org/officeDocument/2006/relationships/slide" Target="slides/slide111.xml"/><Relationship Id="rId143" Type="http://schemas.openxmlformats.org/officeDocument/2006/relationships/slide" Target="slides/slide119.xml"/><Relationship Id="rId148" Type="http://schemas.openxmlformats.org/officeDocument/2006/relationships/slide" Target="slides/slide124.xml"/><Relationship Id="rId151" Type="http://schemas.openxmlformats.org/officeDocument/2006/relationships/slide" Target="slides/slide127.xml"/><Relationship Id="rId15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141" Type="http://schemas.openxmlformats.org/officeDocument/2006/relationships/slide" Target="slides/slide117.xml"/><Relationship Id="rId146" Type="http://schemas.openxmlformats.org/officeDocument/2006/relationships/slide" Target="slides/slide122.xml"/><Relationship Id="rId7" Type="http://schemas.openxmlformats.org/officeDocument/2006/relationships/slideMaster" Target="slideMasters/slideMaster4.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21.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slide" Target="slides/slide112.xml"/><Relationship Id="rId157" Type="http://schemas.openxmlformats.org/officeDocument/2006/relationships/viewProps" Target="viewProps.xml"/><Relationship Id="rId61" Type="http://schemas.openxmlformats.org/officeDocument/2006/relationships/slide" Target="slides/slide37.xml"/><Relationship Id="rId82" Type="http://schemas.openxmlformats.org/officeDocument/2006/relationships/slide" Target="slides/slide58.xml"/><Relationship Id="rId152" Type="http://schemas.openxmlformats.org/officeDocument/2006/relationships/slide" Target="slides/slide128.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 Id="rId147" Type="http://schemas.openxmlformats.org/officeDocument/2006/relationships/slide" Target="slides/slide123.xml"/><Relationship Id="rId8" Type="http://schemas.openxmlformats.org/officeDocument/2006/relationships/slideMaster" Target="slideMasters/slideMaster5.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142" Type="http://schemas.openxmlformats.org/officeDocument/2006/relationships/slide" Target="slides/slide118.xml"/><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137" Type="http://schemas.openxmlformats.org/officeDocument/2006/relationships/slide" Target="slides/slide113.xml"/><Relationship Id="rId15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k Zanardo" userId="S::rick.zanardo@sensirion.com::5321cd68-d87e-4758-8465-f6b56eb811fe" providerId="AD" clId="Web-{1220E8D8-46F0-27C7-7C15-7F9470A7F2D8}"/>
    <pc:docChg chg="addSld delSld modSld sldOrd">
      <pc:chgData name="Rick Zanardo" userId="S::rick.zanardo@sensirion.com::5321cd68-d87e-4758-8465-f6b56eb811fe" providerId="AD" clId="Web-{1220E8D8-46F0-27C7-7C15-7F9470A7F2D8}" dt="2023-03-03T19:06:57.694" v="119"/>
      <pc:docMkLst>
        <pc:docMk/>
      </pc:docMkLst>
      <pc:sldChg chg="ord">
        <pc:chgData name="Rick Zanardo" userId="S::rick.zanardo@sensirion.com::5321cd68-d87e-4758-8465-f6b56eb811fe" providerId="AD" clId="Web-{1220E8D8-46F0-27C7-7C15-7F9470A7F2D8}" dt="2023-03-03T17:29:52.690" v="71"/>
        <pc:sldMkLst>
          <pc:docMk/>
          <pc:sldMk cId="2837385457" sldId="311"/>
        </pc:sldMkLst>
      </pc:sldChg>
      <pc:sldChg chg="delSp modSp">
        <pc:chgData name="Rick Zanardo" userId="S::rick.zanardo@sensirion.com::5321cd68-d87e-4758-8465-f6b56eb811fe" providerId="AD" clId="Web-{1220E8D8-46F0-27C7-7C15-7F9470A7F2D8}" dt="2023-03-03T17:42:13.341" v="98"/>
        <pc:sldMkLst>
          <pc:docMk/>
          <pc:sldMk cId="784679938" sldId="374"/>
        </pc:sldMkLst>
        <pc:spChg chg="del mod">
          <ac:chgData name="Rick Zanardo" userId="S::rick.zanardo@sensirion.com::5321cd68-d87e-4758-8465-f6b56eb811fe" providerId="AD" clId="Web-{1220E8D8-46F0-27C7-7C15-7F9470A7F2D8}" dt="2023-03-03T17:42:13.341" v="98"/>
          <ac:spMkLst>
            <pc:docMk/>
            <pc:sldMk cId="784679938" sldId="374"/>
            <ac:spMk id="5" creationId="{D0BFA20E-8BF1-37C6-B452-3618BDA90683}"/>
          </ac:spMkLst>
        </pc:spChg>
      </pc:sldChg>
      <pc:sldChg chg="ord">
        <pc:chgData name="Rick Zanardo" userId="S::rick.zanardo@sensirion.com::5321cd68-d87e-4758-8465-f6b56eb811fe" providerId="AD" clId="Web-{1220E8D8-46F0-27C7-7C15-7F9470A7F2D8}" dt="2023-03-03T17:29:33.908" v="70"/>
        <pc:sldMkLst>
          <pc:docMk/>
          <pc:sldMk cId="1819888255" sldId="562"/>
        </pc:sldMkLst>
      </pc:sldChg>
      <pc:sldChg chg="ord">
        <pc:chgData name="Rick Zanardo" userId="S::rick.zanardo@sensirion.com::5321cd68-d87e-4758-8465-f6b56eb811fe" providerId="AD" clId="Web-{1220E8D8-46F0-27C7-7C15-7F9470A7F2D8}" dt="2023-03-03T17:40:22.448" v="92"/>
        <pc:sldMkLst>
          <pc:docMk/>
          <pc:sldMk cId="3334067834" sldId="569"/>
        </pc:sldMkLst>
      </pc:sldChg>
      <pc:sldChg chg="ord">
        <pc:chgData name="Rick Zanardo" userId="S::rick.zanardo@sensirion.com::5321cd68-d87e-4758-8465-f6b56eb811fe" providerId="AD" clId="Web-{1220E8D8-46F0-27C7-7C15-7F9470A7F2D8}" dt="2023-03-03T17:40:22.448" v="91"/>
        <pc:sldMkLst>
          <pc:docMk/>
          <pc:sldMk cId="3830208387" sldId="571"/>
        </pc:sldMkLst>
      </pc:sldChg>
      <pc:sldChg chg="del delAnim">
        <pc:chgData name="Rick Zanardo" userId="S::rick.zanardo@sensirion.com::5321cd68-d87e-4758-8465-f6b56eb811fe" providerId="AD" clId="Web-{1220E8D8-46F0-27C7-7C15-7F9470A7F2D8}" dt="2023-03-03T17:54:11.460" v="106"/>
        <pc:sldMkLst>
          <pc:docMk/>
          <pc:sldMk cId="1555681270" sldId="967"/>
        </pc:sldMkLst>
      </pc:sldChg>
      <pc:sldChg chg="ord">
        <pc:chgData name="Rick Zanardo" userId="S::rick.zanardo@sensirion.com::5321cd68-d87e-4758-8465-f6b56eb811fe" providerId="AD" clId="Web-{1220E8D8-46F0-27C7-7C15-7F9470A7F2D8}" dt="2023-03-03T19:05:18.864" v="115"/>
        <pc:sldMkLst>
          <pc:docMk/>
          <pc:sldMk cId="3913729051" sldId="973"/>
        </pc:sldMkLst>
      </pc:sldChg>
      <pc:sldChg chg="mod modShow">
        <pc:chgData name="Rick Zanardo" userId="S::rick.zanardo@sensirion.com::5321cd68-d87e-4758-8465-f6b56eb811fe" providerId="AD" clId="Web-{1220E8D8-46F0-27C7-7C15-7F9470A7F2D8}" dt="2023-03-03T17:42:52.669" v="99"/>
        <pc:sldMkLst>
          <pc:docMk/>
          <pc:sldMk cId="3952878203" sldId="974"/>
        </pc:sldMkLst>
      </pc:sldChg>
      <pc:sldChg chg="mod modShow">
        <pc:chgData name="Rick Zanardo" userId="S::rick.zanardo@sensirion.com::5321cd68-d87e-4758-8465-f6b56eb811fe" providerId="AD" clId="Web-{1220E8D8-46F0-27C7-7C15-7F9470A7F2D8}" dt="2023-03-03T17:42:52.779" v="101"/>
        <pc:sldMkLst>
          <pc:docMk/>
          <pc:sldMk cId="2083243608" sldId="975"/>
        </pc:sldMkLst>
      </pc:sldChg>
      <pc:sldChg chg="mod modShow">
        <pc:chgData name="Rick Zanardo" userId="S::rick.zanardo@sensirion.com::5321cd68-d87e-4758-8465-f6b56eb811fe" providerId="AD" clId="Web-{1220E8D8-46F0-27C7-7C15-7F9470A7F2D8}" dt="2023-03-03T17:42:52.716" v="100"/>
        <pc:sldMkLst>
          <pc:docMk/>
          <pc:sldMk cId="1191507764" sldId="976"/>
        </pc:sldMkLst>
      </pc:sldChg>
      <pc:sldChg chg="mod modShow">
        <pc:chgData name="Rick Zanardo" userId="S::rick.zanardo@sensirion.com::5321cd68-d87e-4758-8465-f6b56eb811fe" providerId="AD" clId="Web-{1220E8D8-46F0-27C7-7C15-7F9470A7F2D8}" dt="2023-03-03T17:39:59.870" v="87"/>
        <pc:sldMkLst>
          <pc:docMk/>
          <pc:sldMk cId="3223356156" sldId="1874"/>
        </pc:sldMkLst>
      </pc:sldChg>
      <pc:sldChg chg="ord delAnim">
        <pc:chgData name="Rick Zanardo" userId="S::rick.zanardo@sensirion.com::5321cd68-d87e-4758-8465-f6b56eb811fe" providerId="AD" clId="Web-{1220E8D8-46F0-27C7-7C15-7F9470A7F2D8}" dt="2023-03-03T17:54:49.007" v="109"/>
        <pc:sldMkLst>
          <pc:docMk/>
          <pc:sldMk cId="489267759" sldId="1875"/>
        </pc:sldMkLst>
      </pc:sldChg>
      <pc:sldChg chg="ord">
        <pc:chgData name="Rick Zanardo" userId="S::rick.zanardo@sensirion.com::5321cd68-d87e-4758-8465-f6b56eb811fe" providerId="AD" clId="Web-{1220E8D8-46F0-27C7-7C15-7F9470A7F2D8}" dt="2023-03-03T17:31:03.159" v="78"/>
        <pc:sldMkLst>
          <pc:docMk/>
          <pc:sldMk cId="393288526" sldId="1876"/>
        </pc:sldMkLst>
      </pc:sldChg>
      <pc:sldChg chg="ord">
        <pc:chgData name="Rick Zanardo" userId="S::rick.zanardo@sensirion.com::5321cd68-d87e-4758-8465-f6b56eb811fe" providerId="AD" clId="Web-{1220E8D8-46F0-27C7-7C15-7F9470A7F2D8}" dt="2023-03-03T17:31:03.159" v="77"/>
        <pc:sldMkLst>
          <pc:docMk/>
          <pc:sldMk cId="609033234" sldId="1877"/>
        </pc:sldMkLst>
      </pc:sldChg>
      <pc:sldChg chg="ord">
        <pc:chgData name="Rick Zanardo" userId="S::rick.zanardo@sensirion.com::5321cd68-d87e-4758-8465-f6b56eb811fe" providerId="AD" clId="Web-{1220E8D8-46F0-27C7-7C15-7F9470A7F2D8}" dt="2023-03-03T17:31:03.159" v="76"/>
        <pc:sldMkLst>
          <pc:docMk/>
          <pc:sldMk cId="4085180621" sldId="1878"/>
        </pc:sldMkLst>
      </pc:sldChg>
      <pc:sldChg chg="ord">
        <pc:chgData name="Rick Zanardo" userId="S::rick.zanardo@sensirion.com::5321cd68-d87e-4758-8465-f6b56eb811fe" providerId="AD" clId="Web-{1220E8D8-46F0-27C7-7C15-7F9470A7F2D8}" dt="2023-03-03T17:31:03.144" v="75"/>
        <pc:sldMkLst>
          <pc:docMk/>
          <pc:sldMk cId="801862527" sldId="1879"/>
        </pc:sldMkLst>
      </pc:sldChg>
      <pc:sldChg chg="ord">
        <pc:chgData name="Rick Zanardo" userId="S::rick.zanardo@sensirion.com::5321cd68-d87e-4758-8465-f6b56eb811fe" providerId="AD" clId="Web-{1220E8D8-46F0-27C7-7C15-7F9470A7F2D8}" dt="2023-03-03T17:31:03.144" v="74"/>
        <pc:sldMkLst>
          <pc:docMk/>
          <pc:sldMk cId="3457819976" sldId="1880"/>
        </pc:sldMkLst>
      </pc:sldChg>
      <pc:sldChg chg="del">
        <pc:chgData name="Rick Zanardo" userId="S::rick.zanardo@sensirion.com::5321cd68-d87e-4758-8465-f6b56eb811fe" providerId="AD" clId="Web-{1220E8D8-46F0-27C7-7C15-7F9470A7F2D8}" dt="2023-03-03T17:32:03.613" v="79"/>
        <pc:sldMkLst>
          <pc:docMk/>
          <pc:sldMk cId="2547296480" sldId="1881"/>
        </pc:sldMkLst>
      </pc:sldChg>
      <pc:sldChg chg="delAnim">
        <pc:chgData name="Rick Zanardo" userId="S::rick.zanardo@sensirion.com::5321cd68-d87e-4758-8465-f6b56eb811fe" providerId="AD" clId="Web-{1220E8D8-46F0-27C7-7C15-7F9470A7F2D8}" dt="2023-03-03T18:01:12.763" v="114"/>
        <pc:sldMkLst>
          <pc:docMk/>
          <pc:sldMk cId="3323235913" sldId="1883"/>
        </pc:sldMkLst>
      </pc:sldChg>
      <pc:sldChg chg="ord delAnim modAnim">
        <pc:chgData name="Rick Zanardo" userId="S::rick.zanardo@sensirion.com::5321cd68-d87e-4758-8465-f6b56eb811fe" providerId="AD" clId="Web-{1220E8D8-46F0-27C7-7C15-7F9470A7F2D8}" dt="2023-03-03T19:05:59.662" v="117"/>
        <pc:sldMkLst>
          <pc:docMk/>
          <pc:sldMk cId="2249708667" sldId="1884"/>
        </pc:sldMkLst>
      </pc:sldChg>
      <pc:sldChg chg="addSp delSp modSp ord delAnim">
        <pc:chgData name="Rick Zanardo" userId="S::rick.zanardo@sensirion.com::5321cd68-d87e-4758-8465-f6b56eb811fe" providerId="AD" clId="Web-{1220E8D8-46F0-27C7-7C15-7F9470A7F2D8}" dt="2023-03-03T17:54:13.616" v="108"/>
        <pc:sldMkLst>
          <pc:docMk/>
          <pc:sldMk cId="3527391682" sldId="1895"/>
        </pc:sldMkLst>
        <pc:spChg chg="add mod">
          <ac:chgData name="Rick Zanardo" userId="S::rick.zanardo@sensirion.com::5321cd68-d87e-4758-8465-f6b56eb811fe" providerId="AD" clId="Web-{1220E8D8-46F0-27C7-7C15-7F9470A7F2D8}" dt="2023-03-03T17:42:06.856" v="96" actId="20577"/>
          <ac:spMkLst>
            <pc:docMk/>
            <pc:sldMk cId="3527391682" sldId="1895"/>
            <ac:spMk id="7" creationId="{13E51E81-9D4B-75E7-476D-1610E5C49132}"/>
          </ac:spMkLst>
        </pc:spChg>
        <pc:spChg chg="add del">
          <ac:chgData name="Rick Zanardo" userId="S::rick.zanardo@sensirion.com::5321cd68-d87e-4758-8465-f6b56eb811fe" providerId="AD" clId="Web-{1220E8D8-46F0-27C7-7C15-7F9470A7F2D8}" dt="2023-03-03T17:27:51.907" v="41"/>
          <ac:spMkLst>
            <pc:docMk/>
            <pc:sldMk cId="3527391682" sldId="1895"/>
            <ac:spMk id="9" creationId="{4BA9B0EC-DE8A-AC2A-8C12-BF849BE9AF1F}"/>
          </ac:spMkLst>
        </pc:spChg>
        <pc:spChg chg="del mod">
          <ac:chgData name="Rick Zanardo" userId="S::rick.zanardo@sensirion.com::5321cd68-d87e-4758-8465-f6b56eb811fe" providerId="AD" clId="Web-{1220E8D8-46F0-27C7-7C15-7F9470A7F2D8}" dt="2023-03-03T17:27:52.079" v="42"/>
          <ac:spMkLst>
            <pc:docMk/>
            <pc:sldMk cId="3527391682" sldId="1895"/>
            <ac:spMk id="47" creationId="{B1F75D1B-72D1-458E-A66A-7A4B5C34800C}"/>
          </ac:spMkLst>
        </pc:spChg>
        <pc:spChg chg="mod">
          <ac:chgData name="Rick Zanardo" userId="S::rick.zanardo@sensirion.com::5321cd68-d87e-4758-8465-f6b56eb811fe" providerId="AD" clId="Web-{1220E8D8-46F0-27C7-7C15-7F9470A7F2D8}" dt="2023-03-03T17:36:48.008" v="84"/>
          <ac:spMkLst>
            <pc:docMk/>
            <pc:sldMk cId="3527391682" sldId="1895"/>
            <ac:spMk id="136" creationId="{F1002382-D643-4B4C-B545-10E83701DE1A}"/>
          </ac:spMkLst>
        </pc:spChg>
        <pc:spChg chg="del">
          <ac:chgData name="Rick Zanardo" userId="S::rick.zanardo@sensirion.com::5321cd68-d87e-4758-8465-f6b56eb811fe" providerId="AD" clId="Web-{1220E8D8-46F0-27C7-7C15-7F9470A7F2D8}" dt="2023-03-03T17:23:51.263" v="9"/>
          <ac:spMkLst>
            <pc:docMk/>
            <pc:sldMk cId="3527391682" sldId="1895"/>
            <ac:spMk id="143" creationId="{FA03A4CD-2FFA-4B19-BC42-E0ADFE38A55E}"/>
          </ac:spMkLst>
        </pc:spChg>
        <pc:spChg chg="add del mod">
          <ac:chgData name="Rick Zanardo" userId="S::rick.zanardo@sensirion.com::5321cd68-d87e-4758-8465-f6b56eb811fe" providerId="AD" clId="Web-{1220E8D8-46F0-27C7-7C15-7F9470A7F2D8}" dt="2023-03-03T17:24:41.951" v="12"/>
          <ac:spMkLst>
            <pc:docMk/>
            <pc:sldMk cId="3527391682" sldId="1895"/>
            <ac:spMk id="164" creationId="{0A987C4D-35A7-4B05-889B-0E7028D11A8D}"/>
          </ac:spMkLst>
        </pc:spChg>
        <pc:spChg chg="del mod">
          <ac:chgData name="Rick Zanardo" userId="S::rick.zanardo@sensirion.com::5321cd68-d87e-4758-8465-f6b56eb811fe" providerId="AD" clId="Web-{1220E8D8-46F0-27C7-7C15-7F9470A7F2D8}" dt="2023-03-03T17:24:51.357" v="13"/>
          <ac:spMkLst>
            <pc:docMk/>
            <pc:sldMk cId="3527391682" sldId="1895"/>
            <ac:spMk id="165" creationId="{E785CAD3-E9F1-4310-9BBF-4CEFAC575966}"/>
          </ac:spMkLst>
        </pc:spChg>
        <pc:grpChg chg="add del">
          <ac:chgData name="Rick Zanardo" userId="S::rick.zanardo@sensirion.com::5321cd68-d87e-4758-8465-f6b56eb811fe" providerId="AD" clId="Web-{1220E8D8-46F0-27C7-7C15-7F9470A7F2D8}" dt="2023-03-03T17:24:41.951" v="12"/>
          <ac:grpSpMkLst>
            <pc:docMk/>
            <pc:sldMk cId="3527391682" sldId="1895"/>
            <ac:grpSpMk id="166" creationId="{1F25050A-AF0E-433B-9715-158B1D0ED09C}"/>
          </ac:grpSpMkLst>
        </pc:grpChg>
      </pc:sldChg>
      <pc:sldChg chg="del">
        <pc:chgData name="Rick Zanardo" userId="S::rick.zanardo@sensirion.com::5321cd68-d87e-4758-8465-f6b56eb811fe" providerId="AD" clId="Web-{1220E8D8-46F0-27C7-7C15-7F9470A7F2D8}" dt="2023-03-03T17:21:33.527" v="8"/>
        <pc:sldMkLst>
          <pc:docMk/>
          <pc:sldMk cId="3850952196" sldId="1897"/>
        </pc:sldMkLst>
      </pc:sldChg>
      <pc:sldChg chg="addSp modSp">
        <pc:chgData name="Rick Zanardo" userId="S::rick.zanardo@sensirion.com::5321cd68-d87e-4758-8465-f6b56eb811fe" providerId="AD" clId="Web-{1220E8D8-46F0-27C7-7C15-7F9470A7F2D8}" dt="2023-03-03T19:06:57.694" v="119"/>
        <pc:sldMkLst>
          <pc:docMk/>
          <pc:sldMk cId="2932646644" sldId="1898"/>
        </pc:sldMkLst>
        <pc:spChg chg="add mod">
          <ac:chgData name="Rick Zanardo" userId="S::rick.zanardo@sensirion.com::5321cd68-d87e-4758-8465-f6b56eb811fe" providerId="AD" clId="Web-{1220E8D8-46F0-27C7-7C15-7F9470A7F2D8}" dt="2023-03-03T19:06:57.694" v="119"/>
          <ac:spMkLst>
            <pc:docMk/>
            <pc:sldMk cId="2932646644" sldId="1898"/>
            <ac:spMk id="3" creationId="{D31EB280-CF28-6D23-6173-0FED6913607A}"/>
          </ac:spMkLst>
        </pc:spChg>
      </pc:sldChg>
      <pc:sldChg chg="ord">
        <pc:chgData name="Rick Zanardo" userId="S::rick.zanardo@sensirion.com::5321cd68-d87e-4758-8465-f6b56eb811fe" providerId="AD" clId="Web-{1220E8D8-46F0-27C7-7C15-7F9470A7F2D8}" dt="2023-03-03T17:41:11.090" v="94"/>
        <pc:sldMkLst>
          <pc:docMk/>
          <pc:sldMk cId="3828516553" sldId="1910"/>
        </pc:sldMkLst>
      </pc:sldChg>
      <pc:sldChg chg="add ord">
        <pc:chgData name="Rick Zanardo" userId="S::rick.zanardo@sensirion.com::5321cd68-d87e-4758-8465-f6b56eb811fe" providerId="AD" clId="Web-{1220E8D8-46F0-27C7-7C15-7F9470A7F2D8}" dt="2023-03-03T17:21:33.480" v="7"/>
        <pc:sldMkLst>
          <pc:docMk/>
          <pc:sldMk cId="2682662865" sldId="1912"/>
        </pc:sldMkLst>
      </pc:sldChg>
      <pc:sldChg chg="add ord">
        <pc:chgData name="Rick Zanardo" userId="S::rick.zanardo@sensirion.com::5321cd68-d87e-4758-8465-f6b56eb811fe" providerId="AD" clId="Web-{1220E8D8-46F0-27C7-7C15-7F9470A7F2D8}" dt="2023-03-03T17:20:55.745" v="3"/>
        <pc:sldMkLst>
          <pc:docMk/>
          <pc:sldMk cId="858206482" sldId="1913"/>
        </pc:sldMkLst>
      </pc:sldChg>
      <pc:sldChg chg="add ord">
        <pc:chgData name="Rick Zanardo" userId="S::rick.zanardo@sensirion.com::5321cd68-d87e-4758-8465-f6b56eb811fe" providerId="AD" clId="Web-{1220E8D8-46F0-27C7-7C15-7F9470A7F2D8}" dt="2023-03-03T17:26:36.203" v="17"/>
        <pc:sldMkLst>
          <pc:docMk/>
          <pc:sldMk cId="4209467473" sldId="1914"/>
        </pc:sldMkLst>
      </pc:sldChg>
      <pc:sldChg chg="add">
        <pc:chgData name="Rick Zanardo" userId="S::rick.zanardo@sensirion.com::5321cd68-d87e-4758-8465-f6b56eb811fe" providerId="AD" clId="Web-{1220E8D8-46F0-27C7-7C15-7F9470A7F2D8}" dt="2023-03-03T17:52:19.615" v="102"/>
        <pc:sldMkLst>
          <pc:docMk/>
          <pc:sldMk cId="798086020" sldId="1915"/>
        </pc:sldMkLst>
      </pc:sldChg>
      <pc:sldMasterChg chg="addSldLayout">
        <pc:chgData name="Rick Zanardo" userId="S::rick.zanardo@sensirion.com::5321cd68-d87e-4758-8465-f6b56eb811fe" providerId="AD" clId="Web-{1220E8D8-46F0-27C7-7C15-7F9470A7F2D8}" dt="2023-03-03T17:52:19.615" v="102"/>
        <pc:sldMasterMkLst>
          <pc:docMk/>
          <pc:sldMasterMk cId="928994465" sldId="2147484049"/>
        </pc:sldMasterMkLst>
        <pc:sldLayoutChg chg="add replId">
          <pc:chgData name="Rick Zanardo" userId="S::rick.zanardo@sensirion.com::5321cd68-d87e-4758-8465-f6b56eb811fe" providerId="AD" clId="Web-{1220E8D8-46F0-27C7-7C15-7F9470A7F2D8}" dt="2023-03-03T17:52:19.615" v="102"/>
          <pc:sldLayoutMkLst>
            <pc:docMk/>
            <pc:sldMasterMk cId="928994465" sldId="2147484049"/>
            <pc:sldLayoutMk cId="3540229120" sldId="2147484327"/>
          </pc:sldLayoutMkLst>
        </pc:sldLayoutChg>
      </pc:sldMasterChg>
    </pc:docChg>
  </pc:docChgLst>
  <pc:docChgLst>
    <pc:chgData name="Diane Haynes" userId="6fc5f207-22db-453e-aa02-60ffb6be2fb9" providerId="ADAL" clId="{9C4B1A6F-8FCA-4B29-888A-F4FEF29568D8}"/>
    <pc:docChg chg="undo custSel addSld delSld modSld">
      <pc:chgData name="Diane Haynes" userId="6fc5f207-22db-453e-aa02-60ffb6be2fb9" providerId="ADAL" clId="{9C4B1A6F-8FCA-4B29-888A-F4FEF29568D8}" dt="2023-03-09T11:41:23.054" v="44"/>
      <pc:docMkLst>
        <pc:docMk/>
      </pc:docMkLst>
      <pc:sldChg chg="modSp add del modAnim">
        <pc:chgData name="Diane Haynes" userId="6fc5f207-22db-453e-aa02-60ffb6be2fb9" providerId="ADAL" clId="{9C4B1A6F-8FCA-4B29-888A-F4FEF29568D8}" dt="2023-03-09T11:39:56.728" v="42" actId="47"/>
        <pc:sldMkLst>
          <pc:docMk/>
          <pc:sldMk cId="3944414402" sldId="293"/>
        </pc:sldMkLst>
        <pc:spChg chg="mod">
          <ac:chgData name="Diane Haynes" userId="6fc5f207-22db-453e-aa02-60ffb6be2fb9" providerId="ADAL" clId="{9C4B1A6F-8FCA-4B29-888A-F4FEF29568D8}" dt="2023-03-09T11:39:29.362" v="38" actId="6549"/>
          <ac:spMkLst>
            <pc:docMk/>
            <pc:sldMk cId="3944414402" sldId="293"/>
            <ac:spMk id="3" creationId="{55B3B7D0-8B39-456A-888B-CEAC5B86C814}"/>
          </ac:spMkLst>
        </pc:spChg>
      </pc:sldChg>
      <pc:sldChg chg="modSp add del modAnim">
        <pc:chgData name="Diane Haynes" userId="6fc5f207-22db-453e-aa02-60ffb6be2fb9" providerId="ADAL" clId="{9C4B1A6F-8FCA-4B29-888A-F4FEF29568D8}" dt="2023-03-09T11:41:23.054" v="44"/>
        <pc:sldMkLst>
          <pc:docMk/>
          <pc:sldMk cId="2850188989" sldId="1916"/>
        </pc:sldMkLst>
        <pc:spChg chg="mod">
          <ac:chgData name="Diane Haynes" userId="6fc5f207-22db-453e-aa02-60ffb6be2fb9" providerId="ADAL" clId="{9C4B1A6F-8FCA-4B29-888A-F4FEF29568D8}" dt="2023-03-09T11:41:13.564" v="43" actId="255"/>
          <ac:spMkLst>
            <pc:docMk/>
            <pc:sldMk cId="2850188989" sldId="1916"/>
            <ac:spMk id="3" creationId="{55B3B7D0-8B39-456A-888B-CEAC5B86C81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1.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2.xm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https://sensinet.sensirion.com/product/sht/ProductWIP/Products/STS3X/08_Accuracy_Specs/AccuracySpecification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00B0F0"/>
              </a:solidFill>
              <a:ln w="12700">
                <a:solidFill>
                  <a:schemeClr val="bg1"/>
                </a:solidFill>
              </a:ln>
              <a:effectLst/>
            </c:spPr>
            <c:extLst>
              <c:ext xmlns:c16="http://schemas.microsoft.com/office/drawing/2014/chart" uri="{C3380CC4-5D6E-409C-BE32-E72D297353CC}">
                <c16:uniqueId val="{00000001-8B9B-4EA0-8D62-BF8AA6336CEB}"/>
              </c:ext>
            </c:extLst>
          </c:dPt>
          <c:dPt>
            <c:idx val="1"/>
            <c:bubble3D val="0"/>
            <c:spPr>
              <a:solidFill>
                <a:srgbClr val="00573D"/>
              </a:solidFill>
              <a:ln w="12700">
                <a:solidFill>
                  <a:schemeClr val="bg1"/>
                </a:solidFill>
              </a:ln>
              <a:effectLst/>
            </c:spPr>
            <c:extLst>
              <c:ext xmlns:c16="http://schemas.microsoft.com/office/drawing/2014/chart" uri="{C3380CC4-5D6E-409C-BE32-E72D297353CC}">
                <c16:uniqueId val="{00000003-8B9B-4EA0-8D62-BF8AA6336CEB}"/>
              </c:ext>
            </c:extLst>
          </c:dPt>
          <c:dPt>
            <c:idx val="2"/>
            <c:bubble3D val="0"/>
            <c:spPr>
              <a:solidFill>
                <a:srgbClr val="EB871E"/>
              </a:solidFill>
              <a:ln w="12700">
                <a:solidFill>
                  <a:schemeClr val="bg1"/>
                </a:solidFill>
              </a:ln>
              <a:effectLst/>
            </c:spPr>
            <c:extLst>
              <c:ext xmlns:c16="http://schemas.microsoft.com/office/drawing/2014/chart" uri="{C3380CC4-5D6E-409C-BE32-E72D297353CC}">
                <c16:uniqueId val="{00000005-8B9B-4EA0-8D62-BF8AA6336CEB}"/>
              </c:ext>
            </c:extLst>
          </c:dPt>
          <c:cat>
            <c:strRef>
              <c:f>Sheet1!$A$2:$A$4</c:f>
              <c:strCache>
                <c:ptCount val="3"/>
                <c:pt idx="0">
                  <c:v>1st Qtr</c:v>
                </c:pt>
                <c:pt idx="1">
                  <c:v>2nd Qtr</c:v>
                </c:pt>
                <c:pt idx="2">
                  <c:v>3rd Qtr</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6-8B9B-4EA0-8D62-BF8AA6336CE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0">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00B0F0"/>
              </a:solidFill>
              <a:ln w="12700">
                <a:solidFill>
                  <a:schemeClr val="bg1"/>
                </a:solidFill>
              </a:ln>
              <a:effectLst/>
            </c:spPr>
            <c:extLst>
              <c:ext xmlns:c16="http://schemas.microsoft.com/office/drawing/2014/chart" uri="{C3380CC4-5D6E-409C-BE32-E72D297353CC}">
                <c16:uniqueId val="{00000001-DB5B-46A6-84E1-B52EBEA09B8F}"/>
              </c:ext>
            </c:extLst>
          </c:dPt>
          <c:dPt>
            <c:idx val="1"/>
            <c:bubble3D val="0"/>
            <c:spPr>
              <a:solidFill>
                <a:srgbClr val="00573D"/>
              </a:solidFill>
              <a:ln w="12700">
                <a:solidFill>
                  <a:schemeClr val="bg1"/>
                </a:solidFill>
              </a:ln>
              <a:effectLst/>
            </c:spPr>
            <c:extLst>
              <c:ext xmlns:c16="http://schemas.microsoft.com/office/drawing/2014/chart" uri="{C3380CC4-5D6E-409C-BE32-E72D297353CC}">
                <c16:uniqueId val="{00000003-DB5B-46A6-84E1-B52EBEA09B8F}"/>
              </c:ext>
            </c:extLst>
          </c:dPt>
          <c:dPt>
            <c:idx val="2"/>
            <c:bubble3D val="0"/>
            <c:spPr>
              <a:solidFill>
                <a:srgbClr val="EB871E"/>
              </a:solidFill>
              <a:ln w="12700">
                <a:solidFill>
                  <a:schemeClr val="bg1"/>
                </a:solidFill>
              </a:ln>
              <a:effectLst/>
            </c:spPr>
            <c:extLst>
              <c:ext xmlns:c16="http://schemas.microsoft.com/office/drawing/2014/chart" uri="{C3380CC4-5D6E-409C-BE32-E72D297353CC}">
                <c16:uniqueId val="{00000005-DB5B-46A6-84E1-B52EBEA09B8F}"/>
              </c:ext>
            </c:extLst>
          </c:dPt>
          <c:cat>
            <c:strRef>
              <c:f>Sheet1!$A$2:$A$4</c:f>
              <c:strCache>
                <c:ptCount val="3"/>
                <c:pt idx="0">
                  <c:v>1st Qtr</c:v>
                </c:pt>
                <c:pt idx="1">
                  <c:v>2nd Qtr</c:v>
                </c:pt>
                <c:pt idx="2">
                  <c:v>3rd Qtr</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6-DB5B-46A6-84E1-B52EBEA09B8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0">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00B0F0"/>
              </a:solidFill>
              <a:ln w="12700">
                <a:solidFill>
                  <a:schemeClr val="bg1"/>
                </a:solidFill>
              </a:ln>
              <a:effectLst/>
            </c:spPr>
            <c:extLst>
              <c:ext xmlns:c16="http://schemas.microsoft.com/office/drawing/2014/chart" uri="{C3380CC4-5D6E-409C-BE32-E72D297353CC}">
                <c16:uniqueId val="{00000001-ABB1-4F0A-ADC2-1FABAC571E0E}"/>
              </c:ext>
            </c:extLst>
          </c:dPt>
          <c:dPt>
            <c:idx val="1"/>
            <c:bubble3D val="0"/>
            <c:spPr>
              <a:solidFill>
                <a:srgbClr val="00573D"/>
              </a:solidFill>
              <a:ln w="12700">
                <a:solidFill>
                  <a:schemeClr val="bg1"/>
                </a:solidFill>
              </a:ln>
              <a:effectLst/>
            </c:spPr>
            <c:extLst>
              <c:ext xmlns:c16="http://schemas.microsoft.com/office/drawing/2014/chart" uri="{C3380CC4-5D6E-409C-BE32-E72D297353CC}">
                <c16:uniqueId val="{00000003-ABB1-4F0A-ADC2-1FABAC571E0E}"/>
              </c:ext>
            </c:extLst>
          </c:dPt>
          <c:dPt>
            <c:idx val="2"/>
            <c:bubble3D val="0"/>
            <c:spPr>
              <a:solidFill>
                <a:srgbClr val="EB871E"/>
              </a:solidFill>
              <a:ln w="12700">
                <a:solidFill>
                  <a:schemeClr val="bg1"/>
                </a:solidFill>
              </a:ln>
              <a:effectLst/>
            </c:spPr>
            <c:extLst>
              <c:ext xmlns:c16="http://schemas.microsoft.com/office/drawing/2014/chart" uri="{C3380CC4-5D6E-409C-BE32-E72D297353CC}">
                <c16:uniqueId val="{00000005-ABB1-4F0A-ADC2-1FABAC571E0E}"/>
              </c:ext>
            </c:extLst>
          </c:dPt>
          <c:cat>
            <c:strRef>
              <c:f>Sheet1!$A$2:$A$4</c:f>
              <c:strCache>
                <c:ptCount val="3"/>
                <c:pt idx="0">
                  <c:v>1st Qtr</c:v>
                </c:pt>
                <c:pt idx="1">
                  <c:v>2nd Qtr</c:v>
                </c:pt>
                <c:pt idx="2">
                  <c:v>3rd Qtr</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6-ABB1-4F0A-ADC2-1FABAC571E0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0">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0">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00B0F0"/>
              </a:solidFill>
              <a:ln w="12700">
                <a:solidFill>
                  <a:schemeClr val="bg1"/>
                </a:solidFill>
              </a:ln>
              <a:effectLst/>
            </c:spPr>
            <c:extLst>
              <c:ext xmlns:c16="http://schemas.microsoft.com/office/drawing/2014/chart" uri="{C3380CC4-5D6E-409C-BE32-E72D297353CC}">
                <c16:uniqueId val="{00000001-CB7B-489E-B2CE-CDC23B5CB80C}"/>
              </c:ext>
            </c:extLst>
          </c:dPt>
          <c:dPt>
            <c:idx val="1"/>
            <c:bubble3D val="0"/>
            <c:spPr>
              <a:solidFill>
                <a:srgbClr val="00573D"/>
              </a:solidFill>
              <a:ln w="12700">
                <a:solidFill>
                  <a:schemeClr val="bg1"/>
                </a:solidFill>
              </a:ln>
              <a:effectLst/>
            </c:spPr>
            <c:extLst>
              <c:ext xmlns:c16="http://schemas.microsoft.com/office/drawing/2014/chart" uri="{C3380CC4-5D6E-409C-BE32-E72D297353CC}">
                <c16:uniqueId val="{00000003-CB7B-489E-B2CE-CDC23B5CB80C}"/>
              </c:ext>
            </c:extLst>
          </c:dPt>
          <c:dPt>
            <c:idx val="2"/>
            <c:bubble3D val="0"/>
            <c:spPr>
              <a:solidFill>
                <a:srgbClr val="EB871E"/>
              </a:solidFill>
              <a:ln w="12700">
                <a:solidFill>
                  <a:schemeClr val="bg1"/>
                </a:solidFill>
              </a:ln>
              <a:effectLst/>
            </c:spPr>
            <c:extLst>
              <c:ext xmlns:c16="http://schemas.microsoft.com/office/drawing/2014/chart" uri="{C3380CC4-5D6E-409C-BE32-E72D297353CC}">
                <c16:uniqueId val="{00000005-CB7B-489E-B2CE-CDC23B5CB80C}"/>
              </c:ext>
            </c:extLst>
          </c:dPt>
          <c:cat>
            <c:strRef>
              <c:f>Sheet1!$A$2:$A$4</c:f>
              <c:strCache>
                <c:ptCount val="3"/>
                <c:pt idx="0">
                  <c:v>1st Qtr</c:v>
                </c:pt>
                <c:pt idx="1">
                  <c:v>2nd Qtr</c:v>
                </c:pt>
                <c:pt idx="2">
                  <c:v>3rd Qtr</c:v>
                </c:pt>
              </c:strCache>
            </c:strRef>
          </c:cat>
          <c:val>
            <c:numRef>
              <c:f>Sheet1!$B$2:$B$4</c:f>
              <c:numCache>
                <c:formatCode>General</c:formatCode>
                <c:ptCount val="3"/>
                <c:pt idx="0">
                  <c:v>0</c:v>
                </c:pt>
                <c:pt idx="1">
                  <c:v>1</c:v>
                </c:pt>
                <c:pt idx="2">
                  <c:v>1</c:v>
                </c:pt>
              </c:numCache>
            </c:numRef>
          </c:val>
          <c:extLst>
            <c:ext xmlns:c16="http://schemas.microsoft.com/office/drawing/2014/chart" uri="{C3380CC4-5D6E-409C-BE32-E72D297353CC}">
              <c16:uniqueId val="{00000006-CB7B-489E-B2CE-CDC23B5CB80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0">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00B0F0"/>
              </a:solidFill>
              <a:ln w="12700">
                <a:solidFill>
                  <a:schemeClr val="bg1"/>
                </a:solidFill>
              </a:ln>
              <a:effectLst/>
            </c:spPr>
            <c:extLst>
              <c:ext xmlns:c16="http://schemas.microsoft.com/office/drawing/2014/chart" uri="{C3380CC4-5D6E-409C-BE32-E72D297353CC}">
                <c16:uniqueId val="{00000001-6A69-46B7-BE57-2F69B7FF59D2}"/>
              </c:ext>
            </c:extLst>
          </c:dPt>
          <c:dPt>
            <c:idx val="1"/>
            <c:bubble3D val="0"/>
            <c:spPr>
              <a:solidFill>
                <a:srgbClr val="00573D"/>
              </a:solidFill>
              <a:ln w="12700">
                <a:solidFill>
                  <a:schemeClr val="bg1"/>
                </a:solidFill>
              </a:ln>
              <a:effectLst/>
            </c:spPr>
            <c:extLst>
              <c:ext xmlns:c16="http://schemas.microsoft.com/office/drawing/2014/chart" uri="{C3380CC4-5D6E-409C-BE32-E72D297353CC}">
                <c16:uniqueId val="{00000003-6A69-46B7-BE57-2F69B7FF59D2}"/>
              </c:ext>
            </c:extLst>
          </c:dPt>
          <c:dPt>
            <c:idx val="2"/>
            <c:bubble3D val="0"/>
            <c:spPr>
              <a:solidFill>
                <a:srgbClr val="EB871E"/>
              </a:solidFill>
              <a:ln w="12700">
                <a:solidFill>
                  <a:schemeClr val="bg1"/>
                </a:solidFill>
              </a:ln>
              <a:effectLst/>
            </c:spPr>
            <c:extLst>
              <c:ext xmlns:c16="http://schemas.microsoft.com/office/drawing/2014/chart" uri="{C3380CC4-5D6E-409C-BE32-E72D297353CC}">
                <c16:uniqueId val="{00000005-6A69-46B7-BE57-2F69B7FF59D2}"/>
              </c:ext>
            </c:extLst>
          </c:dPt>
          <c:cat>
            <c:strRef>
              <c:f>Sheet1!$A$2:$A$4</c:f>
              <c:strCache>
                <c:ptCount val="3"/>
                <c:pt idx="0">
                  <c:v>1st Qtr</c:v>
                </c:pt>
                <c:pt idx="1">
                  <c:v>2nd Qtr</c:v>
                </c:pt>
                <c:pt idx="2">
                  <c:v>3rd Qtr</c:v>
                </c:pt>
              </c:strCache>
            </c:strRef>
          </c:cat>
          <c:val>
            <c:numRef>
              <c:f>Sheet1!$B$2:$B$4</c:f>
              <c:numCache>
                <c:formatCode>General</c:formatCode>
                <c:ptCount val="3"/>
                <c:pt idx="0">
                  <c:v>1</c:v>
                </c:pt>
                <c:pt idx="1">
                  <c:v>1</c:v>
                </c:pt>
                <c:pt idx="2">
                  <c:v>0</c:v>
                </c:pt>
              </c:numCache>
            </c:numRef>
          </c:val>
          <c:extLst>
            <c:ext xmlns:c16="http://schemas.microsoft.com/office/drawing/2014/chart" uri="{C3380CC4-5D6E-409C-BE32-E72D297353CC}">
              <c16:uniqueId val="{00000006-6A69-46B7-BE57-2F69B7FF59D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0">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en-US" dirty="0"/>
              <a:t>SCD4x Accuracy Specs as a Function of CO</a:t>
            </a:r>
            <a:r>
              <a:rPr lang="en-US" baseline="-25000" dirty="0"/>
              <a:t>2</a:t>
            </a:r>
            <a:r>
              <a:rPr lang="en-US" dirty="0"/>
              <a:t> Gas Concentration</a:t>
            </a:r>
          </a:p>
        </c:rich>
      </c:tx>
      <c:overlay val="0"/>
      <c:spPr>
        <a:noFill/>
        <a:ln>
          <a:noFill/>
        </a:ln>
        <a:effectLst/>
      </c:spPr>
    </c:title>
    <c:autoTitleDeleted val="0"/>
    <c:plotArea>
      <c:layout>
        <c:manualLayout>
          <c:layoutTarget val="inner"/>
          <c:xMode val="edge"/>
          <c:yMode val="edge"/>
          <c:x val="9.0801681649070237E-2"/>
          <c:y val="9.9818076441799825E-2"/>
          <c:w val="0.87352212904525661"/>
          <c:h val="0.67340588759517639"/>
        </c:manualLayout>
      </c:layout>
      <c:scatterChart>
        <c:scatterStyle val="lineMarker"/>
        <c:varyColors val="0"/>
        <c:ser>
          <c:idx val="0"/>
          <c:order val="0"/>
          <c:tx>
            <c:v>RESET Accuracy Spec</c:v>
          </c:tx>
          <c:marker>
            <c:symbol val="none"/>
          </c:marker>
          <c:xVal>
            <c:numRef>
              <c:f>Sheet1!$B$2:$B$50</c:f>
              <c:numCache>
                <c:formatCode>General</c:formatCode>
                <c:ptCount val="49"/>
                <c:pt idx="0">
                  <c:v>400</c:v>
                </c:pt>
                <c:pt idx="1">
                  <c:v>500</c:v>
                </c:pt>
                <c:pt idx="2">
                  <c:v>600</c:v>
                </c:pt>
                <c:pt idx="3">
                  <c:v>700</c:v>
                </c:pt>
                <c:pt idx="4">
                  <c:v>800</c:v>
                </c:pt>
                <c:pt idx="5">
                  <c:v>900</c:v>
                </c:pt>
                <c:pt idx="6">
                  <c:v>1000</c:v>
                </c:pt>
                <c:pt idx="7">
                  <c:v>1001</c:v>
                </c:pt>
                <c:pt idx="8">
                  <c:v>1100</c:v>
                </c:pt>
                <c:pt idx="9">
                  <c:v>1200</c:v>
                </c:pt>
                <c:pt idx="10">
                  <c:v>1300</c:v>
                </c:pt>
                <c:pt idx="11">
                  <c:v>1400</c:v>
                </c:pt>
                <c:pt idx="12">
                  <c:v>1500</c:v>
                </c:pt>
                <c:pt idx="13">
                  <c:v>1600</c:v>
                </c:pt>
                <c:pt idx="14">
                  <c:v>1700</c:v>
                </c:pt>
                <c:pt idx="15">
                  <c:v>1800</c:v>
                </c:pt>
                <c:pt idx="16">
                  <c:v>1900</c:v>
                </c:pt>
                <c:pt idx="17">
                  <c:v>2000</c:v>
                </c:pt>
                <c:pt idx="18">
                  <c:v>2001</c:v>
                </c:pt>
                <c:pt idx="19">
                  <c:v>2100</c:v>
                </c:pt>
                <c:pt idx="20">
                  <c:v>2200</c:v>
                </c:pt>
                <c:pt idx="21">
                  <c:v>2300</c:v>
                </c:pt>
                <c:pt idx="22">
                  <c:v>2400</c:v>
                </c:pt>
                <c:pt idx="23">
                  <c:v>2500</c:v>
                </c:pt>
                <c:pt idx="24">
                  <c:v>2600</c:v>
                </c:pt>
                <c:pt idx="25">
                  <c:v>2700</c:v>
                </c:pt>
                <c:pt idx="26">
                  <c:v>2800</c:v>
                </c:pt>
                <c:pt idx="27">
                  <c:v>2900</c:v>
                </c:pt>
                <c:pt idx="28">
                  <c:v>3000</c:v>
                </c:pt>
                <c:pt idx="29">
                  <c:v>3100</c:v>
                </c:pt>
                <c:pt idx="30">
                  <c:v>3200</c:v>
                </c:pt>
                <c:pt idx="31">
                  <c:v>3300</c:v>
                </c:pt>
                <c:pt idx="32">
                  <c:v>3400</c:v>
                </c:pt>
                <c:pt idx="33">
                  <c:v>3500</c:v>
                </c:pt>
                <c:pt idx="34">
                  <c:v>3600</c:v>
                </c:pt>
                <c:pt idx="35">
                  <c:v>3700</c:v>
                </c:pt>
                <c:pt idx="36">
                  <c:v>3800</c:v>
                </c:pt>
                <c:pt idx="37">
                  <c:v>3900</c:v>
                </c:pt>
                <c:pt idx="38">
                  <c:v>4000</c:v>
                </c:pt>
                <c:pt idx="39">
                  <c:v>4100</c:v>
                </c:pt>
                <c:pt idx="40">
                  <c:v>4200</c:v>
                </c:pt>
                <c:pt idx="41">
                  <c:v>4300</c:v>
                </c:pt>
                <c:pt idx="42">
                  <c:v>4400</c:v>
                </c:pt>
                <c:pt idx="43">
                  <c:v>4500</c:v>
                </c:pt>
                <c:pt idx="44">
                  <c:v>4600</c:v>
                </c:pt>
                <c:pt idx="45">
                  <c:v>4700</c:v>
                </c:pt>
                <c:pt idx="46">
                  <c:v>4800</c:v>
                </c:pt>
                <c:pt idx="47">
                  <c:v>4900</c:v>
                </c:pt>
                <c:pt idx="48">
                  <c:v>5000</c:v>
                </c:pt>
              </c:numCache>
            </c:numRef>
          </c:xVal>
          <c:yVal>
            <c:numRef>
              <c:f>Sheet1!$E$2:$E$50</c:f>
              <c:numCache>
                <c:formatCode>General</c:formatCode>
                <c:ptCount val="49"/>
                <c:pt idx="0">
                  <c:v>62</c:v>
                </c:pt>
                <c:pt idx="1">
                  <c:v>65</c:v>
                </c:pt>
                <c:pt idx="2">
                  <c:v>68</c:v>
                </c:pt>
                <c:pt idx="3">
                  <c:v>71</c:v>
                </c:pt>
                <c:pt idx="4">
                  <c:v>74</c:v>
                </c:pt>
                <c:pt idx="5">
                  <c:v>77</c:v>
                </c:pt>
                <c:pt idx="6">
                  <c:v>80</c:v>
                </c:pt>
                <c:pt idx="7">
                  <c:v>80.03</c:v>
                </c:pt>
                <c:pt idx="8">
                  <c:v>83</c:v>
                </c:pt>
                <c:pt idx="9">
                  <c:v>86</c:v>
                </c:pt>
                <c:pt idx="10">
                  <c:v>89</c:v>
                </c:pt>
                <c:pt idx="11">
                  <c:v>92</c:v>
                </c:pt>
                <c:pt idx="12">
                  <c:v>95</c:v>
                </c:pt>
                <c:pt idx="13">
                  <c:v>98</c:v>
                </c:pt>
                <c:pt idx="14">
                  <c:v>101</c:v>
                </c:pt>
                <c:pt idx="15">
                  <c:v>104</c:v>
                </c:pt>
                <c:pt idx="16">
                  <c:v>107</c:v>
                </c:pt>
                <c:pt idx="17">
                  <c:v>110</c:v>
                </c:pt>
                <c:pt idx="18">
                  <c:v>150.05000000000001</c:v>
                </c:pt>
                <c:pt idx="19">
                  <c:v>155</c:v>
                </c:pt>
                <c:pt idx="20">
                  <c:v>160</c:v>
                </c:pt>
                <c:pt idx="21">
                  <c:v>165</c:v>
                </c:pt>
                <c:pt idx="22">
                  <c:v>170</c:v>
                </c:pt>
                <c:pt idx="23">
                  <c:v>175</c:v>
                </c:pt>
                <c:pt idx="24">
                  <c:v>180</c:v>
                </c:pt>
                <c:pt idx="25">
                  <c:v>185</c:v>
                </c:pt>
                <c:pt idx="26">
                  <c:v>190</c:v>
                </c:pt>
                <c:pt idx="27">
                  <c:v>195</c:v>
                </c:pt>
                <c:pt idx="28">
                  <c:v>200</c:v>
                </c:pt>
                <c:pt idx="29">
                  <c:v>205</c:v>
                </c:pt>
                <c:pt idx="30">
                  <c:v>210</c:v>
                </c:pt>
                <c:pt idx="31">
                  <c:v>215</c:v>
                </c:pt>
                <c:pt idx="32">
                  <c:v>220</c:v>
                </c:pt>
                <c:pt idx="33">
                  <c:v>225</c:v>
                </c:pt>
                <c:pt idx="34">
                  <c:v>230</c:v>
                </c:pt>
                <c:pt idx="35">
                  <c:v>235</c:v>
                </c:pt>
                <c:pt idx="36">
                  <c:v>240</c:v>
                </c:pt>
                <c:pt idx="37">
                  <c:v>245</c:v>
                </c:pt>
                <c:pt idx="38">
                  <c:v>250</c:v>
                </c:pt>
                <c:pt idx="39">
                  <c:v>255</c:v>
                </c:pt>
                <c:pt idx="40">
                  <c:v>260</c:v>
                </c:pt>
                <c:pt idx="41">
                  <c:v>265</c:v>
                </c:pt>
                <c:pt idx="42">
                  <c:v>270</c:v>
                </c:pt>
                <c:pt idx="43">
                  <c:v>275</c:v>
                </c:pt>
                <c:pt idx="44">
                  <c:v>280</c:v>
                </c:pt>
                <c:pt idx="45">
                  <c:v>285</c:v>
                </c:pt>
                <c:pt idx="46">
                  <c:v>290</c:v>
                </c:pt>
                <c:pt idx="47">
                  <c:v>295</c:v>
                </c:pt>
                <c:pt idx="48">
                  <c:v>300</c:v>
                </c:pt>
              </c:numCache>
            </c:numRef>
          </c:yVal>
          <c:smooth val="0"/>
          <c:extLst>
            <c:ext xmlns:c16="http://schemas.microsoft.com/office/drawing/2014/chart" uri="{C3380CC4-5D6E-409C-BE32-E72D297353CC}">
              <c16:uniqueId val="{00000000-C6D6-4B2C-9D57-F0730E4E3228}"/>
            </c:ext>
          </c:extLst>
        </c:ser>
        <c:ser>
          <c:idx val="2"/>
          <c:order val="1"/>
          <c:tx>
            <c:strRef>
              <c:f>Sheet1!$C$1</c:f>
              <c:strCache>
                <c:ptCount val="1"/>
                <c:pt idx="0">
                  <c:v>SCD42 Accuracy Spec</c:v>
                </c:pt>
              </c:strCache>
            </c:strRef>
          </c:tx>
          <c:spPr>
            <a:ln>
              <a:solidFill>
                <a:schemeClr val="accent1"/>
              </a:solidFill>
              <a:prstDash val="sysDash"/>
            </a:ln>
          </c:spPr>
          <c:marker>
            <c:symbol val="none"/>
          </c:marker>
          <c:xVal>
            <c:numRef>
              <c:f>Sheet1!$B$2:$B$19</c:f>
              <c:numCache>
                <c:formatCode>General</c:formatCode>
                <c:ptCount val="18"/>
                <c:pt idx="0">
                  <c:v>400</c:v>
                </c:pt>
                <c:pt idx="1">
                  <c:v>500</c:v>
                </c:pt>
                <c:pt idx="2">
                  <c:v>600</c:v>
                </c:pt>
                <c:pt idx="3">
                  <c:v>700</c:v>
                </c:pt>
                <c:pt idx="4">
                  <c:v>800</c:v>
                </c:pt>
                <c:pt idx="5">
                  <c:v>900</c:v>
                </c:pt>
                <c:pt idx="6">
                  <c:v>1000</c:v>
                </c:pt>
                <c:pt idx="7">
                  <c:v>1001</c:v>
                </c:pt>
                <c:pt idx="8">
                  <c:v>1100</c:v>
                </c:pt>
                <c:pt idx="9">
                  <c:v>1200</c:v>
                </c:pt>
                <c:pt idx="10">
                  <c:v>1300</c:v>
                </c:pt>
                <c:pt idx="11">
                  <c:v>1400</c:v>
                </c:pt>
                <c:pt idx="12">
                  <c:v>1500</c:v>
                </c:pt>
                <c:pt idx="13">
                  <c:v>1600</c:v>
                </c:pt>
                <c:pt idx="14">
                  <c:v>1700</c:v>
                </c:pt>
                <c:pt idx="15">
                  <c:v>1800</c:v>
                </c:pt>
                <c:pt idx="16">
                  <c:v>1900</c:v>
                </c:pt>
                <c:pt idx="17">
                  <c:v>2000</c:v>
                </c:pt>
              </c:numCache>
            </c:numRef>
          </c:xVal>
          <c:yVal>
            <c:numRef>
              <c:f>Sheet1!$C$2:$C$19</c:f>
              <c:numCache>
                <c:formatCode>General</c:formatCode>
                <c:ptCount val="18"/>
                <c:pt idx="0">
                  <c:v>75</c:v>
                </c:pt>
                <c:pt idx="1">
                  <c:v>75</c:v>
                </c:pt>
                <c:pt idx="2">
                  <c:v>75</c:v>
                </c:pt>
                <c:pt idx="3">
                  <c:v>75</c:v>
                </c:pt>
                <c:pt idx="4">
                  <c:v>75</c:v>
                </c:pt>
                <c:pt idx="5">
                  <c:v>75</c:v>
                </c:pt>
                <c:pt idx="6">
                  <c:v>75</c:v>
                </c:pt>
                <c:pt idx="7">
                  <c:v>90.050000000000011</c:v>
                </c:pt>
                <c:pt idx="8">
                  <c:v>95</c:v>
                </c:pt>
                <c:pt idx="9">
                  <c:v>100</c:v>
                </c:pt>
                <c:pt idx="10">
                  <c:v>105</c:v>
                </c:pt>
                <c:pt idx="11">
                  <c:v>110</c:v>
                </c:pt>
                <c:pt idx="12">
                  <c:v>115</c:v>
                </c:pt>
                <c:pt idx="13">
                  <c:v>120</c:v>
                </c:pt>
                <c:pt idx="14">
                  <c:v>125</c:v>
                </c:pt>
                <c:pt idx="15">
                  <c:v>130</c:v>
                </c:pt>
                <c:pt idx="16">
                  <c:v>135</c:v>
                </c:pt>
                <c:pt idx="17">
                  <c:v>140</c:v>
                </c:pt>
              </c:numCache>
            </c:numRef>
          </c:yVal>
          <c:smooth val="0"/>
          <c:extLst>
            <c:ext xmlns:c16="http://schemas.microsoft.com/office/drawing/2014/chart" uri="{C3380CC4-5D6E-409C-BE32-E72D297353CC}">
              <c16:uniqueId val="{00000001-C6D6-4B2C-9D57-F0730E4E3228}"/>
            </c:ext>
          </c:extLst>
        </c:ser>
        <c:ser>
          <c:idx val="4"/>
          <c:order val="2"/>
          <c:tx>
            <c:strRef>
              <c:f>Sheet1!$D$1</c:f>
              <c:strCache>
                <c:ptCount val="1"/>
                <c:pt idx="0">
                  <c:v>SCD41 Accuracy Spec</c:v>
                </c:pt>
              </c:strCache>
            </c:strRef>
          </c:tx>
          <c:spPr>
            <a:ln>
              <a:solidFill>
                <a:schemeClr val="accent1"/>
              </a:solidFill>
              <a:prstDash val="sysDot"/>
            </a:ln>
          </c:spPr>
          <c:marker>
            <c:symbol val="none"/>
          </c:marker>
          <c:xVal>
            <c:numRef>
              <c:f>Sheet1!$B$2:$B$50</c:f>
              <c:numCache>
                <c:formatCode>General</c:formatCode>
                <c:ptCount val="49"/>
                <c:pt idx="0">
                  <c:v>400</c:v>
                </c:pt>
                <c:pt idx="1">
                  <c:v>500</c:v>
                </c:pt>
                <c:pt idx="2">
                  <c:v>600</c:v>
                </c:pt>
                <c:pt idx="3">
                  <c:v>700</c:v>
                </c:pt>
                <c:pt idx="4">
                  <c:v>800</c:v>
                </c:pt>
                <c:pt idx="5">
                  <c:v>900</c:v>
                </c:pt>
                <c:pt idx="6">
                  <c:v>1000</c:v>
                </c:pt>
                <c:pt idx="7">
                  <c:v>1001</c:v>
                </c:pt>
                <c:pt idx="8">
                  <c:v>1100</c:v>
                </c:pt>
                <c:pt idx="9">
                  <c:v>1200</c:v>
                </c:pt>
                <c:pt idx="10">
                  <c:v>1300</c:v>
                </c:pt>
                <c:pt idx="11">
                  <c:v>1400</c:v>
                </c:pt>
                <c:pt idx="12">
                  <c:v>1500</c:v>
                </c:pt>
                <c:pt idx="13">
                  <c:v>1600</c:v>
                </c:pt>
                <c:pt idx="14">
                  <c:v>1700</c:v>
                </c:pt>
                <c:pt idx="15">
                  <c:v>1800</c:v>
                </c:pt>
                <c:pt idx="16">
                  <c:v>1900</c:v>
                </c:pt>
                <c:pt idx="17">
                  <c:v>2000</c:v>
                </c:pt>
                <c:pt idx="18">
                  <c:v>2001</c:v>
                </c:pt>
                <c:pt idx="19">
                  <c:v>2100</c:v>
                </c:pt>
                <c:pt idx="20">
                  <c:v>2200</c:v>
                </c:pt>
                <c:pt idx="21">
                  <c:v>2300</c:v>
                </c:pt>
                <c:pt idx="22">
                  <c:v>2400</c:v>
                </c:pt>
                <c:pt idx="23">
                  <c:v>2500</c:v>
                </c:pt>
                <c:pt idx="24">
                  <c:v>2600</c:v>
                </c:pt>
                <c:pt idx="25">
                  <c:v>2700</c:v>
                </c:pt>
                <c:pt idx="26">
                  <c:v>2800</c:v>
                </c:pt>
                <c:pt idx="27">
                  <c:v>2900</c:v>
                </c:pt>
                <c:pt idx="28">
                  <c:v>3000</c:v>
                </c:pt>
                <c:pt idx="29">
                  <c:v>3100</c:v>
                </c:pt>
                <c:pt idx="30">
                  <c:v>3200</c:v>
                </c:pt>
                <c:pt idx="31">
                  <c:v>3300</c:v>
                </c:pt>
                <c:pt idx="32">
                  <c:v>3400</c:v>
                </c:pt>
                <c:pt idx="33">
                  <c:v>3500</c:v>
                </c:pt>
                <c:pt idx="34">
                  <c:v>3600</c:v>
                </c:pt>
                <c:pt idx="35">
                  <c:v>3700</c:v>
                </c:pt>
                <c:pt idx="36">
                  <c:v>3800</c:v>
                </c:pt>
                <c:pt idx="37">
                  <c:v>3900</c:v>
                </c:pt>
                <c:pt idx="38">
                  <c:v>4000</c:v>
                </c:pt>
                <c:pt idx="39">
                  <c:v>4100</c:v>
                </c:pt>
                <c:pt idx="40">
                  <c:v>4200</c:v>
                </c:pt>
                <c:pt idx="41">
                  <c:v>4300</c:v>
                </c:pt>
                <c:pt idx="42">
                  <c:v>4400</c:v>
                </c:pt>
                <c:pt idx="43">
                  <c:v>4500</c:v>
                </c:pt>
                <c:pt idx="44">
                  <c:v>4600</c:v>
                </c:pt>
                <c:pt idx="45">
                  <c:v>4700</c:v>
                </c:pt>
                <c:pt idx="46">
                  <c:v>4800</c:v>
                </c:pt>
                <c:pt idx="47">
                  <c:v>4900</c:v>
                </c:pt>
                <c:pt idx="48">
                  <c:v>5000</c:v>
                </c:pt>
              </c:numCache>
            </c:numRef>
          </c:xVal>
          <c:yVal>
            <c:numRef>
              <c:f>Sheet1!$D$2:$D$50</c:f>
              <c:numCache>
                <c:formatCode>General</c:formatCode>
                <c:ptCount val="49"/>
                <c:pt idx="0">
                  <c:v>60</c:v>
                </c:pt>
                <c:pt idx="1">
                  <c:v>65</c:v>
                </c:pt>
                <c:pt idx="2">
                  <c:v>70</c:v>
                </c:pt>
                <c:pt idx="3">
                  <c:v>75</c:v>
                </c:pt>
                <c:pt idx="4">
                  <c:v>80</c:v>
                </c:pt>
                <c:pt idx="5">
                  <c:v>85</c:v>
                </c:pt>
                <c:pt idx="6">
                  <c:v>90</c:v>
                </c:pt>
                <c:pt idx="7">
                  <c:v>90.050000000000011</c:v>
                </c:pt>
                <c:pt idx="8">
                  <c:v>95</c:v>
                </c:pt>
                <c:pt idx="9">
                  <c:v>100</c:v>
                </c:pt>
                <c:pt idx="10">
                  <c:v>105</c:v>
                </c:pt>
                <c:pt idx="11">
                  <c:v>110</c:v>
                </c:pt>
                <c:pt idx="12">
                  <c:v>115</c:v>
                </c:pt>
                <c:pt idx="13">
                  <c:v>120</c:v>
                </c:pt>
                <c:pt idx="14">
                  <c:v>125</c:v>
                </c:pt>
                <c:pt idx="15">
                  <c:v>130</c:v>
                </c:pt>
                <c:pt idx="16">
                  <c:v>135</c:v>
                </c:pt>
                <c:pt idx="17">
                  <c:v>140</c:v>
                </c:pt>
                <c:pt idx="18">
                  <c:v>140.05000000000001</c:v>
                </c:pt>
                <c:pt idx="19">
                  <c:v>145</c:v>
                </c:pt>
                <c:pt idx="20">
                  <c:v>150</c:v>
                </c:pt>
                <c:pt idx="21">
                  <c:v>155</c:v>
                </c:pt>
                <c:pt idx="22">
                  <c:v>160</c:v>
                </c:pt>
                <c:pt idx="23">
                  <c:v>165</c:v>
                </c:pt>
                <c:pt idx="24">
                  <c:v>170</c:v>
                </c:pt>
                <c:pt idx="25">
                  <c:v>175</c:v>
                </c:pt>
                <c:pt idx="26">
                  <c:v>180</c:v>
                </c:pt>
                <c:pt idx="27">
                  <c:v>185</c:v>
                </c:pt>
                <c:pt idx="28">
                  <c:v>190</c:v>
                </c:pt>
                <c:pt idx="29">
                  <c:v>195</c:v>
                </c:pt>
                <c:pt idx="30">
                  <c:v>200</c:v>
                </c:pt>
                <c:pt idx="31">
                  <c:v>205</c:v>
                </c:pt>
                <c:pt idx="32">
                  <c:v>210</c:v>
                </c:pt>
                <c:pt idx="33">
                  <c:v>215</c:v>
                </c:pt>
                <c:pt idx="34">
                  <c:v>220</c:v>
                </c:pt>
                <c:pt idx="35">
                  <c:v>225</c:v>
                </c:pt>
                <c:pt idx="36">
                  <c:v>230</c:v>
                </c:pt>
                <c:pt idx="37">
                  <c:v>235</c:v>
                </c:pt>
                <c:pt idx="38">
                  <c:v>240</c:v>
                </c:pt>
                <c:pt idx="39">
                  <c:v>245</c:v>
                </c:pt>
                <c:pt idx="40">
                  <c:v>250</c:v>
                </c:pt>
                <c:pt idx="41">
                  <c:v>255</c:v>
                </c:pt>
                <c:pt idx="42">
                  <c:v>260</c:v>
                </c:pt>
                <c:pt idx="43">
                  <c:v>265</c:v>
                </c:pt>
                <c:pt idx="44">
                  <c:v>270</c:v>
                </c:pt>
                <c:pt idx="45">
                  <c:v>275</c:v>
                </c:pt>
                <c:pt idx="46">
                  <c:v>280</c:v>
                </c:pt>
                <c:pt idx="47">
                  <c:v>285</c:v>
                </c:pt>
                <c:pt idx="48">
                  <c:v>290</c:v>
                </c:pt>
              </c:numCache>
            </c:numRef>
          </c:yVal>
          <c:smooth val="0"/>
          <c:extLst>
            <c:ext xmlns:c16="http://schemas.microsoft.com/office/drawing/2014/chart" uri="{C3380CC4-5D6E-409C-BE32-E72D297353CC}">
              <c16:uniqueId val="{00000002-C6D6-4B2C-9D57-F0730E4E3228}"/>
            </c:ext>
          </c:extLst>
        </c:ser>
        <c:ser>
          <c:idx val="5"/>
          <c:order val="3"/>
          <c:tx>
            <c:v>New SCD41 Accuracy Spec</c:v>
          </c:tx>
          <c:spPr>
            <a:ln>
              <a:solidFill>
                <a:srgbClr val="92D050"/>
              </a:solidFill>
            </a:ln>
          </c:spPr>
          <c:marker>
            <c:symbol val="none"/>
          </c:marker>
          <c:xVal>
            <c:numRef>
              <c:f>Sheet1!$B$2:$B$50</c:f>
              <c:numCache>
                <c:formatCode>General</c:formatCode>
                <c:ptCount val="49"/>
                <c:pt idx="0">
                  <c:v>400</c:v>
                </c:pt>
                <c:pt idx="1">
                  <c:v>500</c:v>
                </c:pt>
                <c:pt idx="2">
                  <c:v>600</c:v>
                </c:pt>
                <c:pt idx="3">
                  <c:v>700</c:v>
                </c:pt>
                <c:pt idx="4">
                  <c:v>800</c:v>
                </c:pt>
                <c:pt idx="5">
                  <c:v>900</c:v>
                </c:pt>
                <c:pt idx="6">
                  <c:v>1000</c:v>
                </c:pt>
                <c:pt idx="7">
                  <c:v>1001</c:v>
                </c:pt>
                <c:pt idx="8">
                  <c:v>1100</c:v>
                </c:pt>
                <c:pt idx="9">
                  <c:v>1200</c:v>
                </c:pt>
                <c:pt idx="10">
                  <c:v>1300</c:v>
                </c:pt>
                <c:pt idx="11">
                  <c:v>1400</c:v>
                </c:pt>
                <c:pt idx="12">
                  <c:v>1500</c:v>
                </c:pt>
                <c:pt idx="13">
                  <c:v>1600</c:v>
                </c:pt>
                <c:pt idx="14">
                  <c:v>1700</c:v>
                </c:pt>
                <c:pt idx="15">
                  <c:v>1800</c:v>
                </c:pt>
                <c:pt idx="16">
                  <c:v>1900</c:v>
                </c:pt>
                <c:pt idx="17">
                  <c:v>2000</c:v>
                </c:pt>
                <c:pt idx="18">
                  <c:v>2001</c:v>
                </c:pt>
                <c:pt idx="19">
                  <c:v>2100</c:v>
                </c:pt>
                <c:pt idx="20">
                  <c:v>2200</c:v>
                </c:pt>
                <c:pt idx="21">
                  <c:v>2300</c:v>
                </c:pt>
                <c:pt idx="22">
                  <c:v>2400</c:v>
                </c:pt>
                <c:pt idx="23">
                  <c:v>2500</c:v>
                </c:pt>
                <c:pt idx="24">
                  <c:v>2600</c:v>
                </c:pt>
                <c:pt idx="25">
                  <c:v>2700</c:v>
                </c:pt>
                <c:pt idx="26">
                  <c:v>2800</c:v>
                </c:pt>
                <c:pt idx="27">
                  <c:v>2900</c:v>
                </c:pt>
                <c:pt idx="28">
                  <c:v>3000</c:v>
                </c:pt>
                <c:pt idx="29">
                  <c:v>3100</c:v>
                </c:pt>
                <c:pt idx="30">
                  <c:v>3200</c:v>
                </c:pt>
                <c:pt idx="31">
                  <c:v>3300</c:v>
                </c:pt>
                <c:pt idx="32">
                  <c:v>3400</c:v>
                </c:pt>
                <c:pt idx="33">
                  <c:v>3500</c:v>
                </c:pt>
                <c:pt idx="34">
                  <c:v>3600</c:v>
                </c:pt>
                <c:pt idx="35">
                  <c:v>3700</c:v>
                </c:pt>
                <c:pt idx="36">
                  <c:v>3800</c:v>
                </c:pt>
                <c:pt idx="37">
                  <c:v>3900</c:v>
                </c:pt>
                <c:pt idx="38">
                  <c:v>4000</c:v>
                </c:pt>
                <c:pt idx="39">
                  <c:v>4100</c:v>
                </c:pt>
                <c:pt idx="40">
                  <c:v>4200</c:v>
                </c:pt>
                <c:pt idx="41">
                  <c:v>4300</c:v>
                </c:pt>
                <c:pt idx="42">
                  <c:v>4400</c:v>
                </c:pt>
                <c:pt idx="43">
                  <c:v>4500</c:v>
                </c:pt>
                <c:pt idx="44">
                  <c:v>4600</c:v>
                </c:pt>
                <c:pt idx="45">
                  <c:v>4700</c:v>
                </c:pt>
                <c:pt idx="46">
                  <c:v>4800</c:v>
                </c:pt>
                <c:pt idx="47">
                  <c:v>4900</c:v>
                </c:pt>
                <c:pt idx="48">
                  <c:v>5000</c:v>
                </c:pt>
              </c:numCache>
            </c:numRef>
          </c:xVal>
          <c:yVal>
            <c:numRef>
              <c:f>Sheet1!$F$2:$F$50</c:f>
              <c:numCache>
                <c:formatCode>General</c:formatCode>
                <c:ptCount val="49"/>
                <c:pt idx="0">
                  <c:v>60</c:v>
                </c:pt>
                <c:pt idx="1">
                  <c:v>62.5</c:v>
                </c:pt>
                <c:pt idx="2">
                  <c:v>65</c:v>
                </c:pt>
                <c:pt idx="3">
                  <c:v>67.5</c:v>
                </c:pt>
                <c:pt idx="4">
                  <c:v>70</c:v>
                </c:pt>
                <c:pt idx="5">
                  <c:v>72.5</c:v>
                </c:pt>
                <c:pt idx="6">
                  <c:v>75</c:v>
                </c:pt>
                <c:pt idx="7">
                  <c:v>80.03</c:v>
                </c:pt>
                <c:pt idx="8">
                  <c:v>83</c:v>
                </c:pt>
                <c:pt idx="9">
                  <c:v>86</c:v>
                </c:pt>
                <c:pt idx="10">
                  <c:v>89</c:v>
                </c:pt>
                <c:pt idx="11">
                  <c:v>92</c:v>
                </c:pt>
                <c:pt idx="12">
                  <c:v>95</c:v>
                </c:pt>
                <c:pt idx="13">
                  <c:v>98</c:v>
                </c:pt>
                <c:pt idx="14">
                  <c:v>101</c:v>
                </c:pt>
                <c:pt idx="15">
                  <c:v>104</c:v>
                </c:pt>
                <c:pt idx="16">
                  <c:v>107</c:v>
                </c:pt>
                <c:pt idx="17">
                  <c:v>110</c:v>
                </c:pt>
                <c:pt idx="18">
                  <c:v>140.05000000000001</c:v>
                </c:pt>
                <c:pt idx="19">
                  <c:v>145</c:v>
                </c:pt>
                <c:pt idx="20">
                  <c:v>150</c:v>
                </c:pt>
                <c:pt idx="21">
                  <c:v>155</c:v>
                </c:pt>
                <c:pt idx="22">
                  <c:v>160</c:v>
                </c:pt>
                <c:pt idx="23">
                  <c:v>165</c:v>
                </c:pt>
                <c:pt idx="24">
                  <c:v>170</c:v>
                </c:pt>
                <c:pt idx="25">
                  <c:v>175</c:v>
                </c:pt>
                <c:pt idx="26">
                  <c:v>180</c:v>
                </c:pt>
                <c:pt idx="27">
                  <c:v>185</c:v>
                </c:pt>
                <c:pt idx="28">
                  <c:v>190</c:v>
                </c:pt>
                <c:pt idx="29">
                  <c:v>195</c:v>
                </c:pt>
                <c:pt idx="30">
                  <c:v>200</c:v>
                </c:pt>
                <c:pt idx="31">
                  <c:v>205</c:v>
                </c:pt>
                <c:pt idx="32">
                  <c:v>210</c:v>
                </c:pt>
                <c:pt idx="33">
                  <c:v>215</c:v>
                </c:pt>
                <c:pt idx="34">
                  <c:v>220</c:v>
                </c:pt>
                <c:pt idx="35">
                  <c:v>225</c:v>
                </c:pt>
                <c:pt idx="36">
                  <c:v>230</c:v>
                </c:pt>
                <c:pt idx="37">
                  <c:v>235</c:v>
                </c:pt>
                <c:pt idx="38">
                  <c:v>240</c:v>
                </c:pt>
                <c:pt idx="39">
                  <c:v>245</c:v>
                </c:pt>
                <c:pt idx="40">
                  <c:v>250</c:v>
                </c:pt>
                <c:pt idx="41">
                  <c:v>255</c:v>
                </c:pt>
                <c:pt idx="42">
                  <c:v>260</c:v>
                </c:pt>
                <c:pt idx="43">
                  <c:v>265</c:v>
                </c:pt>
                <c:pt idx="44">
                  <c:v>270</c:v>
                </c:pt>
                <c:pt idx="45">
                  <c:v>275</c:v>
                </c:pt>
                <c:pt idx="46">
                  <c:v>280</c:v>
                </c:pt>
                <c:pt idx="47">
                  <c:v>285</c:v>
                </c:pt>
                <c:pt idx="48">
                  <c:v>290</c:v>
                </c:pt>
              </c:numCache>
            </c:numRef>
          </c:yVal>
          <c:smooth val="0"/>
          <c:extLst>
            <c:ext xmlns:c16="http://schemas.microsoft.com/office/drawing/2014/chart" uri="{C3380CC4-5D6E-409C-BE32-E72D297353CC}">
              <c16:uniqueId val="{00000003-C6D6-4B2C-9D57-F0730E4E3228}"/>
            </c:ext>
          </c:extLst>
        </c:ser>
        <c:dLbls>
          <c:showLegendKey val="0"/>
          <c:showVal val="0"/>
          <c:showCatName val="0"/>
          <c:showSerName val="0"/>
          <c:showPercent val="0"/>
          <c:showBubbleSize val="0"/>
        </c:dLbls>
        <c:axId val="1084544016"/>
        <c:axId val="1089137720"/>
      </c:scatterChart>
      <c:valAx>
        <c:axId val="1084544016"/>
        <c:scaling>
          <c:orientation val="minMax"/>
          <c:max val="5000"/>
          <c:min val="250"/>
        </c:scaling>
        <c:delete val="0"/>
        <c:axPos val="b"/>
        <c:majorGridlines>
          <c:spPr>
            <a:ln w="9525" cap="flat" cmpd="sng" algn="ctr">
              <a:solidFill>
                <a:schemeClr val="tx1">
                  <a:lumMod val="15000"/>
                  <a:lumOff val="85000"/>
                </a:schemeClr>
              </a:solidFill>
              <a:round/>
            </a:ln>
            <a:effectLst/>
          </c:spPr>
        </c:majorGridlines>
        <c:title>
          <c:tx>
            <c:rich>
              <a:bodyPr rot="0" vert="horz"/>
              <a:lstStyle/>
              <a:p>
                <a:pPr>
                  <a:defRPr/>
                </a:pPr>
                <a:r>
                  <a:rPr lang="en-US" dirty="0"/>
                  <a:t>CO</a:t>
                </a:r>
                <a:r>
                  <a:rPr lang="en-US" baseline="-25000" dirty="0"/>
                  <a:t>2</a:t>
                </a:r>
                <a:r>
                  <a:rPr lang="en-US" dirty="0"/>
                  <a:t> Gas Concentration (ppm)</a:t>
                </a:r>
              </a:p>
            </c:rich>
          </c:tx>
          <c:overlay val="0"/>
          <c:spPr>
            <a:noFill/>
            <a:ln>
              <a:noFill/>
            </a:ln>
            <a:effectLst/>
          </c:spPr>
        </c:title>
        <c:numFmt formatCode="General" sourceLinked="1"/>
        <c:majorTickMark val="out"/>
        <c:minorTickMark val="out"/>
        <c:tickLblPos val="nextTo"/>
        <c:spPr>
          <a:noFill/>
          <a:ln w="9525" cap="flat" cmpd="sng" algn="ctr">
            <a:solidFill>
              <a:schemeClr val="tx1">
                <a:lumMod val="25000"/>
                <a:lumOff val="75000"/>
              </a:schemeClr>
            </a:solidFill>
            <a:round/>
          </a:ln>
          <a:effectLst/>
        </c:spPr>
        <c:txPr>
          <a:bodyPr rot="-60000000" vert="horz"/>
          <a:lstStyle/>
          <a:p>
            <a:pPr>
              <a:defRPr/>
            </a:pPr>
            <a:endParaRPr lang="en-US"/>
          </a:p>
        </c:txPr>
        <c:crossAx val="1089137720"/>
        <c:crosses val="autoZero"/>
        <c:crossBetween val="midCat"/>
        <c:majorUnit val="250"/>
        <c:minorUnit val="50"/>
      </c:valAx>
      <c:valAx>
        <c:axId val="1089137720"/>
        <c:scaling>
          <c:orientation val="minMax"/>
          <c:max val="300"/>
          <c:min val="50"/>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en-US"/>
                  <a:t>Accuracy Specification (±ppm)</a:t>
                </a:r>
              </a:p>
            </c:rich>
          </c:tx>
          <c:overlay val="0"/>
          <c:spPr>
            <a:noFill/>
            <a:ln>
              <a:noFill/>
            </a:ln>
            <a:effectLst/>
          </c:spPr>
        </c:title>
        <c:numFmt formatCode="General" sourceLinked="1"/>
        <c:majorTickMark val="out"/>
        <c:minorTickMark val="out"/>
        <c:tickLblPos val="nextTo"/>
        <c:spPr>
          <a:noFill/>
          <a:ln w="9525" cap="flat" cmpd="sng" algn="ctr">
            <a:solidFill>
              <a:schemeClr val="tx1">
                <a:lumMod val="25000"/>
                <a:lumOff val="75000"/>
              </a:schemeClr>
            </a:solidFill>
            <a:round/>
          </a:ln>
          <a:effectLst/>
        </c:spPr>
        <c:txPr>
          <a:bodyPr rot="-60000000" vert="horz"/>
          <a:lstStyle/>
          <a:p>
            <a:pPr>
              <a:defRPr/>
            </a:pPr>
            <a:endParaRPr lang="en-US"/>
          </a:p>
        </c:txPr>
        <c:crossAx val="1084544016"/>
        <c:crosses val="autoZero"/>
        <c:crossBetween val="midCat"/>
        <c:majorUnit val="25"/>
      </c:valAx>
    </c:plotArea>
    <c:legend>
      <c:legendPos val="b"/>
      <c:layout>
        <c:manualLayout>
          <c:xMode val="edge"/>
          <c:yMode val="edge"/>
          <c:x val="5.5303898273989717E-2"/>
          <c:y val="0.88580725105457103"/>
          <c:w val="0.93098890886695873"/>
          <c:h val="0.10073672975420804"/>
        </c:manualLayout>
      </c:layout>
      <c:overlay val="0"/>
      <c:spPr>
        <a:noFill/>
        <a:ln>
          <a:noFill/>
        </a:ln>
        <a:effectLst/>
      </c:spPr>
      <c:txPr>
        <a:bodyPr rot="0" vert="horz"/>
        <a:lstStyle/>
        <a:p>
          <a:pPr>
            <a:defRPr/>
          </a:pPr>
          <a:endParaRPr lang="en-US"/>
        </a:p>
      </c:txPr>
    </c:legend>
    <c:plotVisOnly val="1"/>
    <c:dispBlanksAs val="gap"/>
    <c:showDLblsOverMax val="0"/>
    <c:extLst/>
  </c:chart>
  <c:txPr>
    <a:bodyPr/>
    <a:lstStyle/>
    <a:p>
      <a:pPr>
        <a:defRPr sz="11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8626021288632"/>
          <c:y val="4.604834760371844E-2"/>
          <c:w val="0.81924271930360215"/>
          <c:h val="0.66982783804724111"/>
        </c:manualLayout>
      </c:layout>
      <c:scatterChart>
        <c:scatterStyle val="lineMarker"/>
        <c:varyColors val="0"/>
        <c:ser>
          <c:idx val="0"/>
          <c:order val="0"/>
          <c:tx>
            <c:v>RESET Accuracy Spec</c:v>
          </c:tx>
          <c:marker>
            <c:symbol val="none"/>
          </c:marker>
          <c:xVal>
            <c:numRef>
              <c:f>Sheet1!$B$2:$B$50</c:f>
              <c:numCache>
                <c:formatCode>General</c:formatCode>
                <c:ptCount val="49"/>
                <c:pt idx="0">
                  <c:v>400</c:v>
                </c:pt>
                <c:pt idx="1">
                  <c:v>500</c:v>
                </c:pt>
                <c:pt idx="2">
                  <c:v>600</c:v>
                </c:pt>
                <c:pt idx="3">
                  <c:v>700</c:v>
                </c:pt>
                <c:pt idx="4">
                  <c:v>800</c:v>
                </c:pt>
                <c:pt idx="5">
                  <c:v>900</c:v>
                </c:pt>
                <c:pt idx="6">
                  <c:v>1000</c:v>
                </c:pt>
                <c:pt idx="7">
                  <c:v>1001</c:v>
                </c:pt>
                <c:pt idx="8">
                  <c:v>1100</c:v>
                </c:pt>
                <c:pt idx="9">
                  <c:v>1200</c:v>
                </c:pt>
                <c:pt idx="10">
                  <c:v>1300</c:v>
                </c:pt>
                <c:pt idx="11">
                  <c:v>1400</c:v>
                </c:pt>
                <c:pt idx="12">
                  <c:v>1500</c:v>
                </c:pt>
                <c:pt idx="13">
                  <c:v>1600</c:v>
                </c:pt>
                <c:pt idx="14">
                  <c:v>1700</c:v>
                </c:pt>
                <c:pt idx="15">
                  <c:v>1800</c:v>
                </c:pt>
                <c:pt idx="16">
                  <c:v>1900</c:v>
                </c:pt>
                <c:pt idx="17">
                  <c:v>2000</c:v>
                </c:pt>
                <c:pt idx="18">
                  <c:v>2001</c:v>
                </c:pt>
                <c:pt idx="19">
                  <c:v>2100</c:v>
                </c:pt>
                <c:pt idx="20">
                  <c:v>2200</c:v>
                </c:pt>
                <c:pt idx="21">
                  <c:v>2300</c:v>
                </c:pt>
                <c:pt idx="22">
                  <c:v>2400</c:v>
                </c:pt>
                <c:pt idx="23">
                  <c:v>2500</c:v>
                </c:pt>
                <c:pt idx="24">
                  <c:v>2600</c:v>
                </c:pt>
                <c:pt idx="25">
                  <c:v>2700</c:v>
                </c:pt>
                <c:pt idx="26">
                  <c:v>2800</c:v>
                </c:pt>
                <c:pt idx="27">
                  <c:v>2900</c:v>
                </c:pt>
                <c:pt idx="28">
                  <c:v>3000</c:v>
                </c:pt>
                <c:pt idx="29">
                  <c:v>3100</c:v>
                </c:pt>
                <c:pt idx="30">
                  <c:v>3200</c:v>
                </c:pt>
                <c:pt idx="31">
                  <c:v>3300</c:v>
                </c:pt>
                <c:pt idx="32">
                  <c:v>3400</c:v>
                </c:pt>
                <c:pt idx="33">
                  <c:v>3500</c:v>
                </c:pt>
                <c:pt idx="34">
                  <c:v>3600</c:v>
                </c:pt>
                <c:pt idx="35">
                  <c:v>3700</c:v>
                </c:pt>
                <c:pt idx="36">
                  <c:v>3800</c:v>
                </c:pt>
                <c:pt idx="37">
                  <c:v>3900</c:v>
                </c:pt>
                <c:pt idx="38">
                  <c:v>4000</c:v>
                </c:pt>
                <c:pt idx="39">
                  <c:v>4100</c:v>
                </c:pt>
                <c:pt idx="40">
                  <c:v>4200</c:v>
                </c:pt>
                <c:pt idx="41">
                  <c:v>4300</c:v>
                </c:pt>
                <c:pt idx="42">
                  <c:v>4400</c:v>
                </c:pt>
                <c:pt idx="43">
                  <c:v>4500</c:v>
                </c:pt>
                <c:pt idx="44">
                  <c:v>4600</c:v>
                </c:pt>
                <c:pt idx="45">
                  <c:v>4700</c:v>
                </c:pt>
                <c:pt idx="46">
                  <c:v>4800</c:v>
                </c:pt>
                <c:pt idx="47">
                  <c:v>4900</c:v>
                </c:pt>
                <c:pt idx="48">
                  <c:v>5000</c:v>
                </c:pt>
              </c:numCache>
            </c:numRef>
          </c:xVal>
          <c:yVal>
            <c:numRef>
              <c:f>Sheet1!$E$2:$E$50</c:f>
              <c:numCache>
                <c:formatCode>General</c:formatCode>
                <c:ptCount val="49"/>
                <c:pt idx="0">
                  <c:v>62</c:v>
                </c:pt>
                <c:pt idx="1">
                  <c:v>65</c:v>
                </c:pt>
                <c:pt idx="2">
                  <c:v>68</c:v>
                </c:pt>
                <c:pt idx="3">
                  <c:v>71</c:v>
                </c:pt>
                <c:pt idx="4">
                  <c:v>74</c:v>
                </c:pt>
                <c:pt idx="5">
                  <c:v>77</c:v>
                </c:pt>
                <c:pt idx="6">
                  <c:v>80</c:v>
                </c:pt>
                <c:pt idx="7">
                  <c:v>80.03</c:v>
                </c:pt>
                <c:pt idx="8">
                  <c:v>83</c:v>
                </c:pt>
                <c:pt idx="9">
                  <c:v>86</c:v>
                </c:pt>
                <c:pt idx="10">
                  <c:v>89</c:v>
                </c:pt>
                <c:pt idx="11">
                  <c:v>92</c:v>
                </c:pt>
                <c:pt idx="12">
                  <c:v>95</c:v>
                </c:pt>
                <c:pt idx="13">
                  <c:v>98</c:v>
                </c:pt>
                <c:pt idx="14">
                  <c:v>101</c:v>
                </c:pt>
                <c:pt idx="15">
                  <c:v>104</c:v>
                </c:pt>
                <c:pt idx="16">
                  <c:v>107</c:v>
                </c:pt>
                <c:pt idx="17">
                  <c:v>110</c:v>
                </c:pt>
                <c:pt idx="18">
                  <c:v>150.05000000000001</c:v>
                </c:pt>
                <c:pt idx="19">
                  <c:v>155</c:v>
                </c:pt>
                <c:pt idx="20">
                  <c:v>160</c:v>
                </c:pt>
                <c:pt idx="21">
                  <c:v>165</c:v>
                </c:pt>
                <c:pt idx="22">
                  <c:v>170</c:v>
                </c:pt>
                <c:pt idx="23">
                  <c:v>175</c:v>
                </c:pt>
                <c:pt idx="24">
                  <c:v>180</c:v>
                </c:pt>
                <c:pt idx="25">
                  <c:v>185</c:v>
                </c:pt>
                <c:pt idx="26">
                  <c:v>190</c:v>
                </c:pt>
                <c:pt idx="27">
                  <c:v>195</c:v>
                </c:pt>
                <c:pt idx="28">
                  <c:v>200</c:v>
                </c:pt>
                <c:pt idx="29">
                  <c:v>205</c:v>
                </c:pt>
                <c:pt idx="30">
                  <c:v>210</c:v>
                </c:pt>
                <c:pt idx="31">
                  <c:v>215</c:v>
                </c:pt>
                <c:pt idx="32">
                  <c:v>220</c:v>
                </c:pt>
                <c:pt idx="33">
                  <c:v>225</c:v>
                </c:pt>
                <c:pt idx="34">
                  <c:v>230</c:v>
                </c:pt>
                <c:pt idx="35">
                  <c:v>235</c:v>
                </c:pt>
                <c:pt idx="36">
                  <c:v>240</c:v>
                </c:pt>
                <c:pt idx="37">
                  <c:v>245</c:v>
                </c:pt>
                <c:pt idx="38">
                  <c:v>250</c:v>
                </c:pt>
                <c:pt idx="39">
                  <c:v>255</c:v>
                </c:pt>
                <c:pt idx="40">
                  <c:v>260</c:v>
                </c:pt>
                <c:pt idx="41">
                  <c:v>265</c:v>
                </c:pt>
                <c:pt idx="42">
                  <c:v>270</c:v>
                </c:pt>
                <c:pt idx="43">
                  <c:v>275</c:v>
                </c:pt>
                <c:pt idx="44">
                  <c:v>280</c:v>
                </c:pt>
                <c:pt idx="45">
                  <c:v>285</c:v>
                </c:pt>
                <c:pt idx="46">
                  <c:v>290</c:v>
                </c:pt>
                <c:pt idx="47">
                  <c:v>295</c:v>
                </c:pt>
                <c:pt idx="48">
                  <c:v>300</c:v>
                </c:pt>
              </c:numCache>
            </c:numRef>
          </c:yVal>
          <c:smooth val="0"/>
          <c:extLst>
            <c:ext xmlns:c16="http://schemas.microsoft.com/office/drawing/2014/chart" uri="{C3380CC4-5D6E-409C-BE32-E72D297353CC}">
              <c16:uniqueId val="{00000000-507D-49B7-8ECB-FEA1DE8573F3}"/>
            </c:ext>
          </c:extLst>
        </c:ser>
        <c:ser>
          <c:idx val="2"/>
          <c:order val="1"/>
          <c:tx>
            <c:strRef>
              <c:f>Sheet1!$C$1</c:f>
              <c:strCache>
                <c:ptCount val="1"/>
                <c:pt idx="0">
                  <c:v>SCD42 Accuracy Spec</c:v>
                </c:pt>
              </c:strCache>
            </c:strRef>
          </c:tx>
          <c:spPr>
            <a:ln>
              <a:solidFill>
                <a:schemeClr val="accent1"/>
              </a:solidFill>
              <a:prstDash val="sysDash"/>
            </a:ln>
          </c:spPr>
          <c:marker>
            <c:symbol val="none"/>
          </c:marker>
          <c:xVal>
            <c:numRef>
              <c:f>Sheet1!$B$2:$B$19</c:f>
              <c:numCache>
                <c:formatCode>General</c:formatCode>
                <c:ptCount val="18"/>
                <c:pt idx="0">
                  <c:v>400</c:v>
                </c:pt>
                <c:pt idx="1">
                  <c:v>500</c:v>
                </c:pt>
                <c:pt idx="2">
                  <c:v>600</c:v>
                </c:pt>
                <c:pt idx="3">
                  <c:v>700</c:v>
                </c:pt>
                <c:pt idx="4">
                  <c:v>800</c:v>
                </c:pt>
                <c:pt idx="5">
                  <c:v>900</c:v>
                </c:pt>
                <c:pt idx="6">
                  <c:v>1000</c:v>
                </c:pt>
                <c:pt idx="7">
                  <c:v>1001</c:v>
                </c:pt>
                <c:pt idx="8">
                  <c:v>1100</c:v>
                </c:pt>
                <c:pt idx="9">
                  <c:v>1200</c:v>
                </c:pt>
                <c:pt idx="10">
                  <c:v>1300</c:v>
                </c:pt>
                <c:pt idx="11">
                  <c:v>1400</c:v>
                </c:pt>
                <c:pt idx="12">
                  <c:v>1500</c:v>
                </c:pt>
                <c:pt idx="13">
                  <c:v>1600</c:v>
                </c:pt>
                <c:pt idx="14">
                  <c:v>1700</c:v>
                </c:pt>
                <c:pt idx="15">
                  <c:v>1800</c:v>
                </c:pt>
                <c:pt idx="16">
                  <c:v>1900</c:v>
                </c:pt>
                <c:pt idx="17">
                  <c:v>2000</c:v>
                </c:pt>
              </c:numCache>
            </c:numRef>
          </c:xVal>
          <c:yVal>
            <c:numRef>
              <c:f>Sheet1!$C$2:$C$19</c:f>
              <c:numCache>
                <c:formatCode>General</c:formatCode>
                <c:ptCount val="18"/>
                <c:pt idx="0">
                  <c:v>75</c:v>
                </c:pt>
                <c:pt idx="1">
                  <c:v>75</c:v>
                </c:pt>
                <c:pt idx="2">
                  <c:v>75</c:v>
                </c:pt>
                <c:pt idx="3">
                  <c:v>75</c:v>
                </c:pt>
                <c:pt idx="4">
                  <c:v>75</c:v>
                </c:pt>
                <c:pt idx="5">
                  <c:v>75</c:v>
                </c:pt>
                <c:pt idx="6">
                  <c:v>75</c:v>
                </c:pt>
                <c:pt idx="7">
                  <c:v>90.050000000000011</c:v>
                </c:pt>
                <c:pt idx="8">
                  <c:v>95</c:v>
                </c:pt>
                <c:pt idx="9">
                  <c:v>100</c:v>
                </c:pt>
                <c:pt idx="10">
                  <c:v>105</c:v>
                </c:pt>
                <c:pt idx="11">
                  <c:v>110</c:v>
                </c:pt>
                <c:pt idx="12">
                  <c:v>115</c:v>
                </c:pt>
                <c:pt idx="13">
                  <c:v>120</c:v>
                </c:pt>
                <c:pt idx="14">
                  <c:v>125</c:v>
                </c:pt>
                <c:pt idx="15">
                  <c:v>130</c:v>
                </c:pt>
                <c:pt idx="16">
                  <c:v>135</c:v>
                </c:pt>
                <c:pt idx="17">
                  <c:v>140</c:v>
                </c:pt>
              </c:numCache>
            </c:numRef>
          </c:yVal>
          <c:smooth val="0"/>
          <c:extLst>
            <c:ext xmlns:c16="http://schemas.microsoft.com/office/drawing/2014/chart" uri="{C3380CC4-5D6E-409C-BE32-E72D297353CC}">
              <c16:uniqueId val="{00000001-507D-49B7-8ECB-FEA1DE8573F3}"/>
            </c:ext>
          </c:extLst>
        </c:ser>
        <c:ser>
          <c:idx val="4"/>
          <c:order val="2"/>
          <c:tx>
            <c:strRef>
              <c:f>Sheet1!$D$1</c:f>
              <c:strCache>
                <c:ptCount val="1"/>
                <c:pt idx="0">
                  <c:v>SCD41 Accuracy Spec</c:v>
                </c:pt>
              </c:strCache>
            </c:strRef>
          </c:tx>
          <c:spPr>
            <a:ln>
              <a:solidFill>
                <a:schemeClr val="accent1"/>
              </a:solidFill>
              <a:prstDash val="sysDot"/>
            </a:ln>
          </c:spPr>
          <c:marker>
            <c:symbol val="none"/>
          </c:marker>
          <c:xVal>
            <c:numRef>
              <c:f>Sheet1!$B$2:$B$50</c:f>
              <c:numCache>
                <c:formatCode>General</c:formatCode>
                <c:ptCount val="49"/>
                <c:pt idx="0">
                  <c:v>400</c:v>
                </c:pt>
                <c:pt idx="1">
                  <c:v>500</c:v>
                </c:pt>
                <c:pt idx="2">
                  <c:v>600</c:v>
                </c:pt>
                <c:pt idx="3">
                  <c:v>700</c:v>
                </c:pt>
                <c:pt idx="4">
                  <c:v>800</c:v>
                </c:pt>
                <c:pt idx="5">
                  <c:v>900</c:v>
                </c:pt>
                <c:pt idx="6">
                  <c:v>1000</c:v>
                </c:pt>
                <c:pt idx="7">
                  <c:v>1001</c:v>
                </c:pt>
                <c:pt idx="8">
                  <c:v>1100</c:v>
                </c:pt>
                <c:pt idx="9">
                  <c:v>1200</c:v>
                </c:pt>
                <c:pt idx="10">
                  <c:v>1300</c:v>
                </c:pt>
                <c:pt idx="11">
                  <c:v>1400</c:v>
                </c:pt>
                <c:pt idx="12">
                  <c:v>1500</c:v>
                </c:pt>
                <c:pt idx="13">
                  <c:v>1600</c:v>
                </c:pt>
                <c:pt idx="14">
                  <c:v>1700</c:v>
                </c:pt>
                <c:pt idx="15">
                  <c:v>1800</c:v>
                </c:pt>
                <c:pt idx="16">
                  <c:v>1900</c:v>
                </c:pt>
                <c:pt idx="17">
                  <c:v>2000</c:v>
                </c:pt>
                <c:pt idx="18">
                  <c:v>2001</c:v>
                </c:pt>
                <c:pt idx="19">
                  <c:v>2100</c:v>
                </c:pt>
                <c:pt idx="20">
                  <c:v>2200</c:v>
                </c:pt>
                <c:pt idx="21">
                  <c:v>2300</c:v>
                </c:pt>
                <c:pt idx="22">
                  <c:v>2400</c:v>
                </c:pt>
                <c:pt idx="23">
                  <c:v>2500</c:v>
                </c:pt>
                <c:pt idx="24">
                  <c:v>2600</c:v>
                </c:pt>
                <c:pt idx="25">
                  <c:v>2700</c:v>
                </c:pt>
                <c:pt idx="26">
                  <c:v>2800</c:v>
                </c:pt>
                <c:pt idx="27">
                  <c:v>2900</c:v>
                </c:pt>
                <c:pt idx="28">
                  <c:v>3000</c:v>
                </c:pt>
                <c:pt idx="29">
                  <c:v>3100</c:v>
                </c:pt>
                <c:pt idx="30">
                  <c:v>3200</c:v>
                </c:pt>
                <c:pt idx="31">
                  <c:v>3300</c:v>
                </c:pt>
                <c:pt idx="32">
                  <c:v>3400</c:v>
                </c:pt>
                <c:pt idx="33">
                  <c:v>3500</c:v>
                </c:pt>
                <c:pt idx="34">
                  <c:v>3600</c:v>
                </c:pt>
                <c:pt idx="35">
                  <c:v>3700</c:v>
                </c:pt>
                <c:pt idx="36">
                  <c:v>3800</c:v>
                </c:pt>
                <c:pt idx="37">
                  <c:v>3900</c:v>
                </c:pt>
                <c:pt idx="38">
                  <c:v>4000</c:v>
                </c:pt>
                <c:pt idx="39">
                  <c:v>4100</c:v>
                </c:pt>
                <c:pt idx="40">
                  <c:v>4200</c:v>
                </c:pt>
                <c:pt idx="41">
                  <c:v>4300</c:v>
                </c:pt>
                <c:pt idx="42">
                  <c:v>4400</c:v>
                </c:pt>
                <c:pt idx="43">
                  <c:v>4500</c:v>
                </c:pt>
                <c:pt idx="44">
                  <c:v>4600</c:v>
                </c:pt>
                <c:pt idx="45">
                  <c:v>4700</c:v>
                </c:pt>
                <c:pt idx="46">
                  <c:v>4800</c:v>
                </c:pt>
                <c:pt idx="47">
                  <c:v>4900</c:v>
                </c:pt>
                <c:pt idx="48">
                  <c:v>5000</c:v>
                </c:pt>
              </c:numCache>
            </c:numRef>
          </c:xVal>
          <c:yVal>
            <c:numRef>
              <c:f>Sheet1!$D$2:$D$50</c:f>
              <c:numCache>
                <c:formatCode>General</c:formatCode>
                <c:ptCount val="49"/>
                <c:pt idx="0">
                  <c:v>60</c:v>
                </c:pt>
                <c:pt idx="1">
                  <c:v>65</c:v>
                </c:pt>
                <c:pt idx="2">
                  <c:v>70</c:v>
                </c:pt>
                <c:pt idx="3">
                  <c:v>75</c:v>
                </c:pt>
                <c:pt idx="4">
                  <c:v>80</c:v>
                </c:pt>
                <c:pt idx="5">
                  <c:v>85</c:v>
                </c:pt>
                <c:pt idx="6">
                  <c:v>90</c:v>
                </c:pt>
                <c:pt idx="7">
                  <c:v>90.050000000000011</c:v>
                </c:pt>
                <c:pt idx="8">
                  <c:v>95</c:v>
                </c:pt>
                <c:pt idx="9">
                  <c:v>100</c:v>
                </c:pt>
                <c:pt idx="10">
                  <c:v>105</c:v>
                </c:pt>
                <c:pt idx="11">
                  <c:v>110</c:v>
                </c:pt>
                <c:pt idx="12">
                  <c:v>115</c:v>
                </c:pt>
                <c:pt idx="13">
                  <c:v>120</c:v>
                </c:pt>
                <c:pt idx="14">
                  <c:v>125</c:v>
                </c:pt>
                <c:pt idx="15">
                  <c:v>130</c:v>
                </c:pt>
                <c:pt idx="16">
                  <c:v>135</c:v>
                </c:pt>
                <c:pt idx="17">
                  <c:v>140</c:v>
                </c:pt>
                <c:pt idx="18">
                  <c:v>140.05000000000001</c:v>
                </c:pt>
                <c:pt idx="19">
                  <c:v>145</c:v>
                </c:pt>
                <c:pt idx="20">
                  <c:v>150</c:v>
                </c:pt>
                <c:pt idx="21">
                  <c:v>155</c:v>
                </c:pt>
                <c:pt idx="22">
                  <c:v>160</c:v>
                </c:pt>
                <c:pt idx="23">
                  <c:v>165</c:v>
                </c:pt>
                <c:pt idx="24">
                  <c:v>170</c:v>
                </c:pt>
                <c:pt idx="25">
                  <c:v>175</c:v>
                </c:pt>
                <c:pt idx="26">
                  <c:v>180</c:v>
                </c:pt>
                <c:pt idx="27">
                  <c:v>185</c:v>
                </c:pt>
                <c:pt idx="28">
                  <c:v>190</c:v>
                </c:pt>
                <c:pt idx="29">
                  <c:v>195</c:v>
                </c:pt>
                <c:pt idx="30">
                  <c:v>200</c:v>
                </c:pt>
                <c:pt idx="31">
                  <c:v>205</c:v>
                </c:pt>
                <c:pt idx="32">
                  <c:v>210</c:v>
                </c:pt>
                <c:pt idx="33">
                  <c:v>215</c:v>
                </c:pt>
                <c:pt idx="34">
                  <c:v>220</c:v>
                </c:pt>
                <c:pt idx="35">
                  <c:v>225</c:v>
                </c:pt>
                <c:pt idx="36">
                  <c:v>230</c:v>
                </c:pt>
                <c:pt idx="37">
                  <c:v>235</c:v>
                </c:pt>
                <c:pt idx="38">
                  <c:v>240</c:v>
                </c:pt>
                <c:pt idx="39">
                  <c:v>245</c:v>
                </c:pt>
                <c:pt idx="40">
                  <c:v>250</c:v>
                </c:pt>
                <c:pt idx="41">
                  <c:v>255</c:v>
                </c:pt>
                <c:pt idx="42">
                  <c:v>260</c:v>
                </c:pt>
                <c:pt idx="43">
                  <c:v>265</c:v>
                </c:pt>
                <c:pt idx="44">
                  <c:v>270</c:v>
                </c:pt>
                <c:pt idx="45">
                  <c:v>275</c:v>
                </c:pt>
                <c:pt idx="46">
                  <c:v>280</c:v>
                </c:pt>
                <c:pt idx="47">
                  <c:v>285</c:v>
                </c:pt>
                <c:pt idx="48">
                  <c:v>290</c:v>
                </c:pt>
              </c:numCache>
            </c:numRef>
          </c:yVal>
          <c:smooth val="0"/>
          <c:extLst>
            <c:ext xmlns:c16="http://schemas.microsoft.com/office/drawing/2014/chart" uri="{C3380CC4-5D6E-409C-BE32-E72D297353CC}">
              <c16:uniqueId val="{00000002-507D-49B7-8ECB-FEA1DE8573F3}"/>
            </c:ext>
          </c:extLst>
        </c:ser>
        <c:ser>
          <c:idx val="5"/>
          <c:order val="3"/>
          <c:tx>
            <c:v>New SCD41 Accuracy Spec</c:v>
          </c:tx>
          <c:spPr>
            <a:ln>
              <a:solidFill>
                <a:srgbClr val="92D050"/>
              </a:solidFill>
            </a:ln>
          </c:spPr>
          <c:marker>
            <c:symbol val="none"/>
          </c:marker>
          <c:xVal>
            <c:numRef>
              <c:f>Sheet1!$B$2:$B$50</c:f>
              <c:numCache>
                <c:formatCode>General</c:formatCode>
                <c:ptCount val="49"/>
                <c:pt idx="0">
                  <c:v>400</c:v>
                </c:pt>
                <c:pt idx="1">
                  <c:v>500</c:v>
                </c:pt>
                <c:pt idx="2">
                  <c:v>600</c:v>
                </c:pt>
                <c:pt idx="3">
                  <c:v>700</c:v>
                </c:pt>
                <c:pt idx="4">
                  <c:v>800</c:v>
                </c:pt>
                <c:pt idx="5">
                  <c:v>900</c:v>
                </c:pt>
                <c:pt idx="6">
                  <c:v>1000</c:v>
                </c:pt>
                <c:pt idx="7">
                  <c:v>1001</c:v>
                </c:pt>
                <c:pt idx="8">
                  <c:v>1100</c:v>
                </c:pt>
                <c:pt idx="9">
                  <c:v>1200</c:v>
                </c:pt>
                <c:pt idx="10">
                  <c:v>1300</c:v>
                </c:pt>
                <c:pt idx="11">
                  <c:v>1400</c:v>
                </c:pt>
                <c:pt idx="12">
                  <c:v>1500</c:v>
                </c:pt>
                <c:pt idx="13">
                  <c:v>1600</c:v>
                </c:pt>
                <c:pt idx="14">
                  <c:v>1700</c:v>
                </c:pt>
                <c:pt idx="15">
                  <c:v>1800</c:v>
                </c:pt>
                <c:pt idx="16">
                  <c:v>1900</c:v>
                </c:pt>
                <c:pt idx="17">
                  <c:v>2000</c:v>
                </c:pt>
                <c:pt idx="18">
                  <c:v>2001</c:v>
                </c:pt>
                <c:pt idx="19">
                  <c:v>2100</c:v>
                </c:pt>
                <c:pt idx="20">
                  <c:v>2200</c:v>
                </c:pt>
                <c:pt idx="21">
                  <c:v>2300</c:v>
                </c:pt>
                <c:pt idx="22">
                  <c:v>2400</c:v>
                </c:pt>
                <c:pt idx="23">
                  <c:v>2500</c:v>
                </c:pt>
                <c:pt idx="24">
                  <c:v>2600</c:v>
                </c:pt>
                <c:pt idx="25">
                  <c:v>2700</c:v>
                </c:pt>
                <c:pt idx="26">
                  <c:v>2800</c:v>
                </c:pt>
                <c:pt idx="27">
                  <c:v>2900</c:v>
                </c:pt>
                <c:pt idx="28">
                  <c:v>3000</c:v>
                </c:pt>
                <c:pt idx="29">
                  <c:v>3100</c:v>
                </c:pt>
                <c:pt idx="30">
                  <c:v>3200</c:v>
                </c:pt>
                <c:pt idx="31">
                  <c:v>3300</c:v>
                </c:pt>
                <c:pt idx="32">
                  <c:v>3400</c:v>
                </c:pt>
                <c:pt idx="33">
                  <c:v>3500</c:v>
                </c:pt>
                <c:pt idx="34">
                  <c:v>3600</c:v>
                </c:pt>
                <c:pt idx="35">
                  <c:v>3700</c:v>
                </c:pt>
                <c:pt idx="36">
                  <c:v>3800</c:v>
                </c:pt>
                <c:pt idx="37">
                  <c:v>3900</c:v>
                </c:pt>
                <c:pt idx="38">
                  <c:v>4000</c:v>
                </c:pt>
                <c:pt idx="39">
                  <c:v>4100</c:v>
                </c:pt>
                <c:pt idx="40">
                  <c:v>4200</c:v>
                </c:pt>
                <c:pt idx="41">
                  <c:v>4300</c:v>
                </c:pt>
                <c:pt idx="42">
                  <c:v>4400</c:v>
                </c:pt>
                <c:pt idx="43">
                  <c:v>4500</c:v>
                </c:pt>
                <c:pt idx="44">
                  <c:v>4600</c:v>
                </c:pt>
                <c:pt idx="45">
                  <c:v>4700</c:v>
                </c:pt>
                <c:pt idx="46">
                  <c:v>4800</c:v>
                </c:pt>
                <c:pt idx="47">
                  <c:v>4900</c:v>
                </c:pt>
                <c:pt idx="48">
                  <c:v>5000</c:v>
                </c:pt>
              </c:numCache>
            </c:numRef>
          </c:xVal>
          <c:yVal>
            <c:numRef>
              <c:f>Sheet1!$F$2:$F$50</c:f>
              <c:numCache>
                <c:formatCode>General</c:formatCode>
                <c:ptCount val="49"/>
                <c:pt idx="0">
                  <c:v>60</c:v>
                </c:pt>
                <c:pt idx="1">
                  <c:v>62.5</c:v>
                </c:pt>
                <c:pt idx="2">
                  <c:v>65</c:v>
                </c:pt>
                <c:pt idx="3">
                  <c:v>67.5</c:v>
                </c:pt>
                <c:pt idx="4">
                  <c:v>70</c:v>
                </c:pt>
                <c:pt idx="5">
                  <c:v>72.5</c:v>
                </c:pt>
                <c:pt idx="6">
                  <c:v>75</c:v>
                </c:pt>
                <c:pt idx="7">
                  <c:v>80.03</c:v>
                </c:pt>
                <c:pt idx="8">
                  <c:v>83</c:v>
                </c:pt>
                <c:pt idx="9">
                  <c:v>86</c:v>
                </c:pt>
                <c:pt idx="10">
                  <c:v>89</c:v>
                </c:pt>
                <c:pt idx="11">
                  <c:v>92</c:v>
                </c:pt>
                <c:pt idx="12">
                  <c:v>95</c:v>
                </c:pt>
                <c:pt idx="13">
                  <c:v>98</c:v>
                </c:pt>
                <c:pt idx="14">
                  <c:v>101</c:v>
                </c:pt>
                <c:pt idx="15">
                  <c:v>104</c:v>
                </c:pt>
                <c:pt idx="16">
                  <c:v>107</c:v>
                </c:pt>
                <c:pt idx="17">
                  <c:v>110</c:v>
                </c:pt>
                <c:pt idx="18">
                  <c:v>140.05000000000001</c:v>
                </c:pt>
                <c:pt idx="19">
                  <c:v>145</c:v>
                </c:pt>
                <c:pt idx="20">
                  <c:v>150</c:v>
                </c:pt>
                <c:pt idx="21">
                  <c:v>155</c:v>
                </c:pt>
                <c:pt idx="22">
                  <c:v>160</c:v>
                </c:pt>
                <c:pt idx="23">
                  <c:v>165</c:v>
                </c:pt>
                <c:pt idx="24">
                  <c:v>170</c:v>
                </c:pt>
                <c:pt idx="25">
                  <c:v>175</c:v>
                </c:pt>
                <c:pt idx="26">
                  <c:v>180</c:v>
                </c:pt>
                <c:pt idx="27">
                  <c:v>185</c:v>
                </c:pt>
                <c:pt idx="28">
                  <c:v>190</c:v>
                </c:pt>
                <c:pt idx="29">
                  <c:v>195</c:v>
                </c:pt>
                <c:pt idx="30">
                  <c:v>200</c:v>
                </c:pt>
                <c:pt idx="31">
                  <c:v>205</c:v>
                </c:pt>
                <c:pt idx="32">
                  <c:v>210</c:v>
                </c:pt>
                <c:pt idx="33">
                  <c:v>215</c:v>
                </c:pt>
                <c:pt idx="34">
                  <c:v>220</c:v>
                </c:pt>
                <c:pt idx="35">
                  <c:v>225</c:v>
                </c:pt>
                <c:pt idx="36">
                  <c:v>230</c:v>
                </c:pt>
                <c:pt idx="37">
                  <c:v>235</c:v>
                </c:pt>
                <c:pt idx="38">
                  <c:v>240</c:v>
                </c:pt>
                <c:pt idx="39">
                  <c:v>245</c:v>
                </c:pt>
                <c:pt idx="40">
                  <c:v>250</c:v>
                </c:pt>
                <c:pt idx="41">
                  <c:v>255</c:v>
                </c:pt>
                <c:pt idx="42">
                  <c:v>260</c:v>
                </c:pt>
                <c:pt idx="43">
                  <c:v>265</c:v>
                </c:pt>
                <c:pt idx="44">
                  <c:v>270</c:v>
                </c:pt>
                <c:pt idx="45">
                  <c:v>275</c:v>
                </c:pt>
                <c:pt idx="46">
                  <c:v>280</c:v>
                </c:pt>
                <c:pt idx="47">
                  <c:v>285</c:v>
                </c:pt>
                <c:pt idx="48">
                  <c:v>290</c:v>
                </c:pt>
              </c:numCache>
            </c:numRef>
          </c:yVal>
          <c:smooth val="0"/>
          <c:extLst>
            <c:ext xmlns:c16="http://schemas.microsoft.com/office/drawing/2014/chart" uri="{C3380CC4-5D6E-409C-BE32-E72D297353CC}">
              <c16:uniqueId val="{00000003-507D-49B7-8ECB-FEA1DE8573F3}"/>
            </c:ext>
          </c:extLst>
        </c:ser>
        <c:dLbls>
          <c:showLegendKey val="0"/>
          <c:showVal val="0"/>
          <c:showCatName val="0"/>
          <c:showSerName val="0"/>
          <c:showPercent val="0"/>
          <c:showBubbleSize val="0"/>
        </c:dLbls>
        <c:axId val="1084544016"/>
        <c:axId val="1089137720"/>
      </c:scatterChart>
      <c:valAx>
        <c:axId val="1084544016"/>
        <c:scaling>
          <c:orientation val="minMax"/>
          <c:max val="2500"/>
          <c:min val="250"/>
        </c:scaling>
        <c:delete val="0"/>
        <c:axPos val="b"/>
        <c:majorGridlines>
          <c:spPr>
            <a:ln w="9525" cap="flat" cmpd="sng" algn="ctr">
              <a:solidFill>
                <a:schemeClr val="tx1">
                  <a:lumMod val="15000"/>
                  <a:lumOff val="85000"/>
                </a:schemeClr>
              </a:solidFill>
              <a:round/>
            </a:ln>
            <a:effectLst/>
          </c:spPr>
        </c:majorGridlines>
        <c:title>
          <c:tx>
            <c:rich>
              <a:bodyPr rot="0" vert="horz"/>
              <a:lstStyle/>
              <a:p>
                <a:pPr>
                  <a:defRPr/>
                </a:pPr>
                <a:r>
                  <a:rPr lang="en-US" dirty="0"/>
                  <a:t>CO</a:t>
                </a:r>
                <a:r>
                  <a:rPr lang="en-US" baseline="-25000" dirty="0"/>
                  <a:t>2</a:t>
                </a:r>
                <a:r>
                  <a:rPr lang="en-US" dirty="0"/>
                  <a:t> Gas Concentration</a:t>
                </a:r>
                <a:r>
                  <a:rPr lang="en-US" baseline="0" dirty="0"/>
                  <a:t> (ppm)</a:t>
                </a:r>
                <a:endParaRPr lang="en-US" dirty="0"/>
              </a:p>
            </c:rich>
          </c:tx>
          <c:overlay val="0"/>
          <c:spPr>
            <a:noFill/>
            <a:ln>
              <a:noFill/>
            </a:ln>
            <a:effectLst/>
          </c:spPr>
        </c:title>
        <c:numFmt formatCode="General" sourceLinked="1"/>
        <c:majorTickMark val="out"/>
        <c:minorTickMark val="out"/>
        <c:tickLblPos val="nextTo"/>
        <c:spPr>
          <a:noFill/>
          <a:ln w="9525" cap="flat" cmpd="sng" algn="ctr">
            <a:solidFill>
              <a:schemeClr val="tx1">
                <a:lumMod val="25000"/>
                <a:lumOff val="75000"/>
              </a:schemeClr>
            </a:solidFill>
            <a:round/>
          </a:ln>
          <a:effectLst/>
        </c:spPr>
        <c:txPr>
          <a:bodyPr rot="-60000000" vert="horz"/>
          <a:lstStyle/>
          <a:p>
            <a:pPr>
              <a:defRPr/>
            </a:pPr>
            <a:endParaRPr lang="en-US"/>
          </a:p>
        </c:txPr>
        <c:crossAx val="1089137720"/>
        <c:crosses val="autoZero"/>
        <c:crossBetween val="midCat"/>
        <c:majorUnit val="250"/>
      </c:valAx>
      <c:valAx>
        <c:axId val="1089137720"/>
        <c:scaling>
          <c:orientation val="minMax"/>
          <c:max val="200"/>
          <c:min val="50"/>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en-US"/>
                  <a:t>Accuracy Specification (±ppm)</a:t>
                </a:r>
              </a:p>
            </c:rich>
          </c:tx>
          <c:overlay val="0"/>
          <c:spPr>
            <a:noFill/>
            <a:ln>
              <a:noFill/>
            </a:ln>
            <a:effectLst/>
          </c:spPr>
        </c:title>
        <c:numFmt formatCode="General" sourceLinked="1"/>
        <c:majorTickMark val="out"/>
        <c:minorTickMark val="out"/>
        <c:tickLblPos val="nextTo"/>
        <c:spPr>
          <a:noFill/>
          <a:ln w="9525" cap="flat" cmpd="sng" algn="ctr">
            <a:solidFill>
              <a:schemeClr val="tx1">
                <a:lumMod val="25000"/>
                <a:lumOff val="75000"/>
              </a:schemeClr>
            </a:solidFill>
            <a:round/>
          </a:ln>
          <a:effectLst/>
        </c:spPr>
        <c:txPr>
          <a:bodyPr rot="-60000000" vert="horz"/>
          <a:lstStyle/>
          <a:p>
            <a:pPr>
              <a:defRPr/>
            </a:pPr>
            <a:endParaRPr lang="en-US"/>
          </a:p>
        </c:txPr>
        <c:crossAx val="1084544016"/>
        <c:crosses val="autoZero"/>
        <c:crossBetween val="midCat"/>
        <c:majorUnit val="25"/>
      </c:valAx>
    </c:plotArea>
    <c:legend>
      <c:legendPos val="b"/>
      <c:layout>
        <c:manualLayout>
          <c:xMode val="edge"/>
          <c:yMode val="edge"/>
          <c:x val="5.5303898273989717E-2"/>
          <c:y val="0.87300999044563976"/>
          <c:w val="0.93098890886695873"/>
          <c:h val="0.11353374439192918"/>
        </c:manualLayout>
      </c:layout>
      <c:overlay val="0"/>
      <c:spPr>
        <a:noFill/>
        <a:ln>
          <a:noFill/>
        </a:ln>
        <a:effectLst/>
      </c:spPr>
      <c:txPr>
        <a:bodyPr rot="0" vert="horz"/>
        <a:lstStyle/>
        <a:p>
          <a:pPr>
            <a:defRPr/>
          </a:pPr>
          <a:endParaRPr lang="en-US"/>
        </a:p>
      </c:txPr>
    </c:legend>
    <c:plotVisOnly val="1"/>
    <c:dispBlanksAs val="gap"/>
    <c:showDLblsOverMax val="0"/>
    <c:extLst/>
  </c:chart>
  <c:spPr>
    <a:ln w="15875">
      <a:solidFill>
        <a:srgbClr val="EB871E"/>
      </a:solidFill>
    </a:ln>
  </c:spPr>
  <c:txPr>
    <a:bodyPr/>
    <a:lstStyle/>
    <a:p>
      <a:pPr>
        <a:defRPr sz="1100"/>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161149820301245E-2"/>
          <c:y val="0.16417552285587722"/>
          <c:w val="0.87902768580624024"/>
          <c:h val="0.6166324436485926"/>
        </c:manualLayout>
      </c:layout>
      <c:scatterChart>
        <c:scatterStyle val="lineMarker"/>
        <c:varyColors val="0"/>
        <c:ser>
          <c:idx val="4"/>
          <c:order val="0"/>
          <c:tx>
            <c:strRef>
              <c:f>'Figures DS'!$X$6</c:f>
              <c:strCache>
                <c:ptCount val="1"/>
                <c:pt idx="0">
                  <c:v>maximal tolerance</c:v>
                </c:pt>
              </c:strCache>
            </c:strRef>
          </c:tx>
          <c:spPr>
            <a:ln w="19050">
              <a:solidFill>
                <a:srgbClr val="00B0F0"/>
              </a:solidFill>
            </a:ln>
          </c:spPr>
          <c:marker>
            <c:symbol val="none"/>
          </c:marker>
          <c:xVal>
            <c:numRef>
              <c:f>'Figures DS'!$W$7:$W$18</c:f>
              <c:numCache>
                <c:formatCode>General</c:formatCode>
                <c:ptCount val="12"/>
                <c:pt idx="0">
                  <c:v>-40</c:v>
                </c:pt>
                <c:pt idx="1">
                  <c:v>-30</c:v>
                </c:pt>
                <c:pt idx="2">
                  <c:v>-20.100000000000001</c:v>
                </c:pt>
                <c:pt idx="3">
                  <c:v>-20</c:v>
                </c:pt>
                <c:pt idx="4">
                  <c:v>-0.1</c:v>
                </c:pt>
                <c:pt idx="5">
                  <c:v>0</c:v>
                </c:pt>
                <c:pt idx="6">
                  <c:v>25</c:v>
                </c:pt>
                <c:pt idx="7">
                  <c:v>25.1</c:v>
                </c:pt>
                <c:pt idx="8">
                  <c:v>50</c:v>
                </c:pt>
                <c:pt idx="9">
                  <c:v>50.1</c:v>
                </c:pt>
                <c:pt idx="10">
                  <c:v>70</c:v>
                </c:pt>
                <c:pt idx="11">
                  <c:v>125</c:v>
                </c:pt>
              </c:numCache>
            </c:numRef>
          </c:xVal>
          <c:yVal>
            <c:numRef>
              <c:f>'Figures DS'!$X$7:$X$18</c:f>
              <c:numCache>
                <c:formatCode>0.00</c:formatCode>
                <c:ptCount val="12"/>
                <c:pt idx="0">
                  <c:v>0.6</c:v>
                </c:pt>
                <c:pt idx="1">
                  <c:v>0.48</c:v>
                </c:pt>
                <c:pt idx="2">
                  <c:v>0.48</c:v>
                </c:pt>
                <c:pt idx="3">
                  <c:v>0.48</c:v>
                </c:pt>
                <c:pt idx="4">
                  <c:v>0.48</c:v>
                </c:pt>
                <c:pt idx="5">
                  <c:v>0.48</c:v>
                </c:pt>
                <c:pt idx="6">
                  <c:v>0.48</c:v>
                </c:pt>
                <c:pt idx="7">
                  <c:v>0.48</c:v>
                </c:pt>
                <c:pt idx="8">
                  <c:v>0.48</c:v>
                </c:pt>
                <c:pt idx="9">
                  <c:v>0.48</c:v>
                </c:pt>
                <c:pt idx="10">
                  <c:v>0.48</c:v>
                </c:pt>
                <c:pt idx="11">
                  <c:v>0.9</c:v>
                </c:pt>
              </c:numCache>
            </c:numRef>
          </c:yVal>
          <c:smooth val="0"/>
          <c:extLst>
            <c:ext xmlns:c16="http://schemas.microsoft.com/office/drawing/2014/chart" uri="{C3380CC4-5D6E-409C-BE32-E72D297353CC}">
              <c16:uniqueId val="{00000000-F8D3-4AD8-88E7-DDB218CBE697}"/>
            </c:ext>
          </c:extLst>
        </c:ser>
        <c:dLbls>
          <c:showLegendKey val="0"/>
          <c:showVal val="0"/>
          <c:showCatName val="0"/>
          <c:showSerName val="0"/>
          <c:showPercent val="0"/>
          <c:showBubbleSize val="0"/>
        </c:dLbls>
        <c:axId val="413516632"/>
        <c:axId val="413517024"/>
        <c:extLst/>
      </c:scatterChart>
      <c:valAx>
        <c:axId val="413516632"/>
        <c:scaling>
          <c:orientation val="minMax"/>
          <c:max val="125"/>
          <c:min val="-40"/>
        </c:scaling>
        <c:delete val="0"/>
        <c:axPos val="b"/>
        <c:title>
          <c:tx>
            <c:rich>
              <a:bodyPr/>
              <a:lstStyle/>
              <a:p>
                <a:pPr>
                  <a:defRPr sz="1200" b="0">
                    <a:solidFill>
                      <a:schemeClr val="bg1"/>
                    </a:solidFill>
                    <a:latin typeface="Segoe UI Semibold" panose="020B0702040204020203" pitchFamily="34" charset="0"/>
                    <a:cs typeface="Segoe UI Semibold" panose="020B0702040204020203" pitchFamily="34" charset="0"/>
                  </a:defRPr>
                </a:pPr>
                <a:r>
                  <a:rPr lang="en-US" sz="1200" b="0">
                    <a:solidFill>
                      <a:schemeClr val="bg1"/>
                    </a:solidFill>
                    <a:latin typeface="Segoe UI Semibold" panose="020B0702040204020203" pitchFamily="34" charset="0"/>
                    <a:cs typeface="Segoe UI Semibold" panose="020B0702040204020203" pitchFamily="34" charset="0"/>
                  </a:rPr>
                  <a:t>Temperature (°C)</a:t>
                </a:r>
              </a:p>
            </c:rich>
          </c:tx>
          <c:layout>
            <c:manualLayout>
              <c:xMode val="edge"/>
              <c:yMode val="edge"/>
              <c:x val="0.6821252091232648"/>
              <c:y val="0.88994592889003632"/>
            </c:manualLayout>
          </c:layout>
          <c:overlay val="0"/>
        </c:title>
        <c:numFmt formatCode="General" sourceLinked="1"/>
        <c:majorTickMark val="out"/>
        <c:minorTickMark val="in"/>
        <c:tickLblPos val="nextTo"/>
        <c:spPr>
          <a:ln>
            <a:solidFill>
              <a:schemeClr val="bg1"/>
            </a:solidFill>
          </a:ln>
        </c:spPr>
        <c:txPr>
          <a:bodyPr/>
          <a:lstStyle/>
          <a:p>
            <a:pPr>
              <a:defRPr sz="1200">
                <a:solidFill>
                  <a:schemeClr val="bg1"/>
                </a:solidFill>
                <a:latin typeface="Segoe UI" panose="020B0502040204020203" pitchFamily="34" charset="0"/>
                <a:cs typeface="Segoe UI" panose="020B0502040204020203" pitchFamily="34" charset="0"/>
              </a:defRPr>
            </a:pPr>
            <a:endParaRPr lang="en-US"/>
          </a:p>
        </c:txPr>
        <c:crossAx val="413517024"/>
        <c:crosses val="autoZero"/>
        <c:crossBetween val="midCat"/>
        <c:majorUnit val="40"/>
        <c:minorUnit val="20"/>
      </c:valAx>
      <c:valAx>
        <c:axId val="413517024"/>
        <c:scaling>
          <c:orientation val="minMax"/>
          <c:max val="1.5"/>
          <c:min val="0"/>
        </c:scaling>
        <c:delete val="0"/>
        <c:axPos val="l"/>
        <c:numFmt formatCode="\±#,##0.0" sourceLinked="0"/>
        <c:majorTickMark val="out"/>
        <c:minorTickMark val="in"/>
        <c:tickLblPos val="nextTo"/>
        <c:spPr>
          <a:ln>
            <a:solidFill>
              <a:schemeClr val="bg1">
                <a:alpha val="99000"/>
              </a:schemeClr>
            </a:solidFill>
          </a:ln>
        </c:spPr>
        <c:txPr>
          <a:bodyPr/>
          <a:lstStyle/>
          <a:p>
            <a:pPr>
              <a:defRPr sz="1100">
                <a:solidFill>
                  <a:schemeClr val="bg1"/>
                </a:solidFill>
                <a:latin typeface="Segoe UI" panose="020B0502040204020203" pitchFamily="34" charset="0"/>
                <a:cs typeface="Segoe UI" panose="020B0502040204020203" pitchFamily="34" charset="0"/>
              </a:defRPr>
            </a:pPr>
            <a:endParaRPr lang="en-US"/>
          </a:p>
        </c:txPr>
        <c:crossAx val="413516632"/>
        <c:crossesAt val="-40"/>
        <c:crossBetween val="midCat"/>
        <c:majorUnit val="0.5"/>
        <c:minorUnit val="0.25"/>
      </c:valAx>
      <c:spPr>
        <a:noFill/>
        <a:ln w="19050" cap="flat" cmpd="sng" algn="ctr">
          <a:solidFill>
            <a:schemeClr val="bg1"/>
          </a:solidFill>
          <a:prstDash val="solid"/>
        </a:ln>
        <a:effectLst/>
      </c:spPr>
    </c:plotArea>
    <c:legend>
      <c:legendPos val="r"/>
      <c:legendEntry>
        <c:idx val="0"/>
        <c:txPr>
          <a:bodyPr/>
          <a:lstStyle/>
          <a:p>
            <a:pPr>
              <a:defRPr sz="1050">
                <a:solidFill>
                  <a:schemeClr val="bg1"/>
                </a:solidFill>
                <a:latin typeface="+mn-lt"/>
                <a:cs typeface="Segoe UI" panose="020B0502040204020203" pitchFamily="34" charset="0"/>
              </a:defRPr>
            </a:pPr>
            <a:endParaRPr lang="en-US"/>
          </a:p>
        </c:txPr>
      </c:legendEntry>
      <c:layout>
        <c:manualLayout>
          <c:xMode val="edge"/>
          <c:yMode val="edge"/>
          <c:x val="0.18458353633928518"/>
          <c:y val="0.22036401311752835"/>
          <c:w val="0.59759027578837753"/>
          <c:h val="0.10027789735141704"/>
        </c:manualLayout>
      </c:layout>
      <c:overlay val="0"/>
      <c:spPr>
        <a:noFill/>
        <a:ln>
          <a:solidFill>
            <a:sysClr val="windowText" lastClr="000000"/>
          </a:solidFill>
        </a:ln>
      </c:spPr>
      <c:txPr>
        <a:bodyPr/>
        <a:lstStyle/>
        <a:p>
          <a:pPr>
            <a:defRPr sz="1000">
              <a:solidFill>
                <a:schemeClr val="bg1"/>
              </a:solidFill>
              <a:latin typeface="+mn-lt"/>
              <a:cs typeface="Segoe UI" panose="020B0502040204020203" pitchFamily="34" charset="0"/>
            </a:defRPr>
          </a:pPr>
          <a:endParaRPr lang="en-US"/>
        </a:p>
      </c:txPr>
    </c:legend>
    <c:plotVisOnly val="1"/>
    <c:dispBlanksAs val="gap"/>
    <c:showDLblsOverMax val="0"/>
  </c:chart>
  <c:spPr>
    <a:ln>
      <a:noFill/>
    </a:ln>
  </c:spPr>
  <c:txPr>
    <a:bodyPr/>
    <a:lstStyle/>
    <a:p>
      <a:pPr>
        <a:defRPr sz="900">
          <a:latin typeface="Arial Narrow" panose="020B0606020202030204" pitchFamily="34" charset="0"/>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6AFDBF-6781-4864-B086-8C0FE1929844}" type="doc">
      <dgm:prSet loTypeId="urn:microsoft.com/office/officeart/2005/8/layout/chevron1" loCatId="process" qsTypeId="urn:microsoft.com/office/officeart/2005/8/quickstyle/simple1" qsCatId="simple" csTypeId="urn:microsoft.com/office/officeart/2005/8/colors/accent1_2" csCatId="accent1" phldr="1"/>
      <dgm:spPr/>
    </dgm:pt>
    <dgm:pt modelId="{90F5F78D-BB2D-4472-B315-F7C17B0A8814}">
      <dgm:prSet phldrT="[Text]" custT="1"/>
      <dgm:spPr/>
      <dgm:t>
        <a:bodyPr/>
        <a:lstStyle/>
        <a:p>
          <a:r>
            <a:rPr lang="en-US" sz="1800"/>
            <a:t>Manufacturing</a:t>
          </a:r>
        </a:p>
      </dgm:t>
    </dgm:pt>
    <dgm:pt modelId="{4ABC149A-6B99-48CE-ABA9-59503DCE3858}" type="parTrans" cxnId="{CAECD119-8CD9-4FEA-A026-E0BDC810FEAA}">
      <dgm:prSet/>
      <dgm:spPr/>
      <dgm:t>
        <a:bodyPr/>
        <a:lstStyle/>
        <a:p>
          <a:endParaRPr lang="en-US" sz="1800"/>
        </a:p>
      </dgm:t>
    </dgm:pt>
    <dgm:pt modelId="{AE3C7689-309D-4F75-9B33-0EA4F1F88AFC}" type="sibTrans" cxnId="{CAECD119-8CD9-4FEA-A026-E0BDC810FEAA}">
      <dgm:prSet/>
      <dgm:spPr/>
      <dgm:t>
        <a:bodyPr/>
        <a:lstStyle/>
        <a:p>
          <a:endParaRPr lang="en-US" sz="1800"/>
        </a:p>
      </dgm:t>
    </dgm:pt>
    <dgm:pt modelId="{16604A36-543D-4966-8DE6-70BDA893D37F}">
      <dgm:prSet phldrT="[Text]" custT="1"/>
      <dgm:spPr/>
      <dgm:t>
        <a:bodyPr/>
        <a:lstStyle/>
        <a:p>
          <a:r>
            <a:rPr lang="en-US" sz="1800"/>
            <a:t>Transport</a:t>
          </a:r>
        </a:p>
      </dgm:t>
    </dgm:pt>
    <dgm:pt modelId="{484FA09A-AFC4-48F4-874D-973E17D54349}" type="parTrans" cxnId="{8B4FA860-89BF-4EBF-AFEC-FC875151AE50}">
      <dgm:prSet/>
      <dgm:spPr/>
      <dgm:t>
        <a:bodyPr/>
        <a:lstStyle/>
        <a:p>
          <a:endParaRPr lang="en-US" sz="1800"/>
        </a:p>
      </dgm:t>
    </dgm:pt>
    <dgm:pt modelId="{3DDC12BD-8A8C-4C9E-BCA7-AC76E2D1A3E6}" type="sibTrans" cxnId="{8B4FA860-89BF-4EBF-AFEC-FC875151AE50}">
      <dgm:prSet/>
      <dgm:spPr/>
      <dgm:t>
        <a:bodyPr/>
        <a:lstStyle/>
        <a:p>
          <a:endParaRPr lang="en-US" sz="1800"/>
        </a:p>
      </dgm:t>
    </dgm:pt>
    <dgm:pt modelId="{79C39F55-9FC5-47C1-9302-F348CCE0915A}">
      <dgm:prSet phldrT="[Text]" custT="1"/>
      <dgm:spPr/>
      <dgm:t>
        <a:bodyPr/>
        <a:lstStyle/>
        <a:p>
          <a:r>
            <a:rPr lang="en-US" sz="1800"/>
            <a:t>Storage</a:t>
          </a:r>
        </a:p>
      </dgm:t>
    </dgm:pt>
    <dgm:pt modelId="{AACA4C52-39F7-4152-9FAC-048890B3E12E}" type="parTrans" cxnId="{3E80FF8B-C5F4-4F9F-919C-1F38201150E3}">
      <dgm:prSet/>
      <dgm:spPr/>
      <dgm:t>
        <a:bodyPr/>
        <a:lstStyle/>
        <a:p>
          <a:endParaRPr lang="en-US" sz="1800"/>
        </a:p>
      </dgm:t>
    </dgm:pt>
    <dgm:pt modelId="{196CFB6C-68F9-44A0-9E4C-26EBFB53D511}" type="sibTrans" cxnId="{3E80FF8B-C5F4-4F9F-919C-1F38201150E3}">
      <dgm:prSet/>
      <dgm:spPr/>
      <dgm:t>
        <a:bodyPr/>
        <a:lstStyle/>
        <a:p>
          <a:endParaRPr lang="en-US" sz="1800"/>
        </a:p>
      </dgm:t>
    </dgm:pt>
    <dgm:pt modelId="{EC9B0D7D-1E9D-4944-8E89-5AE41CE09E30}">
      <dgm:prSet phldrT="[Text]" custT="1"/>
      <dgm:spPr/>
      <dgm:t>
        <a:bodyPr/>
        <a:lstStyle/>
        <a:p>
          <a:r>
            <a:rPr lang="en-US" sz="1800"/>
            <a:t>Distribution</a:t>
          </a:r>
        </a:p>
      </dgm:t>
    </dgm:pt>
    <dgm:pt modelId="{BBE074CD-8514-428D-8A4A-C44F9211A2FF}" type="parTrans" cxnId="{E0CB302F-DD92-46BA-9CAF-66A336E53F80}">
      <dgm:prSet/>
      <dgm:spPr/>
      <dgm:t>
        <a:bodyPr/>
        <a:lstStyle/>
        <a:p>
          <a:endParaRPr lang="en-US" sz="1800"/>
        </a:p>
      </dgm:t>
    </dgm:pt>
    <dgm:pt modelId="{015FF667-E131-40D4-97E6-B19128ADDCE9}" type="sibTrans" cxnId="{E0CB302F-DD92-46BA-9CAF-66A336E53F80}">
      <dgm:prSet/>
      <dgm:spPr/>
      <dgm:t>
        <a:bodyPr/>
        <a:lstStyle/>
        <a:p>
          <a:endParaRPr lang="en-US" sz="1800"/>
        </a:p>
      </dgm:t>
    </dgm:pt>
    <dgm:pt modelId="{8608DCA1-A9CD-4366-8439-A196350253B8}" type="pres">
      <dgm:prSet presAssocID="{626AFDBF-6781-4864-B086-8C0FE1929844}" presName="Name0" presStyleCnt="0">
        <dgm:presLayoutVars>
          <dgm:dir/>
          <dgm:animLvl val="lvl"/>
          <dgm:resizeHandles val="exact"/>
        </dgm:presLayoutVars>
      </dgm:prSet>
      <dgm:spPr/>
    </dgm:pt>
    <dgm:pt modelId="{88BF8A71-F28B-470A-B2A0-72ACD6666B1E}" type="pres">
      <dgm:prSet presAssocID="{90F5F78D-BB2D-4472-B315-F7C17B0A8814}" presName="parTxOnly" presStyleLbl="node1" presStyleIdx="0" presStyleCnt="4">
        <dgm:presLayoutVars>
          <dgm:chMax val="0"/>
          <dgm:chPref val="0"/>
          <dgm:bulletEnabled val="1"/>
        </dgm:presLayoutVars>
      </dgm:prSet>
      <dgm:spPr/>
    </dgm:pt>
    <dgm:pt modelId="{F022F6AC-FD8B-4A15-8FFE-EADE4CD69443}" type="pres">
      <dgm:prSet presAssocID="{AE3C7689-309D-4F75-9B33-0EA4F1F88AFC}" presName="parTxOnlySpace" presStyleCnt="0"/>
      <dgm:spPr/>
    </dgm:pt>
    <dgm:pt modelId="{ACD59D9A-CC43-4785-9222-71BF96136BD0}" type="pres">
      <dgm:prSet presAssocID="{16604A36-543D-4966-8DE6-70BDA893D37F}" presName="parTxOnly" presStyleLbl="node1" presStyleIdx="1" presStyleCnt="4">
        <dgm:presLayoutVars>
          <dgm:chMax val="0"/>
          <dgm:chPref val="0"/>
          <dgm:bulletEnabled val="1"/>
        </dgm:presLayoutVars>
      </dgm:prSet>
      <dgm:spPr/>
    </dgm:pt>
    <dgm:pt modelId="{0077DF12-67F6-49B1-AFCE-07617339CA8B}" type="pres">
      <dgm:prSet presAssocID="{3DDC12BD-8A8C-4C9E-BCA7-AC76E2D1A3E6}" presName="parTxOnlySpace" presStyleCnt="0"/>
      <dgm:spPr/>
    </dgm:pt>
    <dgm:pt modelId="{9A41B63F-5ADC-4B34-B199-AC43DCCC2AD6}" type="pres">
      <dgm:prSet presAssocID="{79C39F55-9FC5-47C1-9302-F348CCE0915A}" presName="parTxOnly" presStyleLbl="node1" presStyleIdx="2" presStyleCnt="4">
        <dgm:presLayoutVars>
          <dgm:chMax val="0"/>
          <dgm:chPref val="0"/>
          <dgm:bulletEnabled val="1"/>
        </dgm:presLayoutVars>
      </dgm:prSet>
      <dgm:spPr/>
    </dgm:pt>
    <dgm:pt modelId="{8B2AB6B3-88AB-4407-86AD-76CA319FADEE}" type="pres">
      <dgm:prSet presAssocID="{196CFB6C-68F9-44A0-9E4C-26EBFB53D511}" presName="parTxOnlySpace" presStyleCnt="0"/>
      <dgm:spPr/>
    </dgm:pt>
    <dgm:pt modelId="{4DA9A9C8-BFFD-4032-8ADE-C657C199F8D4}" type="pres">
      <dgm:prSet presAssocID="{EC9B0D7D-1E9D-4944-8E89-5AE41CE09E30}" presName="parTxOnly" presStyleLbl="node1" presStyleIdx="3" presStyleCnt="4">
        <dgm:presLayoutVars>
          <dgm:chMax val="0"/>
          <dgm:chPref val="0"/>
          <dgm:bulletEnabled val="1"/>
        </dgm:presLayoutVars>
      </dgm:prSet>
      <dgm:spPr/>
    </dgm:pt>
  </dgm:ptLst>
  <dgm:cxnLst>
    <dgm:cxn modelId="{CAECD119-8CD9-4FEA-A026-E0BDC810FEAA}" srcId="{626AFDBF-6781-4864-B086-8C0FE1929844}" destId="{90F5F78D-BB2D-4472-B315-F7C17B0A8814}" srcOrd="0" destOrd="0" parTransId="{4ABC149A-6B99-48CE-ABA9-59503DCE3858}" sibTransId="{AE3C7689-309D-4F75-9B33-0EA4F1F88AFC}"/>
    <dgm:cxn modelId="{E0CB302F-DD92-46BA-9CAF-66A336E53F80}" srcId="{626AFDBF-6781-4864-B086-8C0FE1929844}" destId="{EC9B0D7D-1E9D-4944-8E89-5AE41CE09E30}" srcOrd="3" destOrd="0" parTransId="{BBE074CD-8514-428D-8A4A-C44F9211A2FF}" sibTransId="{015FF667-E131-40D4-97E6-B19128ADDCE9}"/>
    <dgm:cxn modelId="{8B4FA860-89BF-4EBF-AFEC-FC875151AE50}" srcId="{626AFDBF-6781-4864-B086-8C0FE1929844}" destId="{16604A36-543D-4966-8DE6-70BDA893D37F}" srcOrd="1" destOrd="0" parTransId="{484FA09A-AFC4-48F4-874D-973E17D54349}" sibTransId="{3DDC12BD-8A8C-4C9E-BCA7-AC76E2D1A3E6}"/>
    <dgm:cxn modelId="{5A951F7A-222D-463E-9AE9-98DC4BF4FCBC}" type="presOf" srcId="{16604A36-543D-4966-8DE6-70BDA893D37F}" destId="{ACD59D9A-CC43-4785-9222-71BF96136BD0}" srcOrd="0" destOrd="0" presId="urn:microsoft.com/office/officeart/2005/8/layout/chevron1"/>
    <dgm:cxn modelId="{3E80FF8B-C5F4-4F9F-919C-1F38201150E3}" srcId="{626AFDBF-6781-4864-B086-8C0FE1929844}" destId="{79C39F55-9FC5-47C1-9302-F348CCE0915A}" srcOrd="2" destOrd="0" parTransId="{AACA4C52-39F7-4152-9FAC-048890B3E12E}" sibTransId="{196CFB6C-68F9-44A0-9E4C-26EBFB53D511}"/>
    <dgm:cxn modelId="{54E0D2AD-1D9A-463F-8B2A-3A8744FA2F40}" type="presOf" srcId="{626AFDBF-6781-4864-B086-8C0FE1929844}" destId="{8608DCA1-A9CD-4366-8439-A196350253B8}" srcOrd="0" destOrd="0" presId="urn:microsoft.com/office/officeart/2005/8/layout/chevron1"/>
    <dgm:cxn modelId="{1109EAAE-5EBB-4B38-A496-CE9224FD9F5A}" type="presOf" srcId="{79C39F55-9FC5-47C1-9302-F348CCE0915A}" destId="{9A41B63F-5ADC-4B34-B199-AC43DCCC2AD6}" srcOrd="0" destOrd="0" presId="urn:microsoft.com/office/officeart/2005/8/layout/chevron1"/>
    <dgm:cxn modelId="{A504B3DD-9780-4A84-8993-E80E9839FF6C}" type="presOf" srcId="{EC9B0D7D-1E9D-4944-8E89-5AE41CE09E30}" destId="{4DA9A9C8-BFFD-4032-8ADE-C657C199F8D4}" srcOrd="0" destOrd="0" presId="urn:microsoft.com/office/officeart/2005/8/layout/chevron1"/>
    <dgm:cxn modelId="{61A8FDEF-F949-4C87-BDC2-1BD123B9A2C2}" type="presOf" srcId="{90F5F78D-BB2D-4472-B315-F7C17B0A8814}" destId="{88BF8A71-F28B-470A-B2A0-72ACD6666B1E}" srcOrd="0" destOrd="0" presId="urn:microsoft.com/office/officeart/2005/8/layout/chevron1"/>
    <dgm:cxn modelId="{2154F5CB-E120-4870-92D3-6D1161EB88D0}" type="presParOf" srcId="{8608DCA1-A9CD-4366-8439-A196350253B8}" destId="{88BF8A71-F28B-470A-B2A0-72ACD6666B1E}" srcOrd="0" destOrd="0" presId="urn:microsoft.com/office/officeart/2005/8/layout/chevron1"/>
    <dgm:cxn modelId="{FB2D93BC-3CDB-42D9-A997-B72C2BA0F93A}" type="presParOf" srcId="{8608DCA1-A9CD-4366-8439-A196350253B8}" destId="{F022F6AC-FD8B-4A15-8FFE-EADE4CD69443}" srcOrd="1" destOrd="0" presId="urn:microsoft.com/office/officeart/2005/8/layout/chevron1"/>
    <dgm:cxn modelId="{7F8E4928-69E2-4493-95C5-1BB40BD101AC}" type="presParOf" srcId="{8608DCA1-A9CD-4366-8439-A196350253B8}" destId="{ACD59D9A-CC43-4785-9222-71BF96136BD0}" srcOrd="2" destOrd="0" presId="urn:microsoft.com/office/officeart/2005/8/layout/chevron1"/>
    <dgm:cxn modelId="{5323DF59-CBC4-40D1-9B8C-40572B16CD28}" type="presParOf" srcId="{8608DCA1-A9CD-4366-8439-A196350253B8}" destId="{0077DF12-67F6-49B1-AFCE-07617339CA8B}" srcOrd="3" destOrd="0" presId="urn:microsoft.com/office/officeart/2005/8/layout/chevron1"/>
    <dgm:cxn modelId="{61C550E1-405D-4983-8107-4F096FF06918}" type="presParOf" srcId="{8608DCA1-A9CD-4366-8439-A196350253B8}" destId="{9A41B63F-5ADC-4B34-B199-AC43DCCC2AD6}" srcOrd="4" destOrd="0" presId="urn:microsoft.com/office/officeart/2005/8/layout/chevron1"/>
    <dgm:cxn modelId="{4DC821A1-2B06-45EE-A828-348E689ACB43}" type="presParOf" srcId="{8608DCA1-A9CD-4366-8439-A196350253B8}" destId="{8B2AB6B3-88AB-4407-86AD-76CA319FADEE}" srcOrd="5" destOrd="0" presId="urn:microsoft.com/office/officeart/2005/8/layout/chevron1"/>
    <dgm:cxn modelId="{B404E8C0-5A4F-443C-9C22-CB3B64FEFA7B}" type="presParOf" srcId="{8608DCA1-A9CD-4366-8439-A196350253B8}" destId="{4DA9A9C8-BFFD-4032-8ADE-C657C199F8D4}"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6AFDBF-6781-4864-B086-8C0FE1929844}" type="doc">
      <dgm:prSet loTypeId="urn:microsoft.com/office/officeart/2005/8/layout/chevron1" loCatId="process" qsTypeId="urn:microsoft.com/office/officeart/2005/8/quickstyle/simple1" qsCatId="simple" csTypeId="urn:microsoft.com/office/officeart/2005/8/colors/accent1_2" csCatId="accent1" phldr="1"/>
      <dgm:spPr/>
    </dgm:pt>
    <dgm:pt modelId="{90F5F78D-BB2D-4472-B315-F7C17B0A8814}">
      <dgm:prSet phldrT="[Text]" custT="1"/>
      <dgm:spPr/>
      <dgm:t>
        <a:bodyPr/>
        <a:lstStyle/>
        <a:p>
          <a:r>
            <a:rPr lang="en-US" sz="1800" dirty="0"/>
            <a:t>Components</a:t>
          </a:r>
        </a:p>
      </dgm:t>
    </dgm:pt>
    <dgm:pt modelId="{4ABC149A-6B99-48CE-ABA9-59503DCE3858}" type="parTrans" cxnId="{CAECD119-8CD9-4FEA-A026-E0BDC810FEAA}">
      <dgm:prSet/>
      <dgm:spPr/>
      <dgm:t>
        <a:bodyPr/>
        <a:lstStyle/>
        <a:p>
          <a:endParaRPr lang="en-US" sz="1800"/>
        </a:p>
      </dgm:t>
    </dgm:pt>
    <dgm:pt modelId="{AE3C7689-309D-4F75-9B33-0EA4F1F88AFC}" type="sibTrans" cxnId="{CAECD119-8CD9-4FEA-A026-E0BDC810FEAA}">
      <dgm:prSet/>
      <dgm:spPr/>
      <dgm:t>
        <a:bodyPr/>
        <a:lstStyle/>
        <a:p>
          <a:endParaRPr lang="en-US" sz="1800"/>
        </a:p>
      </dgm:t>
    </dgm:pt>
    <dgm:pt modelId="{16604A36-543D-4966-8DE6-70BDA893D37F}">
      <dgm:prSet phldrT="[Text]" custT="1"/>
      <dgm:spPr>
        <a:solidFill>
          <a:schemeClr val="accent3">
            <a:lumMod val="50000"/>
          </a:schemeClr>
        </a:solidFill>
      </dgm:spPr>
      <dgm:t>
        <a:bodyPr/>
        <a:lstStyle/>
        <a:p>
          <a:r>
            <a:rPr lang="en-US" sz="1800" dirty="0"/>
            <a:t>Assembly</a:t>
          </a:r>
        </a:p>
      </dgm:t>
    </dgm:pt>
    <dgm:pt modelId="{484FA09A-AFC4-48F4-874D-973E17D54349}" type="parTrans" cxnId="{8B4FA860-89BF-4EBF-AFEC-FC875151AE50}">
      <dgm:prSet/>
      <dgm:spPr/>
      <dgm:t>
        <a:bodyPr/>
        <a:lstStyle/>
        <a:p>
          <a:endParaRPr lang="en-US" sz="1800"/>
        </a:p>
      </dgm:t>
    </dgm:pt>
    <dgm:pt modelId="{3DDC12BD-8A8C-4C9E-BCA7-AC76E2D1A3E6}" type="sibTrans" cxnId="{8B4FA860-89BF-4EBF-AFEC-FC875151AE50}">
      <dgm:prSet/>
      <dgm:spPr/>
      <dgm:t>
        <a:bodyPr/>
        <a:lstStyle/>
        <a:p>
          <a:endParaRPr lang="en-US" sz="1800"/>
        </a:p>
      </dgm:t>
    </dgm:pt>
    <dgm:pt modelId="{79C39F55-9FC5-47C1-9302-F348CCE0915A}">
      <dgm:prSet phldrT="[Text]" custT="1"/>
      <dgm:spPr>
        <a:solidFill>
          <a:schemeClr val="accent3">
            <a:lumMod val="50000"/>
          </a:schemeClr>
        </a:solidFill>
      </dgm:spPr>
      <dgm:t>
        <a:bodyPr/>
        <a:lstStyle/>
        <a:p>
          <a:r>
            <a:rPr lang="en-US" sz="1800" dirty="0"/>
            <a:t>Calibration</a:t>
          </a:r>
        </a:p>
      </dgm:t>
    </dgm:pt>
    <dgm:pt modelId="{AACA4C52-39F7-4152-9FAC-048890B3E12E}" type="parTrans" cxnId="{3E80FF8B-C5F4-4F9F-919C-1F38201150E3}">
      <dgm:prSet/>
      <dgm:spPr/>
      <dgm:t>
        <a:bodyPr/>
        <a:lstStyle/>
        <a:p>
          <a:endParaRPr lang="en-US" sz="1800"/>
        </a:p>
      </dgm:t>
    </dgm:pt>
    <dgm:pt modelId="{196CFB6C-68F9-44A0-9E4C-26EBFB53D511}" type="sibTrans" cxnId="{3E80FF8B-C5F4-4F9F-919C-1F38201150E3}">
      <dgm:prSet/>
      <dgm:spPr/>
      <dgm:t>
        <a:bodyPr/>
        <a:lstStyle/>
        <a:p>
          <a:endParaRPr lang="en-US" sz="1800"/>
        </a:p>
      </dgm:t>
    </dgm:pt>
    <dgm:pt modelId="{EC9B0D7D-1E9D-4944-8E89-5AE41CE09E30}">
      <dgm:prSet phldrT="[Text]" custT="1"/>
      <dgm:spPr>
        <a:solidFill>
          <a:schemeClr val="accent3">
            <a:lumMod val="50000"/>
          </a:schemeClr>
        </a:solidFill>
      </dgm:spPr>
      <dgm:t>
        <a:bodyPr/>
        <a:lstStyle/>
        <a:p>
          <a:r>
            <a:rPr lang="en-US" sz="1800" dirty="0"/>
            <a:t>Certification</a:t>
          </a:r>
        </a:p>
      </dgm:t>
    </dgm:pt>
    <dgm:pt modelId="{BBE074CD-8514-428D-8A4A-C44F9211A2FF}" type="parTrans" cxnId="{E0CB302F-DD92-46BA-9CAF-66A336E53F80}">
      <dgm:prSet/>
      <dgm:spPr/>
      <dgm:t>
        <a:bodyPr/>
        <a:lstStyle/>
        <a:p>
          <a:endParaRPr lang="en-US" sz="1800"/>
        </a:p>
      </dgm:t>
    </dgm:pt>
    <dgm:pt modelId="{015FF667-E131-40D4-97E6-B19128ADDCE9}" type="sibTrans" cxnId="{E0CB302F-DD92-46BA-9CAF-66A336E53F80}">
      <dgm:prSet/>
      <dgm:spPr/>
      <dgm:t>
        <a:bodyPr/>
        <a:lstStyle/>
        <a:p>
          <a:endParaRPr lang="en-US" sz="1800"/>
        </a:p>
      </dgm:t>
    </dgm:pt>
    <dgm:pt modelId="{8608DCA1-A9CD-4366-8439-A196350253B8}" type="pres">
      <dgm:prSet presAssocID="{626AFDBF-6781-4864-B086-8C0FE1929844}" presName="Name0" presStyleCnt="0">
        <dgm:presLayoutVars>
          <dgm:dir/>
          <dgm:animLvl val="lvl"/>
          <dgm:resizeHandles val="exact"/>
        </dgm:presLayoutVars>
      </dgm:prSet>
      <dgm:spPr/>
    </dgm:pt>
    <dgm:pt modelId="{88BF8A71-F28B-470A-B2A0-72ACD6666B1E}" type="pres">
      <dgm:prSet presAssocID="{90F5F78D-BB2D-4472-B315-F7C17B0A8814}" presName="parTxOnly" presStyleLbl="node1" presStyleIdx="0" presStyleCnt="4">
        <dgm:presLayoutVars>
          <dgm:chMax val="0"/>
          <dgm:chPref val="0"/>
          <dgm:bulletEnabled val="1"/>
        </dgm:presLayoutVars>
      </dgm:prSet>
      <dgm:spPr/>
    </dgm:pt>
    <dgm:pt modelId="{F022F6AC-FD8B-4A15-8FFE-EADE4CD69443}" type="pres">
      <dgm:prSet presAssocID="{AE3C7689-309D-4F75-9B33-0EA4F1F88AFC}" presName="parTxOnlySpace" presStyleCnt="0"/>
      <dgm:spPr/>
    </dgm:pt>
    <dgm:pt modelId="{ACD59D9A-CC43-4785-9222-71BF96136BD0}" type="pres">
      <dgm:prSet presAssocID="{16604A36-543D-4966-8DE6-70BDA893D37F}" presName="parTxOnly" presStyleLbl="node1" presStyleIdx="1" presStyleCnt="4">
        <dgm:presLayoutVars>
          <dgm:chMax val="0"/>
          <dgm:chPref val="0"/>
          <dgm:bulletEnabled val="1"/>
        </dgm:presLayoutVars>
      </dgm:prSet>
      <dgm:spPr/>
    </dgm:pt>
    <dgm:pt modelId="{0077DF12-67F6-49B1-AFCE-07617339CA8B}" type="pres">
      <dgm:prSet presAssocID="{3DDC12BD-8A8C-4C9E-BCA7-AC76E2D1A3E6}" presName="parTxOnlySpace" presStyleCnt="0"/>
      <dgm:spPr/>
    </dgm:pt>
    <dgm:pt modelId="{9A41B63F-5ADC-4B34-B199-AC43DCCC2AD6}" type="pres">
      <dgm:prSet presAssocID="{79C39F55-9FC5-47C1-9302-F348CCE0915A}" presName="parTxOnly" presStyleLbl="node1" presStyleIdx="2" presStyleCnt="4">
        <dgm:presLayoutVars>
          <dgm:chMax val="0"/>
          <dgm:chPref val="0"/>
          <dgm:bulletEnabled val="1"/>
        </dgm:presLayoutVars>
      </dgm:prSet>
      <dgm:spPr/>
    </dgm:pt>
    <dgm:pt modelId="{8B2AB6B3-88AB-4407-86AD-76CA319FADEE}" type="pres">
      <dgm:prSet presAssocID="{196CFB6C-68F9-44A0-9E4C-26EBFB53D511}" presName="parTxOnlySpace" presStyleCnt="0"/>
      <dgm:spPr/>
    </dgm:pt>
    <dgm:pt modelId="{4DA9A9C8-BFFD-4032-8ADE-C657C199F8D4}" type="pres">
      <dgm:prSet presAssocID="{EC9B0D7D-1E9D-4944-8E89-5AE41CE09E30}" presName="parTxOnly" presStyleLbl="node1" presStyleIdx="3" presStyleCnt="4">
        <dgm:presLayoutVars>
          <dgm:chMax val="0"/>
          <dgm:chPref val="0"/>
          <dgm:bulletEnabled val="1"/>
        </dgm:presLayoutVars>
      </dgm:prSet>
      <dgm:spPr/>
    </dgm:pt>
  </dgm:ptLst>
  <dgm:cxnLst>
    <dgm:cxn modelId="{CAECD119-8CD9-4FEA-A026-E0BDC810FEAA}" srcId="{626AFDBF-6781-4864-B086-8C0FE1929844}" destId="{90F5F78D-BB2D-4472-B315-F7C17B0A8814}" srcOrd="0" destOrd="0" parTransId="{4ABC149A-6B99-48CE-ABA9-59503DCE3858}" sibTransId="{AE3C7689-309D-4F75-9B33-0EA4F1F88AFC}"/>
    <dgm:cxn modelId="{E0CB302F-DD92-46BA-9CAF-66A336E53F80}" srcId="{626AFDBF-6781-4864-B086-8C0FE1929844}" destId="{EC9B0D7D-1E9D-4944-8E89-5AE41CE09E30}" srcOrd="3" destOrd="0" parTransId="{BBE074CD-8514-428D-8A4A-C44F9211A2FF}" sibTransId="{015FF667-E131-40D4-97E6-B19128ADDCE9}"/>
    <dgm:cxn modelId="{8B4FA860-89BF-4EBF-AFEC-FC875151AE50}" srcId="{626AFDBF-6781-4864-B086-8C0FE1929844}" destId="{16604A36-543D-4966-8DE6-70BDA893D37F}" srcOrd="1" destOrd="0" parTransId="{484FA09A-AFC4-48F4-874D-973E17D54349}" sibTransId="{3DDC12BD-8A8C-4C9E-BCA7-AC76E2D1A3E6}"/>
    <dgm:cxn modelId="{5A951F7A-222D-463E-9AE9-98DC4BF4FCBC}" type="presOf" srcId="{16604A36-543D-4966-8DE6-70BDA893D37F}" destId="{ACD59D9A-CC43-4785-9222-71BF96136BD0}" srcOrd="0" destOrd="0" presId="urn:microsoft.com/office/officeart/2005/8/layout/chevron1"/>
    <dgm:cxn modelId="{3E80FF8B-C5F4-4F9F-919C-1F38201150E3}" srcId="{626AFDBF-6781-4864-B086-8C0FE1929844}" destId="{79C39F55-9FC5-47C1-9302-F348CCE0915A}" srcOrd="2" destOrd="0" parTransId="{AACA4C52-39F7-4152-9FAC-048890B3E12E}" sibTransId="{196CFB6C-68F9-44A0-9E4C-26EBFB53D511}"/>
    <dgm:cxn modelId="{54E0D2AD-1D9A-463F-8B2A-3A8744FA2F40}" type="presOf" srcId="{626AFDBF-6781-4864-B086-8C0FE1929844}" destId="{8608DCA1-A9CD-4366-8439-A196350253B8}" srcOrd="0" destOrd="0" presId="urn:microsoft.com/office/officeart/2005/8/layout/chevron1"/>
    <dgm:cxn modelId="{1109EAAE-5EBB-4B38-A496-CE9224FD9F5A}" type="presOf" srcId="{79C39F55-9FC5-47C1-9302-F348CCE0915A}" destId="{9A41B63F-5ADC-4B34-B199-AC43DCCC2AD6}" srcOrd="0" destOrd="0" presId="urn:microsoft.com/office/officeart/2005/8/layout/chevron1"/>
    <dgm:cxn modelId="{A504B3DD-9780-4A84-8993-E80E9839FF6C}" type="presOf" srcId="{EC9B0D7D-1E9D-4944-8E89-5AE41CE09E30}" destId="{4DA9A9C8-BFFD-4032-8ADE-C657C199F8D4}" srcOrd="0" destOrd="0" presId="urn:microsoft.com/office/officeart/2005/8/layout/chevron1"/>
    <dgm:cxn modelId="{61A8FDEF-F949-4C87-BDC2-1BD123B9A2C2}" type="presOf" srcId="{90F5F78D-BB2D-4472-B315-F7C17B0A8814}" destId="{88BF8A71-F28B-470A-B2A0-72ACD6666B1E}" srcOrd="0" destOrd="0" presId="urn:microsoft.com/office/officeart/2005/8/layout/chevron1"/>
    <dgm:cxn modelId="{2154F5CB-E120-4870-92D3-6D1161EB88D0}" type="presParOf" srcId="{8608DCA1-A9CD-4366-8439-A196350253B8}" destId="{88BF8A71-F28B-470A-B2A0-72ACD6666B1E}" srcOrd="0" destOrd="0" presId="urn:microsoft.com/office/officeart/2005/8/layout/chevron1"/>
    <dgm:cxn modelId="{FB2D93BC-3CDB-42D9-A997-B72C2BA0F93A}" type="presParOf" srcId="{8608DCA1-A9CD-4366-8439-A196350253B8}" destId="{F022F6AC-FD8B-4A15-8FFE-EADE4CD69443}" srcOrd="1" destOrd="0" presId="urn:microsoft.com/office/officeart/2005/8/layout/chevron1"/>
    <dgm:cxn modelId="{7F8E4928-69E2-4493-95C5-1BB40BD101AC}" type="presParOf" srcId="{8608DCA1-A9CD-4366-8439-A196350253B8}" destId="{ACD59D9A-CC43-4785-9222-71BF96136BD0}" srcOrd="2" destOrd="0" presId="urn:microsoft.com/office/officeart/2005/8/layout/chevron1"/>
    <dgm:cxn modelId="{5323DF59-CBC4-40D1-9B8C-40572B16CD28}" type="presParOf" srcId="{8608DCA1-A9CD-4366-8439-A196350253B8}" destId="{0077DF12-67F6-49B1-AFCE-07617339CA8B}" srcOrd="3" destOrd="0" presId="urn:microsoft.com/office/officeart/2005/8/layout/chevron1"/>
    <dgm:cxn modelId="{61C550E1-405D-4983-8107-4F096FF06918}" type="presParOf" srcId="{8608DCA1-A9CD-4366-8439-A196350253B8}" destId="{9A41B63F-5ADC-4B34-B199-AC43DCCC2AD6}" srcOrd="4" destOrd="0" presId="urn:microsoft.com/office/officeart/2005/8/layout/chevron1"/>
    <dgm:cxn modelId="{4DC821A1-2B06-45EE-A828-348E689ACB43}" type="presParOf" srcId="{8608DCA1-A9CD-4366-8439-A196350253B8}" destId="{8B2AB6B3-88AB-4407-86AD-76CA319FADEE}" srcOrd="5" destOrd="0" presId="urn:microsoft.com/office/officeart/2005/8/layout/chevron1"/>
    <dgm:cxn modelId="{B404E8C0-5A4F-443C-9C22-CB3B64FEFA7B}" type="presParOf" srcId="{8608DCA1-A9CD-4366-8439-A196350253B8}" destId="{4DA9A9C8-BFFD-4032-8ADE-C657C199F8D4}"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26AFDBF-6781-4864-B086-8C0FE1929844}" type="doc">
      <dgm:prSet loTypeId="urn:microsoft.com/office/officeart/2005/8/layout/chevron1" loCatId="process" qsTypeId="urn:microsoft.com/office/officeart/2005/8/quickstyle/simple1" qsCatId="simple" csTypeId="urn:microsoft.com/office/officeart/2005/8/colors/accent1_2" csCatId="accent1" phldr="1"/>
      <dgm:spPr/>
    </dgm:pt>
    <dgm:pt modelId="{90F5F78D-BB2D-4472-B315-F7C17B0A8814}">
      <dgm:prSet phldrT="[Text]" custT="1"/>
      <dgm:spPr/>
      <dgm:t>
        <a:bodyPr/>
        <a:lstStyle/>
        <a:p>
          <a:r>
            <a:rPr lang="en-US" sz="1800" dirty="0"/>
            <a:t>Components</a:t>
          </a:r>
        </a:p>
      </dgm:t>
    </dgm:pt>
    <dgm:pt modelId="{4ABC149A-6B99-48CE-ABA9-59503DCE3858}" type="parTrans" cxnId="{CAECD119-8CD9-4FEA-A026-E0BDC810FEAA}">
      <dgm:prSet/>
      <dgm:spPr/>
      <dgm:t>
        <a:bodyPr/>
        <a:lstStyle/>
        <a:p>
          <a:endParaRPr lang="en-US" sz="1800"/>
        </a:p>
      </dgm:t>
    </dgm:pt>
    <dgm:pt modelId="{AE3C7689-309D-4F75-9B33-0EA4F1F88AFC}" type="sibTrans" cxnId="{CAECD119-8CD9-4FEA-A026-E0BDC810FEAA}">
      <dgm:prSet/>
      <dgm:spPr/>
      <dgm:t>
        <a:bodyPr/>
        <a:lstStyle/>
        <a:p>
          <a:endParaRPr lang="en-US" sz="1800"/>
        </a:p>
      </dgm:t>
    </dgm:pt>
    <dgm:pt modelId="{16604A36-543D-4966-8DE6-70BDA893D37F}">
      <dgm:prSet phldrT="[Text]" custT="1"/>
      <dgm:spPr>
        <a:solidFill>
          <a:schemeClr val="accent3">
            <a:lumMod val="50000"/>
          </a:schemeClr>
        </a:solidFill>
      </dgm:spPr>
      <dgm:t>
        <a:bodyPr/>
        <a:lstStyle/>
        <a:p>
          <a:r>
            <a:rPr lang="en-US" sz="1800" dirty="0"/>
            <a:t>Assembly</a:t>
          </a:r>
        </a:p>
      </dgm:t>
    </dgm:pt>
    <dgm:pt modelId="{484FA09A-AFC4-48F4-874D-973E17D54349}" type="parTrans" cxnId="{8B4FA860-89BF-4EBF-AFEC-FC875151AE50}">
      <dgm:prSet/>
      <dgm:spPr/>
      <dgm:t>
        <a:bodyPr/>
        <a:lstStyle/>
        <a:p>
          <a:endParaRPr lang="en-US" sz="1800"/>
        </a:p>
      </dgm:t>
    </dgm:pt>
    <dgm:pt modelId="{3DDC12BD-8A8C-4C9E-BCA7-AC76E2D1A3E6}" type="sibTrans" cxnId="{8B4FA860-89BF-4EBF-AFEC-FC875151AE50}">
      <dgm:prSet/>
      <dgm:spPr/>
      <dgm:t>
        <a:bodyPr/>
        <a:lstStyle/>
        <a:p>
          <a:endParaRPr lang="en-US" sz="1800"/>
        </a:p>
      </dgm:t>
    </dgm:pt>
    <dgm:pt modelId="{79C39F55-9FC5-47C1-9302-F348CCE0915A}">
      <dgm:prSet phldrT="[Text]" custT="1"/>
      <dgm:spPr/>
      <dgm:t>
        <a:bodyPr/>
        <a:lstStyle/>
        <a:p>
          <a:r>
            <a:rPr lang="en-US" sz="1800" dirty="0"/>
            <a:t>Calibration</a:t>
          </a:r>
        </a:p>
      </dgm:t>
    </dgm:pt>
    <dgm:pt modelId="{AACA4C52-39F7-4152-9FAC-048890B3E12E}" type="parTrans" cxnId="{3E80FF8B-C5F4-4F9F-919C-1F38201150E3}">
      <dgm:prSet/>
      <dgm:spPr/>
      <dgm:t>
        <a:bodyPr/>
        <a:lstStyle/>
        <a:p>
          <a:endParaRPr lang="en-US" sz="1800"/>
        </a:p>
      </dgm:t>
    </dgm:pt>
    <dgm:pt modelId="{196CFB6C-68F9-44A0-9E4C-26EBFB53D511}" type="sibTrans" cxnId="{3E80FF8B-C5F4-4F9F-919C-1F38201150E3}">
      <dgm:prSet/>
      <dgm:spPr/>
      <dgm:t>
        <a:bodyPr/>
        <a:lstStyle/>
        <a:p>
          <a:endParaRPr lang="en-US" sz="1800"/>
        </a:p>
      </dgm:t>
    </dgm:pt>
    <dgm:pt modelId="{EC9B0D7D-1E9D-4944-8E89-5AE41CE09E30}">
      <dgm:prSet phldrT="[Text]" custT="1"/>
      <dgm:spPr/>
      <dgm:t>
        <a:bodyPr/>
        <a:lstStyle/>
        <a:p>
          <a:r>
            <a:rPr lang="en-US" sz="1800" dirty="0"/>
            <a:t>Certification</a:t>
          </a:r>
        </a:p>
      </dgm:t>
    </dgm:pt>
    <dgm:pt modelId="{BBE074CD-8514-428D-8A4A-C44F9211A2FF}" type="parTrans" cxnId="{E0CB302F-DD92-46BA-9CAF-66A336E53F80}">
      <dgm:prSet/>
      <dgm:spPr/>
      <dgm:t>
        <a:bodyPr/>
        <a:lstStyle/>
        <a:p>
          <a:endParaRPr lang="en-US" sz="1800"/>
        </a:p>
      </dgm:t>
    </dgm:pt>
    <dgm:pt modelId="{015FF667-E131-40D4-97E6-B19128ADDCE9}" type="sibTrans" cxnId="{E0CB302F-DD92-46BA-9CAF-66A336E53F80}">
      <dgm:prSet/>
      <dgm:spPr/>
      <dgm:t>
        <a:bodyPr/>
        <a:lstStyle/>
        <a:p>
          <a:endParaRPr lang="en-US" sz="1800"/>
        </a:p>
      </dgm:t>
    </dgm:pt>
    <dgm:pt modelId="{8608DCA1-A9CD-4366-8439-A196350253B8}" type="pres">
      <dgm:prSet presAssocID="{626AFDBF-6781-4864-B086-8C0FE1929844}" presName="Name0" presStyleCnt="0">
        <dgm:presLayoutVars>
          <dgm:dir/>
          <dgm:animLvl val="lvl"/>
          <dgm:resizeHandles val="exact"/>
        </dgm:presLayoutVars>
      </dgm:prSet>
      <dgm:spPr/>
    </dgm:pt>
    <dgm:pt modelId="{88BF8A71-F28B-470A-B2A0-72ACD6666B1E}" type="pres">
      <dgm:prSet presAssocID="{90F5F78D-BB2D-4472-B315-F7C17B0A8814}" presName="parTxOnly" presStyleLbl="node1" presStyleIdx="0" presStyleCnt="4">
        <dgm:presLayoutVars>
          <dgm:chMax val="0"/>
          <dgm:chPref val="0"/>
          <dgm:bulletEnabled val="1"/>
        </dgm:presLayoutVars>
      </dgm:prSet>
      <dgm:spPr/>
    </dgm:pt>
    <dgm:pt modelId="{F022F6AC-FD8B-4A15-8FFE-EADE4CD69443}" type="pres">
      <dgm:prSet presAssocID="{AE3C7689-309D-4F75-9B33-0EA4F1F88AFC}" presName="parTxOnlySpace" presStyleCnt="0"/>
      <dgm:spPr/>
    </dgm:pt>
    <dgm:pt modelId="{ACD59D9A-CC43-4785-9222-71BF96136BD0}" type="pres">
      <dgm:prSet presAssocID="{16604A36-543D-4966-8DE6-70BDA893D37F}" presName="parTxOnly" presStyleLbl="node1" presStyleIdx="1" presStyleCnt="4">
        <dgm:presLayoutVars>
          <dgm:chMax val="0"/>
          <dgm:chPref val="0"/>
          <dgm:bulletEnabled val="1"/>
        </dgm:presLayoutVars>
      </dgm:prSet>
      <dgm:spPr/>
    </dgm:pt>
    <dgm:pt modelId="{0077DF12-67F6-49B1-AFCE-07617339CA8B}" type="pres">
      <dgm:prSet presAssocID="{3DDC12BD-8A8C-4C9E-BCA7-AC76E2D1A3E6}" presName="parTxOnlySpace" presStyleCnt="0"/>
      <dgm:spPr/>
    </dgm:pt>
    <dgm:pt modelId="{9A41B63F-5ADC-4B34-B199-AC43DCCC2AD6}" type="pres">
      <dgm:prSet presAssocID="{79C39F55-9FC5-47C1-9302-F348CCE0915A}" presName="parTxOnly" presStyleLbl="node1" presStyleIdx="2" presStyleCnt="4">
        <dgm:presLayoutVars>
          <dgm:chMax val="0"/>
          <dgm:chPref val="0"/>
          <dgm:bulletEnabled val="1"/>
        </dgm:presLayoutVars>
      </dgm:prSet>
      <dgm:spPr/>
    </dgm:pt>
    <dgm:pt modelId="{8B2AB6B3-88AB-4407-86AD-76CA319FADEE}" type="pres">
      <dgm:prSet presAssocID="{196CFB6C-68F9-44A0-9E4C-26EBFB53D511}" presName="parTxOnlySpace" presStyleCnt="0"/>
      <dgm:spPr/>
    </dgm:pt>
    <dgm:pt modelId="{4DA9A9C8-BFFD-4032-8ADE-C657C199F8D4}" type="pres">
      <dgm:prSet presAssocID="{EC9B0D7D-1E9D-4944-8E89-5AE41CE09E30}" presName="parTxOnly" presStyleLbl="node1" presStyleIdx="3" presStyleCnt="4" custLinFactNeighborX="5877">
        <dgm:presLayoutVars>
          <dgm:chMax val="0"/>
          <dgm:chPref val="0"/>
          <dgm:bulletEnabled val="1"/>
        </dgm:presLayoutVars>
      </dgm:prSet>
      <dgm:spPr/>
    </dgm:pt>
  </dgm:ptLst>
  <dgm:cxnLst>
    <dgm:cxn modelId="{CAECD119-8CD9-4FEA-A026-E0BDC810FEAA}" srcId="{626AFDBF-6781-4864-B086-8C0FE1929844}" destId="{90F5F78D-BB2D-4472-B315-F7C17B0A8814}" srcOrd="0" destOrd="0" parTransId="{4ABC149A-6B99-48CE-ABA9-59503DCE3858}" sibTransId="{AE3C7689-309D-4F75-9B33-0EA4F1F88AFC}"/>
    <dgm:cxn modelId="{E0CB302F-DD92-46BA-9CAF-66A336E53F80}" srcId="{626AFDBF-6781-4864-B086-8C0FE1929844}" destId="{EC9B0D7D-1E9D-4944-8E89-5AE41CE09E30}" srcOrd="3" destOrd="0" parTransId="{BBE074CD-8514-428D-8A4A-C44F9211A2FF}" sibTransId="{015FF667-E131-40D4-97E6-B19128ADDCE9}"/>
    <dgm:cxn modelId="{8B4FA860-89BF-4EBF-AFEC-FC875151AE50}" srcId="{626AFDBF-6781-4864-B086-8C0FE1929844}" destId="{16604A36-543D-4966-8DE6-70BDA893D37F}" srcOrd="1" destOrd="0" parTransId="{484FA09A-AFC4-48F4-874D-973E17D54349}" sibTransId="{3DDC12BD-8A8C-4C9E-BCA7-AC76E2D1A3E6}"/>
    <dgm:cxn modelId="{5A951F7A-222D-463E-9AE9-98DC4BF4FCBC}" type="presOf" srcId="{16604A36-543D-4966-8DE6-70BDA893D37F}" destId="{ACD59D9A-CC43-4785-9222-71BF96136BD0}" srcOrd="0" destOrd="0" presId="urn:microsoft.com/office/officeart/2005/8/layout/chevron1"/>
    <dgm:cxn modelId="{3E80FF8B-C5F4-4F9F-919C-1F38201150E3}" srcId="{626AFDBF-6781-4864-B086-8C0FE1929844}" destId="{79C39F55-9FC5-47C1-9302-F348CCE0915A}" srcOrd="2" destOrd="0" parTransId="{AACA4C52-39F7-4152-9FAC-048890B3E12E}" sibTransId="{196CFB6C-68F9-44A0-9E4C-26EBFB53D511}"/>
    <dgm:cxn modelId="{54E0D2AD-1D9A-463F-8B2A-3A8744FA2F40}" type="presOf" srcId="{626AFDBF-6781-4864-B086-8C0FE1929844}" destId="{8608DCA1-A9CD-4366-8439-A196350253B8}" srcOrd="0" destOrd="0" presId="urn:microsoft.com/office/officeart/2005/8/layout/chevron1"/>
    <dgm:cxn modelId="{1109EAAE-5EBB-4B38-A496-CE9224FD9F5A}" type="presOf" srcId="{79C39F55-9FC5-47C1-9302-F348CCE0915A}" destId="{9A41B63F-5ADC-4B34-B199-AC43DCCC2AD6}" srcOrd="0" destOrd="0" presId="urn:microsoft.com/office/officeart/2005/8/layout/chevron1"/>
    <dgm:cxn modelId="{A504B3DD-9780-4A84-8993-E80E9839FF6C}" type="presOf" srcId="{EC9B0D7D-1E9D-4944-8E89-5AE41CE09E30}" destId="{4DA9A9C8-BFFD-4032-8ADE-C657C199F8D4}" srcOrd="0" destOrd="0" presId="urn:microsoft.com/office/officeart/2005/8/layout/chevron1"/>
    <dgm:cxn modelId="{61A8FDEF-F949-4C87-BDC2-1BD123B9A2C2}" type="presOf" srcId="{90F5F78D-BB2D-4472-B315-F7C17B0A8814}" destId="{88BF8A71-F28B-470A-B2A0-72ACD6666B1E}" srcOrd="0" destOrd="0" presId="urn:microsoft.com/office/officeart/2005/8/layout/chevron1"/>
    <dgm:cxn modelId="{2154F5CB-E120-4870-92D3-6D1161EB88D0}" type="presParOf" srcId="{8608DCA1-A9CD-4366-8439-A196350253B8}" destId="{88BF8A71-F28B-470A-B2A0-72ACD6666B1E}" srcOrd="0" destOrd="0" presId="urn:microsoft.com/office/officeart/2005/8/layout/chevron1"/>
    <dgm:cxn modelId="{FB2D93BC-3CDB-42D9-A997-B72C2BA0F93A}" type="presParOf" srcId="{8608DCA1-A9CD-4366-8439-A196350253B8}" destId="{F022F6AC-FD8B-4A15-8FFE-EADE4CD69443}" srcOrd="1" destOrd="0" presId="urn:microsoft.com/office/officeart/2005/8/layout/chevron1"/>
    <dgm:cxn modelId="{7F8E4928-69E2-4493-95C5-1BB40BD101AC}" type="presParOf" srcId="{8608DCA1-A9CD-4366-8439-A196350253B8}" destId="{ACD59D9A-CC43-4785-9222-71BF96136BD0}" srcOrd="2" destOrd="0" presId="urn:microsoft.com/office/officeart/2005/8/layout/chevron1"/>
    <dgm:cxn modelId="{5323DF59-CBC4-40D1-9B8C-40572B16CD28}" type="presParOf" srcId="{8608DCA1-A9CD-4366-8439-A196350253B8}" destId="{0077DF12-67F6-49B1-AFCE-07617339CA8B}" srcOrd="3" destOrd="0" presId="urn:microsoft.com/office/officeart/2005/8/layout/chevron1"/>
    <dgm:cxn modelId="{61C550E1-405D-4983-8107-4F096FF06918}" type="presParOf" srcId="{8608DCA1-A9CD-4366-8439-A196350253B8}" destId="{9A41B63F-5ADC-4B34-B199-AC43DCCC2AD6}" srcOrd="4" destOrd="0" presId="urn:microsoft.com/office/officeart/2005/8/layout/chevron1"/>
    <dgm:cxn modelId="{4DC821A1-2B06-45EE-A828-348E689ACB43}" type="presParOf" srcId="{8608DCA1-A9CD-4366-8439-A196350253B8}" destId="{8B2AB6B3-88AB-4407-86AD-76CA319FADEE}" srcOrd="5" destOrd="0" presId="urn:microsoft.com/office/officeart/2005/8/layout/chevron1"/>
    <dgm:cxn modelId="{B404E8C0-5A4F-443C-9C22-CB3B64FEFA7B}" type="presParOf" srcId="{8608DCA1-A9CD-4366-8439-A196350253B8}" destId="{4DA9A9C8-BFFD-4032-8ADE-C657C199F8D4}" srcOrd="6"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F8A71-F28B-470A-B2A0-72ACD6666B1E}">
      <dsp:nvSpPr>
        <dsp:cNvPr id="0" name=""/>
        <dsp:cNvSpPr/>
      </dsp:nvSpPr>
      <dsp:spPr>
        <a:xfrm>
          <a:off x="4196" y="0"/>
          <a:ext cx="2442910" cy="6268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Manufacturing</a:t>
          </a:r>
        </a:p>
      </dsp:txBody>
      <dsp:txXfrm>
        <a:off x="317632" y="0"/>
        <a:ext cx="1816038" cy="626872"/>
      </dsp:txXfrm>
    </dsp:sp>
    <dsp:sp modelId="{ACD59D9A-CC43-4785-9222-71BF96136BD0}">
      <dsp:nvSpPr>
        <dsp:cNvPr id="0" name=""/>
        <dsp:cNvSpPr/>
      </dsp:nvSpPr>
      <dsp:spPr>
        <a:xfrm>
          <a:off x="2202816" y="0"/>
          <a:ext cx="2442910" cy="6268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Transport</a:t>
          </a:r>
        </a:p>
      </dsp:txBody>
      <dsp:txXfrm>
        <a:off x="2516252" y="0"/>
        <a:ext cx="1816038" cy="626872"/>
      </dsp:txXfrm>
    </dsp:sp>
    <dsp:sp modelId="{9A41B63F-5ADC-4B34-B199-AC43DCCC2AD6}">
      <dsp:nvSpPr>
        <dsp:cNvPr id="0" name=""/>
        <dsp:cNvSpPr/>
      </dsp:nvSpPr>
      <dsp:spPr>
        <a:xfrm>
          <a:off x="4401436" y="0"/>
          <a:ext cx="2442910" cy="6268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Storage</a:t>
          </a:r>
        </a:p>
      </dsp:txBody>
      <dsp:txXfrm>
        <a:off x="4714872" y="0"/>
        <a:ext cx="1816038" cy="626872"/>
      </dsp:txXfrm>
    </dsp:sp>
    <dsp:sp modelId="{4DA9A9C8-BFFD-4032-8ADE-C657C199F8D4}">
      <dsp:nvSpPr>
        <dsp:cNvPr id="0" name=""/>
        <dsp:cNvSpPr/>
      </dsp:nvSpPr>
      <dsp:spPr>
        <a:xfrm>
          <a:off x="6600056" y="0"/>
          <a:ext cx="2442910" cy="6268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Distribution</a:t>
          </a:r>
        </a:p>
      </dsp:txBody>
      <dsp:txXfrm>
        <a:off x="6913492" y="0"/>
        <a:ext cx="1816038" cy="6268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F8A71-F28B-470A-B2A0-72ACD6666B1E}">
      <dsp:nvSpPr>
        <dsp:cNvPr id="0" name=""/>
        <dsp:cNvSpPr/>
      </dsp:nvSpPr>
      <dsp:spPr>
        <a:xfrm>
          <a:off x="4196" y="0"/>
          <a:ext cx="2442910" cy="6268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Components</a:t>
          </a:r>
        </a:p>
      </dsp:txBody>
      <dsp:txXfrm>
        <a:off x="317632" y="0"/>
        <a:ext cx="1816038" cy="626872"/>
      </dsp:txXfrm>
    </dsp:sp>
    <dsp:sp modelId="{ACD59D9A-CC43-4785-9222-71BF96136BD0}">
      <dsp:nvSpPr>
        <dsp:cNvPr id="0" name=""/>
        <dsp:cNvSpPr/>
      </dsp:nvSpPr>
      <dsp:spPr>
        <a:xfrm>
          <a:off x="2202816" y="0"/>
          <a:ext cx="2442910" cy="626872"/>
        </a:xfrm>
        <a:prstGeom prst="chevron">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Assembly</a:t>
          </a:r>
        </a:p>
      </dsp:txBody>
      <dsp:txXfrm>
        <a:off x="2516252" y="0"/>
        <a:ext cx="1816038" cy="626872"/>
      </dsp:txXfrm>
    </dsp:sp>
    <dsp:sp modelId="{9A41B63F-5ADC-4B34-B199-AC43DCCC2AD6}">
      <dsp:nvSpPr>
        <dsp:cNvPr id="0" name=""/>
        <dsp:cNvSpPr/>
      </dsp:nvSpPr>
      <dsp:spPr>
        <a:xfrm>
          <a:off x="4401436" y="0"/>
          <a:ext cx="2442910" cy="626872"/>
        </a:xfrm>
        <a:prstGeom prst="chevron">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Calibration</a:t>
          </a:r>
        </a:p>
      </dsp:txBody>
      <dsp:txXfrm>
        <a:off x="4714872" y="0"/>
        <a:ext cx="1816038" cy="626872"/>
      </dsp:txXfrm>
    </dsp:sp>
    <dsp:sp modelId="{4DA9A9C8-BFFD-4032-8ADE-C657C199F8D4}">
      <dsp:nvSpPr>
        <dsp:cNvPr id="0" name=""/>
        <dsp:cNvSpPr/>
      </dsp:nvSpPr>
      <dsp:spPr>
        <a:xfrm>
          <a:off x="6600056" y="0"/>
          <a:ext cx="2442910" cy="626872"/>
        </a:xfrm>
        <a:prstGeom prst="chevron">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Certification</a:t>
          </a:r>
        </a:p>
      </dsp:txBody>
      <dsp:txXfrm>
        <a:off x="6913492" y="0"/>
        <a:ext cx="1816038" cy="6268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F8A71-F28B-470A-B2A0-72ACD6666B1E}">
      <dsp:nvSpPr>
        <dsp:cNvPr id="0" name=""/>
        <dsp:cNvSpPr/>
      </dsp:nvSpPr>
      <dsp:spPr>
        <a:xfrm>
          <a:off x="4196" y="0"/>
          <a:ext cx="2442910" cy="6268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Components</a:t>
          </a:r>
        </a:p>
      </dsp:txBody>
      <dsp:txXfrm>
        <a:off x="317632" y="0"/>
        <a:ext cx="1816038" cy="626872"/>
      </dsp:txXfrm>
    </dsp:sp>
    <dsp:sp modelId="{ACD59D9A-CC43-4785-9222-71BF96136BD0}">
      <dsp:nvSpPr>
        <dsp:cNvPr id="0" name=""/>
        <dsp:cNvSpPr/>
      </dsp:nvSpPr>
      <dsp:spPr>
        <a:xfrm>
          <a:off x="2202816" y="0"/>
          <a:ext cx="2442910" cy="626872"/>
        </a:xfrm>
        <a:prstGeom prst="chevron">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Assembly</a:t>
          </a:r>
        </a:p>
      </dsp:txBody>
      <dsp:txXfrm>
        <a:off x="2516252" y="0"/>
        <a:ext cx="1816038" cy="626872"/>
      </dsp:txXfrm>
    </dsp:sp>
    <dsp:sp modelId="{9A41B63F-5ADC-4B34-B199-AC43DCCC2AD6}">
      <dsp:nvSpPr>
        <dsp:cNvPr id="0" name=""/>
        <dsp:cNvSpPr/>
      </dsp:nvSpPr>
      <dsp:spPr>
        <a:xfrm>
          <a:off x="4401436" y="0"/>
          <a:ext cx="2442910" cy="6268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Calibration</a:t>
          </a:r>
        </a:p>
      </dsp:txBody>
      <dsp:txXfrm>
        <a:off x="4714872" y="0"/>
        <a:ext cx="1816038" cy="626872"/>
      </dsp:txXfrm>
    </dsp:sp>
    <dsp:sp modelId="{4DA9A9C8-BFFD-4032-8ADE-C657C199F8D4}">
      <dsp:nvSpPr>
        <dsp:cNvPr id="0" name=""/>
        <dsp:cNvSpPr/>
      </dsp:nvSpPr>
      <dsp:spPr>
        <a:xfrm>
          <a:off x="6604253" y="0"/>
          <a:ext cx="2442910" cy="6268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Certification</a:t>
          </a:r>
        </a:p>
      </dsp:txBody>
      <dsp:txXfrm>
        <a:off x="6917689" y="0"/>
        <a:ext cx="1816038" cy="62687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6642</cdr:x>
      <cdr:y>0.02732</cdr:y>
    </cdr:from>
    <cdr:to>
      <cdr:x>0.38392</cdr:x>
      <cdr:y>0.13851</cdr:y>
    </cdr:to>
    <cdr:sp macro="" textlink="">
      <cdr:nvSpPr>
        <cdr:cNvPr id="2" name="TextBox 1"/>
        <cdr:cNvSpPr txBox="1"/>
      </cdr:nvSpPr>
      <cdr:spPr>
        <a:xfrm xmlns:a="http://schemas.openxmlformats.org/drawingml/2006/main">
          <a:off x="205662" y="76200"/>
          <a:ext cx="983063" cy="3101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200" b="1" dirty="0">
              <a:solidFill>
                <a:schemeClr val="bg1"/>
              </a:solidFill>
              <a:latin typeface="Symbol" panose="05050102010706020507" pitchFamily="18" charset="2"/>
            </a:rPr>
            <a:t>D</a:t>
          </a:r>
          <a:r>
            <a:rPr lang="en-US" sz="1200" dirty="0">
              <a:solidFill>
                <a:schemeClr val="bg1"/>
              </a:solidFill>
              <a:latin typeface="Segoe UI Semibold" panose="020B0702040204020203" pitchFamily="34" charset="0"/>
              <a:cs typeface="Segoe UI Semibold" panose="020B0702040204020203" pitchFamily="34" charset="0"/>
            </a:rPr>
            <a:t>T</a:t>
          </a:r>
          <a:r>
            <a:rPr lang="en-US" sz="1200" baseline="0" dirty="0">
              <a:solidFill>
                <a:schemeClr val="bg1"/>
              </a:solidFill>
              <a:latin typeface="Segoe UI Semibold" panose="020B0702040204020203" pitchFamily="34" charset="0"/>
              <a:cs typeface="Segoe UI Semibold" panose="020B0702040204020203" pitchFamily="34" charset="0"/>
            </a:rPr>
            <a:t> (°C)</a:t>
          </a:r>
          <a:endParaRPr lang="en-US" sz="1200" dirty="0">
            <a:solidFill>
              <a:schemeClr val="bg1"/>
            </a:solidFill>
            <a:latin typeface="Segoe UI Semibold" panose="020B0702040204020203" pitchFamily="34" charset="0"/>
            <a:cs typeface="Segoe UI Semibold" panose="020B0702040204020203"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hdr" sz="quarter"/>
          </p:nvPr>
        </p:nvSpPr>
        <p:spPr bwMode="auto">
          <a:xfrm>
            <a:off x="0" y="0"/>
            <a:ext cx="2951163" cy="49712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latin typeface="Arial" charset="0"/>
                <a:cs typeface="+mn-cs"/>
              </a:defRPr>
            </a:lvl1pPr>
          </a:lstStyle>
          <a:p>
            <a:pPr>
              <a:defRPr/>
            </a:pPr>
            <a:endParaRPr lang="en-US">
              <a:latin typeface="+mn-lt"/>
            </a:endParaRPr>
          </a:p>
        </p:txBody>
      </p:sp>
      <p:sp>
        <p:nvSpPr>
          <p:cNvPr id="103427" name="Rectangle 3"/>
          <p:cNvSpPr>
            <a:spLocks noGrp="1" noChangeArrowheads="1"/>
          </p:cNvSpPr>
          <p:nvPr>
            <p:ph type="dt" sz="quarter" idx="1"/>
          </p:nvPr>
        </p:nvSpPr>
        <p:spPr bwMode="auto">
          <a:xfrm>
            <a:off x="3857636" y="0"/>
            <a:ext cx="2951163" cy="49712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latin typeface="Arial" charset="0"/>
                <a:cs typeface="+mn-cs"/>
              </a:defRPr>
            </a:lvl1pPr>
          </a:lstStyle>
          <a:p>
            <a:pPr>
              <a:defRPr/>
            </a:pPr>
            <a:fld id="{C335DDE6-469A-4D6E-8475-7D938008200E}" type="datetimeFigureOut">
              <a:rPr lang="en-US">
                <a:latin typeface="+mn-lt"/>
              </a:rPr>
              <a:pPr>
                <a:defRPr/>
              </a:pPr>
              <a:t>3/9/2023</a:t>
            </a:fld>
            <a:endParaRPr lang="en-US">
              <a:latin typeface="+mn-lt"/>
            </a:endParaRPr>
          </a:p>
        </p:txBody>
      </p:sp>
      <p:sp>
        <p:nvSpPr>
          <p:cNvPr id="103428" name="Rectangle 4"/>
          <p:cNvSpPr>
            <a:spLocks noGrp="1" noChangeArrowheads="1"/>
          </p:cNvSpPr>
          <p:nvPr>
            <p:ph type="ftr" sz="quarter" idx="2"/>
          </p:nvPr>
        </p:nvSpPr>
        <p:spPr bwMode="auto">
          <a:xfrm>
            <a:off x="0" y="9443662"/>
            <a:ext cx="2951163" cy="49712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latin typeface="Arial" charset="0"/>
                <a:cs typeface="+mn-cs"/>
              </a:defRPr>
            </a:lvl1pPr>
          </a:lstStyle>
          <a:p>
            <a:pPr>
              <a:defRPr/>
            </a:pPr>
            <a:endParaRPr lang="en-US">
              <a:latin typeface="+mn-lt"/>
            </a:endParaRPr>
          </a:p>
        </p:txBody>
      </p:sp>
      <p:sp>
        <p:nvSpPr>
          <p:cNvPr id="103429" name="Rectangle 5"/>
          <p:cNvSpPr>
            <a:spLocks noGrp="1" noChangeArrowheads="1"/>
          </p:cNvSpPr>
          <p:nvPr>
            <p:ph type="sldNum" sz="quarter" idx="3"/>
          </p:nvPr>
        </p:nvSpPr>
        <p:spPr bwMode="auto">
          <a:xfrm>
            <a:off x="3857636" y="9443662"/>
            <a:ext cx="2951163" cy="49712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latin typeface="Arial" charset="0"/>
                <a:cs typeface="+mn-cs"/>
              </a:defRPr>
            </a:lvl1pPr>
          </a:lstStyle>
          <a:p>
            <a:pPr>
              <a:defRPr/>
            </a:pPr>
            <a:fld id="{55BBF628-5AF0-463C-9F43-A38E06D18086}" type="slidenum">
              <a:rPr lang="en-US">
                <a:latin typeface="+mn-lt"/>
              </a:rPr>
              <a:pPr>
                <a:defRPr/>
              </a:pPr>
              <a:t>‹#›</a:t>
            </a:fld>
            <a:endParaRPr lang="en-US">
              <a:latin typeface="+mn-lt"/>
            </a:endParaRPr>
          </a:p>
        </p:txBody>
      </p:sp>
    </p:spTree>
    <p:extLst>
      <p:ext uri="{BB962C8B-B14F-4D97-AF65-F5344CB8AC3E}">
        <p14:creationId xmlns:p14="http://schemas.microsoft.com/office/powerpoint/2010/main" val="20096627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1163" cy="497126"/>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de-CH"/>
          </a:p>
        </p:txBody>
      </p:sp>
      <p:sp>
        <p:nvSpPr>
          <p:cNvPr id="3" name="Datumsplatzhalter 2"/>
          <p:cNvSpPr>
            <a:spLocks noGrp="1"/>
          </p:cNvSpPr>
          <p:nvPr>
            <p:ph type="dt" idx="1"/>
          </p:nvPr>
        </p:nvSpPr>
        <p:spPr>
          <a:xfrm>
            <a:off x="3857636" y="0"/>
            <a:ext cx="2951163" cy="497126"/>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36E72643-D94A-4D5D-8B9D-FCD9E3400ED7}" type="datetimeFigureOut">
              <a:rPr lang="de-DE"/>
              <a:pPr>
                <a:defRPr/>
              </a:pPr>
              <a:t>09.03.2023</a:t>
            </a:fld>
            <a:endParaRPr lang="de-CH"/>
          </a:p>
        </p:txBody>
      </p:sp>
      <p:sp>
        <p:nvSpPr>
          <p:cNvPr id="4" name="Folienbildplatzhalter 3"/>
          <p:cNvSpPr>
            <a:spLocks noGrp="1" noRot="1" noChangeAspect="1"/>
          </p:cNvSpPr>
          <p:nvPr>
            <p:ph type="sldImg" idx="2"/>
          </p:nvPr>
        </p:nvSpPr>
        <p:spPr>
          <a:xfrm>
            <a:off x="92075" y="746125"/>
            <a:ext cx="6626225" cy="3727450"/>
          </a:xfrm>
          <a:prstGeom prst="rect">
            <a:avLst/>
          </a:prstGeom>
          <a:noFill/>
          <a:ln w="12700">
            <a:solidFill>
              <a:prstClr val="black"/>
            </a:solidFill>
          </a:ln>
        </p:spPr>
        <p:txBody>
          <a:bodyPr vert="horz" lIns="91440" tIns="45720" rIns="91440" bIns="45720" rtlCol="0" anchor="ctr"/>
          <a:lstStyle/>
          <a:p>
            <a:pPr lvl="0"/>
            <a:endParaRPr lang="de-CH" noProof="0"/>
          </a:p>
        </p:txBody>
      </p:sp>
      <p:sp>
        <p:nvSpPr>
          <p:cNvPr id="5" name="Notizenplatzhalter 4"/>
          <p:cNvSpPr>
            <a:spLocks noGrp="1"/>
          </p:cNvSpPr>
          <p:nvPr>
            <p:ph type="body" sz="quarter" idx="3"/>
          </p:nvPr>
        </p:nvSpPr>
        <p:spPr>
          <a:xfrm>
            <a:off x="681038" y="4722694"/>
            <a:ext cx="5448300" cy="4474131"/>
          </a:xfrm>
          <a:prstGeom prst="rect">
            <a:avLst/>
          </a:prstGeom>
        </p:spPr>
        <p:txBody>
          <a:bodyPr vert="horz" wrap="square" lIns="91440" tIns="45720" rIns="91440" bIns="45720" numCol="1" anchor="t" anchorCtr="0" compatLnSpc="1">
            <a:prstTxWarp prst="textNoShape">
              <a:avLst/>
            </a:prstTxWarp>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
        <p:nvSpPr>
          <p:cNvPr id="6" name="Fußzeilenplatzhalter 5"/>
          <p:cNvSpPr>
            <a:spLocks noGrp="1"/>
          </p:cNvSpPr>
          <p:nvPr>
            <p:ph type="ftr" sz="quarter" idx="4"/>
          </p:nvPr>
        </p:nvSpPr>
        <p:spPr>
          <a:xfrm>
            <a:off x="0" y="9443662"/>
            <a:ext cx="2951163" cy="497126"/>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de-CH"/>
          </a:p>
        </p:txBody>
      </p:sp>
      <p:sp>
        <p:nvSpPr>
          <p:cNvPr id="7" name="Foliennummernplatzhalter 6"/>
          <p:cNvSpPr>
            <a:spLocks noGrp="1"/>
          </p:cNvSpPr>
          <p:nvPr>
            <p:ph type="sldNum" sz="quarter" idx="5"/>
          </p:nvPr>
        </p:nvSpPr>
        <p:spPr>
          <a:xfrm>
            <a:off x="3857636" y="9443662"/>
            <a:ext cx="2951163" cy="497126"/>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9BC1A513-A0BF-4E31-BFE4-A8A08AB75B3B}" type="slidenum">
              <a:rPr lang="de-CH"/>
              <a:pPr>
                <a:defRPr/>
              </a:pPr>
              <a:t>‹#›</a:t>
            </a:fld>
            <a:endParaRPr lang="de-CH"/>
          </a:p>
        </p:txBody>
      </p:sp>
    </p:spTree>
    <p:extLst>
      <p:ext uri="{BB962C8B-B14F-4D97-AF65-F5344CB8AC3E}">
        <p14:creationId xmlns:p14="http://schemas.microsoft.com/office/powerpoint/2010/main" val="21197884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whitehouse.gov/wp-content/uploads/2022/04/03-2022-Transcript-Lets-Clear-the-Air-on-COVID-An-OSTP-Discussion-on-Clean-Indoor-Air.pdf" TargetMode="External"/><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s://www.reuters.com/world/europe/italian-study-shows-ventilation-can-cut-school-covid-cases-by-82-2022-03-22/"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grandviewresearch.com/industry-analysis/us-hvac-systems-market#:~:text=The%20U.S.%20HVAC%20systems%20market%20size%20was%20estimated%20at%20USD,USD%2026.93%20billion%20by%202030."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a:t>Sensirion </a:t>
            </a:r>
            <a:r>
              <a:rPr lang="de-CH" err="1"/>
              <a:t>overview</a:t>
            </a:r>
            <a:endParaRPr lang="de-CH"/>
          </a:p>
          <a:p>
            <a:pPr marL="342900" indent="-342900">
              <a:buFont typeface="Arial" panose="020B0604020202020204" pitchFamily="34" charset="0"/>
              <a:buChar char="•"/>
            </a:pPr>
            <a:r>
              <a:rPr lang="en-US">
                <a:solidFill>
                  <a:srgbClr val="000000"/>
                </a:solidFill>
              </a:rPr>
              <a:t>What’s New at Sensirion ?</a:t>
            </a:r>
          </a:p>
          <a:p>
            <a:pPr marL="342900" indent="-342900">
              <a:buFont typeface="Arial" panose="020B0604020202020204" pitchFamily="34" charset="0"/>
              <a:buChar char="•"/>
            </a:pPr>
            <a:r>
              <a:rPr lang="en-US">
                <a:solidFill>
                  <a:srgbClr val="000000"/>
                </a:solidFill>
              </a:rPr>
              <a:t>Product Overview </a:t>
            </a:r>
          </a:p>
          <a:p>
            <a:pPr marL="342900" indent="-342900">
              <a:buFont typeface="Arial" panose="020B0604020202020204" pitchFamily="34" charset="0"/>
              <a:buChar char="•"/>
            </a:pPr>
            <a:r>
              <a:rPr lang="en-US">
                <a:solidFill>
                  <a:srgbClr val="000000"/>
                </a:solidFill>
              </a:rPr>
              <a:t>Application Overview </a:t>
            </a:r>
          </a:p>
          <a:p>
            <a:pPr marL="342900" indent="-342900">
              <a:buFont typeface="Arial" panose="020B0604020202020204" pitchFamily="34" charset="0"/>
              <a:buChar char="•"/>
            </a:pPr>
            <a:r>
              <a:rPr lang="en-US">
                <a:solidFill>
                  <a:srgbClr val="000000"/>
                </a:solidFill>
              </a:rPr>
              <a:t>Demos</a:t>
            </a:r>
          </a:p>
          <a:p>
            <a:pPr marL="342900" indent="-342900">
              <a:buFont typeface="Arial" panose="020B0604020202020204" pitchFamily="34" charset="0"/>
              <a:buChar char="•"/>
            </a:pPr>
            <a:r>
              <a:rPr lang="en-US">
                <a:solidFill>
                  <a:srgbClr val="000000"/>
                </a:solidFill>
              </a:rPr>
              <a:t>Success Stories</a:t>
            </a:r>
          </a:p>
          <a:p>
            <a:pPr marL="342900" indent="-342900">
              <a:buFont typeface="Arial" panose="020B0604020202020204" pitchFamily="34" charset="0"/>
              <a:buChar char="•"/>
            </a:pPr>
            <a:r>
              <a:rPr lang="en-US">
                <a:solidFill>
                  <a:srgbClr val="000000"/>
                </a:solidFill>
              </a:rPr>
              <a:t>Registration/Design Win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A513-A0BF-4E31-BFE4-A8A08AB75B3B}" type="slidenum">
              <a:rPr kumimoji="0" lang="de-CH"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CH" sz="1200" b="0" i="0" u="none" strike="noStrike" kern="1200" cap="none" spc="0" normalizeH="0" baseline="0" noProof="0">
              <a:ln>
                <a:noFill/>
              </a:ln>
              <a:solidFill>
                <a:prstClr val="black"/>
              </a:solidFill>
              <a:effectLst/>
              <a:uLnTx/>
              <a:uFillTx/>
              <a:latin typeface="Arial Narrow"/>
              <a:ea typeface="+mn-ea"/>
              <a:cs typeface="+mn-cs"/>
            </a:endParaRPr>
          </a:p>
        </p:txBody>
      </p:sp>
    </p:spTree>
    <p:extLst>
      <p:ext uri="{BB962C8B-B14F-4D97-AF65-F5344CB8AC3E}">
        <p14:creationId xmlns:p14="http://schemas.microsoft.com/office/powerpoint/2010/main" val="2487301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r>
              <a:rPr lang="en-US"/>
              <a:t>Know that I introduced these 5 parameters, let’s talk about how to measure all of them.</a:t>
            </a:r>
          </a:p>
          <a:p>
            <a:pPr>
              <a:spcBef>
                <a:spcPts val="0"/>
              </a:spcBef>
              <a:spcAft>
                <a:spcPts val="0"/>
              </a:spcAft>
            </a:pPr>
            <a:r>
              <a:rPr lang="en-US"/>
              <a:t>You will need 5 separate sensors to address them, in addition they need to be connected with cables and controlled with electronic cards and PCBS</a:t>
            </a:r>
          </a:p>
          <a:p>
            <a:endParaRPr lang="en-US">
              <a:latin typeface="Calibri"/>
              <a:cs typeface="Calibri"/>
            </a:endParaRPr>
          </a:p>
        </p:txBody>
      </p:sp>
      <p:sp>
        <p:nvSpPr>
          <p:cNvPr id="4" name="Slide Number Placeholder 3"/>
          <p:cNvSpPr>
            <a:spLocks noGrp="1"/>
          </p:cNvSpPr>
          <p:nvPr>
            <p:ph type="sldNum" sz="quarter" idx="5"/>
          </p:nvPr>
        </p:nvSpPr>
        <p:spPr/>
        <p:txBody>
          <a:bodyPr/>
          <a:lstStyle/>
          <a:p>
            <a:pPr>
              <a:defRPr/>
            </a:pPr>
            <a:fld id="{9BC1A513-A0BF-4E31-BFE4-A8A08AB75B3B}" type="slidenum">
              <a:rPr lang="de-CH"/>
              <a:pPr>
                <a:defRPr/>
              </a:pPr>
              <a:t>30</a:t>
            </a:fld>
            <a:endParaRPr lang="de-CH"/>
          </a:p>
        </p:txBody>
      </p:sp>
    </p:spTree>
    <p:extLst>
      <p:ext uri="{BB962C8B-B14F-4D97-AF65-F5344CB8AC3E}">
        <p14:creationId xmlns:p14="http://schemas.microsoft.com/office/powerpoint/2010/main" val="3551062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35</a:t>
            </a:fld>
            <a:endParaRPr lang="de-CH"/>
          </a:p>
        </p:txBody>
      </p:sp>
    </p:spTree>
    <p:extLst>
      <p:ext uri="{BB962C8B-B14F-4D97-AF65-F5344CB8AC3E}">
        <p14:creationId xmlns:p14="http://schemas.microsoft.com/office/powerpoint/2010/main" val="3453498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a:pPr>
                <a:defRPr/>
              </a:pPr>
              <a:t>38</a:t>
            </a:fld>
            <a:endParaRPr lang="de-CH"/>
          </a:p>
        </p:txBody>
      </p:sp>
    </p:spTree>
    <p:extLst>
      <p:ext uri="{BB962C8B-B14F-4D97-AF65-F5344CB8AC3E}">
        <p14:creationId xmlns:p14="http://schemas.microsoft.com/office/powerpoint/2010/main" val="2558635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a:pPr>
                <a:defRPr/>
              </a:pPr>
              <a:t>39</a:t>
            </a:fld>
            <a:endParaRPr lang="de-CH"/>
          </a:p>
        </p:txBody>
      </p:sp>
    </p:spTree>
    <p:extLst>
      <p:ext uri="{BB962C8B-B14F-4D97-AF65-F5344CB8AC3E}">
        <p14:creationId xmlns:p14="http://schemas.microsoft.com/office/powerpoint/2010/main" val="16446840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a:pPr>
                <a:defRPr/>
              </a:pPr>
              <a:t>40</a:t>
            </a:fld>
            <a:endParaRPr lang="de-CH"/>
          </a:p>
        </p:txBody>
      </p:sp>
    </p:spTree>
    <p:extLst>
      <p:ext uri="{BB962C8B-B14F-4D97-AF65-F5344CB8AC3E}">
        <p14:creationId xmlns:p14="http://schemas.microsoft.com/office/powerpoint/2010/main" val="1594950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smtClean="0"/>
              <a:pPr>
                <a:defRPr/>
              </a:pPr>
              <a:t>43</a:t>
            </a:fld>
            <a:endParaRPr lang="de-CH"/>
          </a:p>
        </p:txBody>
      </p:sp>
    </p:spTree>
    <p:extLst>
      <p:ext uri="{BB962C8B-B14F-4D97-AF65-F5344CB8AC3E}">
        <p14:creationId xmlns:p14="http://schemas.microsoft.com/office/powerpoint/2010/main" val="10837003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44</a:t>
            </a:fld>
            <a:endParaRPr lang="de-CH"/>
          </a:p>
        </p:txBody>
      </p:sp>
    </p:spTree>
    <p:extLst>
      <p:ext uri="{BB962C8B-B14F-4D97-AF65-F5344CB8AC3E}">
        <p14:creationId xmlns:p14="http://schemas.microsoft.com/office/powerpoint/2010/main" val="1475339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de-CH" sz="1200">
                <a:effectLst/>
                <a:latin typeface="Calibri" panose="020F0502020204030204" pitchFamily="34" charset="0"/>
                <a:cs typeface="Segoe UI" panose="020B0502040204020203" pitchFamily="34" charset="0"/>
              </a:rPr>
              <a:t>1 </a:t>
            </a:r>
            <a:r>
              <a:rPr lang="en-US">
                <a:latin typeface="Segoe UI" panose="020B0502040204020203" pitchFamily="34" charset="0"/>
                <a:cs typeface="Segoe UI" panose="020B0502040204020203" pitchFamily="34" charset="0"/>
              </a:rPr>
              <a:t>Jose-Luis Jimenez, aerosol scientist at the University of Colorado Boulder, New York Times Article October 11, 2021</a:t>
            </a:r>
            <a:br>
              <a:rPr lang="de-CH" sz="1200">
                <a:effectLst/>
                <a:latin typeface="Calibri" panose="020F0502020204030204" pitchFamily="34" charset="0"/>
                <a:hlinkClick r:id="rId3"/>
              </a:rPr>
            </a:br>
            <a:r>
              <a:rPr lang="de-CH" sz="1200">
                <a:effectLst/>
                <a:latin typeface="Calibri" panose="020F0502020204030204" pitchFamily="34" charset="0"/>
                <a:hlinkClick r:id="rId3"/>
              </a:rPr>
              <a:t>2 </a:t>
            </a:r>
            <a:r>
              <a:rPr lang="de-CH" sz="1200" i="1">
                <a:solidFill>
                  <a:srgbClr val="595959"/>
                </a:solidFill>
                <a:effectLst/>
                <a:latin typeface="Calibri" panose="020F0502020204030204" pitchFamily="34" charset="0"/>
              </a:rPr>
              <a:t>&lt;</a:t>
            </a:r>
            <a:r>
              <a:rPr lang="de-CH" sz="1200" i="1">
                <a:solidFill>
                  <a:srgbClr val="595959"/>
                </a:solidFill>
                <a:effectLst/>
                <a:latin typeface="Calibri" panose="020F0502020204030204" pitchFamily="34" charset="0"/>
                <a:hlinkClick r:id="rId4"/>
              </a:rPr>
              <a:t>https://www.reuters.com/world/europe/italian-study-shows-ventilation-can-cut-school-covid-cases-by-82-2022-03-22/</a:t>
            </a:r>
            <a:r>
              <a:rPr lang="de-CH" sz="1200" i="1">
                <a:solidFill>
                  <a:srgbClr val="595959"/>
                </a:solidFill>
                <a:effectLst/>
                <a:latin typeface="Calibri" panose="020F0502020204030204" pitchFamily="34" charset="0"/>
              </a:rPr>
              <a:t>&gt; </a:t>
            </a:r>
          </a:p>
          <a:p>
            <a:r>
              <a:rPr lang="de-CH" sz="1200">
                <a:effectLst/>
                <a:latin typeface="Calibri" panose="020F0502020204030204" pitchFamily="34" charset="0"/>
              </a:rPr>
              <a:t>3 https://www.sciencedirect.com/science/article/pii/S0048969721023718 </a:t>
            </a:r>
          </a:p>
          <a:p>
            <a:endParaRPr lang="en-US"/>
          </a:p>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46</a:t>
            </a:fld>
            <a:endParaRPr lang="de-CH"/>
          </a:p>
        </p:txBody>
      </p:sp>
    </p:spTree>
    <p:extLst>
      <p:ext uri="{BB962C8B-B14F-4D97-AF65-F5344CB8AC3E}">
        <p14:creationId xmlns:p14="http://schemas.microsoft.com/office/powerpoint/2010/main" val="24462108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47</a:t>
            </a:fld>
            <a:endParaRPr lang="de-CH"/>
          </a:p>
        </p:txBody>
      </p:sp>
    </p:spTree>
    <p:extLst>
      <p:ext uri="{BB962C8B-B14F-4D97-AF65-F5344CB8AC3E}">
        <p14:creationId xmlns:p14="http://schemas.microsoft.com/office/powerpoint/2010/main" val="34950933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Optimize energy consumption (reduce indoor air intake), VAV controllers (demand controlled ventilation with SDP and CO2), know when to pull in outside air (CO2, VOC)</a:t>
            </a:r>
          </a:p>
          <a:p>
            <a:pPr marL="171450" indent="-171450">
              <a:buFontTx/>
              <a:buChar char="-"/>
            </a:pPr>
            <a:r>
              <a:rPr lang="en-US"/>
              <a:t>Know when to pull-in outside air (which is not always clean)</a:t>
            </a:r>
          </a:p>
          <a:p>
            <a:pPr marL="171450" indent="-171450">
              <a:buFontTx/>
              <a:buChar char="-"/>
            </a:pPr>
            <a:r>
              <a:rPr lang="en-US"/>
              <a:t>ASHRAE 62.1 (contaminants of concern and limits for acceptable IAQ), LEED, WELL, </a:t>
            </a:r>
          </a:p>
          <a:p>
            <a:pPr marL="171450" indent="-171450">
              <a:buFontTx/>
              <a:buChar char="-"/>
            </a:pPr>
            <a:endParaRPr lang="en-US"/>
          </a:p>
          <a:p>
            <a:pPr marL="171450" indent="-171450">
              <a:buFontTx/>
              <a:buChar char="-"/>
            </a:pPr>
            <a:endParaRPr lang="en-US"/>
          </a:p>
          <a:p>
            <a:pPr marL="171450" indent="-171450">
              <a:buFontTx/>
              <a:buChar char="-"/>
            </a:pPr>
            <a:r>
              <a:rPr lang="en-US"/>
              <a:t>Sources</a:t>
            </a:r>
          </a:p>
          <a:p>
            <a:pPr marL="171450" indent="-171450">
              <a:buFontTx/>
              <a:buChar char="-"/>
            </a:pPr>
            <a:r>
              <a:rPr lang="en-US">
                <a:hlinkClick r:id="rId3"/>
              </a:rPr>
              <a:t>U.S. HVAC Systems Market Size Report, 2022-2030 (grandviewresearch.com)</a:t>
            </a:r>
            <a:endParaRPr lang="en-US"/>
          </a:p>
          <a:p>
            <a:pPr marL="171450" indent="-171450">
              <a:buFontTx/>
              <a:buChar char="-"/>
            </a:pPr>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48</a:t>
            </a:fld>
            <a:endParaRPr lang="de-CH"/>
          </a:p>
        </p:txBody>
      </p:sp>
    </p:spTree>
    <p:extLst>
      <p:ext uri="{BB962C8B-B14F-4D97-AF65-F5344CB8AC3E}">
        <p14:creationId xmlns:p14="http://schemas.microsoft.com/office/powerpoint/2010/main" val="192928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or code – Americas as Green</a:t>
            </a:r>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4</a:t>
            </a:fld>
            <a:endParaRPr lang="de-CH" dirty="0"/>
          </a:p>
        </p:txBody>
      </p:sp>
    </p:spTree>
    <p:extLst>
      <p:ext uri="{BB962C8B-B14F-4D97-AF65-F5344CB8AC3E}">
        <p14:creationId xmlns:p14="http://schemas.microsoft.com/office/powerpoint/2010/main" val="22858097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49</a:t>
            </a:fld>
            <a:endParaRPr lang="de-CH"/>
          </a:p>
        </p:txBody>
      </p:sp>
    </p:spTree>
    <p:extLst>
      <p:ext uri="{BB962C8B-B14F-4D97-AF65-F5344CB8AC3E}">
        <p14:creationId xmlns:p14="http://schemas.microsoft.com/office/powerpoint/2010/main" val="9832362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40C9B9-E0EE-42FF-8FA1-800A066AE759}" type="slidenum">
              <a:rPr kumimoji="0" 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rial Narrow"/>
              <a:ea typeface="+mn-ea"/>
              <a:cs typeface="+mn-cs"/>
            </a:endParaRPr>
          </a:p>
        </p:txBody>
      </p:sp>
    </p:spTree>
    <p:extLst>
      <p:ext uri="{BB962C8B-B14F-4D97-AF65-F5344CB8AC3E}">
        <p14:creationId xmlns:p14="http://schemas.microsoft.com/office/powerpoint/2010/main" val="21826465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4646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0234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6154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5057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10"/>
          </p:nvPr>
        </p:nvSpPr>
        <p:spPr/>
        <p:txBody>
          <a:bodyPr/>
          <a:lstStyle/>
          <a:p>
            <a:pPr>
              <a:defRPr/>
            </a:pPr>
            <a:fld id="{9BC1A513-A0BF-4E31-BFE4-A8A08AB75B3B}" type="slidenum">
              <a:rPr lang="de-CH" smtClean="0"/>
              <a:pPr>
                <a:defRPr/>
              </a:pPr>
              <a:t>64</a:t>
            </a:fld>
            <a:endParaRPr lang="de-CH"/>
          </a:p>
        </p:txBody>
      </p:sp>
    </p:spTree>
    <p:extLst>
      <p:ext uri="{BB962C8B-B14F-4D97-AF65-F5344CB8AC3E}">
        <p14:creationId xmlns:p14="http://schemas.microsoft.com/office/powerpoint/2010/main" val="40557882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65</a:t>
            </a:fld>
            <a:endParaRPr lang="de-CH"/>
          </a:p>
        </p:txBody>
      </p:sp>
    </p:spTree>
    <p:extLst>
      <p:ext uri="{BB962C8B-B14F-4D97-AF65-F5344CB8AC3E}">
        <p14:creationId xmlns:p14="http://schemas.microsoft.com/office/powerpoint/2010/main" val="24564346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59865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Wingdings" panose="05000000000000000000" pitchFamily="2" charset="2"/>
              <a:buChar char="§"/>
            </a:pPr>
            <a:r>
              <a:rPr lang="en-US">
                <a:sym typeface="Wingdings" panose="05000000000000000000" pitchFamily="2" charset="2"/>
              </a:rPr>
              <a:t>Very good market reception across markets and regions</a:t>
            </a:r>
          </a:p>
          <a:p>
            <a:pPr marL="342900" indent="-342900">
              <a:buFont typeface="Wingdings" panose="05000000000000000000" pitchFamily="2" charset="2"/>
              <a:buChar char="§"/>
            </a:pPr>
            <a:r>
              <a:rPr lang="en-US">
                <a:sym typeface="Wingdings" panose="05000000000000000000" pitchFamily="2" charset="2"/>
              </a:rPr>
              <a:t>Distribution running hot</a:t>
            </a:r>
          </a:p>
          <a:p>
            <a:endParaRPr lang="en-US">
              <a:sym typeface="Wingdings" panose="05000000000000000000" pitchFamily="2" charset="2"/>
            </a:endParaRPr>
          </a:p>
          <a:p>
            <a:pPr marL="342900" indent="-342900">
              <a:buFont typeface="Wingdings" panose="05000000000000000000" pitchFamily="2" charset="2"/>
              <a:buChar char="§"/>
            </a:pPr>
            <a:r>
              <a:rPr lang="en-US">
                <a:sym typeface="Wingdings" panose="05000000000000000000" pitchFamily="2" charset="2"/>
              </a:rPr>
              <a:t>Highly automized production line for high volumes running since January 2021</a:t>
            </a:r>
          </a:p>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79</a:t>
            </a:fld>
            <a:endParaRPr lang="de-CH"/>
          </a:p>
        </p:txBody>
      </p:sp>
    </p:spTree>
    <p:extLst>
      <p:ext uri="{BB962C8B-B14F-4D97-AF65-F5344CB8AC3E}">
        <p14:creationId xmlns:p14="http://schemas.microsoft.com/office/powerpoint/2010/main" val="3624392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6</a:t>
            </a:fld>
            <a:endParaRPr lang="de-CH"/>
          </a:p>
        </p:txBody>
      </p:sp>
    </p:spTree>
    <p:extLst>
      <p:ext uri="{BB962C8B-B14F-4D97-AF65-F5344CB8AC3E}">
        <p14:creationId xmlns:p14="http://schemas.microsoft.com/office/powerpoint/2010/main" val="23196123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9538" y="741363"/>
            <a:ext cx="6578600" cy="3702050"/>
          </a:xfrm>
        </p:spPr>
      </p:sp>
      <p:sp>
        <p:nvSpPr>
          <p:cNvPr id="3" name="Notizenplatzhalter 2"/>
          <p:cNvSpPr>
            <a:spLocks noGrp="1"/>
          </p:cNvSpPr>
          <p:nvPr>
            <p:ph type="body" idx="1"/>
          </p:nvPr>
        </p:nvSpPr>
        <p:spPr/>
        <p:txBody>
          <a:bodyPr/>
          <a:lstStyle/>
          <a:p>
            <a:r>
              <a:rPr lang="de-CH"/>
              <a:t>Notes:</a:t>
            </a:r>
          </a:p>
          <a:p>
            <a:pPr marL="170589" indent="-170589">
              <a:buFontTx/>
              <a:buChar char="-"/>
            </a:pPr>
            <a:r>
              <a:rPr lang="de-CH" baseline="0"/>
              <a:t>3 different </a:t>
            </a:r>
            <a:r>
              <a:rPr lang="de-CH" baseline="0" err="1"/>
              <a:t>accuracy</a:t>
            </a:r>
            <a:r>
              <a:rPr lang="de-CH" baseline="0"/>
              <a:t> grades: 4.5, 3, 2%RH</a:t>
            </a:r>
          </a:p>
          <a:p>
            <a:pPr marL="170589" indent="-170589">
              <a:buFontTx/>
              <a:buChar char="-"/>
            </a:pPr>
            <a:endParaRPr lang="de-CH" baseline="0"/>
          </a:p>
          <a:p>
            <a:pPr marL="170589" indent="-170589">
              <a:buFontTx/>
              <a:buChar char="-"/>
            </a:pPr>
            <a:endParaRPr lang="de-CH"/>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A32755-9CF6-41D2-AED4-3647B89118FB}" type="slidenum">
              <a:rPr kumimoji="0" lang="de-CH"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de-CH"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76564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ttle to no variation across devices, what</a:t>
            </a:r>
            <a:r>
              <a:rPr lang="en-US" baseline="0"/>
              <a:t> you see is what you get</a:t>
            </a:r>
            <a:endParaRPr lang="en-US"/>
          </a:p>
          <a:p>
            <a:endParaRPr lang="en-US"/>
          </a:p>
          <a:p>
            <a:r>
              <a:rPr lang="en-US"/>
              <a:t>Highest</a:t>
            </a:r>
            <a:r>
              <a:rPr lang="en-US" baseline="0"/>
              <a:t> volume in the market, m</a:t>
            </a:r>
            <a:r>
              <a:rPr lang="en-US"/>
              <a:t>akes </a:t>
            </a:r>
            <a:r>
              <a:rPr lang="en-US" err="1"/>
              <a:t>Sensirion</a:t>
            </a:r>
            <a:r>
              <a:rPr lang="en-US"/>
              <a:t> one</a:t>
            </a:r>
            <a:r>
              <a:rPr lang="en-US" baseline="0"/>
              <a:t> of the most </a:t>
            </a:r>
          </a:p>
          <a:p>
            <a:r>
              <a:rPr lang="en-US" baseline="0"/>
              <a:t>cost-effective choices</a:t>
            </a:r>
          </a:p>
          <a:p>
            <a:r>
              <a:rPr lang="en-US" baseline="0"/>
              <a:t>Having been in this market for so long, we’ve developed a reputation, people know us and people seek us ou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noProof="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noProof="0"/>
              <a:t>Independent of heating from </a:t>
            </a:r>
            <a:r>
              <a:rPr lang="en-US" sz="1200" baseline="0" noProof="0" err="1"/>
              <a:t>WiFi</a:t>
            </a:r>
            <a:r>
              <a:rPr lang="en-US" sz="1200" baseline="0" noProof="0"/>
              <a:t> capability, large displays, etc.</a:t>
            </a:r>
            <a:endParaRPr lang="en-US" sz="1200" b="0" noProof="0"/>
          </a:p>
          <a:p>
            <a:endParaRPr lang="en-US" baseline="0"/>
          </a:p>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smtClean="0"/>
              <a:pPr>
                <a:defRPr/>
              </a:pPr>
              <a:t>82</a:t>
            </a:fld>
            <a:endParaRPr lang="de-CH"/>
          </a:p>
        </p:txBody>
      </p:sp>
    </p:spTree>
    <p:extLst>
      <p:ext uri="{BB962C8B-B14F-4D97-AF65-F5344CB8AC3E}">
        <p14:creationId xmlns:p14="http://schemas.microsoft.com/office/powerpoint/2010/main" val="36145159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A513-A0BF-4E31-BFE4-A8A08AB75B3B}" type="slidenum">
              <a:rPr kumimoji="0" lang="de-CH"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de-CH" sz="1200" b="0" i="0" u="none" strike="noStrike" kern="1200" cap="none" spc="0" normalizeH="0" baseline="0" noProof="0">
              <a:ln>
                <a:noFill/>
              </a:ln>
              <a:solidFill>
                <a:prstClr val="black"/>
              </a:solidFill>
              <a:effectLst/>
              <a:uLnTx/>
              <a:uFillTx/>
              <a:latin typeface="Arial Narrow"/>
              <a:ea typeface="+mn-ea"/>
              <a:cs typeface="+mn-cs"/>
            </a:endParaRPr>
          </a:p>
        </p:txBody>
      </p:sp>
    </p:spTree>
    <p:extLst>
      <p:ext uri="{BB962C8B-B14F-4D97-AF65-F5344CB8AC3E}">
        <p14:creationId xmlns:p14="http://schemas.microsoft.com/office/powerpoint/2010/main" val="8596011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A513-A0BF-4E31-BFE4-A8A08AB75B3B}" type="slidenum">
              <a:rPr kumimoji="0" lang="de-CH"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de-CH" sz="1200" b="0" i="0" u="none" strike="noStrike" kern="1200" cap="none" spc="0" normalizeH="0" baseline="0" noProof="0">
              <a:ln>
                <a:noFill/>
              </a:ln>
              <a:solidFill>
                <a:prstClr val="black"/>
              </a:solidFill>
              <a:effectLst/>
              <a:uLnTx/>
              <a:uFillTx/>
              <a:latin typeface="Arial Narrow"/>
              <a:ea typeface="+mn-ea"/>
              <a:cs typeface="+mn-cs"/>
            </a:endParaRPr>
          </a:p>
        </p:txBody>
      </p:sp>
    </p:spTree>
    <p:extLst>
      <p:ext uri="{BB962C8B-B14F-4D97-AF65-F5344CB8AC3E}">
        <p14:creationId xmlns:p14="http://schemas.microsoft.com/office/powerpoint/2010/main" val="20446083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a:pPr>
                <a:defRPr/>
              </a:pPr>
              <a:t>89</a:t>
            </a:fld>
            <a:endParaRPr lang="de-CH" dirty="0"/>
          </a:p>
        </p:txBody>
      </p:sp>
    </p:spTree>
    <p:extLst>
      <p:ext uri="{BB962C8B-B14F-4D97-AF65-F5344CB8AC3E}">
        <p14:creationId xmlns:p14="http://schemas.microsoft.com/office/powerpoint/2010/main" val="27593280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91</a:t>
            </a:fld>
            <a:endParaRPr lang="de-CH"/>
          </a:p>
        </p:txBody>
      </p:sp>
    </p:spTree>
    <p:extLst>
      <p:ext uri="{BB962C8B-B14F-4D97-AF65-F5344CB8AC3E}">
        <p14:creationId xmlns:p14="http://schemas.microsoft.com/office/powerpoint/2010/main" val="5164730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p>
        </p:txBody>
      </p:sp>
    </p:spTree>
    <p:extLst>
      <p:ext uri="{BB962C8B-B14F-4D97-AF65-F5344CB8AC3E}">
        <p14:creationId xmlns:p14="http://schemas.microsoft.com/office/powerpoint/2010/main" val="2522153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smtClean="0"/>
              <a:pPr>
                <a:defRPr/>
              </a:pPr>
              <a:t>101</a:t>
            </a:fld>
            <a:endParaRPr lang="de-CH"/>
          </a:p>
        </p:txBody>
      </p:sp>
    </p:spTree>
    <p:extLst>
      <p:ext uri="{BB962C8B-B14F-4D97-AF65-F5344CB8AC3E}">
        <p14:creationId xmlns:p14="http://schemas.microsoft.com/office/powerpoint/2010/main" val="7624964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More Successful:</a:t>
            </a:r>
          </a:p>
          <a:p>
            <a:pPr marL="628650" lvl="1" indent="-171450">
              <a:buFontTx/>
              <a:buChar char="-"/>
            </a:pPr>
            <a:r>
              <a:rPr lang="en-US"/>
              <a:t>Faster Development Times</a:t>
            </a:r>
          </a:p>
          <a:p>
            <a:pPr marL="628650" lvl="1" indent="-171450">
              <a:buFontTx/>
              <a:buChar char="-"/>
            </a:pPr>
            <a:r>
              <a:rPr lang="en-US"/>
              <a:t>Fewer issues / problems</a:t>
            </a:r>
          </a:p>
          <a:p>
            <a:pPr marL="628650" lvl="1" indent="-171450">
              <a:buFontTx/>
              <a:buChar char="-"/>
            </a:pPr>
            <a:r>
              <a:rPr lang="en-US"/>
              <a:t>No complaints about performance</a:t>
            </a:r>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105</a:t>
            </a:fld>
            <a:endParaRPr lang="de-CH"/>
          </a:p>
        </p:txBody>
      </p:sp>
    </p:spTree>
    <p:extLst>
      <p:ext uri="{BB962C8B-B14F-4D97-AF65-F5344CB8AC3E}">
        <p14:creationId xmlns:p14="http://schemas.microsoft.com/office/powerpoint/2010/main" val="42269896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106</a:t>
            </a:fld>
            <a:endParaRPr lang="de-CH"/>
          </a:p>
        </p:txBody>
      </p:sp>
    </p:spTree>
    <p:extLst>
      <p:ext uri="{BB962C8B-B14F-4D97-AF65-F5344CB8AC3E}">
        <p14:creationId xmlns:p14="http://schemas.microsoft.com/office/powerpoint/2010/main" val="856911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smtClean="0"/>
              <a:pPr>
                <a:defRPr/>
              </a:pPr>
              <a:t>7</a:t>
            </a:fld>
            <a:endParaRPr lang="de-CH"/>
          </a:p>
        </p:txBody>
      </p:sp>
    </p:spTree>
    <p:extLst>
      <p:ext uri="{BB962C8B-B14F-4D97-AF65-F5344CB8AC3E}">
        <p14:creationId xmlns:p14="http://schemas.microsoft.com/office/powerpoint/2010/main" val="1287657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107</a:t>
            </a:fld>
            <a:endParaRPr lang="de-CH"/>
          </a:p>
        </p:txBody>
      </p:sp>
    </p:spTree>
    <p:extLst>
      <p:ext uri="{BB962C8B-B14F-4D97-AF65-F5344CB8AC3E}">
        <p14:creationId xmlns:p14="http://schemas.microsoft.com/office/powerpoint/2010/main" val="21236288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108</a:t>
            </a:fld>
            <a:endParaRPr lang="de-CH"/>
          </a:p>
        </p:txBody>
      </p:sp>
    </p:spTree>
    <p:extLst>
      <p:ext uri="{BB962C8B-B14F-4D97-AF65-F5344CB8AC3E}">
        <p14:creationId xmlns:p14="http://schemas.microsoft.com/office/powerpoint/2010/main" val="28883783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b="0" i="0" u="none" strike="noStrike" kern="1200">
                <a:solidFill>
                  <a:schemeClr val="tx1"/>
                </a:solidFill>
                <a:effectLst/>
                <a:latin typeface="+mn-lt"/>
                <a:ea typeface="+mn-ea"/>
                <a:cs typeface="+mn-cs"/>
              </a:rPr>
              <a:t>3/21/2019  Mike Adams:  Usage- 30K pieces per month area once we are approved in full production and Future is uncertain if the customer is using the-C00 or -D00 version. Future had looked at offering and IDT device yet perhaps a more important show-stopper than price, the 7 VDC operating voltage on IDT SGAS711 makes it incompatible as a Figaro sensor (5 VDC) drop-in replacement, significant design change, added regulator &amp; high cost of a UL or ETL recertification. There are direct knock-offs of the TGS-2610 available from Chinese suppliers, but they have yet to be approved. Figaro has had 1 or 2 “hiccups” with their production, which caused a lot of pain for their users, including Jeff. RV’s can’t ship w/o a CO &amp; propane alarm installed. Ripple effects through the whole industry when Figaro can’t keep up with demand. EAS Sales is working to discover answers which will be answered slowly by the customer. Bernd of </a:t>
            </a:r>
            <a:r>
              <a:rPr lang="en-US" sz="1200" b="0" i="0" u="none" strike="noStrike" kern="1200" err="1">
                <a:solidFill>
                  <a:schemeClr val="tx1"/>
                </a:solidFill>
                <a:effectLst/>
                <a:latin typeface="+mn-lt"/>
                <a:ea typeface="+mn-ea"/>
                <a:cs typeface="+mn-cs"/>
              </a:rPr>
              <a:t>Sensirion</a:t>
            </a:r>
            <a:r>
              <a:rPr lang="en-US" sz="1200" b="0" i="0" u="none" strike="noStrike" kern="1200">
                <a:solidFill>
                  <a:schemeClr val="tx1"/>
                </a:solidFill>
                <a:effectLst/>
                <a:latin typeface="+mn-lt"/>
                <a:ea typeface="+mn-ea"/>
                <a:cs typeface="+mn-cs"/>
              </a:rPr>
              <a:t> advises the corporate product managers will be in during September and he will have time to review this opportunity with them. </a:t>
            </a:r>
            <a:r>
              <a:rPr lang="en-US" sz="1200" b="0" i="0" u="none" strike="noStrike" kern="1200" err="1">
                <a:solidFill>
                  <a:schemeClr val="tx1"/>
                </a:solidFill>
                <a:effectLst/>
                <a:latin typeface="+mn-lt"/>
                <a:ea typeface="+mn-ea"/>
                <a:cs typeface="+mn-cs"/>
              </a:rPr>
              <a:t>Sensirion</a:t>
            </a:r>
            <a:r>
              <a:rPr lang="en-US" sz="1200" b="0" i="0" u="none" strike="noStrike" kern="1200">
                <a:solidFill>
                  <a:schemeClr val="tx1"/>
                </a:solidFill>
                <a:effectLst/>
                <a:latin typeface="+mn-lt"/>
                <a:ea typeface="+mn-ea"/>
                <a:cs typeface="+mn-cs"/>
              </a:rPr>
              <a:t> has posed the following questions which have been posed to the customer in different terminology: Being a drop-in replacement?  (is there anything that would convince him to look at redesigning)?</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Voltage: our voltage is 1.8V </a:t>
            </a:r>
            <a:r>
              <a:rPr lang="en-US" sz="1200" b="0" i="0" u="none" strike="noStrike" kern="1200" err="1">
                <a:solidFill>
                  <a:schemeClr val="tx1"/>
                </a:solidFill>
                <a:effectLst/>
                <a:latin typeface="+mn-lt"/>
                <a:ea typeface="+mn-ea"/>
                <a:cs typeface="+mn-cs"/>
              </a:rPr>
              <a:t>avg</a:t>
            </a:r>
            <a:r>
              <a:rPr lang="en-US" sz="1200" b="0" i="0" u="none" strike="noStrike" kern="1200">
                <a:solidFill>
                  <a:schemeClr val="tx1"/>
                </a:solidFill>
                <a:effectLst/>
                <a:latin typeface="+mn-lt"/>
                <a:ea typeface="+mn-ea"/>
                <a:cs typeface="+mn-cs"/>
              </a:rPr>
              <a:t> (1.62-1.98V) so they could use a regulator, etc. Thru-hole vs. SMT device? Also, Since the voltage is under 12V, I’m not sure UL applies here but I could be wrong. </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 Do they use a Gas Mixing Chamber to calibrate or Test their product or device?</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 What are ALL the headaches / pain points when working with this Figaro sensor? (sounds like delivery, lead time…but confirm. Any others?)</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 What would they like to improve on the Figaro sensor?  (any technical specs? Any production/testing/calibration steps that they would like to eliminate?  Any field failure issues? Etc.)</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 What are ALL his concerns exactly about redesigning the circuit, and WHY?</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 Does Figaro provide a Safety related approved product, or do they provide a Component Off-the-shelf and Customer is responsible for the warranty/liability in the application? </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Mike Adams is taking Sensirion samples into the customer to have a sensor meeting and gain information regarding all sensor potential at this account and will discuss Sensirion’s CO sensor at this time as well. SEK-SCD30 </a:t>
            </a:r>
            <a:r>
              <a:rPr lang="en-US" sz="1200" b="0" i="0" u="none" strike="noStrike" kern="1200" err="1">
                <a:solidFill>
                  <a:schemeClr val="tx1"/>
                </a:solidFill>
                <a:effectLst/>
                <a:latin typeface="+mn-lt"/>
                <a:ea typeface="+mn-ea"/>
                <a:cs typeface="+mn-cs"/>
              </a:rPr>
              <a:t>eval</a:t>
            </a:r>
            <a:r>
              <a:rPr lang="en-US" sz="1200" b="0" i="0" u="none" strike="noStrike" kern="1200">
                <a:solidFill>
                  <a:schemeClr val="tx1"/>
                </a:solidFill>
                <a:effectLst/>
                <a:latin typeface="+mn-lt"/>
                <a:ea typeface="+mn-ea"/>
                <a:cs typeface="+mn-cs"/>
              </a:rPr>
              <a:t> kit has been received and will be brought into the customer for design review. </a:t>
            </a:r>
            <a:br>
              <a:rPr lang="en-US" sz="1200" b="0" i="0" u="none" strike="noStrike" kern="1200">
                <a:solidFill>
                  <a:schemeClr val="tx1"/>
                </a:solidFill>
                <a:effectLst/>
                <a:latin typeface="+mn-lt"/>
                <a:ea typeface="+mn-ea"/>
                <a:cs typeface="+mn-cs"/>
              </a:rPr>
            </a:br>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smtClean="0"/>
              <a:pPr>
                <a:defRPr/>
              </a:pPr>
              <a:t>110</a:t>
            </a:fld>
            <a:endParaRPr lang="de-CH"/>
          </a:p>
        </p:txBody>
      </p:sp>
    </p:spTree>
    <p:extLst>
      <p:ext uri="{BB962C8B-B14F-4D97-AF65-F5344CB8AC3E}">
        <p14:creationId xmlns:p14="http://schemas.microsoft.com/office/powerpoint/2010/main" val="3764903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2D8580-8AD4-473B-87B3-1501167C185D}" type="slidenum">
              <a:rPr kumimoji="0" lang="de-CH"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de-CH" sz="1200" b="0" i="0" u="none" strike="noStrike" kern="1200" cap="none" spc="0" normalizeH="0" baseline="0" noProof="0">
              <a:ln>
                <a:noFill/>
              </a:ln>
              <a:solidFill>
                <a:prstClr val="black"/>
              </a:solidFill>
              <a:effectLst/>
              <a:uLnTx/>
              <a:uFillTx/>
              <a:latin typeface="Arial Narrow"/>
              <a:ea typeface="+mn-ea"/>
              <a:cs typeface="+mn-cs"/>
            </a:endParaRPr>
          </a:p>
        </p:txBody>
      </p:sp>
    </p:spTree>
    <p:extLst>
      <p:ext uri="{BB962C8B-B14F-4D97-AF65-F5344CB8AC3E}">
        <p14:creationId xmlns:p14="http://schemas.microsoft.com/office/powerpoint/2010/main" val="15260535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smtClean="0"/>
              <a:pPr>
                <a:defRPr/>
              </a:pPr>
              <a:t>121</a:t>
            </a:fld>
            <a:endParaRPr lang="de-CH"/>
          </a:p>
        </p:txBody>
      </p:sp>
    </p:spTree>
    <p:extLst>
      <p:ext uri="{BB962C8B-B14F-4D97-AF65-F5344CB8AC3E}">
        <p14:creationId xmlns:p14="http://schemas.microsoft.com/office/powerpoint/2010/main" val="18015844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9BC1A513-A0BF-4E31-BFE4-A8A08AB75B3B}" type="slidenum">
              <a:rPr lang="de-CH" smtClean="0"/>
              <a:pPr>
                <a:defRPr/>
              </a:pPr>
              <a:t>122</a:t>
            </a:fld>
            <a:endParaRPr lang="de-CH"/>
          </a:p>
        </p:txBody>
      </p:sp>
    </p:spTree>
    <p:extLst>
      <p:ext uri="{BB962C8B-B14F-4D97-AF65-F5344CB8AC3E}">
        <p14:creationId xmlns:p14="http://schemas.microsoft.com/office/powerpoint/2010/main" val="404223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C1A513-A0BF-4E31-BFE4-A8A08AB75B3B}" type="slidenum">
              <a:rPr lang="de-CH" smtClean="0"/>
              <a:pPr>
                <a:defRPr/>
              </a:pPr>
              <a:t>8</a:t>
            </a:fld>
            <a:endParaRPr lang="de-CH"/>
          </a:p>
        </p:txBody>
      </p:sp>
    </p:spTree>
    <p:extLst>
      <p:ext uri="{BB962C8B-B14F-4D97-AF65-F5344CB8AC3E}">
        <p14:creationId xmlns:p14="http://schemas.microsoft.com/office/powerpoint/2010/main" val="341844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err="1"/>
              <a:t>Our</a:t>
            </a:r>
            <a:r>
              <a:rPr lang="de-CH" dirty="0"/>
              <a:t> </a:t>
            </a:r>
            <a:r>
              <a:rPr lang="de-CH" dirty="0" err="1"/>
              <a:t>customers</a:t>
            </a:r>
            <a:r>
              <a:rPr lang="de-CH" dirty="0"/>
              <a:t> </a:t>
            </a:r>
            <a:r>
              <a:rPr lang="de-CH" dirty="0" err="1"/>
              <a:t>are</a:t>
            </a:r>
            <a:r>
              <a:rPr lang="de-CH" dirty="0"/>
              <a:t> </a:t>
            </a:r>
            <a:r>
              <a:rPr lang="de-CH" dirty="0" err="1"/>
              <a:t>distributed</a:t>
            </a:r>
            <a:r>
              <a:rPr lang="de-CH" dirty="0"/>
              <a:t> </a:t>
            </a:r>
            <a:r>
              <a:rPr lang="de-CH" dirty="0" err="1"/>
              <a:t>across</a:t>
            </a:r>
            <a:r>
              <a:rPr lang="de-CH" dirty="0"/>
              <a:t> </a:t>
            </a:r>
            <a:r>
              <a:rPr lang="de-CH" dirty="0" err="1"/>
              <a:t>these</a:t>
            </a:r>
            <a:r>
              <a:rPr lang="de-CH" dirty="0"/>
              <a:t> </a:t>
            </a:r>
            <a:r>
              <a:rPr lang="de-CH" dirty="0" err="1"/>
              <a:t>markets</a:t>
            </a:r>
            <a:r>
              <a:rPr lang="de-CH" dirty="0"/>
              <a:t>.  Single source </a:t>
            </a:r>
            <a:r>
              <a:rPr lang="de-CH" dirty="0" err="1"/>
              <a:t>for</a:t>
            </a:r>
            <a:r>
              <a:rPr lang="de-CH" dirty="0"/>
              <a:t> all </a:t>
            </a:r>
            <a:r>
              <a:rPr lang="de-CH" dirty="0" err="1"/>
              <a:t>of</a:t>
            </a:r>
            <a:r>
              <a:rPr lang="de-CH" dirty="0"/>
              <a:t> </a:t>
            </a:r>
            <a:r>
              <a:rPr lang="de-CH" dirty="0" err="1"/>
              <a:t>these</a:t>
            </a:r>
            <a:r>
              <a:rPr lang="de-CH" dirty="0"/>
              <a:t> </a:t>
            </a:r>
            <a:r>
              <a:rPr lang="de-CH" dirty="0" err="1"/>
              <a:t>companies</a:t>
            </a:r>
            <a:r>
              <a:rPr lang="de-CH" dirty="0"/>
              <a:t> but </a:t>
            </a:r>
            <a:r>
              <a:rPr lang="de-CH" dirty="0" err="1"/>
              <a:t>for</a:t>
            </a:r>
            <a:r>
              <a:rPr lang="de-CH" dirty="0"/>
              <a:t> </a:t>
            </a:r>
            <a:r>
              <a:rPr lang="de-CH" dirty="0" err="1"/>
              <a:t>one</a:t>
            </a:r>
            <a:r>
              <a:rPr lang="de-CH" dirty="0"/>
              <a:t> (</a:t>
            </a:r>
            <a:r>
              <a:rPr lang="de-CH" dirty="0" err="1"/>
              <a:t>seagate</a:t>
            </a:r>
            <a:r>
              <a:rPr lang="de-CH" dirty="0"/>
              <a:t>), </a:t>
            </a:r>
            <a:r>
              <a:rPr lang="de-CH" dirty="0" err="1"/>
              <a:t>this</a:t>
            </a:r>
            <a:r>
              <a:rPr lang="de-CH" dirty="0"/>
              <a:t> </a:t>
            </a:r>
            <a:r>
              <a:rPr lang="de-CH" dirty="0" err="1"/>
              <a:t>one</a:t>
            </a:r>
            <a:r>
              <a:rPr lang="de-CH" dirty="0"/>
              <a:t> will </a:t>
            </a:r>
            <a:r>
              <a:rPr lang="de-CH" dirty="0" err="1"/>
              <a:t>transistion</a:t>
            </a:r>
            <a:r>
              <a:rPr lang="de-CH" dirty="0"/>
              <a:t> </a:t>
            </a:r>
            <a:r>
              <a:rPr lang="de-CH" dirty="0" err="1"/>
              <a:t>within</a:t>
            </a:r>
            <a:r>
              <a:rPr lang="de-CH" dirty="0"/>
              <a:t> </a:t>
            </a:r>
            <a:r>
              <a:rPr lang="de-CH" dirty="0" err="1"/>
              <a:t>this</a:t>
            </a:r>
            <a:r>
              <a:rPr lang="de-CH" dirty="0"/>
              <a:t> </a:t>
            </a:r>
            <a:r>
              <a:rPr lang="de-CH" dirty="0" err="1"/>
              <a:t>year</a:t>
            </a:r>
            <a:endParaRPr lang="de-CH"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A513-A0BF-4E31-BFE4-A8A08AB75B3B}" type="slidenum">
              <a:rPr kumimoji="0" lang="de-CH"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1200" b="0" i="0" u="none" strike="noStrike" kern="1200" cap="none" spc="0" normalizeH="0" baseline="0" noProof="0">
              <a:ln>
                <a:noFill/>
              </a:ln>
              <a:solidFill>
                <a:prstClr val="black"/>
              </a:solidFill>
              <a:effectLst/>
              <a:uLnTx/>
              <a:uFillTx/>
              <a:latin typeface="Arial Narrow"/>
              <a:ea typeface="+mn-ea"/>
              <a:cs typeface="+mn-cs"/>
            </a:endParaRPr>
          </a:p>
        </p:txBody>
      </p:sp>
    </p:spTree>
    <p:extLst>
      <p:ext uri="{BB962C8B-B14F-4D97-AF65-F5344CB8AC3E}">
        <p14:creationId xmlns:p14="http://schemas.microsoft.com/office/powerpoint/2010/main" val="3823536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10</a:t>
            </a:fld>
            <a:endParaRPr lang="de-CH"/>
          </a:p>
        </p:txBody>
      </p:sp>
    </p:spTree>
    <p:extLst>
      <p:ext uri="{BB962C8B-B14F-4D97-AF65-F5344CB8AC3E}">
        <p14:creationId xmlns:p14="http://schemas.microsoft.com/office/powerpoint/2010/main" val="16097931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21</a:t>
            </a:fld>
            <a:endParaRPr lang="de-CH"/>
          </a:p>
        </p:txBody>
      </p:sp>
    </p:spTree>
    <p:extLst>
      <p:ext uri="{BB962C8B-B14F-4D97-AF65-F5344CB8AC3E}">
        <p14:creationId xmlns:p14="http://schemas.microsoft.com/office/powerpoint/2010/main" val="13777814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BC1A513-A0BF-4E31-BFE4-A8A08AB75B3B}" type="slidenum">
              <a:rPr lang="de-CH" smtClean="0"/>
              <a:pPr>
                <a:defRPr/>
              </a:pPr>
              <a:t>25</a:t>
            </a:fld>
            <a:endParaRPr lang="de-CH"/>
          </a:p>
        </p:txBody>
      </p:sp>
    </p:spTree>
    <p:extLst>
      <p:ext uri="{BB962C8B-B14F-4D97-AF65-F5344CB8AC3E}">
        <p14:creationId xmlns:p14="http://schemas.microsoft.com/office/powerpoint/2010/main" val="8078651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10.xml"/><Relationship Id="rId4" Type="http://schemas.openxmlformats.org/officeDocument/2006/relationships/image" Target="../media/image17.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20.xml"/><Relationship Id="rId4" Type="http://schemas.openxmlformats.org/officeDocument/2006/relationships/image" Target="../media/image17.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jpeg"/><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962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baseline="0">
                <a:solidFill>
                  <a:schemeClr val="tx1"/>
                </a:solidFill>
              </a:defRPr>
            </a:lvl1pPr>
          </a:lstStyle>
          <a:p>
            <a:r>
              <a:rPr lang="en-US"/>
              <a:t>Add Title / </a:t>
            </a:r>
            <a:r>
              <a:rPr lang="en-US" err="1"/>
              <a:t>Titel</a:t>
            </a:r>
            <a:r>
              <a:rPr lang="en-US"/>
              <a:t> </a:t>
            </a:r>
            <a:r>
              <a:rPr lang="en-US" err="1"/>
              <a:t>hinzufügen</a:t>
            </a:r>
            <a:endParaRPr lang="en-US"/>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10509842" cy="306000"/>
          </a:xfrm>
        </p:spPr>
        <p:txBody>
          <a:bodyPr/>
          <a:lstStyle>
            <a:lvl1pPr>
              <a:spcBef>
                <a:spcPts val="0"/>
              </a:spcBef>
              <a:defRPr baseline="0"/>
            </a:lvl1pPr>
          </a:lstStyle>
          <a:p>
            <a:pPr lvl="0"/>
            <a:r>
              <a:rPr lang="en-US"/>
              <a:t>First Name Last Name, Job Function / </a:t>
            </a:r>
            <a:r>
              <a:rPr lang="en-US" err="1"/>
              <a:t>Vorname</a:t>
            </a:r>
            <a:r>
              <a:rPr lang="en-US"/>
              <a:t> </a:t>
            </a:r>
            <a:r>
              <a:rPr lang="en-US" err="1"/>
              <a:t>Nachnachme</a:t>
            </a:r>
            <a:r>
              <a:rPr lang="en-US"/>
              <a:t>, </a:t>
            </a:r>
            <a:r>
              <a:rPr lang="en-US" err="1"/>
              <a:t>Funktion</a:t>
            </a:r>
            <a:endParaRPr lang="en-US"/>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10512426" cy="306000"/>
          </a:xfrm>
        </p:spPr>
        <p:txBody>
          <a:bodyPr/>
          <a:lstStyle>
            <a:lvl1pPr>
              <a:spcBef>
                <a:spcPts val="0"/>
              </a:spcBef>
              <a:defRPr baseline="0"/>
            </a:lvl1pPr>
          </a:lstStyle>
          <a:p>
            <a:pPr lvl="0"/>
            <a:r>
              <a:rPr lang="en-US"/>
              <a:t>City Country, Month Year / </a:t>
            </a:r>
            <a:r>
              <a:rPr lang="en-US" err="1"/>
              <a:t>Stadt</a:t>
            </a:r>
            <a:r>
              <a:rPr lang="en-US"/>
              <a:t> Land, </a:t>
            </a:r>
            <a:r>
              <a:rPr lang="en-US" err="1"/>
              <a:t>Monat</a:t>
            </a:r>
            <a:r>
              <a:rPr lang="en-US"/>
              <a:t> </a:t>
            </a:r>
            <a:r>
              <a:rPr lang="en-US" err="1"/>
              <a:t>Jahr</a:t>
            </a:r>
            <a:endParaRPr lang="en-US"/>
          </a:p>
        </p:txBody>
      </p:sp>
    </p:spTree>
    <p:extLst>
      <p:ext uri="{BB962C8B-B14F-4D97-AF65-F5344CB8AC3E}">
        <p14:creationId xmlns:p14="http://schemas.microsoft.com/office/powerpoint/2010/main" val="18856934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een, Title, Text">
    <p:bg>
      <p:bgPr>
        <a:solidFill>
          <a:srgbClr val="66CC33"/>
        </a:solidFill>
        <a:effectLst/>
      </p:bgPr>
    </p:bg>
    <p:spTree>
      <p:nvGrpSpPr>
        <p:cNvPr id="1" name=""/>
        <p:cNvGrpSpPr/>
        <p:nvPr/>
      </p:nvGrpSpPr>
      <p:grpSpPr>
        <a:xfrm>
          <a:off x="0" y="0"/>
          <a:ext cx="0" cy="0"/>
          <a:chOff x="0" y="0"/>
          <a:chExt cx="0" cy="0"/>
        </a:xfrm>
      </p:grpSpPr>
      <p:sp>
        <p:nvSpPr>
          <p:cNvPr id="10"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3" name="Textplatzhalter 3"/>
          <p:cNvSpPr>
            <a:spLocks noGrp="1"/>
          </p:cNvSpPr>
          <p:nvPr>
            <p:ph type="body" sz="quarter" idx="10" hasCustomPrompt="1"/>
          </p:nvPr>
        </p:nvSpPr>
        <p:spPr>
          <a:xfrm>
            <a:off x="839098" y="907362"/>
            <a:ext cx="10512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baseline="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pic>
        <p:nvPicPr>
          <p:cNvPr id="5" name="Grafik 4">
            <a:extLst>
              <a:ext uri="{FF2B5EF4-FFF2-40B4-BE49-F238E27FC236}">
                <a16:creationId xmlns:a16="http://schemas.microsoft.com/office/drawing/2014/main" id="{AF036631-25D0-4B0E-A1BD-EBA4A12F99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76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US">
                <a:solidFill>
                  <a:schemeClr val="bg1"/>
                </a:solidFill>
              </a:rPr>
              <a:t>www.sensirion.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0900" y="2464725"/>
            <a:ext cx="6961858" cy="1202400"/>
          </a:xfrm>
          <a:prstGeom prst="rect">
            <a:avLst/>
          </a:prstGeom>
        </p:spPr>
      </p:pic>
    </p:spTree>
    <p:extLst>
      <p:ext uri="{BB962C8B-B14F-4D97-AF65-F5344CB8AC3E}">
        <p14:creationId xmlns:p14="http://schemas.microsoft.com/office/powerpoint/2010/main" val="7610228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Text, Picture (left)">
    <p:spTree>
      <p:nvGrpSpPr>
        <p:cNvPr id="1" name=""/>
        <p:cNvGrpSpPr/>
        <p:nvPr/>
      </p:nvGrpSpPr>
      <p:grpSpPr>
        <a:xfrm>
          <a:off x="0" y="0"/>
          <a:ext cx="0" cy="0"/>
          <a:chOff x="0" y="0"/>
          <a:chExt cx="0" cy="0"/>
        </a:xfrm>
      </p:grpSpPr>
      <p:sp>
        <p:nvSpPr>
          <p:cNvPr id="6" name="Bildplatzhalter 5"/>
          <p:cNvSpPr>
            <a:spLocks noGrp="1"/>
          </p:cNvSpPr>
          <p:nvPr>
            <p:ph type="pic" sz="quarter" idx="11"/>
          </p:nvPr>
        </p:nvSpPr>
        <p:spPr>
          <a:xfrm>
            <a:off x="839788" y="1263316"/>
            <a:ext cx="5151938" cy="4973972"/>
          </a:xfrm>
        </p:spPr>
        <p:txBody>
          <a:bodyPr anchor="ctr"/>
          <a:lstStyle>
            <a:lvl1pPr marL="0" indent="0" algn="ctr">
              <a:buFontTx/>
              <a:buNone/>
              <a:defRPr>
                <a:solidFill>
                  <a:schemeClr val="tx1"/>
                </a:solidFill>
              </a:defRPr>
            </a:lvl1pPr>
          </a:lstStyle>
          <a:p>
            <a:r>
              <a:rPr lang="en-US"/>
              <a:t>Click icon to add picture</a:t>
            </a:r>
          </a:p>
        </p:txBody>
      </p:sp>
      <p:sp>
        <p:nvSpPr>
          <p:cNvPr id="4" name="Textplatzhalter 3"/>
          <p:cNvSpPr>
            <a:spLocks noGrp="1"/>
          </p:cNvSpPr>
          <p:nvPr>
            <p:ph type="body" sz="quarter" idx="10" hasCustomPrompt="1"/>
          </p:nvPr>
        </p:nvSpPr>
        <p:spPr>
          <a:xfrm>
            <a:off x="6184233" y="1263316"/>
            <a:ext cx="5192852" cy="4973972"/>
          </a:xfrm>
        </p:spPr>
        <p:txBody>
          <a:bodyPr/>
          <a:lstStyle>
            <a:lvl1pPr marL="0" indent="0">
              <a:buFontTx/>
              <a:buNone/>
              <a:defRPr lang="en-US" sz="2400" b="0" kern="1200" noProof="0" dirty="0" smtClean="0">
                <a:solidFill>
                  <a:schemeClr val="bg2">
                    <a:lumMod val="50000"/>
                  </a:schemeClr>
                </a:solidFill>
                <a:latin typeface="+mn-lt"/>
                <a:ea typeface="+mn-ea"/>
                <a:cs typeface="+mn-cs"/>
              </a:defRPr>
            </a:lvl1pPr>
            <a:lvl2pPr marL="216000" indent="-216000">
              <a:buClr>
                <a:schemeClr val="tx1"/>
              </a:buClr>
              <a:buSzPct val="100000"/>
              <a:defRPr/>
            </a:lvl2pPr>
            <a:lvl3pPr marL="720000" indent="-216000">
              <a:spcBef>
                <a:spcPts val="900"/>
              </a:spcBef>
              <a:buClr>
                <a:schemeClr val="tx1"/>
              </a:buClr>
              <a:buSzPct val="90000"/>
              <a:defRPr/>
            </a:lvl3pPr>
            <a:lvl4pPr marL="1080000">
              <a:spcBef>
                <a:spcPts val="900"/>
              </a:spcBef>
              <a:buClr>
                <a:schemeClr val="tx1"/>
              </a:buClr>
              <a:buSzPct val="80000"/>
              <a:defRPr/>
            </a:lvl4pPr>
            <a:lvl5pPr marL="1440000" indent="-216000">
              <a:lnSpc>
                <a:spcPct val="100000"/>
              </a:lnSpc>
              <a:spcBef>
                <a:spcPts val="900"/>
              </a:spcBef>
              <a:buClr>
                <a:schemeClr val="tx1"/>
              </a:buClr>
              <a:buSzPct val="70000"/>
              <a:defRPr/>
            </a:lvl5pPr>
          </a:lstStyle>
          <a:p>
            <a:pPr marL="0" lvl="0" indent="0" algn="l" defTabSz="900000" rtl="0" eaLnBrk="1" latinLnBrk="0" hangingPunct="1">
              <a:lnSpc>
                <a:spcPct val="100000"/>
              </a:lnSpc>
              <a:spcBef>
                <a:spcPts val="600"/>
              </a:spcBef>
              <a:buSzPct val="105000"/>
              <a:buFontTx/>
              <a:buNone/>
            </a:pPr>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477900936"/>
      </p:ext>
    </p:extLst>
  </p:cSld>
  <p:clrMapOvr>
    <a:masterClrMapping/>
  </p:clrMapOvr>
  <p:hf sldNum="0" hdr="0" ftr="0" dt="0"/>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Mobile_Consumer_Title Slide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a:solidFill>
                  <a:schemeClr val="tx1"/>
                </a:solidFill>
              </a:defRPr>
            </a:lvl1pPr>
          </a:lstStyle>
          <a:p>
            <a:r>
              <a:rPr lang="en-US"/>
              <a:t>Add Title</a:t>
            </a:r>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5256213" cy="306000"/>
          </a:xfrm>
        </p:spPr>
        <p:txBody>
          <a:bodyPr/>
          <a:lstStyle>
            <a:lvl1pPr>
              <a:spcBef>
                <a:spcPts val="0"/>
              </a:spcBef>
              <a:defRPr/>
            </a:lvl1pPr>
          </a:lstStyle>
          <a:p>
            <a:pPr lvl="0"/>
            <a:r>
              <a:rPr lang="en-US"/>
              <a:t>First Name Last Name, Job Function</a:t>
            </a:r>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5256213" cy="306000"/>
          </a:xfrm>
        </p:spPr>
        <p:txBody>
          <a:bodyPr/>
          <a:lstStyle>
            <a:lvl1pPr>
              <a:spcBef>
                <a:spcPts val="0"/>
              </a:spcBef>
              <a:defRPr/>
            </a:lvl1pPr>
          </a:lstStyle>
          <a:p>
            <a:pPr lvl="0"/>
            <a:r>
              <a:rPr lang="en-US"/>
              <a:t>City Country, Month Year</a:t>
            </a:r>
          </a:p>
        </p:txBody>
      </p:sp>
      <p:sp>
        <p:nvSpPr>
          <p:cNvPr id="8" name="Rechteck 5"/>
          <p:cNvSpPr/>
          <p:nvPr userDrawn="1"/>
        </p:nvSpPr>
        <p:spPr>
          <a:xfrm>
            <a:off x="9335620" y="6153457"/>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9"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9629" y="6368799"/>
            <a:ext cx="1800000" cy="308899"/>
          </a:xfrm>
          <a:prstGeom prst="rect">
            <a:avLst/>
          </a:prstGeom>
        </p:spPr>
      </p:pic>
      <p:sp>
        <p:nvSpPr>
          <p:cNvPr id="10" name="Rechteck 5"/>
          <p:cNvSpPr/>
          <p:nvPr userDrawn="1"/>
        </p:nvSpPr>
        <p:spPr>
          <a:xfrm>
            <a:off x="9335620" y="6144492"/>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3"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9629" y="6359834"/>
            <a:ext cx="1800000" cy="308899"/>
          </a:xfrm>
          <a:prstGeom prst="rect">
            <a:avLst/>
          </a:prstGeom>
        </p:spPr>
      </p:pic>
    </p:spTree>
    <p:extLst>
      <p:ext uri="{BB962C8B-B14F-4D97-AF65-F5344CB8AC3E}">
        <p14:creationId xmlns:p14="http://schemas.microsoft.com/office/powerpoint/2010/main" val="382210569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962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baseline="0">
                <a:solidFill>
                  <a:schemeClr val="tx1"/>
                </a:solidFill>
              </a:defRPr>
            </a:lvl1pPr>
          </a:lstStyle>
          <a:p>
            <a:r>
              <a:rPr lang="en-US"/>
              <a:t>Add Title / </a:t>
            </a:r>
            <a:r>
              <a:rPr lang="en-US" err="1"/>
              <a:t>Titel</a:t>
            </a:r>
            <a:r>
              <a:rPr lang="en-US"/>
              <a:t> </a:t>
            </a:r>
            <a:r>
              <a:rPr lang="en-US" err="1"/>
              <a:t>hinzufügen</a:t>
            </a:r>
            <a:endParaRPr lang="en-US"/>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10509842" cy="306000"/>
          </a:xfrm>
        </p:spPr>
        <p:txBody>
          <a:bodyPr/>
          <a:lstStyle>
            <a:lvl1pPr>
              <a:spcBef>
                <a:spcPts val="0"/>
              </a:spcBef>
              <a:defRPr baseline="0"/>
            </a:lvl1pPr>
          </a:lstStyle>
          <a:p>
            <a:pPr lvl="0"/>
            <a:r>
              <a:rPr lang="en-US"/>
              <a:t>First Name Last Name, Job Function / </a:t>
            </a:r>
            <a:r>
              <a:rPr lang="en-US" err="1"/>
              <a:t>Vorname</a:t>
            </a:r>
            <a:r>
              <a:rPr lang="en-US"/>
              <a:t> </a:t>
            </a:r>
            <a:r>
              <a:rPr lang="en-US" err="1"/>
              <a:t>Nachnachme</a:t>
            </a:r>
            <a:r>
              <a:rPr lang="en-US"/>
              <a:t>, </a:t>
            </a:r>
            <a:r>
              <a:rPr lang="en-US" err="1"/>
              <a:t>Funktion</a:t>
            </a:r>
            <a:endParaRPr lang="en-US"/>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10512426" cy="306000"/>
          </a:xfrm>
        </p:spPr>
        <p:txBody>
          <a:bodyPr/>
          <a:lstStyle>
            <a:lvl1pPr>
              <a:spcBef>
                <a:spcPts val="0"/>
              </a:spcBef>
              <a:defRPr baseline="0"/>
            </a:lvl1pPr>
          </a:lstStyle>
          <a:p>
            <a:pPr lvl="0"/>
            <a:r>
              <a:rPr lang="en-US"/>
              <a:t>City Country, Month Year / </a:t>
            </a:r>
            <a:r>
              <a:rPr lang="en-US" err="1"/>
              <a:t>Stadt</a:t>
            </a:r>
            <a:r>
              <a:rPr lang="en-US"/>
              <a:t> Land, </a:t>
            </a:r>
            <a:r>
              <a:rPr lang="en-US" err="1"/>
              <a:t>Monat</a:t>
            </a:r>
            <a:r>
              <a:rPr lang="en-US"/>
              <a:t> </a:t>
            </a:r>
            <a:r>
              <a:rPr lang="en-US" err="1"/>
              <a:t>Jahr</a:t>
            </a:r>
            <a:endParaRPr lang="en-US"/>
          </a:p>
        </p:txBody>
      </p:sp>
    </p:spTree>
    <p:extLst>
      <p:ext uri="{BB962C8B-B14F-4D97-AF65-F5344CB8AC3E}">
        <p14:creationId xmlns:p14="http://schemas.microsoft.com/office/powerpoint/2010/main" val="40809403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274952467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Text, Picture Lef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839788"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aseline="0"/>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a:p>
            <a:endParaRPr lang="en-US"/>
          </a:p>
        </p:txBody>
      </p:sp>
      <p:sp>
        <p:nvSpPr>
          <p:cNvPr id="6" name="Text Placeholder 5"/>
          <p:cNvSpPr>
            <a:spLocks noGrp="1"/>
          </p:cNvSpPr>
          <p:nvPr>
            <p:ph type="body" sz="quarter" idx="11" hasCustomPrompt="1"/>
          </p:nvPr>
        </p:nvSpPr>
        <p:spPr>
          <a:xfrm>
            <a:off x="6212541"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6188683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4010213733"/>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17495292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93" name="Gruppieren 92">
            <a:extLst>
              <a:ext uri="{FF2B5EF4-FFF2-40B4-BE49-F238E27FC236}">
                <a16:creationId xmlns:a16="http://schemas.microsoft.com/office/drawing/2014/main" id="{D2D03C95-7237-41B3-B3C3-68EDD984A661}"/>
              </a:ext>
            </a:extLst>
          </p:cNvPr>
          <p:cNvGrpSpPr/>
          <p:nvPr userDrawn="1"/>
        </p:nvGrpSpPr>
        <p:grpSpPr>
          <a:xfrm>
            <a:off x="731952" y="3106800"/>
            <a:ext cx="11457648" cy="3590562"/>
            <a:chOff x="731952" y="3106800"/>
            <a:chExt cx="11457648" cy="3590562"/>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5" name="Bildplatzhalter 94">
            <a:extLst>
              <a:ext uri="{FF2B5EF4-FFF2-40B4-BE49-F238E27FC236}">
                <a16:creationId xmlns:a16="http://schemas.microsoft.com/office/drawing/2014/main" id="{42A3661C-BE92-49BD-9361-69A1388F129F}"/>
              </a:ext>
            </a:extLst>
          </p:cNvPr>
          <p:cNvSpPr>
            <a:spLocks noGrp="1"/>
          </p:cNvSpPr>
          <p:nvPr>
            <p:ph type="pic" sz="quarter" idx="14"/>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3 w 12188819"/>
              <a:gd name="connsiteY231" fmla="*/ 6462728 h 6857997"/>
              <a:gd name="connsiteX232" fmla="*/ 6035359 w 12188819"/>
              <a:gd name="connsiteY232" fmla="*/ 6485436 h 6857997"/>
              <a:gd name="connsiteX233" fmla="*/ 6030543 w 12188819"/>
              <a:gd name="connsiteY233" fmla="*/ 6505667 h 6857997"/>
              <a:gd name="connsiteX234" fmla="*/ 6019164 w 12188819"/>
              <a:gd name="connsiteY234" fmla="*/ 6512365 h 6857997"/>
              <a:gd name="connsiteX235" fmla="*/ 6007541 w 12188819"/>
              <a:gd name="connsiteY235" fmla="*/ 6505388 h 6857997"/>
              <a:gd name="connsiteX236" fmla="*/ 6002550 w 12188819"/>
              <a:gd name="connsiteY236" fmla="*/ 6484041 h 6857997"/>
              <a:gd name="connsiteX237" fmla="*/ 6007227 w 12188819"/>
              <a:gd name="connsiteY237" fmla="*/ 6462449 h 6857997"/>
              <a:gd name="connsiteX238" fmla="*/ 6018396 w 12188819"/>
              <a:gd name="connsiteY238" fmla="*/ 6455577 h 6857997"/>
              <a:gd name="connsiteX239" fmla="*/ 5829561 w 12188819"/>
              <a:gd name="connsiteY239" fmla="*/ 6455577 h 6857997"/>
              <a:gd name="connsiteX240" fmla="*/ 5842536 w 12188819"/>
              <a:gd name="connsiteY240" fmla="*/ 6462597 h 6857997"/>
              <a:gd name="connsiteX241" fmla="*/ 5847769 w 12188819"/>
              <a:gd name="connsiteY241" fmla="*/ 6483936 h 6857997"/>
              <a:gd name="connsiteX242" fmla="*/ 5842571 w 12188819"/>
              <a:gd name="connsiteY242" fmla="*/ 6505275 h 6857997"/>
              <a:gd name="connsiteX243" fmla="*/ 5830118 w 12188819"/>
              <a:gd name="connsiteY243" fmla="*/ 6512365 h 6857997"/>
              <a:gd name="connsiteX244" fmla="*/ 5817142 w 12188819"/>
              <a:gd name="connsiteY244" fmla="*/ 6505345 h 6857997"/>
              <a:gd name="connsiteX245" fmla="*/ 5811910 w 12188819"/>
              <a:gd name="connsiteY245" fmla="*/ 6483936 h 6857997"/>
              <a:gd name="connsiteX246" fmla="*/ 5817072 w 12188819"/>
              <a:gd name="connsiteY246" fmla="*/ 6462632 h 6857997"/>
              <a:gd name="connsiteX247" fmla="*/ 5829561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4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1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4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70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3 w 12188819"/>
              <a:gd name="connsiteY428" fmla="*/ 6455019 h 6857997"/>
              <a:gd name="connsiteX429" fmla="*/ 5801376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2 w 12188819"/>
              <a:gd name="connsiteY808" fmla="*/ 6418742 h 6857997"/>
              <a:gd name="connsiteX809" fmla="*/ 6034362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2 w 12188819"/>
              <a:gd name="connsiteY880" fmla="*/ 6416998 h 6857997"/>
              <a:gd name="connsiteX881" fmla="*/ 5948872 w 12188819"/>
              <a:gd name="connsiteY881" fmla="*/ 6419301 h 6857997"/>
              <a:gd name="connsiteX882" fmla="*/ 5943312 w 12188819"/>
              <a:gd name="connsiteY882" fmla="*/ 6425963 h 6857997"/>
              <a:gd name="connsiteX883" fmla="*/ 5941493 w 12188819"/>
              <a:gd name="connsiteY883" fmla="*/ 6439044 h 6857997"/>
              <a:gd name="connsiteX884" fmla="*/ 5941493 w 12188819"/>
              <a:gd name="connsiteY884" fmla="*/ 6446927 h 6857997"/>
              <a:gd name="connsiteX885" fmla="*/ 5932355 w 12188819"/>
              <a:gd name="connsiteY885" fmla="*/ 6446927 h 6857997"/>
              <a:gd name="connsiteX886" fmla="*/ 5932355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8 w 12188819"/>
              <a:gd name="connsiteY891" fmla="*/ 6456694 h 6857997"/>
              <a:gd name="connsiteX892" fmla="*/ 5963608 w 12188819"/>
              <a:gd name="connsiteY892" fmla="*/ 6446927 h 6857997"/>
              <a:gd name="connsiteX893" fmla="*/ 5951748 w 12188819"/>
              <a:gd name="connsiteY893" fmla="*/ 6446927 h 6857997"/>
              <a:gd name="connsiteX894" fmla="*/ 5951748 w 12188819"/>
              <a:gd name="connsiteY894" fmla="*/ 6440090 h 6857997"/>
              <a:gd name="connsiteX895" fmla="*/ 5953736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2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9 w 12188819"/>
              <a:gd name="connsiteY916" fmla="*/ 6416929 h 6857997"/>
              <a:gd name="connsiteX917" fmla="*/ 5737087 w 12188819"/>
              <a:gd name="connsiteY917" fmla="*/ 6422897 h 6857997"/>
              <a:gd name="connsiteX918" fmla="*/ 5722806 w 12188819"/>
              <a:gd name="connsiteY918" fmla="*/ 6440559 h 6857997"/>
              <a:gd name="connsiteX919" fmla="*/ 5717535 w 12188819"/>
              <a:gd name="connsiteY919" fmla="*/ 6469146 h 6857997"/>
              <a:gd name="connsiteX920" fmla="*/ 5722801 w 12188819"/>
              <a:gd name="connsiteY920" fmla="*/ 6498815 h 6857997"/>
              <a:gd name="connsiteX921" fmla="*/ 5736336 w 12188819"/>
              <a:gd name="connsiteY921" fmla="*/ 6517070 h 6857997"/>
              <a:gd name="connsiteX922" fmla="*/ 5756253 w 12188819"/>
              <a:gd name="connsiteY922" fmla="*/ 6522759 h 6857997"/>
              <a:gd name="connsiteX923" fmla="*/ 5778752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5 w 12188819"/>
              <a:gd name="connsiteY927" fmla="*/ 6511179 h 6857997"/>
              <a:gd name="connsiteX928" fmla="*/ 5736370 w 12188819"/>
              <a:gd name="connsiteY928" fmla="*/ 6500671 h 6857997"/>
              <a:gd name="connsiteX929" fmla="*/ 5728975 w 12188819"/>
              <a:gd name="connsiteY929" fmla="*/ 6469145 h 6857997"/>
              <a:gd name="connsiteX930" fmla="*/ 5732644 w 12188819"/>
              <a:gd name="connsiteY930" fmla="*/ 6446175 h 6857997"/>
              <a:gd name="connsiteX931" fmla="*/ 5742458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7 w 12188819"/>
              <a:gd name="connsiteY935" fmla="*/ 6424480 h 6857997"/>
              <a:gd name="connsiteX936" fmla="*/ 5757199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3141659 h 6857997"/>
              <a:gd name="connsiteX1154" fmla="*/ 6095995 w 12188819"/>
              <a:gd name="connsiteY1154" fmla="*/ 3141659 h 6857997"/>
              <a:gd name="connsiteX1155" fmla="*/ 6095995 w 12188819"/>
              <a:gd name="connsiteY1155" fmla="*/ 6237284 h 6857997"/>
              <a:gd name="connsiteX1156" fmla="*/ 12188819 w 12188819"/>
              <a:gd name="connsiteY1156" fmla="*/ 6237284 h 6857997"/>
              <a:gd name="connsiteX1157" fmla="*/ 12188819 w 12188819"/>
              <a:gd name="connsiteY1157" fmla="*/ 6857997 h 6857997"/>
              <a:gd name="connsiteX1158" fmla="*/ 0 w 12188819"/>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3" y="6462728"/>
                </a:cubicBezTo>
                <a:cubicBezTo>
                  <a:pt x="6033753" y="6467495"/>
                  <a:pt x="6035359" y="6475065"/>
                  <a:pt x="6035359" y="6485436"/>
                </a:cubicBezTo>
                <a:cubicBezTo>
                  <a:pt x="6035359" y="6494459"/>
                  <a:pt x="6033753" y="6501203"/>
                  <a:pt x="6030543" y="6505667"/>
                </a:cubicBezTo>
                <a:cubicBezTo>
                  <a:pt x="6027331" y="6510132"/>
                  <a:pt x="6023538" y="6512365"/>
                  <a:pt x="6019164" y="6512365"/>
                </a:cubicBezTo>
                <a:cubicBezTo>
                  <a:pt x="6014743" y="6512365"/>
                  <a:pt x="6010869" y="6510039"/>
                  <a:pt x="6007541" y="6505388"/>
                </a:cubicBezTo>
                <a:cubicBezTo>
                  <a:pt x="6004213" y="6500737"/>
                  <a:pt x="6002550" y="6493622"/>
                  <a:pt x="6002550" y="6484041"/>
                </a:cubicBezTo>
                <a:cubicBezTo>
                  <a:pt x="6002550" y="6474227"/>
                  <a:pt x="6004109" y="6467030"/>
                  <a:pt x="6007227" y="6462449"/>
                </a:cubicBezTo>
                <a:cubicBezTo>
                  <a:pt x="6010345" y="6457868"/>
                  <a:pt x="6014068" y="6455577"/>
                  <a:pt x="6018396" y="6455577"/>
                </a:cubicBezTo>
                <a:close/>
                <a:moveTo>
                  <a:pt x="5829561" y="6455577"/>
                </a:moveTo>
                <a:cubicBezTo>
                  <a:pt x="5834723" y="6455577"/>
                  <a:pt x="5839048" y="6457917"/>
                  <a:pt x="5842536" y="6462597"/>
                </a:cubicBezTo>
                <a:cubicBezTo>
                  <a:pt x="5846024" y="6467277"/>
                  <a:pt x="5847769" y="6474390"/>
                  <a:pt x="5847769" y="6483936"/>
                </a:cubicBezTo>
                <a:cubicBezTo>
                  <a:pt x="5847769" y="6493436"/>
                  <a:pt x="5846036" y="6500548"/>
                  <a:pt x="5842571" y="6505275"/>
                </a:cubicBezTo>
                <a:cubicBezTo>
                  <a:pt x="5839106" y="6510001"/>
                  <a:pt x="5834956" y="6512365"/>
                  <a:pt x="5830118" y="6512365"/>
                </a:cubicBezTo>
                <a:cubicBezTo>
                  <a:pt x="5824957" y="6512365"/>
                  <a:pt x="5820630" y="6510025"/>
                  <a:pt x="5817142" y="6505345"/>
                </a:cubicBezTo>
                <a:cubicBezTo>
                  <a:pt x="5813655" y="6500665"/>
                  <a:pt x="5811910" y="6493529"/>
                  <a:pt x="5811910" y="6483936"/>
                </a:cubicBezTo>
                <a:cubicBezTo>
                  <a:pt x="5811910" y="6474437"/>
                  <a:pt x="5813631" y="6467335"/>
                  <a:pt x="5817072" y="6462632"/>
                </a:cubicBezTo>
                <a:cubicBezTo>
                  <a:pt x="5820514" y="6457929"/>
                  <a:pt x="5824677" y="6455577"/>
                  <a:pt x="5829561"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4"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9"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4"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3" y="6456066"/>
                  <a:pt x="5903293" y="6456752"/>
                  <a:pt x="5905270" y="6458126"/>
                </a:cubicBezTo>
                <a:cubicBezTo>
                  <a:pt x="5907247"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7"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6" y="6506353"/>
                  <a:pt x="5809503" y="6512888"/>
                </a:cubicBezTo>
                <a:cubicBezTo>
                  <a:pt x="5814922"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2" y="6418742"/>
                </a:moveTo>
                <a:lnTo>
                  <a:pt x="6034362"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4"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2" y="6416998"/>
                </a:moveTo>
                <a:cubicBezTo>
                  <a:pt x="5954503" y="6416998"/>
                  <a:pt x="5951368" y="6417766"/>
                  <a:pt x="5948872" y="6419301"/>
                </a:cubicBezTo>
                <a:cubicBezTo>
                  <a:pt x="5946378" y="6420835"/>
                  <a:pt x="5944525" y="6423056"/>
                  <a:pt x="5943312" y="6425963"/>
                </a:cubicBezTo>
                <a:cubicBezTo>
                  <a:pt x="5942099" y="6428870"/>
                  <a:pt x="5941493" y="6433230"/>
                  <a:pt x="5941493" y="6439044"/>
                </a:cubicBezTo>
                <a:lnTo>
                  <a:pt x="5941493" y="6446927"/>
                </a:lnTo>
                <a:lnTo>
                  <a:pt x="5932355" y="6446927"/>
                </a:lnTo>
                <a:lnTo>
                  <a:pt x="5932355"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1"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2"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2" y="6418918"/>
                  <a:pt x="5737087" y="6422897"/>
                </a:cubicBezTo>
                <a:cubicBezTo>
                  <a:pt x="5731081" y="6426876"/>
                  <a:pt x="5726322" y="6432763"/>
                  <a:pt x="5722806" y="6440559"/>
                </a:cubicBezTo>
                <a:cubicBezTo>
                  <a:pt x="5719292" y="6448354"/>
                  <a:pt x="5717535" y="6457883"/>
                  <a:pt x="5717535" y="6469146"/>
                </a:cubicBezTo>
                <a:cubicBezTo>
                  <a:pt x="5717535" y="6480548"/>
                  <a:pt x="5719290" y="6490438"/>
                  <a:pt x="5722801" y="6498815"/>
                </a:cubicBezTo>
                <a:cubicBezTo>
                  <a:pt x="5726313" y="6507192"/>
                  <a:pt x="5730824" y="6513277"/>
                  <a:pt x="5736336" y="6517070"/>
                </a:cubicBezTo>
                <a:cubicBezTo>
                  <a:pt x="5741847" y="6520863"/>
                  <a:pt x="5748486" y="6522759"/>
                  <a:pt x="5756253" y="6522759"/>
                </a:cubicBezTo>
                <a:cubicBezTo>
                  <a:pt x="5765090" y="6522759"/>
                  <a:pt x="5772590" y="6519934"/>
                  <a:pt x="5778752" y="6514283"/>
                </a:cubicBezTo>
                <a:cubicBezTo>
                  <a:pt x="5784914" y="6508632"/>
                  <a:pt x="5789229" y="6500063"/>
                  <a:pt x="5791693" y="6488575"/>
                </a:cubicBezTo>
                <a:lnTo>
                  <a:pt x="5780530" y="6485157"/>
                </a:lnTo>
                <a:cubicBezTo>
                  <a:pt x="5779042" y="6493901"/>
                  <a:pt x="5776101" y="6500423"/>
                  <a:pt x="5771705" y="6504726"/>
                </a:cubicBezTo>
                <a:cubicBezTo>
                  <a:pt x="5767311" y="6509028"/>
                  <a:pt x="5762090" y="6511179"/>
                  <a:pt x="5756045" y="6511179"/>
                </a:cubicBezTo>
                <a:cubicBezTo>
                  <a:pt x="5747858" y="6511179"/>
                  <a:pt x="5741301" y="6507676"/>
                  <a:pt x="5736370" y="6500671"/>
                </a:cubicBezTo>
                <a:cubicBezTo>
                  <a:pt x="5731441" y="6493665"/>
                  <a:pt x="5728975" y="6483157"/>
                  <a:pt x="5728975" y="6469145"/>
                </a:cubicBezTo>
                <a:cubicBezTo>
                  <a:pt x="5728975" y="6459883"/>
                  <a:pt x="5730198" y="6452226"/>
                  <a:pt x="5732644"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3141659"/>
                </a:lnTo>
                <a:lnTo>
                  <a:pt x="6095995" y="3141659"/>
                </a:lnTo>
                <a:lnTo>
                  <a:pt x="6095995" y="6237284"/>
                </a:lnTo>
                <a:lnTo>
                  <a:pt x="12188819" y="6237284"/>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4969342"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0" name="Textplatzhalter 2"/>
          <p:cNvSpPr>
            <a:spLocks noGrp="1"/>
          </p:cNvSpPr>
          <p:nvPr userDrawn="1">
            <p:ph type="body" sz="quarter" idx="11" hasCustomPrompt="1"/>
          </p:nvPr>
        </p:nvSpPr>
        <p:spPr>
          <a:xfrm>
            <a:off x="6395432" y="3994289"/>
            <a:ext cx="4956781" cy="1980000"/>
          </a:xfrm>
        </p:spPr>
        <p:txBody>
          <a:bodyPr/>
          <a:lstStyle>
            <a:lvl1pPr>
              <a:defRPr baseline="0">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userDrawn="1">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31504532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510315" cy="3590562"/>
            <a:chOff x="4" y="3106800"/>
            <a:chExt cx="11510315" cy="3590562"/>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Bildplatzhalter 13">
            <a:extLst>
              <a:ext uri="{FF2B5EF4-FFF2-40B4-BE49-F238E27FC236}">
                <a16:creationId xmlns:a16="http://schemas.microsoft.com/office/drawing/2014/main" id="{B74CB024-9D05-4A4D-A9E1-BE90ECA58008}"/>
              </a:ext>
            </a:extLst>
          </p:cNvPr>
          <p:cNvSpPr>
            <a:spLocks noGrp="1"/>
          </p:cNvSpPr>
          <p:nvPr>
            <p:ph type="pic" sz="quarter" idx="14"/>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2 w 12188819"/>
              <a:gd name="connsiteY231" fmla="*/ 6462728 h 6857997"/>
              <a:gd name="connsiteX232" fmla="*/ 6035359 w 12188819"/>
              <a:gd name="connsiteY232" fmla="*/ 6485436 h 6857997"/>
              <a:gd name="connsiteX233" fmla="*/ 6030542 w 12188819"/>
              <a:gd name="connsiteY233" fmla="*/ 6505667 h 6857997"/>
              <a:gd name="connsiteX234" fmla="*/ 6019164 w 12188819"/>
              <a:gd name="connsiteY234" fmla="*/ 6512365 h 6857997"/>
              <a:gd name="connsiteX235" fmla="*/ 6007542 w 12188819"/>
              <a:gd name="connsiteY235" fmla="*/ 6505388 h 6857997"/>
              <a:gd name="connsiteX236" fmla="*/ 6002549 w 12188819"/>
              <a:gd name="connsiteY236" fmla="*/ 6484041 h 6857997"/>
              <a:gd name="connsiteX237" fmla="*/ 6007227 w 12188819"/>
              <a:gd name="connsiteY237" fmla="*/ 6462449 h 6857997"/>
              <a:gd name="connsiteX238" fmla="*/ 6018396 w 12188819"/>
              <a:gd name="connsiteY238" fmla="*/ 6455577 h 6857997"/>
              <a:gd name="connsiteX239" fmla="*/ 5829560 w 12188819"/>
              <a:gd name="connsiteY239" fmla="*/ 6455577 h 6857997"/>
              <a:gd name="connsiteX240" fmla="*/ 5842536 w 12188819"/>
              <a:gd name="connsiteY240" fmla="*/ 6462597 h 6857997"/>
              <a:gd name="connsiteX241" fmla="*/ 5847768 w 12188819"/>
              <a:gd name="connsiteY241" fmla="*/ 6483936 h 6857997"/>
              <a:gd name="connsiteX242" fmla="*/ 5842571 w 12188819"/>
              <a:gd name="connsiteY242" fmla="*/ 6505275 h 6857997"/>
              <a:gd name="connsiteX243" fmla="*/ 5830118 w 12188819"/>
              <a:gd name="connsiteY243" fmla="*/ 6512365 h 6857997"/>
              <a:gd name="connsiteX244" fmla="*/ 5817143 w 12188819"/>
              <a:gd name="connsiteY244" fmla="*/ 6505345 h 6857997"/>
              <a:gd name="connsiteX245" fmla="*/ 5811910 w 12188819"/>
              <a:gd name="connsiteY245" fmla="*/ 6483936 h 6857997"/>
              <a:gd name="connsiteX246" fmla="*/ 5817072 w 12188819"/>
              <a:gd name="connsiteY246" fmla="*/ 6462632 h 6857997"/>
              <a:gd name="connsiteX247" fmla="*/ 5829560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3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2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3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69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4 w 12188819"/>
              <a:gd name="connsiteY428" fmla="*/ 6455019 h 6857997"/>
              <a:gd name="connsiteX429" fmla="*/ 5801377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1 w 12188819"/>
              <a:gd name="connsiteY808" fmla="*/ 6418742 h 6857997"/>
              <a:gd name="connsiteX809" fmla="*/ 6034361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1 w 12188819"/>
              <a:gd name="connsiteY880" fmla="*/ 6416998 h 6857997"/>
              <a:gd name="connsiteX881" fmla="*/ 5948873 w 12188819"/>
              <a:gd name="connsiteY881" fmla="*/ 6419301 h 6857997"/>
              <a:gd name="connsiteX882" fmla="*/ 5943311 w 12188819"/>
              <a:gd name="connsiteY882" fmla="*/ 6425963 h 6857997"/>
              <a:gd name="connsiteX883" fmla="*/ 5941493 w 12188819"/>
              <a:gd name="connsiteY883" fmla="*/ 6439044 h 6857997"/>
              <a:gd name="connsiteX884" fmla="*/ 5941493 w 12188819"/>
              <a:gd name="connsiteY884" fmla="*/ 6446927 h 6857997"/>
              <a:gd name="connsiteX885" fmla="*/ 5932354 w 12188819"/>
              <a:gd name="connsiteY885" fmla="*/ 6446927 h 6857997"/>
              <a:gd name="connsiteX886" fmla="*/ 5932354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9 w 12188819"/>
              <a:gd name="connsiteY891" fmla="*/ 6456694 h 6857997"/>
              <a:gd name="connsiteX892" fmla="*/ 5963609 w 12188819"/>
              <a:gd name="connsiteY892" fmla="*/ 6446927 h 6857997"/>
              <a:gd name="connsiteX893" fmla="*/ 5951748 w 12188819"/>
              <a:gd name="connsiteY893" fmla="*/ 6446927 h 6857997"/>
              <a:gd name="connsiteX894" fmla="*/ 5951748 w 12188819"/>
              <a:gd name="connsiteY894" fmla="*/ 6440090 h 6857997"/>
              <a:gd name="connsiteX895" fmla="*/ 5953737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1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8 w 12188819"/>
              <a:gd name="connsiteY916" fmla="*/ 6416929 h 6857997"/>
              <a:gd name="connsiteX917" fmla="*/ 5737087 w 12188819"/>
              <a:gd name="connsiteY917" fmla="*/ 6422897 h 6857997"/>
              <a:gd name="connsiteX918" fmla="*/ 5722806 w 12188819"/>
              <a:gd name="connsiteY918" fmla="*/ 6440559 h 6857997"/>
              <a:gd name="connsiteX919" fmla="*/ 5717534 w 12188819"/>
              <a:gd name="connsiteY919" fmla="*/ 6469146 h 6857997"/>
              <a:gd name="connsiteX920" fmla="*/ 5722801 w 12188819"/>
              <a:gd name="connsiteY920" fmla="*/ 6498815 h 6857997"/>
              <a:gd name="connsiteX921" fmla="*/ 5736335 w 12188819"/>
              <a:gd name="connsiteY921" fmla="*/ 6517070 h 6857997"/>
              <a:gd name="connsiteX922" fmla="*/ 5756253 w 12188819"/>
              <a:gd name="connsiteY922" fmla="*/ 6522759 h 6857997"/>
              <a:gd name="connsiteX923" fmla="*/ 5778751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4 w 12188819"/>
              <a:gd name="connsiteY927" fmla="*/ 6511179 h 6857997"/>
              <a:gd name="connsiteX928" fmla="*/ 5736370 w 12188819"/>
              <a:gd name="connsiteY928" fmla="*/ 6500671 h 6857997"/>
              <a:gd name="connsiteX929" fmla="*/ 5728975 w 12188819"/>
              <a:gd name="connsiteY929" fmla="*/ 6469145 h 6857997"/>
              <a:gd name="connsiteX930" fmla="*/ 5732643 w 12188819"/>
              <a:gd name="connsiteY930" fmla="*/ 6446175 h 6857997"/>
              <a:gd name="connsiteX931" fmla="*/ 5742459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8 w 12188819"/>
              <a:gd name="connsiteY935" fmla="*/ 6424480 h 6857997"/>
              <a:gd name="connsiteX936" fmla="*/ 5757198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6857997 h 6857997"/>
              <a:gd name="connsiteX1154" fmla="*/ 0 w 12188819"/>
              <a:gd name="connsiteY1154" fmla="*/ 6857997 h 6857997"/>
              <a:gd name="connsiteX1155" fmla="*/ 0 w 12188819"/>
              <a:gd name="connsiteY1155" fmla="*/ 6237284 h 6857997"/>
              <a:gd name="connsiteX1156" fmla="*/ 6095994 w 12188819"/>
              <a:gd name="connsiteY1156" fmla="*/ 6237284 h 6857997"/>
              <a:gd name="connsiteX1157" fmla="*/ 6095994 w 12188819"/>
              <a:gd name="connsiteY1157" fmla="*/ 3141659 h 6857997"/>
              <a:gd name="connsiteX1158" fmla="*/ 0 w 12188819"/>
              <a:gd name="connsiteY1158" fmla="*/ 3141659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8"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2"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7" y="6512365"/>
                  <a:pt x="5820630" y="6510025"/>
                  <a:pt x="5817143"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2"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2"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4"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9"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1"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6" y="6445252"/>
                  <a:pt x="5900527" y="6445252"/>
                </a:cubicBezTo>
                <a:close/>
                <a:moveTo>
                  <a:pt x="5829839" y="6445252"/>
                </a:moveTo>
                <a:cubicBezTo>
                  <a:pt x="5821608" y="6445252"/>
                  <a:pt x="5814806" y="6448508"/>
                  <a:pt x="5809434" y="6455019"/>
                </a:cubicBezTo>
                <a:cubicBezTo>
                  <a:pt x="5804062" y="6461531"/>
                  <a:pt x="5801377" y="6471181"/>
                  <a:pt x="5801377" y="6483971"/>
                </a:cubicBezTo>
                <a:cubicBezTo>
                  <a:pt x="5801377" y="6496714"/>
                  <a:pt x="5804085" y="6506353"/>
                  <a:pt x="5809503" y="6512888"/>
                </a:cubicBezTo>
                <a:cubicBezTo>
                  <a:pt x="5814921" y="6519422"/>
                  <a:pt x="5821701" y="6522690"/>
                  <a:pt x="5829839" y="6522690"/>
                </a:cubicBezTo>
                <a:cubicBezTo>
                  <a:pt x="5838119" y="6522690"/>
                  <a:pt x="5844931" y="6519434"/>
                  <a:pt x="5850280" y="6512923"/>
                </a:cubicBezTo>
                <a:cubicBezTo>
                  <a:pt x="5855629"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4" y="6416998"/>
                  <a:pt x="5951368" y="6417766"/>
                  <a:pt x="5948873"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9" y="6456694"/>
                </a:lnTo>
                <a:lnTo>
                  <a:pt x="5963609" y="6446927"/>
                </a:lnTo>
                <a:lnTo>
                  <a:pt x="5951748" y="6446927"/>
                </a:lnTo>
                <a:lnTo>
                  <a:pt x="5951748" y="6440090"/>
                </a:lnTo>
                <a:cubicBezTo>
                  <a:pt x="5951748" y="6435579"/>
                  <a:pt x="5952411" y="6432521"/>
                  <a:pt x="5953737"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8" y="6520863"/>
                  <a:pt x="5748486" y="6522759"/>
                  <a:pt x="5756253" y="6522759"/>
                </a:cubicBezTo>
                <a:cubicBezTo>
                  <a:pt x="5765090" y="6522759"/>
                  <a:pt x="5772590" y="6519934"/>
                  <a:pt x="5778751" y="6514283"/>
                </a:cubicBezTo>
                <a:cubicBezTo>
                  <a:pt x="5784915"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2" y="6493665"/>
                  <a:pt x="5728975" y="6483157"/>
                  <a:pt x="5728975" y="6469145"/>
                </a:cubicBezTo>
                <a:cubicBezTo>
                  <a:pt x="5728975" y="6459883"/>
                  <a:pt x="5730198" y="6452226"/>
                  <a:pt x="5732643" y="6446175"/>
                </a:cubicBezTo>
                <a:cubicBezTo>
                  <a:pt x="5735088" y="6440123"/>
                  <a:pt x="5738360" y="6435666"/>
                  <a:pt x="5742459"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8" y="6424480"/>
                </a:cubicBezTo>
                <a:cubicBezTo>
                  <a:pt x="5772259" y="6419446"/>
                  <a:pt x="5765298" y="6416929"/>
                  <a:pt x="5757198"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lnTo>
                  <a:pt x="0" y="6237284"/>
                </a:lnTo>
                <a:lnTo>
                  <a:pt x="6095994" y="6237284"/>
                </a:lnTo>
                <a:lnTo>
                  <a:pt x="6095994" y="3141659"/>
                </a:lnTo>
                <a:lnTo>
                  <a:pt x="0" y="3141659"/>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1317283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277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Text (righ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655194A6-C5F3-4B72-BA38-14EABC8887B2}"/>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en-US"/>
              <a:t>Click icon to add picture</a:t>
            </a:r>
            <a:endParaRPr lang="de-CH" noProof="0"/>
          </a:p>
        </p:txBody>
      </p:sp>
      <p:sp>
        <p:nvSpPr>
          <p:cNvPr id="4" name="Textplatzhalter 3"/>
          <p:cNvSpPr>
            <a:spLocks noGrp="1"/>
          </p:cNvSpPr>
          <p:nvPr>
            <p:ph type="body" sz="quarter" idx="10" hasCustomPrompt="1"/>
          </p:nvPr>
        </p:nvSpPr>
        <p:spPr>
          <a:xfrm>
            <a:off x="6211925"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34535027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4B8017E0-7B42-4795-A00A-DFBF191C97A1}"/>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a:p>
        </p:txBody>
      </p:sp>
      <p:sp>
        <p:nvSpPr>
          <p:cNvPr id="4" name="Textplatzhalter 3"/>
          <p:cNvSpPr>
            <a:spLocks noGrp="1"/>
          </p:cNvSpPr>
          <p:nvPr>
            <p:ph type="body" sz="quarter" idx="10" hasCustomPrompt="1"/>
          </p:nvPr>
        </p:nvSpPr>
        <p:spPr>
          <a:xfrm>
            <a:off x="848931"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3728015904"/>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reen, Title, Text">
    <p:bg>
      <p:bgPr>
        <a:solidFill>
          <a:srgbClr val="66CC33"/>
        </a:solidFill>
        <a:effectLst/>
      </p:bgPr>
    </p:bg>
    <p:spTree>
      <p:nvGrpSpPr>
        <p:cNvPr id="1" name=""/>
        <p:cNvGrpSpPr/>
        <p:nvPr/>
      </p:nvGrpSpPr>
      <p:grpSpPr>
        <a:xfrm>
          <a:off x="0" y="0"/>
          <a:ext cx="0" cy="0"/>
          <a:chOff x="0" y="0"/>
          <a:chExt cx="0" cy="0"/>
        </a:xfrm>
      </p:grpSpPr>
      <p:sp>
        <p:nvSpPr>
          <p:cNvPr id="10"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3" name="Textplatzhalter 3"/>
          <p:cNvSpPr>
            <a:spLocks noGrp="1"/>
          </p:cNvSpPr>
          <p:nvPr>
            <p:ph type="body" sz="quarter" idx="10" hasCustomPrompt="1"/>
          </p:nvPr>
        </p:nvSpPr>
        <p:spPr>
          <a:xfrm>
            <a:off x="839098" y="907362"/>
            <a:ext cx="10512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baseline="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pic>
        <p:nvPicPr>
          <p:cNvPr id="5" name="Grafik 4">
            <a:extLst>
              <a:ext uri="{FF2B5EF4-FFF2-40B4-BE49-F238E27FC236}">
                <a16:creationId xmlns:a16="http://schemas.microsoft.com/office/drawing/2014/main" id="{AF036631-25D0-4B0E-A1BD-EBA4A12F99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12245" y="6355559"/>
            <a:ext cx="1380445" cy="304800"/>
          </a:xfrm>
          <a:prstGeom prst="rect">
            <a:avLst/>
          </a:prstGeom>
        </p:spPr>
      </p:pic>
    </p:spTree>
    <p:extLst>
      <p:ext uri="{BB962C8B-B14F-4D97-AF65-F5344CB8AC3E}">
        <p14:creationId xmlns:p14="http://schemas.microsoft.com/office/powerpoint/2010/main" val="4351370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45040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76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US">
                <a:solidFill>
                  <a:schemeClr val="bg1"/>
                </a:solidFill>
              </a:rPr>
              <a:t>www.sensirion.com</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10900" y="2464725"/>
            <a:ext cx="6961858" cy="1202400"/>
          </a:xfrm>
          <a:prstGeom prst="rect">
            <a:avLst/>
          </a:prstGeom>
        </p:spPr>
      </p:pic>
    </p:spTree>
    <p:extLst>
      <p:ext uri="{BB962C8B-B14F-4D97-AF65-F5344CB8AC3E}">
        <p14:creationId xmlns:p14="http://schemas.microsoft.com/office/powerpoint/2010/main" val="35440007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Leer mit Titel ">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auto">
          <a:xfrm>
            <a:off x="820937" y="298152"/>
            <a:ext cx="10556148"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Click to edit Master title style</a:t>
            </a:r>
          </a:p>
        </p:txBody>
      </p:sp>
      <p:sp>
        <p:nvSpPr>
          <p:cNvPr id="5" name="Slide Number Placeholder 5"/>
          <p:cNvSpPr>
            <a:spLocks noGrp="1"/>
          </p:cNvSpPr>
          <p:nvPr>
            <p:ph type="sldNum" sz="quarter" idx="4"/>
          </p:nvPr>
        </p:nvSpPr>
        <p:spPr>
          <a:xfrm>
            <a:off x="11630025" y="6403975"/>
            <a:ext cx="466725" cy="365125"/>
          </a:xfrm>
          <a:prstGeom prst="rect">
            <a:avLst/>
          </a:prstGeom>
        </p:spPr>
        <p:txBody>
          <a:bodyPr vert="horz" lIns="91440" tIns="45720" rIns="91440" bIns="45720" rtlCol="0" anchor="ctr"/>
          <a:lstStyle>
            <a:lvl1pPr algn="ctr">
              <a:defRPr sz="1200">
                <a:solidFill>
                  <a:schemeClr val="tx1"/>
                </a:solidFill>
              </a:defRPr>
            </a:lvl1pPr>
          </a:lstStyle>
          <a:p>
            <a:fld id="{553BBF28-59B0-4969-8EAE-E099AE92A1EC}"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157527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2" name="Picture 3" descr="C:\Dokumente und Einstellungen\TLoher\Eigene Dateien\titelfolie_2.jpg"/>
          <p:cNvPicPr>
            <a:picLocks noChangeAspect="1" noChangeArrowheads="1"/>
          </p:cNvPicPr>
          <p:nvPr/>
        </p:nvPicPr>
        <p:blipFill>
          <a:blip r:embed="rId2" cstate="print"/>
          <a:srcRect/>
          <a:stretch>
            <a:fillRect/>
          </a:stretch>
        </p:blipFill>
        <p:spPr bwMode="auto">
          <a:xfrm>
            <a:off x="1" y="-71438"/>
            <a:ext cx="12240684" cy="6977063"/>
          </a:xfrm>
          <a:prstGeom prst="rect">
            <a:avLst/>
          </a:prstGeom>
          <a:noFill/>
          <a:ln w="9525">
            <a:noFill/>
            <a:miter lim="800000"/>
            <a:headEnd/>
            <a:tailEnd/>
          </a:ln>
        </p:spPr>
      </p:pic>
      <p:pic>
        <p:nvPicPr>
          <p:cNvPr id="3" name="Picture 4" descr="C:\Dokumente und Einstellungen\TLoher\Eigene Dateien\Sensirion_white_RGB.png"/>
          <p:cNvPicPr>
            <a:picLocks noChangeAspect="1" noChangeArrowheads="1"/>
          </p:cNvPicPr>
          <p:nvPr/>
        </p:nvPicPr>
        <p:blipFill>
          <a:blip r:embed="rId3" cstate="print"/>
          <a:srcRect/>
          <a:stretch>
            <a:fillRect/>
          </a:stretch>
        </p:blipFill>
        <p:spPr bwMode="auto">
          <a:xfrm>
            <a:off x="1278467" y="120650"/>
            <a:ext cx="9611784" cy="5094288"/>
          </a:xfrm>
          <a:prstGeom prst="rect">
            <a:avLst/>
          </a:prstGeom>
          <a:noFill/>
          <a:ln w="9525">
            <a:noFill/>
            <a:miter lim="800000"/>
            <a:headEnd/>
            <a:tailEnd/>
          </a:ln>
        </p:spPr>
      </p:pic>
      <p:pic>
        <p:nvPicPr>
          <p:cNvPr id="4" name="Picture 4"/>
          <p:cNvPicPr>
            <a:picLocks noChangeAspect="1" noChangeArrowheads="1"/>
          </p:cNvPicPr>
          <p:nvPr/>
        </p:nvPicPr>
        <p:blipFill>
          <a:blip r:embed="rId4" cstate="print"/>
          <a:srcRect/>
          <a:stretch>
            <a:fillRect/>
          </a:stretch>
        </p:blipFill>
        <p:spPr bwMode="auto">
          <a:xfrm>
            <a:off x="9632951" y="6326188"/>
            <a:ext cx="1894416" cy="317500"/>
          </a:xfrm>
          <a:prstGeom prst="rect">
            <a:avLst/>
          </a:prstGeom>
          <a:noFill/>
          <a:ln w="76200">
            <a:noFill/>
            <a:round/>
            <a:headEnd/>
            <a:tailEnd/>
          </a:ln>
        </p:spPr>
      </p:pic>
    </p:spTree>
    <p:extLst>
      <p:ext uri="{BB962C8B-B14F-4D97-AF65-F5344CB8AC3E}">
        <p14:creationId xmlns:p14="http://schemas.microsoft.com/office/powerpoint/2010/main" val="36124813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0443833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Tree>
    <p:extLst>
      <p:ext uri="{BB962C8B-B14F-4D97-AF65-F5344CB8AC3E}">
        <p14:creationId xmlns:p14="http://schemas.microsoft.com/office/powerpoint/2010/main" val="41329700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670985" y="1835150"/>
            <a:ext cx="5319183"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193367" y="1835150"/>
            <a:ext cx="5321300"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4432502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76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US">
                <a:solidFill>
                  <a:schemeClr val="bg1"/>
                </a:solidFill>
              </a:rPr>
              <a:t>www.sensirion.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0900" y="2464725"/>
            <a:ext cx="6961858" cy="1202400"/>
          </a:xfrm>
          <a:prstGeom prst="rect">
            <a:avLst/>
          </a:prstGeom>
        </p:spPr>
      </p:pic>
    </p:spTree>
    <p:extLst>
      <p:ext uri="{BB962C8B-B14F-4D97-AF65-F5344CB8AC3E}">
        <p14:creationId xmlns:p14="http://schemas.microsoft.com/office/powerpoint/2010/main" val="218556390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317822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Tree>
    <p:extLst>
      <p:ext uri="{BB962C8B-B14F-4D97-AF65-F5344CB8AC3E}">
        <p14:creationId xmlns:p14="http://schemas.microsoft.com/office/powerpoint/2010/main" val="35170764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94030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Tree>
    <p:extLst>
      <p:ext uri="{BB962C8B-B14F-4D97-AF65-F5344CB8AC3E}">
        <p14:creationId xmlns:p14="http://schemas.microsoft.com/office/powerpoint/2010/main" val="106117425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Tree>
    <p:extLst>
      <p:ext uri="{BB962C8B-B14F-4D97-AF65-F5344CB8AC3E}">
        <p14:creationId xmlns:p14="http://schemas.microsoft.com/office/powerpoint/2010/main" val="10360387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3922305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05334" y="287338"/>
            <a:ext cx="2709333" cy="5865812"/>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670984" y="287338"/>
            <a:ext cx="7931149" cy="5865812"/>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06930458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670984" y="287338"/>
            <a:ext cx="10843683" cy="647700"/>
          </a:xfrm>
        </p:spPr>
        <p:txBody>
          <a:bodyPr/>
          <a:lstStyle/>
          <a:p>
            <a:r>
              <a:rPr lang="de-DE"/>
              <a:t>Titelmasterformat durch Klicken bearbeiten</a:t>
            </a:r>
            <a:endParaRPr lang="de-CH"/>
          </a:p>
        </p:txBody>
      </p:sp>
      <p:sp>
        <p:nvSpPr>
          <p:cNvPr id="3" name="Tabellenplatzhalter 2"/>
          <p:cNvSpPr>
            <a:spLocks noGrp="1"/>
          </p:cNvSpPr>
          <p:nvPr>
            <p:ph type="tbl" idx="1"/>
          </p:nvPr>
        </p:nvSpPr>
        <p:spPr>
          <a:xfrm>
            <a:off x="670984" y="1835150"/>
            <a:ext cx="10843683" cy="4318000"/>
          </a:xfrm>
        </p:spPr>
        <p:txBody>
          <a:bodyPr/>
          <a:lstStyle/>
          <a:p>
            <a:pPr lvl="0"/>
            <a:r>
              <a:rPr lang="de-DE" noProof="0"/>
              <a:t>Tabelle durch Klicken auf Symbol hinzufügen</a:t>
            </a:r>
            <a:endParaRPr lang="de-CH" noProof="0"/>
          </a:p>
        </p:txBody>
      </p:sp>
    </p:spTree>
    <p:extLst>
      <p:ext uri="{BB962C8B-B14F-4D97-AF65-F5344CB8AC3E}">
        <p14:creationId xmlns:p14="http://schemas.microsoft.com/office/powerpoint/2010/main" val="31190448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ext mit Bild (horizonta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3608388"/>
            <a:ext cx="10850033" cy="25574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a:xfrm>
            <a:off x="3983766" y="6381751"/>
            <a:ext cx="4224469" cy="201613"/>
          </a:xfrm>
          <a:prstGeom prst="rect">
            <a:avLst/>
          </a:prstGeom>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4" name="Bildplatzhalter 3"/>
          <p:cNvSpPr>
            <a:spLocks noGrp="1"/>
          </p:cNvSpPr>
          <p:nvPr>
            <p:ph type="pic" sz="quarter" idx="12"/>
          </p:nvPr>
        </p:nvSpPr>
        <p:spPr>
          <a:xfrm>
            <a:off x="670985" y="1268413"/>
            <a:ext cx="10850033" cy="1981200"/>
          </a:xfrm>
        </p:spPr>
        <p:txBody>
          <a:bodyPr/>
          <a:lstStyle/>
          <a:p>
            <a:r>
              <a:rPr lang="en-US" noProof="0"/>
              <a:t>Click icon to add picture</a:t>
            </a:r>
          </a:p>
        </p:txBody>
      </p:sp>
    </p:spTree>
    <p:extLst>
      <p:ext uri="{BB962C8B-B14F-4D97-AF65-F5344CB8AC3E}">
        <p14:creationId xmlns:p14="http://schemas.microsoft.com/office/powerpoint/2010/main" val="19158473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ext mit Bild (vertika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6" y="1268413"/>
            <a:ext cx="5329004" cy="48974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a:xfrm>
            <a:off x="3983766" y="6381751"/>
            <a:ext cx="4224469" cy="201613"/>
          </a:xfrm>
          <a:prstGeom prst="rect">
            <a:avLst/>
          </a:prstGeom>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4" name="Bildplatzhalter 3"/>
          <p:cNvSpPr>
            <a:spLocks noGrp="1"/>
          </p:cNvSpPr>
          <p:nvPr>
            <p:ph type="pic" sz="quarter" idx="12"/>
          </p:nvPr>
        </p:nvSpPr>
        <p:spPr>
          <a:xfrm>
            <a:off x="6096001" y="1268412"/>
            <a:ext cx="5425017" cy="4897437"/>
          </a:xfrm>
        </p:spPr>
        <p:txBody>
          <a:bodyPr/>
          <a:lstStyle/>
          <a:p>
            <a:r>
              <a:rPr lang="en-US" noProof="0"/>
              <a:t>Click icon to add picture</a:t>
            </a:r>
          </a:p>
        </p:txBody>
      </p:sp>
    </p:spTree>
    <p:extLst>
      <p:ext uri="{BB962C8B-B14F-4D97-AF65-F5344CB8AC3E}">
        <p14:creationId xmlns:p14="http://schemas.microsoft.com/office/powerpoint/2010/main" val="1069131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eer mit Titel ">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auto">
          <a:xfrm>
            <a:off x="820937" y="298152"/>
            <a:ext cx="10556148"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Click to edit Master title style</a:t>
            </a:r>
          </a:p>
        </p:txBody>
      </p:sp>
      <p:sp>
        <p:nvSpPr>
          <p:cNvPr id="4" name="Slide Number Placeholder 5"/>
          <p:cNvSpPr>
            <a:spLocks noGrp="1"/>
          </p:cNvSpPr>
          <p:nvPr>
            <p:ph type="sldNum" sz="quarter" idx="4"/>
          </p:nvPr>
        </p:nvSpPr>
        <p:spPr>
          <a:xfrm>
            <a:off x="11724275" y="6512924"/>
            <a:ext cx="466725" cy="365125"/>
          </a:xfrm>
          <a:prstGeom prst="rect">
            <a:avLst/>
          </a:prstGeom>
        </p:spPr>
        <p:txBody>
          <a:bodyPr vert="horz" lIns="91440" tIns="45720" rIns="91440" bIns="45720" rtlCol="0" anchor="ctr"/>
          <a:lstStyle>
            <a:lvl1pPr algn="ctr">
              <a:defRPr sz="1100">
                <a:solidFill>
                  <a:schemeClr val="tx1"/>
                </a:solidFill>
              </a:defRPr>
            </a:lvl1pPr>
          </a:lstStyle>
          <a:p>
            <a:fld id="{553BBF28-59B0-4969-8EAE-E099AE92A1EC}"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7005294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el">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3983766" y="6381751"/>
            <a:ext cx="4224469" cy="201613"/>
          </a:xfrm>
          <a:prstGeom prst="rect">
            <a:avLst/>
          </a:prstGeom>
        </p:spPr>
        <p:txBody>
          <a:bodyPr/>
          <a:lstStyle/>
          <a:p>
            <a:r>
              <a:rPr lang="en-US" noProof="0"/>
              <a:t>Confidential</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hasCustomPrompt="1"/>
          </p:nvPr>
        </p:nvSpPr>
        <p:spPr>
          <a:xfrm>
            <a:off x="670985" y="2636838"/>
            <a:ext cx="10850033" cy="720154"/>
          </a:xfrm>
        </p:spPr>
        <p:txBody>
          <a:bodyPr/>
          <a:lstStyle>
            <a:lvl1pPr>
              <a:spcBef>
                <a:spcPts val="300"/>
              </a:spcBef>
              <a:tabLst/>
              <a:defRPr sz="2100" baseline="0">
                <a:solidFill>
                  <a:schemeClr val="tx1"/>
                </a:solidFill>
              </a:defRPr>
            </a:lvl1pPr>
          </a:lstStyle>
          <a:p>
            <a:pPr lvl="0"/>
            <a:r>
              <a:rPr lang="en-US" noProof="0"/>
              <a:t>Surname Name</a:t>
            </a:r>
            <a:br>
              <a:rPr lang="en-US" noProof="0"/>
            </a:br>
            <a:r>
              <a:rPr lang="en-US" noProof="0"/>
              <a:t>Function</a:t>
            </a:r>
          </a:p>
        </p:txBody>
      </p:sp>
      <p:sp>
        <p:nvSpPr>
          <p:cNvPr id="6" name="Textplatzhalter 6"/>
          <p:cNvSpPr>
            <a:spLocks noGrp="1"/>
          </p:cNvSpPr>
          <p:nvPr>
            <p:ph type="body" sz="quarter" idx="12" hasCustomPrompt="1"/>
          </p:nvPr>
        </p:nvSpPr>
        <p:spPr>
          <a:xfrm>
            <a:off x="670984" y="3539108"/>
            <a:ext cx="10850033" cy="576138"/>
          </a:xfrm>
        </p:spPr>
        <p:txBody>
          <a:bodyPr/>
          <a:lstStyle>
            <a:lvl1pPr>
              <a:spcBef>
                <a:spcPts val="300"/>
              </a:spcBef>
              <a:tabLst/>
              <a:defRPr sz="2100">
                <a:solidFill>
                  <a:schemeClr val="tx1"/>
                </a:solidFill>
              </a:defRPr>
            </a:lvl1pPr>
          </a:lstStyle>
          <a:p>
            <a:pPr lvl="0"/>
            <a:r>
              <a:rPr lang="en-US" noProof="0"/>
              <a:t>Date, Location</a:t>
            </a:r>
          </a:p>
        </p:txBody>
      </p:sp>
      <p:sp>
        <p:nvSpPr>
          <p:cNvPr id="8" name="Titel 12"/>
          <p:cNvSpPr txBox="1">
            <a:spLocks/>
          </p:cNvSpPr>
          <p:nvPr userDrawn="1"/>
        </p:nvSpPr>
        <p:spPr bwMode="auto">
          <a:xfrm>
            <a:off x="670984" y="1268414"/>
            <a:ext cx="1084368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3100">
                <a:solidFill>
                  <a:schemeClr val="tx2"/>
                </a:solidFill>
                <a:latin typeface="+mj-lt"/>
                <a:ea typeface="+mj-ea"/>
                <a:cs typeface="+mj-cs"/>
              </a:defRPr>
            </a:lvl1pPr>
            <a:lvl2pPr algn="l" rtl="0" eaLnBrk="1" fontAlgn="base" hangingPunct="1">
              <a:spcBef>
                <a:spcPct val="0"/>
              </a:spcBef>
              <a:spcAft>
                <a:spcPct val="0"/>
              </a:spcAft>
              <a:defRPr sz="3100">
                <a:solidFill>
                  <a:srgbClr val="66CC33"/>
                </a:solidFill>
                <a:latin typeface="Arial Narrow" pitchFamily="34" charset="0"/>
              </a:defRPr>
            </a:lvl2pPr>
            <a:lvl3pPr algn="l" rtl="0" eaLnBrk="1" fontAlgn="base" hangingPunct="1">
              <a:spcBef>
                <a:spcPct val="0"/>
              </a:spcBef>
              <a:spcAft>
                <a:spcPct val="0"/>
              </a:spcAft>
              <a:defRPr sz="3100">
                <a:solidFill>
                  <a:srgbClr val="66CC33"/>
                </a:solidFill>
                <a:latin typeface="Arial Narrow" pitchFamily="34" charset="0"/>
              </a:defRPr>
            </a:lvl3pPr>
            <a:lvl4pPr algn="l" rtl="0" eaLnBrk="1" fontAlgn="base" hangingPunct="1">
              <a:spcBef>
                <a:spcPct val="0"/>
              </a:spcBef>
              <a:spcAft>
                <a:spcPct val="0"/>
              </a:spcAft>
              <a:defRPr sz="3100">
                <a:solidFill>
                  <a:srgbClr val="66CC33"/>
                </a:solidFill>
                <a:latin typeface="Arial Narrow" pitchFamily="34" charset="0"/>
              </a:defRPr>
            </a:lvl4pPr>
            <a:lvl5pPr algn="l" rtl="0" eaLnBrk="1" fontAlgn="base" hangingPunct="1">
              <a:spcBef>
                <a:spcPct val="0"/>
              </a:spcBef>
              <a:spcAft>
                <a:spcPct val="0"/>
              </a:spcAft>
              <a:defRPr sz="3100">
                <a:solidFill>
                  <a:srgbClr val="66CC33"/>
                </a:solidFill>
                <a:latin typeface="Arial Narrow" pitchFamily="34" charset="0"/>
              </a:defRPr>
            </a:lvl5pPr>
            <a:lvl6pPr marL="457200" algn="l" rtl="0" eaLnBrk="1" fontAlgn="base" hangingPunct="1">
              <a:spcBef>
                <a:spcPct val="0"/>
              </a:spcBef>
              <a:spcAft>
                <a:spcPct val="0"/>
              </a:spcAft>
              <a:defRPr sz="3100">
                <a:solidFill>
                  <a:srgbClr val="66CC33"/>
                </a:solidFill>
                <a:latin typeface="Arial Narrow" pitchFamily="34" charset="0"/>
              </a:defRPr>
            </a:lvl6pPr>
            <a:lvl7pPr marL="914400" algn="l" rtl="0" eaLnBrk="1" fontAlgn="base" hangingPunct="1">
              <a:spcBef>
                <a:spcPct val="0"/>
              </a:spcBef>
              <a:spcAft>
                <a:spcPct val="0"/>
              </a:spcAft>
              <a:defRPr sz="3100">
                <a:solidFill>
                  <a:srgbClr val="66CC33"/>
                </a:solidFill>
                <a:latin typeface="Arial Narrow" pitchFamily="34" charset="0"/>
              </a:defRPr>
            </a:lvl7pPr>
            <a:lvl8pPr marL="1371600" algn="l" rtl="0" eaLnBrk="1" fontAlgn="base" hangingPunct="1">
              <a:spcBef>
                <a:spcPct val="0"/>
              </a:spcBef>
              <a:spcAft>
                <a:spcPct val="0"/>
              </a:spcAft>
              <a:defRPr sz="3100">
                <a:solidFill>
                  <a:srgbClr val="66CC33"/>
                </a:solidFill>
                <a:latin typeface="Arial Narrow" pitchFamily="34" charset="0"/>
              </a:defRPr>
            </a:lvl8pPr>
            <a:lvl9pPr marL="1828800" algn="l" rtl="0" eaLnBrk="1" fontAlgn="base" hangingPunct="1">
              <a:spcBef>
                <a:spcPct val="0"/>
              </a:spcBef>
              <a:spcAft>
                <a:spcPct val="0"/>
              </a:spcAft>
              <a:defRPr sz="3100">
                <a:solidFill>
                  <a:srgbClr val="66CC33"/>
                </a:solidFill>
                <a:latin typeface="Arial Narrow" pitchFamily="34" charset="0"/>
              </a:defRPr>
            </a:lvl9pPr>
          </a:lstStyle>
          <a:p>
            <a:r>
              <a:rPr lang="en-US" sz="4400" noProof="0"/>
              <a:t>Sensirion – The Sensor Company</a:t>
            </a:r>
          </a:p>
        </p:txBody>
      </p:sp>
    </p:spTree>
    <p:extLst>
      <p:ext uri="{BB962C8B-B14F-4D97-AF65-F5344CB8AC3E}">
        <p14:creationId xmlns:p14="http://schemas.microsoft.com/office/powerpoint/2010/main" val="41316720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Übersicht / Kapitel">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3983766" y="6381751"/>
            <a:ext cx="4224469" cy="201613"/>
          </a:xfrm>
          <a:prstGeom prst="rect">
            <a:avLst/>
          </a:prstGeom>
        </p:spPr>
        <p:txBody>
          <a:bodyPr/>
          <a:lstStyle/>
          <a:p>
            <a:r>
              <a:rPr lang="en-US" noProof="0"/>
              <a:t>Confidential</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p:nvPr>
        </p:nvSpPr>
        <p:spPr>
          <a:xfrm>
            <a:off x="670985" y="2636838"/>
            <a:ext cx="10850033" cy="3529012"/>
          </a:xfrm>
        </p:spPr>
        <p:txBody>
          <a:bodyPr/>
          <a:lstStyle>
            <a:lvl1pPr marL="457200" indent="-457200">
              <a:spcBef>
                <a:spcPts val="1100"/>
              </a:spcBef>
              <a:buClr>
                <a:schemeClr val="bg2"/>
              </a:buClr>
              <a:buFont typeface="+mj-lt"/>
              <a:buAutoNum type="arabicParenR"/>
              <a:defRPr sz="2100">
                <a:solidFill>
                  <a:schemeClr val="tx1"/>
                </a:solidFill>
              </a:defRPr>
            </a:lvl1pPr>
          </a:lstStyle>
          <a:p>
            <a:pPr lvl="0"/>
            <a:r>
              <a:rPr lang="en-US" noProof="0"/>
              <a:t>Click to edit Master text styles</a:t>
            </a:r>
          </a:p>
        </p:txBody>
      </p:sp>
      <p:sp>
        <p:nvSpPr>
          <p:cNvPr id="6" name="Titel 1"/>
          <p:cNvSpPr>
            <a:spLocks noGrp="1"/>
          </p:cNvSpPr>
          <p:nvPr>
            <p:ph type="title"/>
          </p:nvPr>
        </p:nvSpPr>
        <p:spPr>
          <a:xfrm>
            <a:off x="670984" y="296864"/>
            <a:ext cx="10843683" cy="1727980"/>
          </a:xfrm>
        </p:spPr>
        <p:txBody>
          <a:bodyPr wrap="square" anchor="b" anchorCtr="0"/>
          <a:lstStyle>
            <a:lvl1pPr>
              <a:defRPr sz="4400" b="0"/>
            </a:lvl1pPr>
          </a:lstStyle>
          <a:p>
            <a:r>
              <a:rPr lang="en-US" noProof="0"/>
              <a:t>Click to edit Master title style</a:t>
            </a:r>
          </a:p>
        </p:txBody>
      </p:sp>
    </p:spTree>
    <p:extLst>
      <p:ext uri="{BB962C8B-B14F-4D97-AF65-F5344CB8AC3E}">
        <p14:creationId xmlns:p14="http://schemas.microsoft.com/office/powerpoint/2010/main" val="22172668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2" name="Picture 3" descr="C:\Dokumente und Einstellungen\TLoher\Eigene Dateien\titelfolie_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71438"/>
            <a:ext cx="12240684" cy="697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C:\Dokumente und Einstellungen\TLoher\Eigene Dateien\Sensirion_white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8467" y="120650"/>
            <a:ext cx="9611784" cy="509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2951" y="6326188"/>
            <a:ext cx="1894416"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round/>
                <a:headEnd/>
                <a:tailEnd/>
              </a14:hiddenLine>
            </a:ext>
          </a:extLst>
        </p:spPr>
      </p:pic>
    </p:spTree>
    <p:extLst>
      <p:ext uri="{BB962C8B-B14F-4D97-AF65-F5344CB8AC3E}">
        <p14:creationId xmlns:p14="http://schemas.microsoft.com/office/powerpoint/2010/main" val="9336497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a:t>Confidential</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hasCustomPrompt="1"/>
          </p:nvPr>
        </p:nvSpPr>
        <p:spPr>
          <a:xfrm>
            <a:off x="670985" y="2636838"/>
            <a:ext cx="10850033" cy="720154"/>
          </a:xfrm>
        </p:spPr>
        <p:txBody>
          <a:bodyPr/>
          <a:lstStyle>
            <a:lvl1pPr>
              <a:spcBef>
                <a:spcPts val="300"/>
              </a:spcBef>
              <a:tabLst/>
              <a:defRPr sz="2100" baseline="0">
                <a:solidFill>
                  <a:schemeClr val="tx1"/>
                </a:solidFill>
              </a:defRPr>
            </a:lvl1pPr>
          </a:lstStyle>
          <a:p>
            <a:pPr lvl="0"/>
            <a:r>
              <a:rPr lang="en-US" noProof="0"/>
              <a:t>Surname Name</a:t>
            </a:r>
            <a:br>
              <a:rPr lang="en-US" noProof="0"/>
            </a:br>
            <a:r>
              <a:rPr lang="en-US" noProof="0"/>
              <a:t>Function</a:t>
            </a:r>
          </a:p>
        </p:txBody>
      </p:sp>
      <p:sp>
        <p:nvSpPr>
          <p:cNvPr id="6" name="Textplatzhalter 6"/>
          <p:cNvSpPr>
            <a:spLocks noGrp="1"/>
          </p:cNvSpPr>
          <p:nvPr>
            <p:ph type="body" sz="quarter" idx="12" hasCustomPrompt="1"/>
          </p:nvPr>
        </p:nvSpPr>
        <p:spPr>
          <a:xfrm>
            <a:off x="670984" y="3539108"/>
            <a:ext cx="10850033" cy="576138"/>
          </a:xfrm>
        </p:spPr>
        <p:txBody>
          <a:bodyPr/>
          <a:lstStyle>
            <a:lvl1pPr>
              <a:spcBef>
                <a:spcPts val="300"/>
              </a:spcBef>
              <a:tabLst/>
              <a:defRPr sz="2100">
                <a:solidFill>
                  <a:schemeClr val="tx1"/>
                </a:solidFill>
              </a:defRPr>
            </a:lvl1pPr>
          </a:lstStyle>
          <a:p>
            <a:pPr lvl="0"/>
            <a:r>
              <a:rPr lang="en-US" noProof="0"/>
              <a:t>Date, Location</a:t>
            </a:r>
          </a:p>
        </p:txBody>
      </p:sp>
      <p:sp>
        <p:nvSpPr>
          <p:cNvPr id="8" name="Titel 12"/>
          <p:cNvSpPr txBox="1">
            <a:spLocks/>
          </p:cNvSpPr>
          <p:nvPr userDrawn="1"/>
        </p:nvSpPr>
        <p:spPr bwMode="auto">
          <a:xfrm>
            <a:off x="670984" y="1268414"/>
            <a:ext cx="1084368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3100">
                <a:solidFill>
                  <a:schemeClr val="tx2"/>
                </a:solidFill>
                <a:latin typeface="+mj-lt"/>
                <a:ea typeface="+mj-ea"/>
                <a:cs typeface="+mj-cs"/>
              </a:defRPr>
            </a:lvl1pPr>
            <a:lvl2pPr algn="l" rtl="0" eaLnBrk="1" fontAlgn="base" hangingPunct="1">
              <a:spcBef>
                <a:spcPct val="0"/>
              </a:spcBef>
              <a:spcAft>
                <a:spcPct val="0"/>
              </a:spcAft>
              <a:defRPr sz="3100">
                <a:solidFill>
                  <a:srgbClr val="66CC33"/>
                </a:solidFill>
                <a:latin typeface="Arial Narrow" pitchFamily="34" charset="0"/>
              </a:defRPr>
            </a:lvl2pPr>
            <a:lvl3pPr algn="l" rtl="0" eaLnBrk="1" fontAlgn="base" hangingPunct="1">
              <a:spcBef>
                <a:spcPct val="0"/>
              </a:spcBef>
              <a:spcAft>
                <a:spcPct val="0"/>
              </a:spcAft>
              <a:defRPr sz="3100">
                <a:solidFill>
                  <a:srgbClr val="66CC33"/>
                </a:solidFill>
                <a:latin typeface="Arial Narrow" pitchFamily="34" charset="0"/>
              </a:defRPr>
            </a:lvl3pPr>
            <a:lvl4pPr algn="l" rtl="0" eaLnBrk="1" fontAlgn="base" hangingPunct="1">
              <a:spcBef>
                <a:spcPct val="0"/>
              </a:spcBef>
              <a:spcAft>
                <a:spcPct val="0"/>
              </a:spcAft>
              <a:defRPr sz="3100">
                <a:solidFill>
                  <a:srgbClr val="66CC33"/>
                </a:solidFill>
                <a:latin typeface="Arial Narrow" pitchFamily="34" charset="0"/>
              </a:defRPr>
            </a:lvl4pPr>
            <a:lvl5pPr algn="l" rtl="0" eaLnBrk="1" fontAlgn="base" hangingPunct="1">
              <a:spcBef>
                <a:spcPct val="0"/>
              </a:spcBef>
              <a:spcAft>
                <a:spcPct val="0"/>
              </a:spcAft>
              <a:defRPr sz="3100">
                <a:solidFill>
                  <a:srgbClr val="66CC33"/>
                </a:solidFill>
                <a:latin typeface="Arial Narrow" pitchFamily="34" charset="0"/>
              </a:defRPr>
            </a:lvl5pPr>
            <a:lvl6pPr marL="457200" algn="l" rtl="0" eaLnBrk="1" fontAlgn="base" hangingPunct="1">
              <a:spcBef>
                <a:spcPct val="0"/>
              </a:spcBef>
              <a:spcAft>
                <a:spcPct val="0"/>
              </a:spcAft>
              <a:defRPr sz="3100">
                <a:solidFill>
                  <a:srgbClr val="66CC33"/>
                </a:solidFill>
                <a:latin typeface="Arial Narrow" pitchFamily="34" charset="0"/>
              </a:defRPr>
            </a:lvl6pPr>
            <a:lvl7pPr marL="914400" algn="l" rtl="0" eaLnBrk="1" fontAlgn="base" hangingPunct="1">
              <a:spcBef>
                <a:spcPct val="0"/>
              </a:spcBef>
              <a:spcAft>
                <a:spcPct val="0"/>
              </a:spcAft>
              <a:defRPr sz="3100">
                <a:solidFill>
                  <a:srgbClr val="66CC33"/>
                </a:solidFill>
                <a:latin typeface="Arial Narrow" pitchFamily="34" charset="0"/>
              </a:defRPr>
            </a:lvl7pPr>
            <a:lvl8pPr marL="1371600" algn="l" rtl="0" eaLnBrk="1" fontAlgn="base" hangingPunct="1">
              <a:spcBef>
                <a:spcPct val="0"/>
              </a:spcBef>
              <a:spcAft>
                <a:spcPct val="0"/>
              </a:spcAft>
              <a:defRPr sz="3100">
                <a:solidFill>
                  <a:srgbClr val="66CC33"/>
                </a:solidFill>
                <a:latin typeface="Arial Narrow" pitchFamily="34" charset="0"/>
              </a:defRPr>
            </a:lvl8pPr>
            <a:lvl9pPr marL="1828800" algn="l" rtl="0" eaLnBrk="1" fontAlgn="base" hangingPunct="1">
              <a:spcBef>
                <a:spcPct val="0"/>
              </a:spcBef>
              <a:spcAft>
                <a:spcPct val="0"/>
              </a:spcAft>
              <a:defRPr sz="3100">
                <a:solidFill>
                  <a:srgbClr val="66CC33"/>
                </a:solidFill>
                <a:latin typeface="Arial Narrow" pitchFamily="34" charset="0"/>
              </a:defRPr>
            </a:lvl9pPr>
          </a:lstStyle>
          <a:p>
            <a:r>
              <a:rPr lang="en-US" sz="4400" noProof="0"/>
              <a:t>Sensirion – The Sensor Company</a:t>
            </a:r>
          </a:p>
        </p:txBody>
      </p:sp>
    </p:spTree>
    <p:extLst>
      <p:ext uri="{BB962C8B-B14F-4D97-AF65-F5344CB8AC3E}">
        <p14:creationId xmlns:p14="http://schemas.microsoft.com/office/powerpoint/2010/main" val="17899545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Übersicht / Kapitel">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a:t>Confidential</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p:nvPr>
        </p:nvSpPr>
        <p:spPr>
          <a:xfrm>
            <a:off x="670985" y="2636838"/>
            <a:ext cx="10850033" cy="3529012"/>
          </a:xfrm>
        </p:spPr>
        <p:txBody>
          <a:bodyPr/>
          <a:lstStyle>
            <a:lvl1pPr marL="457200" indent="-457200">
              <a:spcBef>
                <a:spcPts val="1100"/>
              </a:spcBef>
              <a:buClr>
                <a:schemeClr val="bg2"/>
              </a:buClr>
              <a:buFont typeface="+mj-lt"/>
              <a:buAutoNum type="arabicParenR"/>
              <a:defRPr sz="2100">
                <a:solidFill>
                  <a:schemeClr val="tx1"/>
                </a:solidFill>
              </a:defRPr>
            </a:lvl1pPr>
          </a:lstStyle>
          <a:p>
            <a:pPr lvl="0"/>
            <a:r>
              <a:rPr lang="en-US" noProof="0"/>
              <a:t>Click to edit Master text styles</a:t>
            </a:r>
          </a:p>
        </p:txBody>
      </p:sp>
      <p:sp>
        <p:nvSpPr>
          <p:cNvPr id="6" name="Titel 1"/>
          <p:cNvSpPr>
            <a:spLocks noGrp="1"/>
          </p:cNvSpPr>
          <p:nvPr>
            <p:ph type="title"/>
          </p:nvPr>
        </p:nvSpPr>
        <p:spPr>
          <a:xfrm>
            <a:off x="670984" y="296864"/>
            <a:ext cx="10843683" cy="1727980"/>
          </a:xfrm>
        </p:spPr>
        <p:txBody>
          <a:bodyPr wrap="square" anchor="b" anchorCtr="0"/>
          <a:lstStyle>
            <a:lvl1pPr>
              <a:defRPr sz="4400" b="0"/>
            </a:lvl1pPr>
          </a:lstStyle>
          <a:p>
            <a:r>
              <a:rPr lang="en-US" noProof="0"/>
              <a:t>Click to edit Master title style</a:t>
            </a:r>
          </a:p>
        </p:txBody>
      </p:sp>
    </p:spTree>
    <p:extLst>
      <p:ext uri="{BB962C8B-B14F-4D97-AF65-F5344CB8AC3E}">
        <p14:creationId xmlns:p14="http://schemas.microsoft.com/office/powerpoint/2010/main" val="5300658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el / Untertitel /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1268414"/>
            <a:ext cx="10850033" cy="432395"/>
          </a:xfrm>
        </p:spPr>
        <p:txBody>
          <a:bodyPr/>
          <a:lstStyle/>
          <a:p>
            <a:pPr lvl="0"/>
            <a:r>
              <a:rPr lang="en-US" noProof="0"/>
              <a:t>Click to edit Master text styles</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9" name="Inhaltsplatzhalter 5"/>
          <p:cNvSpPr>
            <a:spLocks noGrp="1"/>
          </p:cNvSpPr>
          <p:nvPr>
            <p:ph sz="quarter" idx="12"/>
          </p:nvPr>
        </p:nvSpPr>
        <p:spPr>
          <a:xfrm>
            <a:off x="670985" y="1772816"/>
            <a:ext cx="10850033" cy="4393034"/>
          </a:xfrm>
        </p:spPr>
        <p:txBody>
          <a:bodyPr/>
          <a:lstStyle>
            <a:lvl1pPr>
              <a:defRPr sz="20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8063431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el /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1268413"/>
            <a:ext cx="10850033" cy="4897437"/>
          </a:xfrm>
        </p:spPr>
        <p:txBody>
          <a:bodyPr/>
          <a:lstStyle>
            <a:lvl1pPr>
              <a:defRPr sz="2000">
                <a:solidFill>
                  <a:schemeClr val="tx1"/>
                </a:solidFill>
              </a:defRPr>
            </a:lvl1pPr>
          </a:lstStyle>
          <a:p>
            <a:pPr lvl="0"/>
            <a:r>
              <a:rPr lang="en-US" noProof="0"/>
              <a:t>Click to edit Master text styles</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Tree>
    <p:extLst>
      <p:ext uri="{BB962C8B-B14F-4D97-AF65-F5344CB8AC3E}">
        <p14:creationId xmlns:p14="http://schemas.microsoft.com/office/powerpoint/2010/main" val="270364393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el / Unter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1268413"/>
            <a:ext cx="10850033" cy="48974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Tree>
    <p:extLst>
      <p:ext uri="{BB962C8B-B14F-4D97-AF65-F5344CB8AC3E}">
        <p14:creationId xmlns:p14="http://schemas.microsoft.com/office/powerpoint/2010/main" val="253571326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mit Bild (horizonta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3608388"/>
            <a:ext cx="10850033" cy="25574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4" name="Bildplatzhalter 3"/>
          <p:cNvSpPr>
            <a:spLocks noGrp="1"/>
          </p:cNvSpPr>
          <p:nvPr>
            <p:ph type="pic" sz="quarter" idx="12"/>
          </p:nvPr>
        </p:nvSpPr>
        <p:spPr>
          <a:xfrm>
            <a:off x="670985" y="1268413"/>
            <a:ext cx="10850033" cy="1981200"/>
          </a:xfrm>
        </p:spPr>
        <p:txBody>
          <a:bodyPr/>
          <a:lstStyle/>
          <a:p>
            <a:r>
              <a:rPr lang="en-US" noProof="0"/>
              <a:t>Click icon to add picture</a:t>
            </a:r>
          </a:p>
        </p:txBody>
      </p:sp>
    </p:spTree>
    <p:extLst>
      <p:ext uri="{BB962C8B-B14F-4D97-AF65-F5344CB8AC3E}">
        <p14:creationId xmlns:p14="http://schemas.microsoft.com/office/powerpoint/2010/main" val="301583402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 mit Bild (vertika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6" y="1268413"/>
            <a:ext cx="5329004" cy="48974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4" name="Bildplatzhalter 3"/>
          <p:cNvSpPr>
            <a:spLocks noGrp="1"/>
          </p:cNvSpPr>
          <p:nvPr>
            <p:ph type="pic" sz="quarter" idx="12"/>
          </p:nvPr>
        </p:nvSpPr>
        <p:spPr>
          <a:xfrm>
            <a:off x="6096001" y="1268412"/>
            <a:ext cx="5425017" cy="4897437"/>
          </a:xfrm>
        </p:spPr>
        <p:txBody>
          <a:bodyPr/>
          <a:lstStyle/>
          <a:p>
            <a:r>
              <a:rPr lang="en-US" noProof="0"/>
              <a:t>Click icon to add picture</a:t>
            </a:r>
          </a:p>
        </p:txBody>
      </p:sp>
    </p:spTree>
    <p:extLst>
      <p:ext uri="{BB962C8B-B14F-4D97-AF65-F5344CB8AC3E}">
        <p14:creationId xmlns:p14="http://schemas.microsoft.com/office/powerpoint/2010/main" val="507742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GB" noProof="0"/>
              <a:t>Add Title</a:t>
            </a:r>
          </a:p>
        </p:txBody>
      </p:sp>
    </p:spTree>
    <p:extLst>
      <p:ext uri="{BB962C8B-B14F-4D97-AF65-F5344CB8AC3E}">
        <p14:creationId xmlns:p14="http://schemas.microsoft.com/office/powerpoint/2010/main" val="298378212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Fußzeilenplatzhalter 2"/>
          <p:cNvSpPr>
            <a:spLocks noGrp="1"/>
          </p:cNvSpPr>
          <p:nvPr>
            <p:ph type="ftr" sz="quarter" idx="10"/>
          </p:nvPr>
        </p:nvSpPr>
        <p:spPr/>
        <p:txBody>
          <a:bodyPr/>
          <a:lstStyle/>
          <a:p>
            <a:r>
              <a:rPr lang="en-US" noProof="0"/>
              <a:t>Confidential</a:t>
            </a:r>
          </a:p>
        </p:txBody>
      </p:sp>
      <p:sp>
        <p:nvSpPr>
          <p:cNvPr id="4"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Tree>
    <p:extLst>
      <p:ext uri="{BB962C8B-B14F-4D97-AF65-F5344CB8AC3E}">
        <p14:creationId xmlns:p14="http://schemas.microsoft.com/office/powerpoint/2010/main" val="296019206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p>
            <a:r>
              <a:rPr lang="en-US" noProof="0"/>
              <a:t>Confidential</a:t>
            </a:r>
          </a:p>
        </p:txBody>
      </p:sp>
    </p:spTree>
    <p:extLst>
      <p:ext uri="{BB962C8B-B14F-4D97-AF65-F5344CB8AC3E}">
        <p14:creationId xmlns:p14="http://schemas.microsoft.com/office/powerpoint/2010/main" val="8744629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chluss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0984" y="296864"/>
            <a:ext cx="10843683" cy="1727980"/>
          </a:xfrm>
        </p:spPr>
        <p:txBody>
          <a:bodyPr wrap="square" anchor="b" anchorCtr="0"/>
          <a:lstStyle>
            <a:lvl1pPr>
              <a:defRPr sz="4400"/>
            </a:lvl1pPr>
          </a:lstStyle>
          <a:p>
            <a:r>
              <a:rPr lang="en-US" sz="4400" noProof="0"/>
              <a:t>Thank you for your attention</a:t>
            </a:r>
            <a:endParaRPr lang="en-US" noProof="0"/>
          </a:p>
        </p:txBody>
      </p:sp>
      <p:sp>
        <p:nvSpPr>
          <p:cNvPr id="3" name="Fußzeilenplatzhalter 2"/>
          <p:cNvSpPr>
            <a:spLocks noGrp="1"/>
          </p:cNvSpPr>
          <p:nvPr>
            <p:ph type="ftr" sz="quarter" idx="10"/>
          </p:nvPr>
        </p:nvSpPr>
        <p:spPr/>
        <p:txBody>
          <a:bodyPr/>
          <a:lstStyle/>
          <a:p>
            <a:r>
              <a:rPr lang="en-US" noProof="0"/>
              <a:t>Confidential</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hasCustomPrompt="1"/>
          </p:nvPr>
        </p:nvSpPr>
        <p:spPr>
          <a:xfrm>
            <a:off x="670985" y="2636838"/>
            <a:ext cx="10850033" cy="3529012"/>
          </a:xfrm>
        </p:spPr>
        <p:txBody>
          <a:bodyPr/>
          <a:lstStyle>
            <a:lvl1pPr marL="0" marR="0" indent="0" algn="l" defTabSz="914400" rtl="0" eaLnBrk="1" fontAlgn="base" latinLnBrk="0" hangingPunct="1">
              <a:lnSpc>
                <a:spcPct val="100000"/>
              </a:lnSpc>
              <a:spcBef>
                <a:spcPts val="300"/>
              </a:spcBef>
              <a:spcAft>
                <a:spcPct val="0"/>
              </a:spcAft>
              <a:buClrTx/>
              <a:buSzTx/>
              <a:buFontTx/>
              <a:buNone/>
              <a:tabLst/>
              <a:defRPr sz="2100">
                <a:solidFill>
                  <a:schemeClr val="tx1"/>
                </a:solidFill>
              </a:defRPr>
            </a:lvl1pPr>
          </a:lstStyle>
          <a:p>
            <a:pPr marL="0" indent="0">
              <a:spcBef>
                <a:spcPts val="300"/>
              </a:spcBef>
              <a:spcAft>
                <a:spcPct val="0"/>
              </a:spcAft>
            </a:pPr>
            <a:r>
              <a:rPr lang="en-US" sz="2100" noProof="0"/>
              <a:t>For more information, please visit our website on www.sensirion.com</a:t>
            </a:r>
          </a:p>
        </p:txBody>
      </p:sp>
    </p:spTree>
    <p:extLst>
      <p:ext uri="{BB962C8B-B14F-4D97-AF65-F5344CB8AC3E}">
        <p14:creationId xmlns:p14="http://schemas.microsoft.com/office/powerpoint/2010/main" val="206396283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1109033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en-US" noProof="0"/>
              <a:t>Add picture via icon / </a:t>
            </a:r>
            <a:r>
              <a:rPr lang="en-US" noProof="0" err="1"/>
              <a:t>Bild</a:t>
            </a:r>
            <a:r>
              <a:rPr lang="en-US" noProof="0"/>
              <a:t> </a:t>
            </a:r>
            <a:r>
              <a:rPr lang="en-US" noProof="0" err="1"/>
              <a:t>hinzufügen</a:t>
            </a:r>
            <a:r>
              <a:rPr lang="en-US" noProof="0"/>
              <a:t>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1941450309"/>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594BD-97ED-4290-A7E7-587D7BF950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9B4D843-E7EA-48E6-A439-C81EC42AC2B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598906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D69A2-4BFB-88DF-80CC-9502CCC369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B108CE-9174-9D20-7C4B-A2FD94EA36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8959448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baseline="0">
                <a:solidFill>
                  <a:schemeClr val="tx1"/>
                </a:solidFill>
              </a:defRPr>
            </a:lvl1pPr>
          </a:lstStyle>
          <a:p>
            <a:r>
              <a:rPr lang="en-US"/>
              <a:t>Add Title / </a:t>
            </a:r>
            <a:r>
              <a:rPr lang="en-US" err="1"/>
              <a:t>Titel</a:t>
            </a:r>
            <a:r>
              <a:rPr lang="en-US"/>
              <a:t> </a:t>
            </a:r>
            <a:r>
              <a:rPr lang="en-US" err="1"/>
              <a:t>hinzufügen</a:t>
            </a:r>
            <a:endParaRPr lang="en-US"/>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10509842" cy="306000"/>
          </a:xfrm>
        </p:spPr>
        <p:txBody>
          <a:bodyPr/>
          <a:lstStyle>
            <a:lvl1pPr>
              <a:spcBef>
                <a:spcPts val="0"/>
              </a:spcBef>
              <a:defRPr baseline="0"/>
            </a:lvl1pPr>
          </a:lstStyle>
          <a:p>
            <a:pPr lvl="0"/>
            <a:r>
              <a:rPr lang="en-US"/>
              <a:t>First Name Last Name, Job Function / </a:t>
            </a:r>
            <a:r>
              <a:rPr lang="en-US" err="1"/>
              <a:t>Vorname</a:t>
            </a:r>
            <a:r>
              <a:rPr lang="en-US"/>
              <a:t> </a:t>
            </a:r>
            <a:r>
              <a:rPr lang="en-US" err="1"/>
              <a:t>Nachname</a:t>
            </a:r>
            <a:r>
              <a:rPr lang="en-US"/>
              <a:t>, </a:t>
            </a:r>
            <a:r>
              <a:rPr lang="en-US" err="1"/>
              <a:t>Funktion</a:t>
            </a:r>
            <a:endParaRPr lang="en-US"/>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10512426" cy="306000"/>
          </a:xfrm>
        </p:spPr>
        <p:txBody>
          <a:bodyPr/>
          <a:lstStyle>
            <a:lvl1pPr>
              <a:spcBef>
                <a:spcPts val="0"/>
              </a:spcBef>
              <a:defRPr baseline="0"/>
            </a:lvl1pPr>
          </a:lstStyle>
          <a:p>
            <a:pPr lvl="0"/>
            <a:r>
              <a:rPr lang="en-US"/>
              <a:t>City Country, Month Year / </a:t>
            </a:r>
            <a:r>
              <a:rPr lang="en-US" err="1"/>
              <a:t>Stadt</a:t>
            </a:r>
            <a:r>
              <a:rPr lang="en-US"/>
              <a:t> Land, </a:t>
            </a:r>
            <a:r>
              <a:rPr lang="en-US" err="1"/>
              <a:t>Monat</a:t>
            </a:r>
            <a:r>
              <a:rPr lang="en-US"/>
              <a:t> </a:t>
            </a:r>
            <a:r>
              <a:rPr lang="en-US" err="1"/>
              <a:t>Jahr</a:t>
            </a:r>
            <a:endParaRPr lang="en-US"/>
          </a:p>
        </p:txBody>
      </p:sp>
      <p:pic>
        <p:nvPicPr>
          <p:cNvPr id="10" name="Grafik 9">
            <a:extLst>
              <a:ext uri="{FF2B5EF4-FFF2-40B4-BE49-F238E27FC236}">
                <a16:creationId xmlns:a16="http://schemas.microsoft.com/office/drawing/2014/main" id="{C3302D84-6649-4B9E-AC4B-E5A9B25475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4047" y="6365691"/>
            <a:ext cx="1905952" cy="276035"/>
          </a:xfrm>
          <a:prstGeom prst="rect">
            <a:avLst/>
          </a:prstGeom>
        </p:spPr>
      </p:pic>
    </p:spTree>
    <p:extLst>
      <p:ext uri="{BB962C8B-B14F-4D97-AF65-F5344CB8AC3E}">
        <p14:creationId xmlns:p14="http://schemas.microsoft.com/office/powerpoint/2010/main" val="18856934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2" name="Foliennummernplatzhalter 1">
            <a:extLst>
              <a:ext uri="{FF2B5EF4-FFF2-40B4-BE49-F238E27FC236}">
                <a16:creationId xmlns:a16="http://schemas.microsoft.com/office/drawing/2014/main" id="{28F68E1B-252D-4464-9287-24642A2EF977}"/>
              </a:ext>
            </a:extLst>
          </p:cNvPr>
          <p:cNvSpPr>
            <a:spLocks noGrp="1"/>
          </p:cNvSpPr>
          <p:nvPr>
            <p:ph type="sldNum" sz="quarter" idx="12"/>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1941450309"/>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5" name="Textplatzhalter 3"/>
          <p:cNvSpPr>
            <a:spLocks noGrp="1"/>
          </p:cNvSpPr>
          <p:nvPr>
            <p:ph type="body" sz="quarter" idx="10" hasCustomPrompt="1"/>
          </p:nvPr>
        </p:nvSpPr>
        <p:spPr>
          <a:xfrm>
            <a:off x="848931" y="917195"/>
            <a:ext cx="10539793" cy="5320093"/>
          </a:xfrm>
        </p:spPr>
        <p:txBody>
          <a:bodyPr/>
          <a:lstStyle>
            <a:lvl1pPr marL="0" indent="0">
              <a:buFontTx/>
              <a:buNone/>
              <a:defRPr b="0"/>
            </a:lvl1pPr>
            <a:lvl2pPr marL="216000" indent="-216000">
              <a:buSzPct val="100000"/>
              <a:defRPr/>
            </a:lvl2pPr>
            <a:lvl3pPr marL="720000" indent="-216000">
              <a:spcBef>
                <a:spcPts val="900"/>
              </a:spcBef>
              <a:buSzPct val="90000"/>
              <a:defRPr baseline="0"/>
            </a:lvl3pPr>
            <a:lvl4pPr marL="1080000">
              <a:spcBef>
                <a:spcPts val="900"/>
              </a:spcBef>
              <a:buSzPct val="80000"/>
              <a:defRPr/>
            </a:lvl4pPr>
            <a:lvl5pPr marL="1440000" indent="-216000">
              <a:lnSpc>
                <a:spcPct val="100000"/>
              </a:lnSpc>
              <a:spcBef>
                <a:spcPts val="900"/>
              </a:spcBef>
              <a:buSzPct val="70000"/>
              <a:defRPr/>
            </a:lvl5pPr>
          </a:lstStyle>
          <a:p>
            <a:pPr lvl="0"/>
            <a:r>
              <a:rPr lang="de-CH" noProof="0"/>
              <a:t>Add </a:t>
            </a:r>
            <a:r>
              <a:rPr lang="de-CH" noProof="0" err="1"/>
              <a:t>text</a:t>
            </a:r>
            <a:endParaRPr lang="de-CH" noProof="0"/>
          </a:p>
          <a:p>
            <a:pPr lvl="1"/>
            <a:r>
              <a:rPr lang="de-CH" noProof="0"/>
              <a:t>First </a:t>
            </a:r>
            <a:r>
              <a:rPr lang="de-CH" noProof="0" err="1"/>
              <a:t>bullet</a:t>
            </a:r>
            <a:endParaRPr lang="de-CH" noProof="0"/>
          </a:p>
          <a:p>
            <a:pPr lvl="2"/>
            <a:r>
              <a:rPr lang="de-CH" noProof="0"/>
              <a:t>Second </a:t>
            </a:r>
            <a:r>
              <a:rPr lang="de-CH" noProof="0" err="1"/>
              <a:t>bullet</a:t>
            </a:r>
            <a:endParaRPr lang="de-CH" noProof="0"/>
          </a:p>
          <a:p>
            <a:pPr lvl="3"/>
            <a:r>
              <a:rPr lang="de-CH" noProof="0"/>
              <a:t>Third </a:t>
            </a:r>
            <a:r>
              <a:rPr lang="de-CH" noProof="0" err="1"/>
              <a:t>bullet</a:t>
            </a:r>
            <a:endParaRPr lang="de-CH" noProof="0"/>
          </a:p>
          <a:p>
            <a:pPr lvl="4"/>
            <a:r>
              <a:rPr lang="de-CH" noProof="0" err="1"/>
              <a:t>Fourth</a:t>
            </a:r>
            <a:r>
              <a:rPr lang="de-CH" noProof="0"/>
              <a:t> </a:t>
            </a:r>
            <a:r>
              <a:rPr lang="de-CH" noProof="0" err="1"/>
              <a:t>bullet</a:t>
            </a:r>
            <a:endParaRPr lang="de-CH" noProof="0"/>
          </a:p>
        </p:txBody>
      </p:sp>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de-CH" noProof="0"/>
              <a:t>Add Title</a:t>
            </a:r>
          </a:p>
        </p:txBody>
      </p:sp>
    </p:spTree>
    <p:extLst>
      <p:ext uri="{BB962C8B-B14F-4D97-AF65-F5344CB8AC3E}">
        <p14:creationId xmlns:p14="http://schemas.microsoft.com/office/powerpoint/2010/main" val="1109033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with Text">
    <p:spTree>
      <p:nvGrpSpPr>
        <p:cNvPr id="1" name=""/>
        <p:cNvGrpSpPr/>
        <p:nvPr/>
      </p:nvGrpSpPr>
      <p:grpSpPr>
        <a:xfrm>
          <a:off x="0" y="0"/>
          <a:ext cx="0" cy="0"/>
          <a:chOff x="0" y="0"/>
          <a:chExt cx="0" cy="0"/>
        </a:xfrm>
      </p:grpSpPr>
      <p:sp>
        <p:nvSpPr>
          <p:cNvPr id="5" name="Textplatzhalter 3"/>
          <p:cNvSpPr>
            <a:spLocks noGrp="1"/>
          </p:cNvSpPr>
          <p:nvPr>
            <p:ph type="body" sz="quarter" idx="10" hasCustomPrompt="1"/>
          </p:nvPr>
        </p:nvSpPr>
        <p:spPr>
          <a:xfrm>
            <a:off x="848931" y="917195"/>
            <a:ext cx="10539793" cy="5320093"/>
          </a:xfrm>
        </p:spPr>
        <p:txBody>
          <a:bodyPr/>
          <a:lstStyle>
            <a:lvl1pPr marL="0" indent="0">
              <a:buFontTx/>
              <a:buNone/>
              <a:defRPr b="0"/>
            </a:lvl1pPr>
            <a:lvl2pPr marL="216000" indent="-216000">
              <a:buSzPct val="100000"/>
              <a:defRPr/>
            </a:lvl2pPr>
            <a:lvl3pPr marL="720000" indent="-216000">
              <a:spcBef>
                <a:spcPts val="900"/>
              </a:spcBef>
              <a:buSzPct val="90000"/>
              <a:defRPr baseline="0"/>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Tree>
    <p:extLst>
      <p:ext uri="{BB962C8B-B14F-4D97-AF65-F5344CB8AC3E}">
        <p14:creationId xmlns:p14="http://schemas.microsoft.com/office/powerpoint/2010/main" val="71673592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277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11090330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5" name="Slide Number Placeholder 5"/>
          <p:cNvSpPr>
            <a:spLocks noGrp="1"/>
          </p:cNvSpPr>
          <p:nvPr userDrawn="1"/>
        </p:nvSpPr>
        <p:spPr>
          <a:xfrm>
            <a:off x="11720995" y="6523871"/>
            <a:ext cx="466725" cy="365125"/>
          </a:xfrm>
          <a:prstGeom prst="rect">
            <a:avLst/>
          </a:prstGeom>
        </p:spPr>
        <p:txBody>
          <a:bodyPr vert="horz" lIns="91440" tIns="45720" rIns="91440" bIns="45720" rtlCol="0" anchor="ctr"/>
          <a:lstStyle>
            <a:defPPr>
              <a:defRPr lang="de-DE"/>
            </a:defPPr>
            <a:lvl1pPr algn="ct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553BBF28-59B0-4969-8EAE-E099AE92A1EC}"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41450309"/>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4" name="Slide Number Placeholder 5"/>
          <p:cNvSpPr>
            <a:spLocks noGrp="1"/>
          </p:cNvSpPr>
          <p:nvPr userDrawn="1"/>
        </p:nvSpPr>
        <p:spPr>
          <a:xfrm>
            <a:off x="11720995" y="6523871"/>
            <a:ext cx="466725" cy="365125"/>
          </a:xfrm>
          <a:prstGeom prst="rect">
            <a:avLst/>
          </a:prstGeom>
        </p:spPr>
        <p:txBody>
          <a:bodyPr vert="horz" lIns="91440" tIns="45720" rIns="91440" bIns="45720" rtlCol="0" anchor="ctr"/>
          <a:lstStyle>
            <a:defPPr>
              <a:defRPr lang="de-DE"/>
            </a:defPPr>
            <a:lvl1pPr algn="ct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553BBF28-59B0-4969-8EAE-E099AE92A1EC}"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109033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altLang="zh-TW" noProof="0"/>
              <a:t>Add Title / </a:t>
            </a:r>
            <a:r>
              <a:rPr lang="en-US" altLang="zh-TW" noProof="0" err="1"/>
              <a:t>Titel</a:t>
            </a:r>
            <a:r>
              <a:rPr lang="zh-TW" altLang="en-US" noProof="0"/>
              <a:t> </a:t>
            </a:r>
            <a:r>
              <a:rPr lang="en-US" altLang="zh-TW" noProof="0" err="1"/>
              <a:t>hinzufügen</a:t>
            </a:r>
            <a:r>
              <a:rPr lang="zh-TW" alt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altLang="zh-TW" noProof="0"/>
              <a:t>Add text (make this text bold if it should be a subtitle) / Text </a:t>
            </a:r>
            <a:r>
              <a:rPr lang="en-US" altLang="zh-TW" noProof="0" err="1"/>
              <a:t>hinzufügen</a:t>
            </a:r>
            <a:r>
              <a:rPr lang="en-US" altLang="zh-TW" noProof="0"/>
              <a:t> (</a:t>
            </a:r>
            <a:r>
              <a:rPr lang="en-US" altLang="zh-TW" noProof="0" err="1"/>
              <a:t>bei</a:t>
            </a:r>
            <a:r>
              <a:rPr lang="en-US" altLang="zh-TW" noProof="0"/>
              <a:t> </a:t>
            </a:r>
            <a:r>
              <a:rPr lang="en-US" altLang="zh-TW" noProof="0" err="1"/>
              <a:t>einem</a:t>
            </a:r>
            <a:r>
              <a:rPr lang="en-US" altLang="zh-TW" noProof="0"/>
              <a:t> </a:t>
            </a:r>
            <a:r>
              <a:rPr lang="en-US" altLang="zh-TW" noProof="0" err="1"/>
              <a:t>Untertitel</a:t>
            </a:r>
            <a:r>
              <a:rPr lang="en-US" altLang="zh-TW" noProof="0"/>
              <a:t> </a:t>
            </a:r>
            <a:r>
              <a:rPr lang="en-US" altLang="zh-TW" noProof="0" err="1"/>
              <a:t>kann</a:t>
            </a:r>
            <a:r>
              <a:rPr lang="en-US" altLang="zh-TW" noProof="0"/>
              <a:t> der Text </a:t>
            </a:r>
            <a:r>
              <a:rPr lang="en-US" altLang="zh-TW" noProof="0" err="1"/>
              <a:t>fett</a:t>
            </a:r>
            <a:r>
              <a:rPr lang="en-US" altLang="zh-TW" noProof="0"/>
              <a:t> </a:t>
            </a:r>
            <a:r>
              <a:rPr lang="en-US" altLang="zh-TW" noProof="0" err="1"/>
              <a:t>gemacht</a:t>
            </a:r>
            <a:r>
              <a:rPr lang="en-US" altLang="zh-TW" noProof="0"/>
              <a:t> </a:t>
            </a:r>
            <a:r>
              <a:rPr lang="en-US" altLang="zh-TW" noProof="0" err="1"/>
              <a:t>werden</a:t>
            </a:r>
            <a:r>
              <a:rPr lang="en-US" altLang="zh-TW" noProof="0"/>
              <a:t>)</a:t>
            </a:r>
          </a:p>
          <a:p>
            <a:pPr lvl="0"/>
            <a:endParaRPr lang="zh-TW" altLang="en-US" noProof="0"/>
          </a:p>
          <a:p>
            <a:pPr lvl="1"/>
            <a:r>
              <a:rPr lang="en-US" altLang="zh-TW" noProof="0"/>
              <a:t>First bullet</a:t>
            </a:r>
          </a:p>
          <a:p>
            <a:pPr lvl="2"/>
            <a:r>
              <a:rPr lang="en-US" altLang="zh-TW" noProof="0"/>
              <a:t>Second bullet</a:t>
            </a:r>
          </a:p>
          <a:p>
            <a:pPr lvl="3"/>
            <a:r>
              <a:rPr lang="en-US" altLang="zh-TW" noProof="0"/>
              <a:t>Third bullet</a:t>
            </a:r>
          </a:p>
          <a:p>
            <a:pPr lvl="4"/>
            <a:r>
              <a:rPr lang="en-US" altLang="zh-TW" noProof="0"/>
              <a:t>Fourth bullet</a:t>
            </a:r>
          </a:p>
        </p:txBody>
      </p:sp>
    </p:spTree>
    <p:extLst>
      <p:ext uri="{BB962C8B-B14F-4D97-AF65-F5344CB8AC3E}">
        <p14:creationId xmlns:p14="http://schemas.microsoft.com/office/powerpoint/2010/main" val="1109033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baseline="0">
                <a:solidFill>
                  <a:schemeClr val="tx1"/>
                </a:solidFill>
              </a:defRPr>
            </a:lvl1pPr>
          </a:lstStyle>
          <a:p>
            <a:r>
              <a:rPr lang="en-US"/>
              <a:t>Add Title / </a:t>
            </a:r>
            <a:r>
              <a:rPr lang="en-US" err="1"/>
              <a:t>Titel</a:t>
            </a:r>
            <a:r>
              <a:rPr lang="en-US"/>
              <a:t> </a:t>
            </a:r>
            <a:r>
              <a:rPr lang="en-US" err="1"/>
              <a:t>hinzufügen</a:t>
            </a:r>
            <a:endParaRPr lang="en-US"/>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10509842" cy="306000"/>
          </a:xfrm>
        </p:spPr>
        <p:txBody>
          <a:bodyPr/>
          <a:lstStyle>
            <a:lvl1pPr>
              <a:spcBef>
                <a:spcPts val="0"/>
              </a:spcBef>
              <a:defRPr baseline="0"/>
            </a:lvl1pPr>
          </a:lstStyle>
          <a:p>
            <a:pPr lvl="0"/>
            <a:r>
              <a:rPr lang="en-US"/>
              <a:t>First Name Last Name, Job Function / </a:t>
            </a:r>
            <a:r>
              <a:rPr lang="en-US" err="1"/>
              <a:t>Vorname</a:t>
            </a:r>
            <a:r>
              <a:rPr lang="en-US"/>
              <a:t> </a:t>
            </a:r>
            <a:r>
              <a:rPr lang="en-US" err="1"/>
              <a:t>Nachname</a:t>
            </a:r>
            <a:r>
              <a:rPr lang="en-US"/>
              <a:t>, </a:t>
            </a:r>
            <a:r>
              <a:rPr lang="en-US" err="1"/>
              <a:t>Funktion</a:t>
            </a:r>
            <a:endParaRPr lang="en-US"/>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10512426" cy="306000"/>
          </a:xfrm>
        </p:spPr>
        <p:txBody>
          <a:bodyPr/>
          <a:lstStyle>
            <a:lvl1pPr>
              <a:spcBef>
                <a:spcPts val="0"/>
              </a:spcBef>
              <a:defRPr baseline="0"/>
            </a:lvl1pPr>
          </a:lstStyle>
          <a:p>
            <a:pPr lvl="0"/>
            <a:r>
              <a:rPr lang="en-US"/>
              <a:t>City Country, Month Year / </a:t>
            </a:r>
            <a:r>
              <a:rPr lang="en-US" err="1"/>
              <a:t>Stadt</a:t>
            </a:r>
            <a:r>
              <a:rPr lang="en-US"/>
              <a:t> Land, </a:t>
            </a:r>
            <a:r>
              <a:rPr lang="en-US" err="1"/>
              <a:t>Monat</a:t>
            </a:r>
            <a:r>
              <a:rPr lang="en-US"/>
              <a:t> </a:t>
            </a:r>
            <a:r>
              <a:rPr lang="en-US" err="1"/>
              <a:t>Jahr</a:t>
            </a:r>
            <a:endParaRPr lang="en-US"/>
          </a:p>
        </p:txBody>
      </p:sp>
      <p:pic>
        <p:nvPicPr>
          <p:cNvPr id="10" name="Grafik 9">
            <a:extLst>
              <a:ext uri="{FF2B5EF4-FFF2-40B4-BE49-F238E27FC236}">
                <a16:creationId xmlns:a16="http://schemas.microsoft.com/office/drawing/2014/main" id="{C3302D84-6649-4B9E-AC4B-E5A9B25475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4047" y="6365691"/>
            <a:ext cx="1905952" cy="276035"/>
          </a:xfrm>
          <a:prstGeom prst="rect">
            <a:avLst/>
          </a:prstGeom>
        </p:spPr>
      </p:pic>
    </p:spTree>
    <p:extLst>
      <p:ext uri="{BB962C8B-B14F-4D97-AF65-F5344CB8AC3E}">
        <p14:creationId xmlns:p14="http://schemas.microsoft.com/office/powerpoint/2010/main" val="18856934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Foliennummernplatzhalter 2">
            <a:extLst>
              <a:ext uri="{FF2B5EF4-FFF2-40B4-BE49-F238E27FC236}">
                <a16:creationId xmlns:a16="http://schemas.microsoft.com/office/drawing/2014/main" id="{685CC3A7-3D0E-4371-92B7-70F6D38A1DFA}"/>
              </a:ext>
            </a:extLst>
          </p:cNvPr>
          <p:cNvSpPr>
            <a:spLocks noGrp="1"/>
          </p:cNvSpPr>
          <p:nvPr>
            <p:ph type="sldNum" sz="quarter" idx="10"/>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11090330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Picture Lef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839788"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aseline="0"/>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a:p>
            <a:endParaRPr lang="en-US"/>
          </a:p>
        </p:txBody>
      </p:sp>
      <p:sp>
        <p:nvSpPr>
          <p:cNvPr id="6" name="Text Placeholder 5"/>
          <p:cNvSpPr>
            <a:spLocks noGrp="1"/>
          </p:cNvSpPr>
          <p:nvPr>
            <p:ph type="body" sz="quarter" idx="11" hasCustomPrompt="1"/>
          </p:nvPr>
        </p:nvSpPr>
        <p:spPr>
          <a:xfrm>
            <a:off x="6212541"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p>
            <a:r>
              <a:rPr lang="en-US" noProof="0"/>
              <a:t>Add Title / </a:t>
            </a:r>
            <a:r>
              <a:rPr lang="en-US" noProof="0" err="1"/>
              <a:t>Titel</a:t>
            </a:r>
            <a:r>
              <a:rPr lang="en-US" noProof="0"/>
              <a:t> </a:t>
            </a:r>
            <a:r>
              <a:rPr lang="en-US" noProof="0" err="1"/>
              <a:t>hinzufügen</a:t>
            </a:r>
            <a:r>
              <a:rPr lang="en-US" noProof="0"/>
              <a:t> </a:t>
            </a:r>
            <a:endParaRPr lang="en-US"/>
          </a:p>
        </p:txBody>
      </p:sp>
      <p:sp>
        <p:nvSpPr>
          <p:cNvPr id="2" name="Foliennummernplatzhalter 1">
            <a:extLst>
              <a:ext uri="{FF2B5EF4-FFF2-40B4-BE49-F238E27FC236}">
                <a16:creationId xmlns:a16="http://schemas.microsoft.com/office/drawing/2014/main" id="{7710B39A-FB8D-4117-8471-CF25246F782B}"/>
              </a:ext>
            </a:extLst>
          </p:cNvPr>
          <p:cNvSpPr>
            <a:spLocks noGrp="1"/>
          </p:cNvSpPr>
          <p:nvPr>
            <p:ph type="sldNum" sz="quarter" idx="12"/>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161229921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2" name="Foliennummernplatzhalter 1">
            <a:extLst>
              <a:ext uri="{FF2B5EF4-FFF2-40B4-BE49-F238E27FC236}">
                <a16:creationId xmlns:a16="http://schemas.microsoft.com/office/drawing/2014/main" id="{28F68E1B-252D-4464-9287-24642A2EF977}"/>
              </a:ext>
            </a:extLst>
          </p:cNvPr>
          <p:cNvSpPr>
            <a:spLocks noGrp="1"/>
          </p:cNvSpPr>
          <p:nvPr>
            <p:ph type="sldNum" sz="quarter" idx="12"/>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1941450309"/>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2" name="Foliennummernplatzhalter 1">
            <a:extLst>
              <a:ext uri="{FF2B5EF4-FFF2-40B4-BE49-F238E27FC236}">
                <a16:creationId xmlns:a16="http://schemas.microsoft.com/office/drawing/2014/main" id="{6DEAD031-EE7C-4798-A89A-83F471FC31AC}"/>
              </a:ext>
            </a:extLst>
          </p:cNvPr>
          <p:cNvSpPr>
            <a:spLocks noGrp="1"/>
          </p:cNvSpPr>
          <p:nvPr>
            <p:ph type="sldNum" sz="quarter" idx="10"/>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41557651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74341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93" name="Gruppieren 92">
            <a:extLst>
              <a:ext uri="{FF2B5EF4-FFF2-40B4-BE49-F238E27FC236}">
                <a16:creationId xmlns:a16="http://schemas.microsoft.com/office/drawing/2014/main" id="{D2D03C95-7237-41B3-B3C3-68EDD984A661}"/>
              </a:ext>
            </a:extLst>
          </p:cNvPr>
          <p:cNvGrpSpPr/>
          <p:nvPr userDrawn="1"/>
        </p:nvGrpSpPr>
        <p:grpSpPr>
          <a:xfrm>
            <a:off x="731952" y="3106800"/>
            <a:ext cx="11457648" cy="3516259"/>
            <a:chOff x="731952" y="3106800"/>
            <a:chExt cx="11457648" cy="3516259"/>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7" y="6345195"/>
              <a:ext cx="1500502" cy="229341"/>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Bildplatzhalter 35">
            <a:extLst>
              <a:ext uri="{FF2B5EF4-FFF2-40B4-BE49-F238E27FC236}">
                <a16:creationId xmlns:a16="http://schemas.microsoft.com/office/drawing/2014/main" id="{CA556C45-C7B9-47FE-BE2A-3541CDEB0B19}"/>
              </a:ext>
            </a:extLst>
          </p:cNvPr>
          <p:cNvSpPr>
            <a:spLocks noGrp="1"/>
          </p:cNvSpPr>
          <p:nvPr>
            <p:ph type="pic" sz="quarter" idx="14"/>
          </p:nvPr>
        </p:nvSpPr>
        <p:spPr>
          <a:xfrm>
            <a:off x="9" y="4"/>
            <a:ext cx="12188817" cy="6857997"/>
          </a:xfrm>
          <a:custGeom>
            <a:avLst/>
            <a:gdLst>
              <a:gd name="connsiteX0" fmla="*/ 2164817 w 12188817"/>
              <a:gd name="connsiteY0" fmla="*/ 6506714 h 6857997"/>
              <a:gd name="connsiteX1" fmla="*/ 2164817 w 12188817"/>
              <a:gd name="connsiteY1" fmla="*/ 6521015 h 6857997"/>
              <a:gd name="connsiteX2" fmla="*/ 2170608 w 12188817"/>
              <a:gd name="connsiteY2" fmla="*/ 6521015 h 6857997"/>
              <a:gd name="connsiteX3" fmla="*/ 2168864 w 12188817"/>
              <a:gd name="connsiteY3" fmla="*/ 6530887 h 6857997"/>
              <a:gd name="connsiteX4" fmla="*/ 2164120 w 12188817"/>
              <a:gd name="connsiteY4" fmla="*/ 6535875 h 6857997"/>
              <a:gd name="connsiteX5" fmla="*/ 2166980 w 12188817"/>
              <a:gd name="connsiteY5" fmla="*/ 6541247 h 6857997"/>
              <a:gd name="connsiteX6" fmla="*/ 2174096 w 12188817"/>
              <a:gd name="connsiteY6" fmla="*/ 6534026 h 6857997"/>
              <a:gd name="connsiteX7" fmla="*/ 2176538 w 12188817"/>
              <a:gd name="connsiteY7" fmla="*/ 6521015 h 6857997"/>
              <a:gd name="connsiteX8" fmla="*/ 2176538 w 12188817"/>
              <a:gd name="connsiteY8" fmla="*/ 6506714 h 6857997"/>
              <a:gd name="connsiteX9" fmla="*/ 6291674 w 12188817"/>
              <a:gd name="connsiteY9" fmla="*/ 6483831 h 6857997"/>
              <a:gd name="connsiteX10" fmla="*/ 6291674 w 12188817"/>
              <a:gd name="connsiteY10" fmla="*/ 6488436 h 6857997"/>
              <a:gd name="connsiteX11" fmla="*/ 6289442 w 12188817"/>
              <a:gd name="connsiteY11" fmla="*/ 6502354 h 6857997"/>
              <a:gd name="connsiteX12" fmla="*/ 6282709 w 12188817"/>
              <a:gd name="connsiteY12" fmla="*/ 6509993 h 6857997"/>
              <a:gd name="connsiteX13" fmla="*/ 6272698 w 12188817"/>
              <a:gd name="connsiteY13" fmla="*/ 6512853 h 6857997"/>
              <a:gd name="connsiteX14" fmla="*/ 6263629 w 12188817"/>
              <a:gd name="connsiteY14" fmla="*/ 6509679 h 6857997"/>
              <a:gd name="connsiteX15" fmla="*/ 6260350 w 12188817"/>
              <a:gd name="connsiteY15" fmla="*/ 6501203 h 6857997"/>
              <a:gd name="connsiteX16" fmla="*/ 6261780 w 12188817"/>
              <a:gd name="connsiteY16" fmla="*/ 6495168 h 6857997"/>
              <a:gd name="connsiteX17" fmla="*/ 6265792 w 12188817"/>
              <a:gd name="connsiteY17" fmla="*/ 6491122 h 6857997"/>
              <a:gd name="connsiteX18" fmla="*/ 6274861 w 12188817"/>
              <a:gd name="connsiteY18" fmla="*/ 6488575 h 6857997"/>
              <a:gd name="connsiteX19" fmla="*/ 6291674 w 12188817"/>
              <a:gd name="connsiteY19" fmla="*/ 6483831 h 6857997"/>
              <a:gd name="connsiteX20" fmla="*/ 2657736 w 12188817"/>
              <a:gd name="connsiteY20" fmla="*/ 6483831 h 6857997"/>
              <a:gd name="connsiteX21" fmla="*/ 2657736 w 12188817"/>
              <a:gd name="connsiteY21" fmla="*/ 6488436 h 6857997"/>
              <a:gd name="connsiteX22" fmla="*/ 2655504 w 12188817"/>
              <a:gd name="connsiteY22" fmla="*/ 6502354 h 6857997"/>
              <a:gd name="connsiteX23" fmla="*/ 2648771 w 12188817"/>
              <a:gd name="connsiteY23" fmla="*/ 6509993 h 6857997"/>
              <a:gd name="connsiteX24" fmla="*/ 2638760 w 12188817"/>
              <a:gd name="connsiteY24" fmla="*/ 6512853 h 6857997"/>
              <a:gd name="connsiteX25" fmla="*/ 2629691 w 12188817"/>
              <a:gd name="connsiteY25" fmla="*/ 6509679 h 6857997"/>
              <a:gd name="connsiteX26" fmla="*/ 2626412 w 12188817"/>
              <a:gd name="connsiteY26" fmla="*/ 6501203 h 6857997"/>
              <a:gd name="connsiteX27" fmla="*/ 2627843 w 12188817"/>
              <a:gd name="connsiteY27" fmla="*/ 6495168 h 6857997"/>
              <a:gd name="connsiteX28" fmla="*/ 2631854 w 12188817"/>
              <a:gd name="connsiteY28" fmla="*/ 6491122 h 6857997"/>
              <a:gd name="connsiteX29" fmla="*/ 2640923 w 12188817"/>
              <a:gd name="connsiteY29" fmla="*/ 6488575 h 6857997"/>
              <a:gd name="connsiteX30" fmla="*/ 2657736 w 12188817"/>
              <a:gd name="connsiteY30" fmla="*/ 6483831 h 6857997"/>
              <a:gd name="connsiteX31" fmla="*/ 6087291 w 12188817"/>
              <a:gd name="connsiteY31" fmla="*/ 6455577 h 6857997"/>
              <a:gd name="connsiteX32" fmla="*/ 6099918 w 12188817"/>
              <a:gd name="connsiteY32" fmla="*/ 6462484 h 6857997"/>
              <a:gd name="connsiteX33" fmla="*/ 6104034 w 12188817"/>
              <a:gd name="connsiteY33" fmla="*/ 6476855 h 6857997"/>
              <a:gd name="connsiteX34" fmla="*/ 6070131 w 12188817"/>
              <a:gd name="connsiteY34" fmla="*/ 6476855 h 6857997"/>
              <a:gd name="connsiteX35" fmla="*/ 6075502 w 12188817"/>
              <a:gd name="connsiteY35" fmla="*/ 6461333 h 6857997"/>
              <a:gd name="connsiteX36" fmla="*/ 6087291 w 12188817"/>
              <a:gd name="connsiteY36" fmla="*/ 6455577 h 6857997"/>
              <a:gd name="connsiteX37" fmla="*/ 6018394 w 12188817"/>
              <a:gd name="connsiteY37" fmla="*/ 6455577 h 6857997"/>
              <a:gd name="connsiteX38" fmla="*/ 6030544 w 12188817"/>
              <a:gd name="connsiteY38" fmla="*/ 6462728 h 6857997"/>
              <a:gd name="connsiteX39" fmla="*/ 6035357 w 12188817"/>
              <a:gd name="connsiteY39" fmla="*/ 6485436 h 6857997"/>
              <a:gd name="connsiteX40" fmla="*/ 6030544 w 12188817"/>
              <a:gd name="connsiteY40" fmla="*/ 6505667 h 6857997"/>
              <a:gd name="connsiteX41" fmla="*/ 6019162 w 12188817"/>
              <a:gd name="connsiteY41" fmla="*/ 6512365 h 6857997"/>
              <a:gd name="connsiteX42" fmla="*/ 6007540 w 12188817"/>
              <a:gd name="connsiteY42" fmla="*/ 6505388 h 6857997"/>
              <a:gd name="connsiteX43" fmla="*/ 6002550 w 12188817"/>
              <a:gd name="connsiteY43" fmla="*/ 6484041 h 6857997"/>
              <a:gd name="connsiteX44" fmla="*/ 6007226 w 12188817"/>
              <a:gd name="connsiteY44" fmla="*/ 6462449 h 6857997"/>
              <a:gd name="connsiteX45" fmla="*/ 6018394 w 12188817"/>
              <a:gd name="connsiteY45" fmla="*/ 6455577 h 6857997"/>
              <a:gd name="connsiteX46" fmla="*/ 5829559 w 12188817"/>
              <a:gd name="connsiteY46" fmla="*/ 6455577 h 6857997"/>
              <a:gd name="connsiteX47" fmla="*/ 5842534 w 12188817"/>
              <a:gd name="connsiteY47" fmla="*/ 6462597 h 6857997"/>
              <a:gd name="connsiteX48" fmla="*/ 5847769 w 12188817"/>
              <a:gd name="connsiteY48" fmla="*/ 6483936 h 6857997"/>
              <a:gd name="connsiteX49" fmla="*/ 5842571 w 12188817"/>
              <a:gd name="connsiteY49" fmla="*/ 6505275 h 6857997"/>
              <a:gd name="connsiteX50" fmla="*/ 5830117 w 12188817"/>
              <a:gd name="connsiteY50" fmla="*/ 6512365 h 6857997"/>
              <a:gd name="connsiteX51" fmla="*/ 5817141 w 12188817"/>
              <a:gd name="connsiteY51" fmla="*/ 6505345 h 6857997"/>
              <a:gd name="connsiteX52" fmla="*/ 5811909 w 12188817"/>
              <a:gd name="connsiteY52" fmla="*/ 6483936 h 6857997"/>
              <a:gd name="connsiteX53" fmla="*/ 5817070 w 12188817"/>
              <a:gd name="connsiteY53" fmla="*/ 6462632 h 6857997"/>
              <a:gd name="connsiteX54" fmla="*/ 5829559 w 12188817"/>
              <a:gd name="connsiteY54" fmla="*/ 6455577 h 6857997"/>
              <a:gd name="connsiteX55" fmla="*/ 2774981 w 12188817"/>
              <a:gd name="connsiteY55" fmla="*/ 6455577 h 6857997"/>
              <a:gd name="connsiteX56" fmla="*/ 2787127 w 12188817"/>
              <a:gd name="connsiteY56" fmla="*/ 6462728 h 6857997"/>
              <a:gd name="connsiteX57" fmla="*/ 2791944 w 12188817"/>
              <a:gd name="connsiteY57" fmla="*/ 6485436 h 6857997"/>
              <a:gd name="connsiteX58" fmla="*/ 2787127 w 12188817"/>
              <a:gd name="connsiteY58" fmla="*/ 6505667 h 6857997"/>
              <a:gd name="connsiteX59" fmla="*/ 2775749 w 12188817"/>
              <a:gd name="connsiteY59" fmla="*/ 6512365 h 6857997"/>
              <a:gd name="connsiteX60" fmla="*/ 2764126 w 12188817"/>
              <a:gd name="connsiteY60" fmla="*/ 6505388 h 6857997"/>
              <a:gd name="connsiteX61" fmla="*/ 2759134 w 12188817"/>
              <a:gd name="connsiteY61" fmla="*/ 6484041 h 6857997"/>
              <a:gd name="connsiteX62" fmla="*/ 2763811 w 12188817"/>
              <a:gd name="connsiteY62" fmla="*/ 6462449 h 6857997"/>
              <a:gd name="connsiteX63" fmla="*/ 2774981 w 12188817"/>
              <a:gd name="connsiteY63" fmla="*/ 6455577 h 6857997"/>
              <a:gd name="connsiteX64" fmla="*/ 2510503 w 12188817"/>
              <a:gd name="connsiteY64" fmla="*/ 6455577 h 6857997"/>
              <a:gd name="connsiteX65" fmla="*/ 2523130 w 12188817"/>
              <a:gd name="connsiteY65" fmla="*/ 6462484 h 6857997"/>
              <a:gd name="connsiteX66" fmla="*/ 2527246 w 12188817"/>
              <a:gd name="connsiteY66" fmla="*/ 6476855 h 6857997"/>
              <a:gd name="connsiteX67" fmla="*/ 2493341 w 12188817"/>
              <a:gd name="connsiteY67" fmla="*/ 6476855 h 6857997"/>
              <a:gd name="connsiteX68" fmla="*/ 2498713 w 12188817"/>
              <a:gd name="connsiteY68" fmla="*/ 6461333 h 6857997"/>
              <a:gd name="connsiteX69" fmla="*/ 2510503 w 12188817"/>
              <a:gd name="connsiteY69" fmla="*/ 6455577 h 6857997"/>
              <a:gd name="connsiteX70" fmla="*/ 1871770 w 12188817"/>
              <a:gd name="connsiteY70" fmla="*/ 6455577 h 6857997"/>
              <a:gd name="connsiteX71" fmla="*/ 1884746 w 12188817"/>
              <a:gd name="connsiteY71" fmla="*/ 6462597 h 6857997"/>
              <a:gd name="connsiteX72" fmla="*/ 1889978 w 12188817"/>
              <a:gd name="connsiteY72" fmla="*/ 6483936 h 6857997"/>
              <a:gd name="connsiteX73" fmla="*/ 1884781 w 12188817"/>
              <a:gd name="connsiteY73" fmla="*/ 6505275 h 6857997"/>
              <a:gd name="connsiteX74" fmla="*/ 1872328 w 12188817"/>
              <a:gd name="connsiteY74" fmla="*/ 6512365 h 6857997"/>
              <a:gd name="connsiteX75" fmla="*/ 1859352 w 12188817"/>
              <a:gd name="connsiteY75" fmla="*/ 6505345 h 6857997"/>
              <a:gd name="connsiteX76" fmla="*/ 1854120 w 12188817"/>
              <a:gd name="connsiteY76" fmla="*/ 6483936 h 6857997"/>
              <a:gd name="connsiteX77" fmla="*/ 1859282 w 12188817"/>
              <a:gd name="connsiteY77" fmla="*/ 6462632 h 6857997"/>
              <a:gd name="connsiteX78" fmla="*/ 1871770 w 12188817"/>
              <a:gd name="connsiteY78" fmla="*/ 6455577 h 6857997"/>
              <a:gd name="connsiteX79" fmla="*/ 1586578 w 12188817"/>
              <a:gd name="connsiteY79" fmla="*/ 6455577 h 6857997"/>
              <a:gd name="connsiteX80" fmla="*/ 1599205 w 12188817"/>
              <a:gd name="connsiteY80" fmla="*/ 6462484 h 6857997"/>
              <a:gd name="connsiteX81" fmla="*/ 1603321 w 12188817"/>
              <a:gd name="connsiteY81" fmla="*/ 6476855 h 6857997"/>
              <a:gd name="connsiteX82" fmla="*/ 1569416 w 12188817"/>
              <a:gd name="connsiteY82" fmla="*/ 6476855 h 6857997"/>
              <a:gd name="connsiteX83" fmla="*/ 1574788 w 12188817"/>
              <a:gd name="connsiteY83" fmla="*/ 6461333 h 6857997"/>
              <a:gd name="connsiteX84" fmla="*/ 1586578 w 12188817"/>
              <a:gd name="connsiteY84" fmla="*/ 6455577 h 6857997"/>
              <a:gd name="connsiteX85" fmla="*/ 1317679 w 12188817"/>
              <a:gd name="connsiteY85" fmla="*/ 6455577 h 6857997"/>
              <a:gd name="connsiteX86" fmla="*/ 1329914 w 12188817"/>
              <a:gd name="connsiteY86" fmla="*/ 6462397 h 6857997"/>
              <a:gd name="connsiteX87" fmla="*/ 1334947 w 12188817"/>
              <a:gd name="connsiteY87" fmla="*/ 6483204 h 6857997"/>
              <a:gd name="connsiteX88" fmla="*/ 1330053 w 12188817"/>
              <a:gd name="connsiteY88" fmla="*/ 6504116 h 6857997"/>
              <a:gd name="connsiteX89" fmla="*/ 1318169 w 12188817"/>
              <a:gd name="connsiteY89" fmla="*/ 6510690 h 6857997"/>
              <a:gd name="connsiteX90" fmla="*/ 1306354 w 12188817"/>
              <a:gd name="connsiteY90" fmla="*/ 6503976 h 6857997"/>
              <a:gd name="connsiteX91" fmla="*/ 1301530 w 12188817"/>
              <a:gd name="connsiteY91" fmla="*/ 6482644 h 6857997"/>
              <a:gd name="connsiteX92" fmla="*/ 1306389 w 12188817"/>
              <a:gd name="connsiteY92" fmla="*/ 6462397 h 6857997"/>
              <a:gd name="connsiteX93" fmla="*/ 1317679 w 12188817"/>
              <a:gd name="connsiteY93" fmla="*/ 6455577 h 6857997"/>
              <a:gd name="connsiteX94" fmla="*/ 1071670 w 12188817"/>
              <a:gd name="connsiteY94" fmla="*/ 6455577 h 6857997"/>
              <a:gd name="connsiteX95" fmla="*/ 1084646 w 12188817"/>
              <a:gd name="connsiteY95" fmla="*/ 6462597 h 6857997"/>
              <a:gd name="connsiteX96" fmla="*/ 1089878 w 12188817"/>
              <a:gd name="connsiteY96" fmla="*/ 6483936 h 6857997"/>
              <a:gd name="connsiteX97" fmla="*/ 1084681 w 12188817"/>
              <a:gd name="connsiteY97" fmla="*/ 6505275 h 6857997"/>
              <a:gd name="connsiteX98" fmla="*/ 1072228 w 12188817"/>
              <a:gd name="connsiteY98" fmla="*/ 6512365 h 6857997"/>
              <a:gd name="connsiteX99" fmla="*/ 1059252 w 12188817"/>
              <a:gd name="connsiteY99" fmla="*/ 6505345 h 6857997"/>
              <a:gd name="connsiteX100" fmla="*/ 1054020 w 12188817"/>
              <a:gd name="connsiteY100" fmla="*/ 6483936 h 6857997"/>
              <a:gd name="connsiteX101" fmla="*/ 1059182 w 12188817"/>
              <a:gd name="connsiteY101" fmla="*/ 6462632 h 6857997"/>
              <a:gd name="connsiteX102" fmla="*/ 1071670 w 12188817"/>
              <a:gd name="connsiteY102" fmla="*/ 6455577 h 6857997"/>
              <a:gd name="connsiteX103" fmla="*/ 1139782 w 12188817"/>
              <a:gd name="connsiteY103" fmla="*/ 6455089 h 6857997"/>
              <a:gd name="connsiteX104" fmla="*/ 1151472 w 12188817"/>
              <a:gd name="connsiteY104" fmla="*/ 6462065 h 6857997"/>
              <a:gd name="connsiteX105" fmla="*/ 1156274 w 12188817"/>
              <a:gd name="connsiteY105" fmla="*/ 6483552 h 6857997"/>
              <a:gd name="connsiteX106" fmla="*/ 1151334 w 12188817"/>
              <a:gd name="connsiteY106" fmla="*/ 6505319 h 6857997"/>
              <a:gd name="connsiteX107" fmla="*/ 1139852 w 12188817"/>
              <a:gd name="connsiteY107" fmla="*/ 6512365 h 6857997"/>
              <a:gd name="connsiteX108" fmla="*/ 1128229 w 12188817"/>
              <a:gd name="connsiteY108" fmla="*/ 6505563 h 6857997"/>
              <a:gd name="connsiteX109" fmla="*/ 1123428 w 12188817"/>
              <a:gd name="connsiteY109" fmla="*/ 6484390 h 6857997"/>
              <a:gd name="connsiteX110" fmla="*/ 1128508 w 12188817"/>
              <a:gd name="connsiteY110" fmla="*/ 6462589 h 6857997"/>
              <a:gd name="connsiteX111" fmla="*/ 1139782 w 12188817"/>
              <a:gd name="connsiteY111" fmla="*/ 6455089 h 6857997"/>
              <a:gd name="connsiteX112" fmla="*/ 6224380 w 12188817"/>
              <a:gd name="connsiteY112" fmla="*/ 6446927 h 6857997"/>
              <a:gd name="connsiteX113" fmla="*/ 6224380 w 12188817"/>
              <a:gd name="connsiteY113" fmla="*/ 6521015 h 6857997"/>
              <a:gd name="connsiteX114" fmla="*/ 6234636 w 12188817"/>
              <a:gd name="connsiteY114" fmla="*/ 6521015 h 6857997"/>
              <a:gd name="connsiteX115" fmla="*/ 6234636 w 12188817"/>
              <a:gd name="connsiteY115" fmla="*/ 6446927 h 6857997"/>
              <a:gd name="connsiteX116" fmla="*/ 5967205 w 12188817"/>
              <a:gd name="connsiteY116" fmla="*/ 6446927 h 6857997"/>
              <a:gd name="connsiteX117" fmla="*/ 5967205 w 12188817"/>
              <a:gd name="connsiteY117" fmla="*/ 6521015 h 6857997"/>
              <a:gd name="connsiteX118" fmla="*/ 5977462 w 12188817"/>
              <a:gd name="connsiteY118" fmla="*/ 6521015 h 6857997"/>
              <a:gd name="connsiteX119" fmla="*/ 5977462 w 12188817"/>
              <a:gd name="connsiteY119" fmla="*/ 6446927 h 6857997"/>
              <a:gd name="connsiteX120" fmla="*/ 2380892 w 12188817"/>
              <a:gd name="connsiteY120" fmla="*/ 6446927 h 6857997"/>
              <a:gd name="connsiteX121" fmla="*/ 2380892 w 12188817"/>
              <a:gd name="connsiteY121" fmla="*/ 6521015 h 6857997"/>
              <a:gd name="connsiteX122" fmla="*/ 2391148 w 12188817"/>
              <a:gd name="connsiteY122" fmla="*/ 6521015 h 6857997"/>
              <a:gd name="connsiteX123" fmla="*/ 2391148 w 12188817"/>
              <a:gd name="connsiteY123" fmla="*/ 6446927 h 6857997"/>
              <a:gd name="connsiteX124" fmla="*/ 2287703 w 12188817"/>
              <a:gd name="connsiteY124" fmla="*/ 6446927 h 6857997"/>
              <a:gd name="connsiteX125" fmla="*/ 2306367 w 12188817"/>
              <a:gd name="connsiteY125" fmla="*/ 6521015 h 6857997"/>
              <a:gd name="connsiteX126" fmla="*/ 2317108 w 12188817"/>
              <a:gd name="connsiteY126" fmla="*/ 6521015 h 6857997"/>
              <a:gd name="connsiteX127" fmla="*/ 2329386 w 12188817"/>
              <a:gd name="connsiteY127" fmla="*/ 6464019 h 6857997"/>
              <a:gd name="connsiteX128" fmla="*/ 2331689 w 12188817"/>
              <a:gd name="connsiteY128" fmla="*/ 6476646 h 6857997"/>
              <a:gd name="connsiteX129" fmla="*/ 2341385 w 12188817"/>
              <a:gd name="connsiteY129" fmla="*/ 6521015 h 6857997"/>
              <a:gd name="connsiteX130" fmla="*/ 2352104 w 12188817"/>
              <a:gd name="connsiteY130" fmla="*/ 6521015 h 6857997"/>
              <a:gd name="connsiteX131" fmla="*/ 2371070 w 12188817"/>
              <a:gd name="connsiteY131" fmla="*/ 6446927 h 6857997"/>
              <a:gd name="connsiteX132" fmla="*/ 2361025 w 12188817"/>
              <a:gd name="connsiteY132" fmla="*/ 6446927 h 6857997"/>
              <a:gd name="connsiteX133" fmla="*/ 2350655 w 12188817"/>
              <a:gd name="connsiteY133" fmla="*/ 6489761 h 6857997"/>
              <a:gd name="connsiteX134" fmla="*/ 2347176 w 12188817"/>
              <a:gd name="connsiteY134" fmla="*/ 6504063 h 6857997"/>
              <a:gd name="connsiteX135" fmla="*/ 2344116 w 12188817"/>
              <a:gd name="connsiteY135" fmla="*/ 6489901 h 6857997"/>
              <a:gd name="connsiteX136" fmla="*/ 2335078 w 12188817"/>
              <a:gd name="connsiteY136" fmla="*/ 6446927 h 6857997"/>
              <a:gd name="connsiteX137" fmla="*/ 2324448 w 12188817"/>
              <a:gd name="connsiteY137" fmla="*/ 6446927 h 6857997"/>
              <a:gd name="connsiteX138" fmla="*/ 2314810 w 12188817"/>
              <a:gd name="connsiteY138" fmla="*/ 6490319 h 6857997"/>
              <a:gd name="connsiteX139" fmla="*/ 2311597 w 12188817"/>
              <a:gd name="connsiteY139" fmla="*/ 6505598 h 6857997"/>
              <a:gd name="connsiteX140" fmla="*/ 2308021 w 12188817"/>
              <a:gd name="connsiteY140" fmla="*/ 6489692 h 6857997"/>
              <a:gd name="connsiteX141" fmla="*/ 2298346 w 12188817"/>
              <a:gd name="connsiteY141" fmla="*/ 6446927 h 6857997"/>
              <a:gd name="connsiteX142" fmla="*/ 1818918 w 12188817"/>
              <a:gd name="connsiteY142" fmla="*/ 6446927 h 6857997"/>
              <a:gd name="connsiteX143" fmla="*/ 1818918 w 12188817"/>
              <a:gd name="connsiteY143" fmla="*/ 6521015 h 6857997"/>
              <a:gd name="connsiteX144" fmla="*/ 1829173 w 12188817"/>
              <a:gd name="connsiteY144" fmla="*/ 6521015 h 6857997"/>
              <a:gd name="connsiteX145" fmla="*/ 1829173 w 12188817"/>
              <a:gd name="connsiteY145" fmla="*/ 6446927 h 6857997"/>
              <a:gd name="connsiteX146" fmla="*/ 1752242 w 12188817"/>
              <a:gd name="connsiteY146" fmla="*/ 6446927 h 6857997"/>
              <a:gd name="connsiteX147" fmla="*/ 1752242 w 12188817"/>
              <a:gd name="connsiteY147" fmla="*/ 6521015 h 6857997"/>
              <a:gd name="connsiteX148" fmla="*/ 1762498 w 12188817"/>
              <a:gd name="connsiteY148" fmla="*/ 6521015 h 6857997"/>
              <a:gd name="connsiteX149" fmla="*/ 1762498 w 12188817"/>
              <a:gd name="connsiteY149" fmla="*/ 6446927 h 6857997"/>
              <a:gd name="connsiteX150" fmla="*/ 1266468 w 12188817"/>
              <a:gd name="connsiteY150" fmla="*/ 6446927 h 6857997"/>
              <a:gd name="connsiteX151" fmla="*/ 1266468 w 12188817"/>
              <a:gd name="connsiteY151" fmla="*/ 6521015 h 6857997"/>
              <a:gd name="connsiteX152" fmla="*/ 1276723 w 12188817"/>
              <a:gd name="connsiteY152" fmla="*/ 6521015 h 6857997"/>
              <a:gd name="connsiteX153" fmla="*/ 1276723 w 12188817"/>
              <a:gd name="connsiteY153" fmla="*/ 6446927 h 6857997"/>
              <a:gd name="connsiteX154" fmla="*/ 6278768 w 12188817"/>
              <a:gd name="connsiteY154" fmla="*/ 6445252 h 6857997"/>
              <a:gd name="connsiteX155" fmla="*/ 6259897 w 12188817"/>
              <a:gd name="connsiteY155" fmla="*/ 6450694 h 6857997"/>
              <a:gd name="connsiteX156" fmla="*/ 6251142 w 12188817"/>
              <a:gd name="connsiteY156" fmla="*/ 6468065 h 6857997"/>
              <a:gd name="connsiteX157" fmla="*/ 6261257 w 12188817"/>
              <a:gd name="connsiteY157" fmla="*/ 6469739 h 6857997"/>
              <a:gd name="connsiteX158" fmla="*/ 6266489 w 12188817"/>
              <a:gd name="connsiteY158" fmla="*/ 6458557 h 6857997"/>
              <a:gd name="connsiteX159" fmla="*/ 6277233 w 12188817"/>
              <a:gd name="connsiteY159" fmla="*/ 6455577 h 6857997"/>
              <a:gd name="connsiteX160" fmla="*/ 6289023 w 12188817"/>
              <a:gd name="connsiteY160" fmla="*/ 6460042 h 6857997"/>
              <a:gd name="connsiteX161" fmla="*/ 6291744 w 12188817"/>
              <a:gd name="connsiteY161" fmla="*/ 6470716 h 6857997"/>
              <a:gd name="connsiteX162" fmla="*/ 6291674 w 12188817"/>
              <a:gd name="connsiteY162" fmla="*/ 6473925 h 6857997"/>
              <a:gd name="connsiteX163" fmla="*/ 6273256 w 12188817"/>
              <a:gd name="connsiteY163" fmla="*/ 6478320 h 6857997"/>
              <a:gd name="connsiteX164" fmla="*/ 6259304 w 12188817"/>
              <a:gd name="connsiteY164" fmla="*/ 6482436 h 6857997"/>
              <a:gd name="connsiteX165" fmla="*/ 6252048 w 12188817"/>
              <a:gd name="connsiteY165" fmla="*/ 6490180 h 6857997"/>
              <a:gd name="connsiteX166" fmla="*/ 6249397 w 12188817"/>
              <a:gd name="connsiteY166" fmla="*/ 6501551 h 6857997"/>
              <a:gd name="connsiteX167" fmla="*/ 6255048 w 12188817"/>
              <a:gd name="connsiteY167" fmla="*/ 6516969 h 6857997"/>
              <a:gd name="connsiteX168" fmla="*/ 6270187 w 12188817"/>
              <a:gd name="connsiteY168" fmla="*/ 6522690 h 6857997"/>
              <a:gd name="connsiteX169" fmla="*/ 6281768 w 12188817"/>
              <a:gd name="connsiteY169" fmla="*/ 6519968 h 6857997"/>
              <a:gd name="connsiteX170" fmla="*/ 6292511 w 12188817"/>
              <a:gd name="connsiteY170" fmla="*/ 6511875 h 6857997"/>
              <a:gd name="connsiteX171" fmla="*/ 6294604 w 12188817"/>
              <a:gd name="connsiteY171" fmla="*/ 6521015 h 6857997"/>
              <a:gd name="connsiteX172" fmla="*/ 6305348 w 12188817"/>
              <a:gd name="connsiteY172" fmla="*/ 6521015 h 6857997"/>
              <a:gd name="connsiteX173" fmla="*/ 6302731 w 12188817"/>
              <a:gd name="connsiteY173" fmla="*/ 6512120 h 6857997"/>
              <a:gd name="connsiteX174" fmla="*/ 6302069 w 12188817"/>
              <a:gd name="connsiteY174" fmla="*/ 6489971 h 6857997"/>
              <a:gd name="connsiteX175" fmla="*/ 6302069 w 12188817"/>
              <a:gd name="connsiteY175" fmla="*/ 6473227 h 6857997"/>
              <a:gd name="connsiteX176" fmla="*/ 6300639 w 12188817"/>
              <a:gd name="connsiteY176" fmla="*/ 6457740 h 6857997"/>
              <a:gd name="connsiteX177" fmla="*/ 6293767 w 12188817"/>
              <a:gd name="connsiteY177" fmla="*/ 6448845 h 6857997"/>
              <a:gd name="connsiteX178" fmla="*/ 6278768 w 12188817"/>
              <a:gd name="connsiteY178" fmla="*/ 6445252 h 6857997"/>
              <a:gd name="connsiteX179" fmla="*/ 6157700 w 12188817"/>
              <a:gd name="connsiteY179" fmla="*/ 6445252 h 6857997"/>
              <a:gd name="connsiteX180" fmla="*/ 6146592 w 12188817"/>
              <a:gd name="connsiteY180" fmla="*/ 6448270 h 6857997"/>
              <a:gd name="connsiteX181" fmla="*/ 6138409 w 12188817"/>
              <a:gd name="connsiteY181" fmla="*/ 6457392 h 6857997"/>
              <a:gd name="connsiteX182" fmla="*/ 6138409 w 12188817"/>
              <a:gd name="connsiteY182" fmla="*/ 6446927 h 6857997"/>
              <a:gd name="connsiteX183" fmla="*/ 6129130 w 12188817"/>
              <a:gd name="connsiteY183" fmla="*/ 6446927 h 6857997"/>
              <a:gd name="connsiteX184" fmla="*/ 6129130 w 12188817"/>
              <a:gd name="connsiteY184" fmla="*/ 6521015 h 6857997"/>
              <a:gd name="connsiteX185" fmla="*/ 6139386 w 12188817"/>
              <a:gd name="connsiteY185" fmla="*/ 6521015 h 6857997"/>
              <a:gd name="connsiteX186" fmla="*/ 6139386 w 12188817"/>
              <a:gd name="connsiteY186" fmla="*/ 6480509 h 6857997"/>
              <a:gd name="connsiteX187" fmla="*/ 6143781 w 12188817"/>
              <a:gd name="connsiteY187" fmla="*/ 6461583 h 6857997"/>
              <a:gd name="connsiteX188" fmla="*/ 6155571 w 12188817"/>
              <a:gd name="connsiteY188" fmla="*/ 6456066 h 6857997"/>
              <a:gd name="connsiteX189" fmla="*/ 6162442 w 12188817"/>
              <a:gd name="connsiteY189" fmla="*/ 6458126 h 6857997"/>
              <a:gd name="connsiteX190" fmla="*/ 6166803 w 12188817"/>
              <a:gd name="connsiteY190" fmla="*/ 6463957 h 6857997"/>
              <a:gd name="connsiteX191" fmla="*/ 6168198 w 12188817"/>
              <a:gd name="connsiteY191" fmla="*/ 6475900 h 6857997"/>
              <a:gd name="connsiteX192" fmla="*/ 6168198 w 12188817"/>
              <a:gd name="connsiteY192" fmla="*/ 6521015 h 6857997"/>
              <a:gd name="connsiteX193" fmla="*/ 6178453 w 12188817"/>
              <a:gd name="connsiteY193" fmla="*/ 6521015 h 6857997"/>
              <a:gd name="connsiteX194" fmla="*/ 6178453 w 12188817"/>
              <a:gd name="connsiteY194" fmla="*/ 6475460 h 6857997"/>
              <a:gd name="connsiteX195" fmla="*/ 6177199 w 12188817"/>
              <a:gd name="connsiteY195" fmla="*/ 6460252 h 6857997"/>
              <a:gd name="connsiteX196" fmla="*/ 6173404 w 12188817"/>
              <a:gd name="connsiteY196" fmla="*/ 6452194 h 6857997"/>
              <a:gd name="connsiteX197" fmla="*/ 6166718 w 12188817"/>
              <a:gd name="connsiteY197" fmla="*/ 6447171 h 6857997"/>
              <a:gd name="connsiteX198" fmla="*/ 6157700 w 12188817"/>
              <a:gd name="connsiteY198" fmla="*/ 6445252 h 6857997"/>
              <a:gd name="connsiteX199" fmla="*/ 6087364 w 12188817"/>
              <a:gd name="connsiteY199" fmla="*/ 6445252 h 6857997"/>
              <a:gd name="connsiteX200" fmla="*/ 6066956 w 12188817"/>
              <a:gd name="connsiteY200" fmla="*/ 6455333 h 6857997"/>
              <a:gd name="connsiteX201" fmla="*/ 6058897 w 12188817"/>
              <a:gd name="connsiteY201" fmla="*/ 6484599 h 6857997"/>
              <a:gd name="connsiteX202" fmla="*/ 6066885 w 12188817"/>
              <a:gd name="connsiteY202" fmla="*/ 6512888 h 6857997"/>
              <a:gd name="connsiteX203" fmla="*/ 6087781 w 12188817"/>
              <a:gd name="connsiteY203" fmla="*/ 6522690 h 6857997"/>
              <a:gd name="connsiteX204" fmla="*/ 6104976 w 12188817"/>
              <a:gd name="connsiteY204" fmla="*/ 6516655 h 6857997"/>
              <a:gd name="connsiteX205" fmla="*/ 6114569 w 12188817"/>
              <a:gd name="connsiteY205" fmla="*/ 6498761 h 6857997"/>
              <a:gd name="connsiteX206" fmla="*/ 6103965 w 12188817"/>
              <a:gd name="connsiteY206" fmla="*/ 6497156 h 6857997"/>
              <a:gd name="connsiteX207" fmla="*/ 6087849 w 12188817"/>
              <a:gd name="connsiteY207" fmla="*/ 6512365 h 6857997"/>
              <a:gd name="connsiteX208" fmla="*/ 6075292 w 12188817"/>
              <a:gd name="connsiteY208" fmla="*/ 6506016 h 6857997"/>
              <a:gd name="connsiteX209" fmla="*/ 6069506 w 12188817"/>
              <a:gd name="connsiteY209" fmla="*/ 6487180 h 6857997"/>
              <a:gd name="connsiteX210" fmla="*/ 6114848 w 12188817"/>
              <a:gd name="connsiteY210" fmla="*/ 6487180 h 6857997"/>
              <a:gd name="connsiteX211" fmla="*/ 6114917 w 12188817"/>
              <a:gd name="connsiteY211" fmla="*/ 6483831 h 6857997"/>
              <a:gd name="connsiteX212" fmla="*/ 6107034 w 12188817"/>
              <a:gd name="connsiteY212" fmla="*/ 6455159 h 6857997"/>
              <a:gd name="connsiteX213" fmla="*/ 6087364 w 12188817"/>
              <a:gd name="connsiteY213" fmla="*/ 6445252 h 6857997"/>
              <a:gd name="connsiteX214" fmla="*/ 5900526 w 12188817"/>
              <a:gd name="connsiteY214" fmla="*/ 6445252 h 6857997"/>
              <a:gd name="connsiteX215" fmla="*/ 5889417 w 12188817"/>
              <a:gd name="connsiteY215" fmla="*/ 6448270 h 6857997"/>
              <a:gd name="connsiteX216" fmla="*/ 5881235 w 12188817"/>
              <a:gd name="connsiteY216" fmla="*/ 6457392 h 6857997"/>
              <a:gd name="connsiteX217" fmla="*/ 5881235 w 12188817"/>
              <a:gd name="connsiteY217" fmla="*/ 6446927 h 6857997"/>
              <a:gd name="connsiteX218" fmla="*/ 5871957 w 12188817"/>
              <a:gd name="connsiteY218" fmla="*/ 6446927 h 6857997"/>
              <a:gd name="connsiteX219" fmla="*/ 5871957 w 12188817"/>
              <a:gd name="connsiteY219" fmla="*/ 6521015 h 6857997"/>
              <a:gd name="connsiteX220" fmla="*/ 5882211 w 12188817"/>
              <a:gd name="connsiteY220" fmla="*/ 6521015 h 6857997"/>
              <a:gd name="connsiteX221" fmla="*/ 5882211 w 12188817"/>
              <a:gd name="connsiteY221" fmla="*/ 6480509 h 6857997"/>
              <a:gd name="connsiteX222" fmla="*/ 5886607 w 12188817"/>
              <a:gd name="connsiteY222" fmla="*/ 6461583 h 6857997"/>
              <a:gd name="connsiteX223" fmla="*/ 5898396 w 12188817"/>
              <a:gd name="connsiteY223" fmla="*/ 6456066 h 6857997"/>
              <a:gd name="connsiteX224" fmla="*/ 5905268 w 12188817"/>
              <a:gd name="connsiteY224" fmla="*/ 6458126 h 6857997"/>
              <a:gd name="connsiteX225" fmla="*/ 5909630 w 12188817"/>
              <a:gd name="connsiteY225" fmla="*/ 6463957 h 6857997"/>
              <a:gd name="connsiteX226" fmla="*/ 5911024 w 12188817"/>
              <a:gd name="connsiteY226" fmla="*/ 6475900 h 6857997"/>
              <a:gd name="connsiteX227" fmla="*/ 5911024 w 12188817"/>
              <a:gd name="connsiteY227" fmla="*/ 6521015 h 6857997"/>
              <a:gd name="connsiteX228" fmla="*/ 5921278 w 12188817"/>
              <a:gd name="connsiteY228" fmla="*/ 6521015 h 6857997"/>
              <a:gd name="connsiteX229" fmla="*/ 5921278 w 12188817"/>
              <a:gd name="connsiteY229" fmla="*/ 6475460 h 6857997"/>
              <a:gd name="connsiteX230" fmla="*/ 5920026 w 12188817"/>
              <a:gd name="connsiteY230" fmla="*/ 6460252 h 6857997"/>
              <a:gd name="connsiteX231" fmla="*/ 5916230 w 12188817"/>
              <a:gd name="connsiteY231" fmla="*/ 6452194 h 6857997"/>
              <a:gd name="connsiteX232" fmla="*/ 5909545 w 12188817"/>
              <a:gd name="connsiteY232" fmla="*/ 6447171 h 6857997"/>
              <a:gd name="connsiteX233" fmla="*/ 5900526 w 12188817"/>
              <a:gd name="connsiteY233" fmla="*/ 6445252 h 6857997"/>
              <a:gd name="connsiteX234" fmla="*/ 5829838 w 12188817"/>
              <a:gd name="connsiteY234" fmla="*/ 6445252 h 6857997"/>
              <a:gd name="connsiteX235" fmla="*/ 5809432 w 12188817"/>
              <a:gd name="connsiteY235" fmla="*/ 6455019 h 6857997"/>
              <a:gd name="connsiteX236" fmla="*/ 5801375 w 12188817"/>
              <a:gd name="connsiteY236" fmla="*/ 6483971 h 6857997"/>
              <a:gd name="connsiteX237" fmla="*/ 5809502 w 12188817"/>
              <a:gd name="connsiteY237" fmla="*/ 6512888 h 6857997"/>
              <a:gd name="connsiteX238" fmla="*/ 5829838 w 12188817"/>
              <a:gd name="connsiteY238" fmla="*/ 6522690 h 6857997"/>
              <a:gd name="connsiteX239" fmla="*/ 5850280 w 12188817"/>
              <a:gd name="connsiteY239" fmla="*/ 6512923 h 6857997"/>
              <a:gd name="connsiteX240" fmla="*/ 5858301 w 12188817"/>
              <a:gd name="connsiteY240" fmla="*/ 6483204 h 6857997"/>
              <a:gd name="connsiteX241" fmla="*/ 5850139 w 12188817"/>
              <a:gd name="connsiteY241" fmla="*/ 6455019 h 6857997"/>
              <a:gd name="connsiteX242" fmla="*/ 5829838 w 12188817"/>
              <a:gd name="connsiteY242" fmla="*/ 6445252 h 6857997"/>
              <a:gd name="connsiteX243" fmla="*/ 2714262 w 12188817"/>
              <a:gd name="connsiteY243" fmla="*/ 6445252 h 6857997"/>
              <a:gd name="connsiteX244" fmla="*/ 2703154 w 12188817"/>
              <a:gd name="connsiteY244" fmla="*/ 6448270 h 6857997"/>
              <a:gd name="connsiteX245" fmla="*/ 2694971 w 12188817"/>
              <a:gd name="connsiteY245" fmla="*/ 6457392 h 6857997"/>
              <a:gd name="connsiteX246" fmla="*/ 2694971 w 12188817"/>
              <a:gd name="connsiteY246" fmla="*/ 6446927 h 6857997"/>
              <a:gd name="connsiteX247" fmla="*/ 2685692 w 12188817"/>
              <a:gd name="connsiteY247" fmla="*/ 6446927 h 6857997"/>
              <a:gd name="connsiteX248" fmla="*/ 2685692 w 12188817"/>
              <a:gd name="connsiteY248" fmla="*/ 6521015 h 6857997"/>
              <a:gd name="connsiteX249" fmla="*/ 2695948 w 12188817"/>
              <a:gd name="connsiteY249" fmla="*/ 6521015 h 6857997"/>
              <a:gd name="connsiteX250" fmla="*/ 2695948 w 12188817"/>
              <a:gd name="connsiteY250" fmla="*/ 6480509 h 6857997"/>
              <a:gd name="connsiteX251" fmla="*/ 2700343 w 12188817"/>
              <a:gd name="connsiteY251" fmla="*/ 6461583 h 6857997"/>
              <a:gd name="connsiteX252" fmla="*/ 2712133 w 12188817"/>
              <a:gd name="connsiteY252" fmla="*/ 6456066 h 6857997"/>
              <a:gd name="connsiteX253" fmla="*/ 2719004 w 12188817"/>
              <a:gd name="connsiteY253" fmla="*/ 6458126 h 6857997"/>
              <a:gd name="connsiteX254" fmla="*/ 2723365 w 12188817"/>
              <a:gd name="connsiteY254" fmla="*/ 6463957 h 6857997"/>
              <a:gd name="connsiteX255" fmla="*/ 2724760 w 12188817"/>
              <a:gd name="connsiteY255" fmla="*/ 6475900 h 6857997"/>
              <a:gd name="connsiteX256" fmla="*/ 2724760 w 12188817"/>
              <a:gd name="connsiteY256" fmla="*/ 6521015 h 6857997"/>
              <a:gd name="connsiteX257" fmla="*/ 2735015 w 12188817"/>
              <a:gd name="connsiteY257" fmla="*/ 6521015 h 6857997"/>
              <a:gd name="connsiteX258" fmla="*/ 2735015 w 12188817"/>
              <a:gd name="connsiteY258" fmla="*/ 6475460 h 6857997"/>
              <a:gd name="connsiteX259" fmla="*/ 2733761 w 12188817"/>
              <a:gd name="connsiteY259" fmla="*/ 6460252 h 6857997"/>
              <a:gd name="connsiteX260" fmla="*/ 2729966 w 12188817"/>
              <a:gd name="connsiteY260" fmla="*/ 6452194 h 6857997"/>
              <a:gd name="connsiteX261" fmla="*/ 2723280 w 12188817"/>
              <a:gd name="connsiteY261" fmla="*/ 6447171 h 6857997"/>
              <a:gd name="connsiteX262" fmla="*/ 2714262 w 12188817"/>
              <a:gd name="connsiteY262" fmla="*/ 6445252 h 6857997"/>
              <a:gd name="connsiteX263" fmla="*/ 2644830 w 12188817"/>
              <a:gd name="connsiteY263" fmla="*/ 6445252 h 6857997"/>
              <a:gd name="connsiteX264" fmla="*/ 2625959 w 12188817"/>
              <a:gd name="connsiteY264" fmla="*/ 6450694 h 6857997"/>
              <a:gd name="connsiteX265" fmla="*/ 2617204 w 12188817"/>
              <a:gd name="connsiteY265" fmla="*/ 6468065 h 6857997"/>
              <a:gd name="connsiteX266" fmla="*/ 2627319 w 12188817"/>
              <a:gd name="connsiteY266" fmla="*/ 6469739 h 6857997"/>
              <a:gd name="connsiteX267" fmla="*/ 2632552 w 12188817"/>
              <a:gd name="connsiteY267" fmla="*/ 6458557 h 6857997"/>
              <a:gd name="connsiteX268" fmla="*/ 2643295 w 12188817"/>
              <a:gd name="connsiteY268" fmla="*/ 6455577 h 6857997"/>
              <a:gd name="connsiteX269" fmla="*/ 2655085 w 12188817"/>
              <a:gd name="connsiteY269" fmla="*/ 6460042 h 6857997"/>
              <a:gd name="connsiteX270" fmla="*/ 2657806 w 12188817"/>
              <a:gd name="connsiteY270" fmla="*/ 6470716 h 6857997"/>
              <a:gd name="connsiteX271" fmla="*/ 2657736 w 12188817"/>
              <a:gd name="connsiteY271" fmla="*/ 6473925 h 6857997"/>
              <a:gd name="connsiteX272" fmla="*/ 2639319 w 12188817"/>
              <a:gd name="connsiteY272" fmla="*/ 6478320 h 6857997"/>
              <a:gd name="connsiteX273" fmla="*/ 2625366 w 12188817"/>
              <a:gd name="connsiteY273" fmla="*/ 6482436 h 6857997"/>
              <a:gd name="connsiteX274" fmla="*/ 2618110 w 12188817"/>
              <a:gd name="connsiteY274" fmla="*/ 6490180 h 6857997"/>
              <a:gd name="connsiteX275" fmla="*/ 2615460 w 12188817"/>
              <a:gd name="connsiteY275" fmla="*/ 6501551 h 6857997"/>
              <a:gd name="connsiteX276" fmla="*/ 2621110 w 12188817"/>
              <a:gd name="connsiteY276" fmla="*/ 6516969 h 6857997"/>
              <a:gd name="connsiteX277" fmla="*/ 2636249 w 12188817"/>
              <a:gd name="connsiteY277" fmla="*/ 6522690 h 6857997"/>
              <a:gd name="connsiteX278" fmla="*/ 2647830 w 12188817"/>
              <a:gd name="connsiteY278" fmla="*/ 6519968 h 6857997"/>
              <a:gd name="connsiteX279" fmla="*/ 2658573 w 12188817"/>
              <a:gd name="connsiteY279" fmla="*/ 6511875 h 6857997"/>
              <a:gd name="connsiteX280" fmla="*/ 2660666 w 12188817"/>
              <a:gd name="connsiteY280" fmla="*/ 6521015 h 6857997"/>
              <a:gd name="connsiteX281" fmla="*/ 2671410 w 12188817"/>
              <a:gd name="connsiteY281" fmla="*/ 6521015 h 6857997"/>
              <a:gd name="connsiteX282" fmla="*/ 2668793 w 12188817"/>
              <a:gd name="connsiteY282" fmla="*/ 6512120 h 6857997"/>
              <a:gd name="connsiteX283" fmla="*/ 2668131 w 12188817"/>
              <a:gd name="connsiteY283" fmla="*/ 6489971 h 6857997"/>
              <a:gd name="connsiteX284" fmla="*/ 2668131 w 12188817"/>
              <a:gd name="connsiteY284" fmla="*/ 6473227 h 6857997"/>
              <a:gd name="connsiteX285" fmla="*/ 2666701 w 12188817"/>
              <a:gd name="connsiteY285" fmla="*/ 6457740 h 6857997"/>
              <a:gd name="connsiteX286" fmla="*/ 2659829 w 12188817"/>
              <a:gd name="connsiteY286" fmla="*/ 6448845 h 6857997"/>
              <a:gd name="connsiteX287" fmla="*/ 2644830 w 12188817"/>
              <a:gd name="connsiteY287" fmla="*/ 6445252 h 6857997"/>
              <a:gd name="connsiteX288" fmla="*/ 2574806 w 12188817"/>
              <a:gd name="connsiteY288" fmla="*/ 6445252 h 6857997"/>
              <a:gd name="connsiteX289" fmla="*/ 2568144 w 12188817"/>
              <a:gd name="connsiteY289" fmla="*/ 6447799 h 6857997"/>
              <a:gd name="connsiteX290" fmla="*/ 2561621 w 12188817"/>
              <a:gd name="connsiteY290" fmla="*/ 6458159 h 6857997"/>
              <a:gd name="connsiteX291" fmla="*/ 2561621 w 12188817"/>
              <a:gd name="connsiteY291" fmla="*/ 6446927 h 6857997"/>
              <a:gd name="connsiteX292" fmla="*/ 2552342 w 12188817"/>
              <a:gd name="connsiteY292" fmla="*/ 6446927 h 6857997"/>
              <a:gd name="connsiteX293" fmla="*/ 2552342 w 12188817"/>
              <a:gd name="connsiteY293" fmla="*/ 6521015 h 6857997"/>
              <a:gd name="connsiteX294" fmla="*/ 2562598 w 12188817"/>
              <a:gd name="connsiteY294" fmla="*/ 6521015 h 6857997"/>
              <a:gd name="connsiteX295" fmla="*/ 2562598 w 12188817"/>
              <a:gd name="connsiteY295" fmla="*/ 6482227 h 6857997"/>
              <a:gd name="connsiteX296" fmla="*/ 2564551 w 12188817"/>
              <a:gd name="connsiteY296" fmla="*/ 6466949 h 6857997"/>
              <a:gd name="connsiteX297" fmla="*/ 2568388 w 12188817"/>
              <a:gd name="connsiteY297" fmla="*/ 6460531 h 6857997"/>
              <a:gd name="connsiteX298" fmla="*/ 2574388 w 12188817"/>
              <a:gd name="connsiteY298" fmla="*/ 6458228 h 6857997"/>
              <a:gd name="connsiteX299" fmla="*/ 2581852 w 12188817"/>
              <a:gd name="connsiteY299" fmla="*/ 6460949 h 6857997"/>
              <a:gd name="connsiteX300" fmla="*/ 2585340 w 12188817"/>
              <a:gd name="connsiteY300" fmla="*/ 6449299 h 6857997"/>
              <a:gd name="connsiteX301" fmla="*/ 2574806 w 12188817"/>
              <a:gd name="connsiteY301" fmla="*/ 6445252 h 6857997"/>
              <a:gd name="connsiteX302" fmla="*/ 2510573 w 12188817"/>
              <a:gd name="connsiteY302" fmla="*/ 6445252 h 6857997"/>
              <a:gd name="connsiteX303" fmla="*/ 2490167 w 12188817"/>
              <a:gd name="connsiteY303" fmla="*/ 6455333 h 6857997"/>
              <a:gd name="connsiteX304" fmla="*/ 2482110 w 12188817"/>
              <a:gd name="connsiteY304" fmla="*/ 6484599 h 6857997"/>
              <a:gd name="connsiteX305" fmla="*/ 2490097 w 12188817"/>
              <a:gd name="connsiteY305" fmla="*/ 6512888 h 6857997"/>
              <a:gd name="connsiteX306" fmla="*/ 2510992 w 12188817"/>
              <a:gd name="connsiteY306" fmla="*/ 6522690 h 6857997"/>
              <a:gd name="connsiteX307" fmla="*/ 2528188 w 12188817"/>
              <a:gd name="connsiteY307" fmla="*/ 6516655 h 6857997"/>
              <a:gd name="connsiteX308" fmla="*/ 2537781 w 12188817"/>
              <a:gd name="connsiteY308" fmla="*/ 6498761 h 6857997"/>
              <a:gd name="connsiteX309" fmla="*/ 2527176 w 12188817"/>
              <a:gd name="connsiteY309" fmla="*/ 6497156 h 6857997"/>
              <a:gd name="connsiteX310" fmla="*/ 2511061 w 12188817"/>
              <a:gd name="connsiteY310" fmla="*/ 6512365 h 6857997"/>
              <a:gd name="connsiteX311" fmla="*/ 2498504 w 12188817"/>
              <a:gd name="connsiteY311" fmla="*/ 6506016 h 6857997"/>
              <a:gd name="connsiteX312" fmla="*/ 2492714 w 12188817"/>
              <a:gd name="connsiteY312" fmla="*/ 6487180 h 6857997"/>
              <a:gd name="connsiteX313" fmla="*/ 2538060 w 12188817"/>
              <a:gd name="connsiteY313" fmla="*/ 6487180 h 6857997"/>
              <a:gd name="connsiteX314" fmla="*/ 2538129 w 12188817"/>
              <a:gd name="connsiteY314" fmla="*/ 6483831 h 6857997"/>
              <a:gd name="connsiteX315" fmla="*/ 2530246 w 12188817"/>
              <a:gd name="connsiteY315" fmla="*/ 6455159 h 6857997"/>
              <a:gd name="connsiteX316" fmla="*/ 2510573 w 12188817"/>
              <a:gd name="connsiteY316" fmla="*/ 6445252 h 6857997"/>
              <a:gd name="connsiteX317" fmla="*/ 1942737 w 12188817"/>
              <a:gd name="connsiteY317" fmla="*/ 6445252 h 6857997"/>
              <a:gd name="connsiteX318" fmla="*/ 1931629 w 12188817"/>
              <a:gd name="connsiteY318" fmla="*/ 6448270 h 6857997"/>
              <a:gd name="connsiteX319" fmla="*/ 1923446 w 12188817"/>
              <a:gd name="connsiteY319" fmla="*/ 6457392 h 6857997"/>
              <a:gd name="connsiteX320" fmla="*/ 1923446 w 12188817"/>
              <a:gd name="connsiteY320" fmla="*/ 6446927 h 6857997"/>
              <a:gd name="connsiteX321" fmla="*/ 1914167 w 12188817"/>
              <a:gd name="connsiteY321" fmla="*/ 6446927 h 6857997"/>
              <a:gd name="connsiteX322" fmla="*/ 1914167 w 12188817"/>
              <a:gd name="connsiteY322" fmla="*/ 6521015 h 6857997"/>
              <a:gd name="connsiteX323" fmla="*/ 1924423 w 12188817"/>
              <a:gd name="connsiteY323" fmla="*/ 6521015 h 6857997"/>
              <a:gd name="connsiteX324" fmla="*/ 1924423 w 12188817"/>
              <a:gd name="connsiteY324" fmla="*/ 6480509 h 6857997"/>
              <a:gd name="connsiteX325" fmla="*/ 1928818 w 12188817"/>
              <a:gd name="connsiteY325" fmla="*/ 6461583 h 6857997"/>
              <a:gd name="connsiteX326" fmla="*/ 1940608 w 12188817"/>
              <a:gd name="connsiteY326" fmla="*/ 6456066 h 6857997"/>
              <a:gd name="connsiteX327" fmla="*/ 1947479 w 12188817"/>
              <a:gd name="connsiteY327" fmla="*/ 6458126 h 6857997"/>
              <a:gd name="connsiteX328" fmla="*/ 1951840 w 12188817"/>
              <a:gd name="connsiteY328" fmla="*/ 6463957 h 6857997"/>
              <a:gd name="connsiteX329" fmla="*/ 1953235 w 12188817"/>
              <a:gd name="connsiteY329" fmla="*/ 6475900 h 6857997"/>
              <a:gd name="connsiteX330" fmla="*/ 1953235 w 12188817"/>
              <a:gd name="connsiteY330" fmla="*/ 6521015 h 6857997"/>
              <a:gd name="connsiteX331" fmla="*/ 1963490 w 12188817"/>
              <a:gd name="connsiteY331" fmla="*/ 6521015 h 6857997"/>
              <a:gd name="connsiteX332" fmla="*/ 1963490 w 12188817"/>
              <a:gd name="connsiteY332" fmla="*/ 6475460 h 6857997"/>
              <a:gd name="connsiteX333" fmla="*/ 1962236 w 12188817"/>
              <a:gd name="connsiteY333" fmla="*/ 6460252 h 6857997"/>
              <a:gd name="connsiteX334" fmla="*/ 1958441 w 12188817"/>
              <a:gd name="connsiteY334" fmla="*/ 6452194 h 6857997"/>
              <a:gd name="connsiteX335" fmla="*/ 1951755 w 12188817"/>
              <a:gd name="connsiteY335" fmla="*/ 6447171 h 6857997"/>
              <a:gd name="connsiteX336" fmla="*/ 1942737 w 12188817"/>
              <a:gd name="connsiteY336" fmla="*/ 6445252 h 6857997"/>
              <a:gd name="connsiteX337" fmla="*/ 1872049 w 12188817"/>
              <a:gd name="connsiteY337" fmla="*/ 6445252 h 6857997"/>
              <a:gd name="connsiteX338" fmla="*/ 1851643 w 12188817"/>
              <a:gd name="connsiteY338" fmla="*/ 6455019 h 6857997"/>
              <a:gd name="connsiteX339" fmla="*/ 1843586 w 12188817"/>
              <a:gd name="connsiteY339" fmla="*/ 6483971 h 6857997"/>
              <a:gd name="connsiteX340" fmla="*/ 1851713 w 12188817"/>
              <a:gd name="connsiteY340" fmla="*/ 6512888 h 6857997"/>
              <a:gd name="connsiteX341" fmla="*/ 1872049 w 12188817"/>
              <a:gd name="connsiteY341" fmla="*/ 6522690 h 6857997"/>
              <a:gd name="connsiteX342" fmla="*/ 1892490 w 12188817"/>
              <a:gd name="connsiteY342" fmla="*/ 6512923 h 6857997"/>
              <a:gd name="connsiteX343" fmla="*/ 1900512 w 12188817"/>
              <a:gd name="connsiteY343" fmla="*/ 6483204 h 6857997"/>
              <a:gd name="connsiteX344" fmla="*/ 1892350 w 12188817"/>
              <a:gd name="connsiteY344" fmla="*/ 6455019 h 6857997"/>
              <a:gd name="connsiteX345" fmla="*/ 1872049 w 12188817"/>
              <a:gd name="connsiteY345" fmla="*/ 6445252 h 6857997"/>
              <a:gd name="connsiteX346" fmla="*/ 1803281 w 12188817"/>
              <a:gd name="connsiteY346" fmla="*/ 6445252 h 6857997"/>
              <a:gd name="connsiteX347" fmla="*/ 1796619 w 12188817"/>
              <a:gd name="connsiteY347" fmla="*/ 6447799 h 6857997"/>
              <a:gd name="connsiteX348" fmla="*/ 1790096 w 12188817"/>
              <a:gd name="connsiteY348" fmla="*/ 6458159 h 6857997"/>
              <a:gd name="connsiteX349" fmla="*/ 1790096 w 12188817"/>
              <a:gd name="connsiteY349" fmla="*/ 6446927 h 6857997"/>
              <a:gd name="connsiteX350" fmla="*/ 1780818 w 12188817"/>
              <a:gd name="connsiteY350" fmla="*/ 6446927 h 6857997"/>
              <a:gd name="connsiteX351" fmla="*/ 1780818 w 12188817"/>
              <a:gd name="connsiteY351" fmla="*/ 6521015 h 6857997"/>
              <a:gd name="connsiteX352" fmla="*/ 1791073 w 12188817"/>
              <a:gd name="connsiteY352" fmla="*/ 6521015 h 6857997"/>
              <a:gd name="connsiteX353" fmla="*/ 1791073 w 12188817"/>
              <a:gd name="connsiteY353" fmla="*/ 6482227 h 6857997"/>
              <a:gd name="connsiteX354" fmla="*/ 1793026 w 12188817"/>
              <a:gd name="connsiteY354" fmla="*/ 6466949 h 6857997"/>
              <a:gd name="connsiteX355" fmla="*/ 1796863 w 12188817"/>
              <a:gd name="connsiteY355" fmla="*/ 6460531 h 6857997"/>
              <a:gd name="connsiteX356" fmla="*/ 1802863 w 12188817"/>
              <a:gd name="connsiteY356" fmla="*/ 6458228 h 6857997"/>
              <a:gd name="connsiteX357" fmla="*/ 1810327 w 12188817"/>
              <a:gd name="connsiteY357" fmla="*/ 6460949 h 6857997"/>
              <a:gd name="connsiteX358" fmla="*/ 1813815 w 12188817"/>
              <a:gd name="connsiteY358" fmla="*/ 6449299 h 6857997"/>
              <a:gd name="connsiteX359" fmla="*/ 1803281 w 12188817"/>
              <a:gd name="connsiteY359" fmla="*/ 6445252 h 6857997"/>
              <a:gd name="connsiteX360" fmla="*/ 1715742 w 12188817"/>
              <a:gd name="connsiteY360" fmla="*/ 6445252 h 6857997"/>
              <a:gd name="connsiteX361" fmla="*/ 1698930 w 12188817"/>
              <a:gd name="connsiteY361" fmla="*/ 6451182 h 6857997"/>
              <a:gd name="connsiteX362" fmla="*/ 1692860 w 12188817"/>
              <a:gd name="connsiteY362" fmla="*/ 6466600 h 6857997"/>
              <a:gd name="connsiteX363" fmla="*/ 1695092 w 12188817"/>
              <a:gd name="connsiteY363" fmla="*/ 6476437 h 6857997"/>
              <a:gd name="connsiteX364" fmla="*/ 1701371 w 12188817"/>
              <a:gd name="connsiteY364" fmla="*/ 6483343 h 6857997"/>
              <a:gd name="connsiteX365" fmla="*/ 1717417 w 12188817"/>
              <a:gd name="connsiteY365" fmla="*/ 6489622 h 6857997"/>
              <a:gd name="connsiteX366" fmla="*/ 1727881 w 12188817"/>
              <a:gd name="connsiteY366" fmla="*/ 6493808 h 6857997"/>
              <a:gd name="connsiteX367" fmla="*/ 1731021 w 12188817"/>
              <a:gd name="connsiteY367" fmla="*/ 6500644 h 6857997"/>
              <a:gd name="connsiteX368" fmla="*/ 1727367 w 12188817"/>
              <a:gd name="connsiteY368" fmla="*/ 6509051 h 6857997"/>
              <a:gd name="connsiteX369" fmla="*/ 1717031 w 12188817"/>
              <a:gd name="connsiteY369" fmla="*/ 6512365 h 6857997"/>
              <a:gd name="connsiteX370" fmla="*/ 1706313 w 12188817"/>
              <a:gd name="connsiteY370" fmla="*/ 6508545 h 6857997"/>
              <a:gd name="connsiteX371" fmla="*/ 1701371 w 12188817"/>
              <a:gd name="connsiteY371" fmla="*/ 6496877 h 6857997"/>
              <a:gd name="connsiteX372" fmla="*/ 1691116 w 12188817"/>
              <a:gd name="connsiteY372" fmla="*/ 6498831 h 6857997"/>
              <a:gd name="connsiteX373" fmla="*/ 1716440 w 12188817"/>
              <a:gd name="connsiteY373" fmla="*/ 6522690 h 6857997"/>
              <a:gd name="connsiteX374" fmla="*/ 1734823 w 12188817"/>
              <a:gd name="connsiteY374" fmla="*/ 6516120 h 6857997"/>
              <a:gd name="connsiteX375" fmla="*/ 1741555 w 12188817"/>
              <a:gd name="connsiteY375" fmla="*/ 6498929 h 6857997"/>
              <a:gd name="connsiteX376" fmla="*/ 1739470 w 12188817"/>
              <a:gd name="connsiteY376" fmla="*/ 6489040 h 6857997"/>
              <a:gd name="connsiteX377" fmla="*/ 1733631 w 12188817"/>
              <a:gd name="connsiteY377" fmla="*/ 6482471 h 6857997"/>
              <a:gd name="connsiteX378" fmla="*/ 1717094 w 12188817"/>
              <a:gd name="connsiteY378" fmla="*/ 6476004 h 6857997"/>
              <a:gd name="connsiteX379" fmla="*/ 1705911 w 12188817"/>
              <a:gd name="connsiteY379" fmla="*/ 6471558 h 6857997"/>
              <a:gd name="connsiteX380" fmla="*/ 1702766 w 12188817"/>
              <a:gd name="connsiteY380" fmla="*/ 6465096 h 6857997"/>
              <a:gd name="connsiteX381" fmla="*/ 1706045 w 12188817"/>
              <a:gd name="connsiteY381" fmla="*/ 6458252 h 6857997"/>
              <a:gd name="connsiteX382" fmla="*/ 1716021 w 12188817"/>
              <a:gd name="connsiteY382" fmla="*/ 6455577 h 6857997"/>
              <a:gd name="connsiteX383" fmla="*/ 1729207 w 12188817"/>
              <a:gd name="connsiteY383" fmla="*/ 6467716 h 6857997"/>
              <a:gd name="connsiteX384" fmla="*/ 1739252 w 12188817"/>
              <a:gd name="connsiteY384" fmla="*/ 6466042 h 6857997"/>
              <a:gd name="connsiteX385" fmla="*/ 1735485 w 12188817"/>
              <a:gd name="connsiteY385" fmla="*/ 6454252 h 6857997"/>
              <a:gd name="connsiteX386" fmla="*/ 1727637 w 12188817"/>
              <a:gd name="connsiteY386" fmla="*/ 6447694 h 6857997"/>
              <a:gd name="connsiteX387" fmla="*/ 1715742 w 12188817"/>
              <a:gd name="connsiteY387" fmla="*/ 6445252 h 6857997"/>
              <a:gd name="connsiteX388" fmla="*/ 1656986 w 12188817"/>
              <a:gd name="connsiteY388" fmla="*/ 6445252 h 6857997"/>
              <a:gd name="connsiteX389" fmla="*/ 1645879 w 12188817"/>
              <a:gd name="connsiteY389" fmla="*/ 6448270 h 6857997"/>
              <a:gd name="connsiteX390" fmla="*/ 1637696 w 12188817"/>
              <a:gd name="connsiteY390" fmla="*/ 6457392 h 6857997"/>
              <a:gd name="connsiteX391" fmla="*/ 1637696 w 12188817"/>
              <a:gd name="connsiteY391" fmla="*/ 6446927 h 6857997"/>
              <a:gd name="connsiteX392" fmla="*/ 1628418 w 12188817"/>
              <a:gd name="connsiteY392" fmla="*/ 6446927 h 6857997"/>
              <a:gd name="connsiteX393" fmla="*/ 1628418 w 12188817"/>
              <a:gd name="connsiteY393" fmla="*/ 6521015 h 6857997"/>
              <a:gd name="connsiteX394" fmla="*/ 1638673 w 12188817"/>
              <a:gd name="connsiteY394" fmla="*/ 6521015 h 6857997"/>
              <a:gd name="connsiteX395" fmla="*/ 1638673 w 12188817"/>
              <a:gd name="connsiteY395" fmla="*/ 6480509 h 6857997"/>
              <a:gd name="connsiteX396" fmla="*/ 1643068 w 12188817"/>
              <a:gd name="connsiteY396" fmla="*/ 6461583 h 6857997"/>
              <a:gd name="connsiteX397" fmla="*/ 1654858 w 12188817"/>
              <a:gd name="connsiteY397" fmla="*/ 6456066 h 6857997"/>
              <a:gd name="connsiteX398" fmla="*/ 1661729 w 12188817"/>
              <a:gd name="connsiteY398" fmla="*/ 6458126 h 6857997"/>
              <a:gd name="connsiteX399" fmla="*/ 1666089 w 12188817"/>
              <a:gd name="connsiteY399" fmla="*/ 6463957 h 6857997"/>
              <a:gd name="connsiteX400" fmla="*/ 1667485 w 12188817"/>
              <a:gd name="connsiteY400" fmla="*/ 6475900 h 6857997"/>
              <a:gd name="connsiteX401" fmla="*/ 1667485 w 12188817"/>
              <a:gd name="connsiteY401" fmla="*/ 6521015 h 6857997"/>
              <a:gd name="connsiteX402" fmla="*/ 1677740 w 12188817"/>
              <a:gd name="connsiteY402" fmla="*/ 6521015 h 6857997"/>
              <a:gd name="connsiteX403" fmla="*/ 1677740 w 12188817"/>
              <a:gd name="connsiteY403" fmla="*/ 6475460 h 6857997"/>
              <a:gd name="connsiteX404" fmla="*/ 1676487 w 12188817"/>
              <a:gd name="connsiteY404" fmla="*/ 6460252 h 6857997"/>
              <a:gd name="connsiteX405" fmla="*/ 1672691 w 12188817"/>
              <a:gd name="connsiteY405" fmla="*/ 6452194 h 6857997"/>
              <a:gd name="connsiteX406" fmla="*/ 1666005 w 12188817"/>
              <a:gd name="connsiteY406" fmla="*/ 6447171 h 6857997"/>
              <a:gd name="connsiteX407" fmla="*/ 1656986 w 12188817"/>
              <a:gd name="connsiteY407" fmla="*/ 6445252 h 6857997"/>
              <a:gd name="connsiteX408" fmla="*/ 1586648 w 12188817"/>
              <a:gd name="connsiteY408" fmla="*/ 6445252 h 6857997"/>
              <a:gd name="connsiteX409" fmla="*/ 1566242 w 12188817"/>
              <a:gd name="connsiteY409" fmla="*/ 6455333 h 6857997"/>
              <a:gd name="connsiteX410" fmla="*/ 1558184 w 12188817"/>
              <a:gd name="connsiteY410" fmla="*/ 6484599 h 6857997"/>
              <a:gd name="connsiteX411" fmla="*/ 1566172 w 12188817"/>
              <a:gd name="connsiteY411" fmla="*/ 6512888 h 6857997"/>
              <a:gd name="connsiteX412" fmla="*/ 1587067 w 12188817"/>
              <a:gd name="connsiteY412" fmla="*/ 6522690 h 6857997"/>
              <a:gd name="connsiteX413" fmla="*/ 1604263 w 12188817"/>
              <a:gd name="connsiteY413" fmla="*/ 6516655 h 6857997"/>
              <a:gd name="connsiteX414" fmla="*/ 1613856 w 12188817"/>
              <a:gd name="connsiteY414" fmla="*/ 6498761 h 6857997"/>
              <a:gd name="connsiteX415" fmla="*/ 1603252 w 12188817"/>
              <a:gd name="connsiteY415" fmla="*/ 6497156 h 6857997"/>
              <a:gd name="connsiteX416" fmla="*/ 1587136 w 12188817"/>
              <a:gd name="connsiteY416" fmla="*/ 6512365 h 6857997"/>
              <a:gd name="connsiteX417" fmla="*/ 1574579 w 12188817"/>
              <a:gd name="connsiteY417" fmla="*/ 6506016 h 6857997"/>
              <a:gd name="connsiteX418" fmla="*/ 1568788 w 12188817"/>
              <a:gd name="connsiteY418" fmla="*/ 6487180 h 6857997"/>
              <a:gd name="connsiteX419" fmla="*/ 1614135 w 12188817"/>
              <a:gd name="connsiteY419" fmla="*/ 6487180 h 6857997"/>
              <a:gd name="connsiteX420" fmla="*/ 1614204 w 12188817"/>
              <a:gd name="connsiteY420" fmla="*/ 6483831 h 6857997"/>
              <a:gd name="connsiteX421" fmla="*/ 1606321 w 12188817"/>
              <a:gd name="connsiteY421" fmla="*/ 6455159 h 6857997"/>
              <a:gd name="connsiteX422" fmla="*/ 1586648 w 12188817"/>
              <a:gd name="connsiteY422" fmla="*/ 6445252 h 6857997"/>
              <a:gd name="connsiteX423" fmla="*/ 1317367 w 12188817"/>
              <a:gd name="connsiteY423" fmla="*/ 6445252 h 6857997"/>
              <a:gd name="connsiteX424" fmla="*/ 1304147 w 12188817"/>
              <a:gd name="connsiteY424" fmla="*/ 6449438 h 6857997"/>
              <a:gd name="connsiteX425" fmla="*/ 1294624 w 12188817"/>
              <a:gd name="connsiteY425" fmla="*/ 6462554 h 6857997"/>
              <a:gd name="connsiteX426" fmla="*/ 1290996 w 12188817"/>
              <a:gd name="connsiteY426" fmla="*/ 6483413 h 6857997"/>
              <a:gd name="connsiteX427" fmla="*/ 1299228 w 12188817"/>
              <a:gd name="connsiteY427" fmla="*/ 6511807 h 6857997"/>
              <a:gd name="connsiteX428" fmla="*/ 1317297 w 12188817"/>
              <a:gd name="connsiteY428" fmla="*/ 6521015 h 6857997"/>
              <a:gd name="connsiteX429" fmla="*/ 1326575 w 12188817"/>
              <a:gd name="connsiteY429" fmla="*/ 6518590 h 6857997"/>
              <a:gd name="connsiteX430" fmla="*/ 1334110 w 12188817"/>
              <a:gd name="connsiteY430" fmla="*/ 6511384 h 6857997"/>
              <a:gd name="connsiteX431" fmla="*/ 1333203 w 12188817"/>
              <a:gd name="connsiteY431" fmla="*/ 6527850 h 6857997"/>
              <a:gd name="connsiteX432" fmla="*/ 1327727 w 12188817"/>
              <a:gd name="connsiteY432" fmla="*/ 6537514 h 6857997"/>
              <a:gd name="connsiteX433" fmla="*/ 1316948 w 12188817"/>
              <a:gd name="connsiteY433" fmla="*/ 6540758 h 6857997"/>
              <a:gd name="connsiteX434" fmla="*/ 1307251 w 12188817"/>
              <a:gd name="connsiteY434" fmla="*/ 6537846 h 6857997"/>
              <a:gd name="connsiteX435" fmla="*/ 1303065 w 12188817"/>
              <a:gd name="connsiteY435" fmla="*/ 6528968 h 6857997"/>
              <a:gd name="connsiteX436" fmla="*/ 1293019 w 12188817"/>
              <a:gd name="connsiteY436" fmla="*/ 6527154 h 6857997"/>
              <a:gd name="connsiteX437" fmla="*/ 1299159 w 12188817"/>
              <a:gd name="connsiteY437" fmla="*/ 6544735 h 6857997"/>
              <a:gd name="connsiteX438" fmla="*/ 1317297 w 12188817"/>
              <a:gd name="connsiteY438" fmla="*/ 6551083 h 6857997"/>
              <a:gd name="connsiteX439" fmla="*/ 1332575 w 12188817"/>
              <a:gd name="connsiteY439" fmla="*/ 6546863 h 6857997"/>
              <a:gd name="connsiteX440" fmla="*/ 1341714 w 12188817"/>
              <a:gd name="connsiteY440" fmla="*/ 6535352 h 6857997"/>
              <a:gd name="connsiteX441" fmla="*/ 1344505 w 12188817"/>
              <a:gd name="connsiteY441" fmla="*/ 6510969 h 6857997"/>
              <a:gd name="connsiteX442" fmla="*/ 1344505 w 12188817"/>
              <a:gd name="connsiteY442" fmla="*/ 6446927 h 6857997"/>
              <a:gd name="connsiteX443" fmla="*/ 1335017 w 12188817"/>
              <a:gd name="connsiteY443" fmla="*/ 6446927 h 6857997"/>
              <a:gd name="connsiteX444" fmla="*/ 1335017 w 12188817"/>
              <a:gd name="connsiteY444" fmla="*/ 6455787 h 6857997"/>
              <a:gd name="connsiteX445" fmla="*/ 1327168 w 12188817"/>
              <a:gd name="connsiteY445" fmla="*/ 6447886 h 6857997"/>
              <a:gd name="connsiteX446" fmla="*/ 1317367 w 12188817"/>
              <a:gd name="connsiteY446" fmla="*/ 6445252 h 6857997"/>
              <a:gd name="connsiteX447" fmla="*/ 1250831 w 12188817"/>
              <a:gd name="connsiteY447" fmla="*/ 6445252 h 6857997"/>
              <a:gd name="connsiteX448" fmla="*/ 1244169 w 12188817"/>
              <a:gd name="connsiteY448" fmla="*/ 6447799 h 6857997"/>
              <a:gd name="connsiteX449" fmla="*/ 1237646 w 12188817"/>
              <a:gd name="connsiteY449" fmla="*/ 6458159 h 6857997"/>
              <a:gd name="connsiteX450" fmla="*/ 1237646 w 12188817"/>
              <a:gd name="connsiteY450" fmla="*/ 6446927 h 6857997"/>
              <a:gd name="connsiteX451" fmla="*/ 1230693 w 12188817"/>
              <a:gd name="connsiteY451" fmla="*/ 6446927 h 6857997"/>
              <a:gd name="connsiteX452" fmla="*/ 1228368 w 12188817"/>
              <a:gd name="connsiteY452" fmla="*/ 6446927 h 6857997"/>
              <a:gd name="connsiteX453" fmla="*/ 1220369 w 12188817"/>
              <a:gd name="connsiteY453" fmla="*/ 6446927 h 6857997"/>
              <a:gd name="connsiteX454" fmla="*/ 1207392 w 12188817"/>
              <a:gd name="connsiteY454" fmla="*/ 6490086 h 6857997"/>
              <a:gd name="connsiteX455" fmla="*/ 1203206 w 12188817"/>
              <a:gd name="connsiteY455" fmla="*/ 6506960 h 6857997"/>
              <a:gd name="connsiteX456" fmla="*/ 1198811 w 12188817"/>
              <a:gd name="connsiteY456" fmla="*/ 6489808 h 6857997"/>
              <a:gd name="connsiteX457" fmla="*/ 1186114 w 12188817"/>
              <a:gd name="connsiteY457" fmla="*/ 6446927 h 6857997"/>
              <a:gd name="connsiteX458" fmla="*/ 1175022 w 12188817"/>
              <a:gd name="connsiteY458" fmla="*/ 6446927 h 6857997"/>
              <a:gd name="connsiteX459" fmla="*/ 1198132 w 12188817"/>
              <a:gd name="connsiteY459" fmla="*/ 6521125 h 6857997"/>
              <a:gd name="connsiteX460" fmla="*/ 1194080 w 12188817"/>
              <a:gd name="connsiteY460" fmla="*/ 6533431 h 6857997"/>
              <a:gd name="connsiteX461" fmla="*/ 1190554 w 12188817"/>
              <a:gd name="connsiteY461" fmla="*/ 6537549 h 6857997"/>
              <a:gd name="connsiteX462" fmla="*/ 1185143 w 12188817"/>
              <a:gd name="connsiteY462" fmla="*/ 6538875 h 6857997"/>
              <a:gd name="connsiteX463" fmla="*/ 1179277 w 12188817"/>
              <a:gd name="connsiteY463" fmla="*/ 6537758 h 6857997"/>
              <a:gd name="connsiteX464" fmla="*/ 1180394 w 12188817"/>
              <a:gd name="connsiteY464" fmla="*/ 6549548 h 6857997"/>
              <a:gd name="connsiteX465" fmla="*/ 1187032 w 12188817"/>
              <a:gd name="connsiteY465" fmla="*/ 6551083 h 6857997"/>
              <a:gd name="connsiteX466" fmla="*/ 1194543 w 12188817"/>
              <a:gd name="connsiteY466" fmla="*/ 6548921 h 6857997"/>
              <a:gd name="connsiteX467" fmla="*/ 1200483 w 12188817"/>
              <a:gd name="connsiteY467" fmla="*/ 6541840 h 6857997"/>
              <a:gd name="connsiteX468" fmla="*/ 1207645 w 12188817"/>
              <a:gd name="connsiteY468" fmla="*/ 6522271 h 6857997"/>
              <a:gd name="connsiteX469" fmla="*/ 1228368 w 12188817"/>
              <a:gd name="connsiteY469" fmla="*/ 6454529 h 6857997"/>
              <a:gd name="connsiteX470" fmla="*/ 1228368 w 12188817"/>
              <a:gd name="connsiteY470" fmla="*/ 6521015 h 6857997"/>
              <a:gd name="connsiteX471" fmla="*/ 1238623 w 12188817"/>
              <a:gd name="connsiteY471" fmla="*/ 6521015 h 6857997"/>
              <a:gd name="connsiteX472" fmla="*/ 1238623 w 12188817"/>
              <a:gd name="connsiteY472" fmla="*/ 6482227 h 6857997"/>
              <a:gd name="connsiteX473" fmla="*/ 1240576 w 12188817"/>
              <a:gd name="connsiteY473" fmla="*/ 6466949 h 6857997"/>
              <a:gd name="connsiteX474" fmla="*/ 1244413 w 12188817"/>
              <a:gd name="connsiteY474" fmla="*/ 6460531 h 6857997"/>
              <a:gd name="connsiteX475" fmla="*/ 1250413 w 12188817"/>
              <a:gd name="connsiteY475" fmla="*/ 6458228 h 6857997"/>
              <a:gd name="connsiteX476" fmla="*/ 1257877 w 12188817"/>
              <a:gd name="connsiteY476" fmla="*/ 6460949 h 6857997"/>
              <a:gd name="connsiteX477" fmla="*/ 1261365 w 12188817"/>
              <a:gd name="connsiteY477" fmla="*/ 6449299 h 6857997"/>
              <a:gd name="connsiteX478" fmla="*/ 1250831 w 12188817"/>
              <a:gd name="connsiteY478" fmla="*/ 6445252 h 6857997"/>
              <a:gd name="connsiteX479" fmla="*/ 1141038 w 12188817"/>
              <a:gd name="connsiteY479" fmla="*/ 6445252 h 6857997"/>
              <a:gd name="connsiteX480" fmla="*/ 1131286 w 12188817"/>
              <a:gd name="connsiteY480" fmla="*/ 6447903 h 6857997"/>
              <a:gd name="connsiteX481" fmla="*/ 1123555 w 12188817"/>
              <a:gd name="connsiteY481" fmla="*/ 6456554 h 6857997"/>
              <a:gd name="connsiteX482" fmla="*/ 1123555 w 12188817"/>
              <a:gd name="connsiteY482" fmla="*/ 6446927 h 6857997"/>
              <a:gd name="connsiteX483" fmla="*/ 1114068 w 12188817"/>
              <a:gd name="connsiteY483" fmla="*/ 6446927 h 6857997"/>
              <a:gd name="connsiteX484" fmla="*/ 1114068 w 12188817"/>
              <a:gd name="connsiteY484" fmla="*/ 6549409 h 6857997"/>
              <a:gd name="connsiteX485" fmla="*/ 1124323 w 12188817"/>
              <a:gd name="connsiteY485" fmla="*/ 6549409 h 6857997"/>
              <a:gd name="connsiteX486" fmla="*/ 1124323 w 12188817"/>
              <a:gd name="connsiteY486" fmla="*/ 6513341 h 6857997"/>
              <a:gd name="connsiteX487" fmla="*/ 1131439 w 12188817"/>
              <a:gd name="connsiteY487" fmla="*/ 6520248 h 6857997"/>
              <a:gd name="connsiteX488" fmla="*/ 1140298 w 12188817"/>
              <a:gd name="connsiteY488" fmla="*/ 6522690 h 6857997"/>
              <a:gd name="connsiteX489" fmla="*/ 1158890 w 12188817"/>
              <a:gd name="connsiteY489" fmla="*/ 6512469 h 6857997"/>
              <a:gd name="connsiteX490" fmla="*/ 1166808 w 12188817"/>
              <a:gd name="connsiteY490" fmla="*/ 6483343 h 6857997"/>
              <a:gd name="connsiteX491" fmla="*/ 1163291 w 12188817"/>
              <a:gd name="connsiteY491" fmla="*/ 6462449 h 6857997"/>
              <a:gd name="connsiteX492" fmla="*/ 1153993 w 12188817"/>
              <a:gd name="connsiteY492" fmla="*/ 6449508 h 6857997"/>
              <a:gd name="connsiteX493" fmla="*/ 1141038 w 12188817"/>
              <a:gd name="connsiteY493" fmla="*/ 6445252 h 6857997"/>
              <a:gd name="connsiteX494" fmla="*/ 1071949 w 12188817"/>
              <a:gd name="connsiteY494" fmla="*/ 6445252 h 6857997"/>
              <a:gd name="connsiteX495" fmla="*/ 1051543 w 12188817"/>
              <a:gd name="connsiteY495" fmla="*/ 6455019 h 6857997"/>
              <a:gd name="connsiteX496" fmla="*/ 1043486 w 12188817"/>
              <a:gd name="connsiteY496" fmla="*/ 6483971 h 6857997"/>
              <a:gd name="connsiteX497" fmla="*/ 1051613 w 12188817"/>
              <a:gd name="connsiteY497" fmla="*/ 6512888 h 6857997"/>
              <a:gd name="connsiteX498" fmla="*/ 1071949 w 12188817"/>
              <a:gd name="connsiteY498" fmla="*/ 6522690 h 6857997"/>
              <a:gd name="connsiteX499" fmla="*/ 1092390 w 12188817"/>
              <a:gd name="connsiteY499" fmla="*/ 6512923 h 6857997"/>
              <a:gd name="connsiteX500" fmla="*/ 1100412 w 12188817"/>
              <a:gd name="connsiteY500" fmla="*/ 6483204 h 6857997"/>
              <a:gd name="connsiteX501" fmla="*/ 1092250 w 12188817"/>
              <a:gd name="connsiteY501" fmla="*/ 6455019 h 6857997"/>
              <a:gd name="connsiteX502" fmla="*/ 1071949 w 12188817"/>
              <a:gd name="connsiteY502" fmla="*/ 6445252 h 6857997"/>
              <a:gd name="connsiteX503" fmla="*/ 883892 w 12188817"/>
              <a:gd name="connsiteY503" fmla="*/ 6440020 h 6857997"/>
              <a:gd name="connsiteX504" fmla="*/ 867086 w 12188817"/>
              <a:gd name="connsiteY504" fmla="*/ 6447642 h 6857997"/>
              <a:gd name="connsiteX505" fmla="*/ 860692 w 12188817"/>
              <a:gd name="connsiteY505" fmla="*/ 6469809 h 6857997"/>
              <a:gd name="connsiteX506" fmla="*/ 867156 w 12188817"/>
              <a:gd name="connsiteY506" fmla="*/ 6492115 h 6857997"/>
              <a:gd name="connsiteX507" fmla="*/ 883401 w 12188817"/>
              <a:gd name="connsiteY507" fmla="*/ 6499877 h 6857997"/>
              <a:gd name="connsiteX508" fmla="*/ 896713 w 12188817"/>
              <a:gd name="connsiteY508" fmla="*/ 6494819 h 6857997"/>
              <a:gd name="connsiteX509" fmla="*/ 904155 w 12188817"/>
              <a:gd name="connsiteY509" fmla="*/ 6480762 h 6857997"/>
              <a:gd name="connsiteX510" fmla="*/ 897178 w 12188817"/>
              <a:gd name="connsiteY510" fmla="*/ 6478250 h 6857997"/>
              <a:gd name="connsiteX511" fmla="*/ 891863 w 12188817"/>
              <a:gd name="connsiteY511" fmla="*/ 6488192 h 6857997"/>
              <a:gd name="connsiteX512" fmla="*/ 882842 w 12188817"/>
              <a:gd name="connsiteY512" fmla="*/ 6491715 h 6857997"/>
              <a:gd name="connsiteX513" fmla="*/ 872562 w 12188817"/>
              <a:gd name="connsiteY513" fmla="*/ 6486326 h 6857997"/>
              <a:gd name="connsiteX514" fmla="*/ 868436 w 12188817"/>
              <a:gd name="connsiteY514" fmla="*/ 6470300 h 6857997"/>
              <a:gd name="connsiteX515" fmla="*/ 872772 w 12188817"/>
              <a:gd name="connsiteY515" fmla="*/ 6453502 h 6857997"/>
              <a:gd name="connsiteX516" fmla="*/ 883613 w 12188817"/>
              <a:gd name="connsiteY516" fmla="*/ 6447834 h 6857997"/>
              <a:gd name="connsiteX517" fmla="*/ 891341 w 12188817"/>
              <a:gd name="connsiteY517" fmla="*/ 6450520 h 6857997"/>
              <a:gd name="connsiteX518" fmla="*/ 896481 w 12188817"/>
              <a:gd name="connsiteY518" fmla="*/ 6458507 h 6857997"/>
              <a:gd name="connsiteX519" fmla="*/ 903317 w 12188817"/>
              <a:gd name="connsiteY519" fmla="*/ 6456484 h 6857997"/>
              <a:gd name="connsiteX520" fmla="*/ 896260 w 12188817"/>
              <a:gd name="connsiteY520" fmla="*/ 6444346 h 6857997"/>
              <a:gd name="connsiteX521" fmla="*/ 883892 w 12188817"/>
              <a:gd name="connsiteY521" fmla="*/ 6440020 h 6857997"/>
              <a:gd name="connsiteX522" fmla="*/ 2030135 w 12188817"/>
              <a:gd name="connsiteY522" fmla="*/ 6429486 h 6857997"/>
              <a:gd name="connsiteX523" fmla="*/ 2036063 w 12188817"/>
              <a:gd name="connsiteY523" fmla="*/ 6450694 h 6857997"/>
              <a:gd name="connsiteX524" fmla="*/ 2044779 w 12188817"/>
              <a:gd name="connsiteY524" fmla="*/ 6479018 h 6857997"/>
              <a:gd name="connsiteX525" fmla="*/ 2016211 w 12188817"/>
              <a:gd name="connsiteY525" fmla="*/ 6479018 h 6857997"/>
              <a:gd name="connsiteX526" fmla="*/ 2025540 w 12188817"/>
              <a:gd name="connsiteY526" fmla="*/ 6449020 h 6857997"/>
              <a:gd name="connsiteX527" fmla="*/ 2030135 w 12188817"/>
              <a:gd name="connsiteY527" fmla="*/ 6429486 h 6857997"/>
              <a:gd name="connsiteX528" fmla="*/ 883226 w 12188817"/>
              <a:gd name="connsiteY528" fmla="*/ 6425649 h 6857997"/>
              <a:gd name="connsiteX529" fmla="*/ 907922 w 12188817"/>
              <a:gd name="connsiteY529" fmla="*/ 6437738 h 6857997"/>
              <a:gd name="connsiteX530" fmla="*/ 919223 w 12188817"/>
              <a:gd name="connsiteY530" fmla="*/ 6469670 h 6857997"/>
              <a:gd name="connsiteX531" fmla="*/ 909317 w 12188817"/>
              <a:gd name="connsiteY531" fmla="*/ 6499925 h 6857997"/>
              <a:gd name="connsiteX532" fmla="*/ 883226 w 12188817"/>
              <a:gd name="connsiteY532" fmla="*/ 6513620 h 6857997"/>
              <a:gd name="connsiteX533" fmla="*/ 858530 w 12188817"/>
              <a:gd name="connsiteY533" fmla="*/ 6501603 h 6857997"/>
              <a:gd name="connsiteX534" fmla="*/ 847228 w 12188817"/>
              <a:gd name="connsiteY534" fmla="*/ 6469670 h 6857997"/>
              <a:gd name="connsiteX535" fmla="*/ 857134 w 12188817"/>
              <a:gd name="connsiteY535" fmla="*/ 6439344 h 6857997"/>
              <a:gd name="connsiteX536" fmla="*/ 883226 w 12188817"/>
              <a:gd name="connsiteY536" fmla="*/ 6425649 h 6857997"/>
              <a:gd name="connsiteX537" fmla="*/ 6208293 w 12188817"/>
              <a:gd name="connsiteY537" fmla="*/ 6421045 h 6857997"/>
              <a:gd name="connsiteX538" fmla="*/ 6198038 w 12188817"/>
              <a:gd name="connsiteY538" fmla="*/ 6428579 h 6857997"/>
              <a:gd name="connsiteX539" fmla="*/ 6198038 w 12188817"/>
              <a:gd name="connsiteY539" fmla="*/ 6446927 h 6857997"/>
              <a:gd name="connsiteX540" fmla="*/ 6190503 w 12188817"/>
              <a:gd name="connsiteY540" fmla="*/ 6446927 h 6857997"/>
              <a:gd name="connsiteX541" fmla="*/ 6190503 w 12188817"/>
              <a:gd name="connsiteY541" fmla="*/ 6456694 h 6857997"/>
              <a:gd name="connsiteX542" fmla="*/ 6198038 w 12188817"/>
              <a:gd name="connsiteY542" fmla="*/ 6456694 h 6857997"/>
              <a:gd name="connsiteX543" fmla="*/ 6198038 w 12188817"/>
              <a:gd name="connsiteY543" fmla="*/ 6499319 h 6857997"/>
              <a:gd name="connsiteX544" fmla="*/ 6199259 w 12188817"/>
              <a:gd name="connsiteY544" fmla="*/ 6514039 h 6857997"/>
              <a:gd name="connsiteX545" fmla="*/ 6203758 w 12188817"/>
              <a:gd name="connsiteY545" fmla="*/ 6519864 h 6857997"/>
              <a:gd name="connsiteX546" fmla="*/ 6212409 w 12188817"/>
              <a:gd name="connsiteY546" fmla="*/ 6521992 h 6857997"/>
              <a:gd name="connsiteX547" fmla="*/ 6220083 w 12188817"/>
              <a:gd name="connsiteY547" fmla="*/ 6520876 h 6857997"/>
              <a:gd name="connsiteX548" fmla="*/ 6218688 w 12188817"/>
              <a:gd name="connsiteY548" fmla="*/ 6509783 h 6857997"/>
              <a:gd name="connsiteX549" fmla="*/ 6214153 w 12188817"/>
              <a:gd name="connsiteY549" fmla="*/ 6510272 h 6857997"/>
              <a:gd name="connsiteX550" fmla="*/ 6209200 w 12188817"/>
              <a:gd name="connsiteY550" fmla="*/ 6507760 h 6857997"/>
              <a:gd name="connsiteX551" fmla="*/ 6208293 w 12188817"/>
              <a:gd name="connsiteY551" fmla="*/ 6500017 h 6857997"/>
              <a:gd name="connsiteX552" fmla="*/ 6208293 w 12188817"/>
              <a:gd name="connsiteY552" fmla="*/ 6456694 h 6857997"/>
              <a:gd name="connsiteX553" fmla="*/ 6218688 w 12188817"/>
              <a:gd name="connsiteY553" fmla="*/ 6456694 h 6857997"/>
              <a:gd name="connsiteX554" fmla="*/ 6218688 w 12188817"/>
              <a:gd name="connsiteY554" fmla="*/ 6446927 h 6857997"/>
              <a:gd name="connsiteX555" fmla="*/ 6208293 w 12188817"/>
              <a:gd name="connsiteY555" fmla="*/ 6446927 h 6857997"/>
              <a:gd name="connsiteX556" fmla="*/ 2421955 w 12188817"/>
              <a:gd name="connsiteY556" fmla="*/ 6421045 h 6857997"/>
              <a:gd name="connsiteX557" fmla="*/ 2411700 w 12188817"/>
              <a:gd name="connsiteY557" fmla="*/ 6428579 h 6857997"/>
              <a:gd name="connsiteX558" fmla="*/ 2411700 w 12188817"/>
              <a:gd name="connsiteY558" fmla="*/ 6446927 h 6857997"/>
              <a:gd name="connsiteX559" fmla="*/ 2404165 w 12188817"/>
              <a:gd name="connsiteY559" fmla="*/ 6446927 h 6857997"/>
              <a:gd name="connsiteX560" fmla="*/ 2404165 w 12188817"/>
              <a:gd name="connsiteY560" fmla="*/ 6456694 h 6857997"/>
              <a:gd name="connsiteX561" fmla="*/ 2411700 w 12188817"/>
              <a:gd name="connsiteY561" fmla="*/ 6456694 h 6857997"/>
              <a:gd name="connsiteX562" fmla="*/ 2411700 w 12188817"/>
              <a:gd name="connsiteY562" fmla="*/ 6499319 h 6857997"/>
              <a:gd name="connsiteX563" fmla="*/ 2412921 w 12188817"/>
              <a:gd name="connsiteY563" fmla="*/ 6514039 h 6857997"/>
              <a:gd name="connsiteX564" fmla="*/ 2417421 w 12188817"/>
              <a:gd name="connsiteY564" fmla="*/ 6519864 h 6857997"/>
              <a:gd name="connsiteX565" fmla="*/ 2426071 w 12188817"/>
              <a:gd name="connsiteY565" fmla="*/ 6521992 h 6857997"/>
              <a:gd name="connsiteX566" fmla="*/ 2432786 w 12188817"/>
              <a:gd name="connsiteY566" fmla="*/ 6521015 h 6857997"/>
              <a:gd name="connsiteX567" fmla="*/ 2486528 w 12188817"/>
              <a:gd name="connsiteY567" fmla="*/ 6521015 h 6857997"/>
              <a:gd name="connsiteX568" fmla="*/ 2486528 w 12188817"/>
              <a:gd name="connsiteY568" fmla="*/ 6510202 h 6857997"/>
              <a:gd name="connsiteX569" fmla="*/ 2458405 w 12188817"/>
              <a:gd name="connsiteY569" fmla="*/ 6510202 h 6857997"/>
              <a:gd name="connsiteX570" fmla="*/ 2445424 w 12188817"/>
              <a:gd name="connsiteY570" fmla="*/ 6510830 h 6857997"/>
              <a:gd name="connsiteX571" fmla="*/ 2451786 w 12188817"/>
              <a:gd name="connsiteY571" fmla="*/ 6502249 h 6857997"/>
              <a:gd name="connsiteX572" fmla="*/ 2484784 w 12188817"/>
              <a:gd name="connsiteY572" fmla="*/ 6455229 h 6857997"/>
              <a:gd name="connsiteX573" fmla="*/ 2484784 w 12188817"/>
              <a:gd name="connsiteY573" fmla="*/ 6446927 h 6857997"/>
              <a:gd name="connsiteX574" fmla="*/ 2435043 w 12188817"/>
              <a:gd name="connsiteY574" fmla="*/ 6446927 h 6857997"/>
              <a:gd name="connsiteX575" fmla="*/ 2435043 w 12188817"/>
              <a:gd name="connsiteY575" fmla="*/ 6457112 h 6857997"/>
              <a:gd name="connsiteX576" fmla="*/ 2459828 w 12188817"/>
              <a:gd name="connsiteY576" fmla="*/ 6457112 h 6857997"/>
              <a:gd name="connsiteX577" fmla="*/ 2471487 w 12188817"/>
              <a:gd name="connsiteY577" fmla="*/ 6456694 h 6857997"/>
              <a:gd name="connsiteX578" fmla="*/ 2432740 w 12188817"/>
              <a:gd name="connsiteY578" fmla="*/ 6510830 h 6857997"/>
              <a:gd name="connsiteX579" fmla="*/ 2432740 w 12188817"/>
              <a:gd name="connsiteY579" fmla="*/ 6512889 h 6857997"/>
              <a:gd name="connsiteX580" fmla="*/ 2432350 w 12188817"/>
              <a:gd name="connsiteY580" fmla="*/ 6509783 h 6857997"/>
              <a:gd name="connsiteX581" fmla="*/ 2427815 w 12188817"/>
              <a:gd name="connsiteY581" fmla="*/ 6510272 h 6857997"/>
              <a:gd name="connsiteX582" fmla="*/ 2422862 w 12188817"/>
              <a:gd name="connsiteY582" fmla="*/ 6507760 h 6857997"/>
              <a:gd name="connsiteX583" fmla="*/ 2421955 w 12188817"/>
              <a:gd name="connsiteY583" fmla="*/ 6500017 h 6857997"/>
              <a:gd name="connsiteX584" fmla="*/ 2421955 w 12188817"/>
              <a:gd name="connsiteY584" fmla="*/ 6456694 h 6857997"/>
              <a:gd name="connsiteX585" fmla="*/ 2432350 w 12188817"/>
              <a:gd name="connsiteY585" fmla="*/ 6456694 h 6857997"/>
              <a:gd name="connsiteX586" fmla="*/ 2432350 w 12188817"/>
              <a:gd name="connsiteY586" fmla="*/ 6446927 h 6857997"/>
              <a:gd name="connsiteX587" fmla="*/ 2421955 w 12188817"/>
              <a:gd name="connsiteY587" fmla="*/ 6446927 h 6857997"/>
              <a:gd name="connsiteX588" fmla="*/ 1440880 w 12188817"/>
              <a:gd name="connsiteY588" fmla="*/ 6421045 h 6857997"/>
              <a:gd name="connsiteX589" fmla="*/ 1430625 w 12188817"/>
              <a:gd name="connsiteY589" fmla="*/ 6428579 h 6857997"/>
              <a:gd name="connsiteX590" fmla="*/ 1430625 w 12188817"/>
              <a:gd name="connsiteY590" fmla="*/ 6446927 h 6857997"/>
              <a:gd name="connsiteX591" fmla="*/ 1423090 w 12188817"/>
              <a:gd name="connsiteY591" fmla="*/ 6446927 h 6857997"/>
              <a:gd name="connsiteX592" fmla="*/ 1423090 w 12188817"/>
              <a:gd name="connsiteY592" fmla="*/ 6456694 h 6857997"/>
              <a:gd name="connsiteX593" fmla="*/ 1430625 w 12188817"/>
              <a:gd name="connsiteY593" fmla="*/ 6456694 h 6857997"/>
              <a:gd name="connsiteX594" fmla="*/ 1430625 w 12188817"/>
              <a:gd name="connsiteY594" fmla="*/ 6499319 h 6857997"/>
              <a:gd name="connsiteX595" fmla="*/ 1431846 w 12188817"/>
              <a:gd name="connsiteY595" fmla="*/ 6514039 h 6857997"/>
              <a:gd name="connsiteX596" fmla="*/ 1436345 w 12188817"/>
              <a:gd name="connsiteY596" fmla="*/ 6519864 h 6857997"/>
              <a:gd name="connsiteX597" fmla="*/ 1444996 w 12188817"/>
              <a:gd name="connsiteY597" fmla="*/ 6521992 h 6857997"/>
              <a:gd name="connsiteX598" fmla="*/ 1452670 w 12188817"/>
              <a:gd name="connsiteY598" fmla="*/ 6520876 h 6857997"/>
              <a:gd name="connsiteX599" fmla="*/ 1451275 w 12188817"/>
              <a:gd name="connsiteY599" fmla="*/ 6509783 h 6857997"/>
              <a:gd name="connsiteX600" fmla="*/ 1446740 w 12188817"/>
              <a:gd name="connsiteY600" fmla="*/ 6510272 h 6857997"/>
              <a:gd name="connsiteX601" fmla="*/ 1441787 w 12188817"/>
              <a:gd name="connsiteY601" fmla="*/ 6507760 h 6857997"/>
              <a:gd name="connsiteX602" fmla="*/ 1440880 w 12188817"/>
              <a:gd name="connsiteY602" fmla="*/ 6500017 h 6857997"/>
              <a:gd name="connsiteX603" fmla="*/ 1440880 w 12188817"/>
              <a:gd name="connsiteY603" fmla="*/ 6456694 h 6857997"/>
              <a:gd name="connsiteX604" fmla="*/ 1451275 w 12188817"/>
              <a:gd name="connsiteY604" fmla="*/ 6456694 h 6857997"/>
              <a:gd name="connsiteX605" fmla="*/ 1451275 w 12188817"/>
              <a:gd name="connsiteY605" fmla="*/ 6446927 h 6857997"/>
              <a:gd name="connsiteX606" fmla="*/ 1440880 w 12188817"/>
              <a:gd name="connsiteY606" fmla="*/ 6446927 h 6857997"/>
              <a:gd name="connsiteX607" fmla="*/ 6319282 w 12188817"/>
              <a:gd name="connsiteY607" fmla="*/ 6418742 h 6857997"/>
              <a:gd name="connsiteX608" fmla="*/ 6319282 w 12188817"/>
              <a:gd name="connsiteY608" fmla="*/ 6521015 h 6857997"/>
              <a:gd name="connsiteX609" fmla="*/ 6329537 w 12188817"/>
              <a:gd name="connsiteY609" fmla="*/ 6521015 h 6857997"/>
              <a:gd name="connsiteX610" fmla="*/ 6329537 w 12188817"/>
              <a:gd name="connsiteY610" fmla="*/ 6418742 h 6857997"/>
              <a:gd name="connsiteX611" fmla="*/ 6224380 w 12188817"/>
              <a:gd name="connsiteY611" fmla="*/ 6418742 h 6857997"/>
              <a:gd name="connsiteX612" fmla="*/ 6224380 w 12188817"/>
              <a:gd name="connsiteY612" fmla="*/ 6433183 h 6857997"/>
              <a:gd name="connsiteX613" fmla="*/ 6234636 w 12188817"/>
              <a:gd name="connsiteY613" fmla="*/ 6433183 h 6857997"/>
              <a:gd name="connsiteX614" fmla="*/ 6234636 w 12188817"/>
              <a:gd name="connsiteY614" fmla="*/ 6418742 h 6857997"/>
              <a:gd name="connsiteX615" fmla="*/ 6034361 w 12188817"/>
              <a:gd name="connsiteY615" fmla="*/ 6418742 h 6857997"/>
              <a:gd name="connsiteX616" fmla="*/ 6034361 w 12188817"/>
              <a:gd name="connsiteY616" fmla="*/ 6455438 h 6857997"/>
              <a:gd name="connsiteX617" fmla="*/ 6027152 w 12188817"/>
              <a:gd name="connsiteY617" fmla="*/ 6447938 h 6857997"/>
              <a:gd name="connsiteX618" fmla="*/ 6017716 w 12188817"/>
              <a:gd name="connsiteY618" fmla="*/ 6445252 h 6857997"/>
              <a:gd name="connsiteX619" fmla="*/ 6004794 w 12188817"/>
              <a:gd name="connsiteY619" fmla="*/ 6449508 h 6857997"/>
              <a:gd name="connsiteX620" fmla="*/ 5995495 w 12188817"/>
              <a:gd name="connsiteY620" fmla="*/ 6462554 h 6857997"/>
              <a:gd name="connsiteX621" fmla="*/ 5992013 w 12188817"/>
              <a:gd name="connsiteY621" fmla="*/ 6483971 h 6857997"/>
              <a:gd name="connsiteX622" fmla="*/ 5999862 w 12188817"/>
              <a:gd name="connsiteY622" fmla="*/ 6512539 h 6857997"/>
              <a:gd name="connsiteX623" fmla="*/ 6018454 w 12188817"/>
              <a:gd name="connsiteY623" fmla="*/ 6522690 h 6857997"/>
              <a:gd name="connsiteX624" fmla="*/ 6027944 w 12188817"/>
              <a:gd name="connsiteY624" fmla="*/ 6519864 h 6857997"/>
              <a:gd name="connsiteX625" fmla="*/ 6035129 w 12188817"/>
              <a:gd name="connsiteY625" fmla="*/ 6511667 h 6857997"/>
              <a:gd name="connsiteX626" fmla="*/ 6035129 w 12188817"/>
              <a:gd name="connsiteY626" fmla="*/ 6521015 h 6857997"/>
              <a:gd name="connsiteX627" fmla="*/ 6044755 w 12188817"/>
              <a:gd name="connsiteY627" fmla="*/ 6521015 h 6857997"/>
              <a:gd name="connsiteX628" fmla="*/ 6044755 w 12188817"/>
              <a:gd name="connsiteY628" fmla="*/ 6418742 h 6857997"/>
              <a:gd name="connsiteX629" fmla="*/ 2790947 w 12188817"/>
              <a:gd name="connsiteY629" fmla="*/ 6418742 h 6857997"/>
              <a:gd name="connsiteX630" fmla="*/ 2790947 w 12188817"/>
              <a:gd name="connsiteY630" fmla="*/ 6455438 h 6857997"/>
              <a:gd name="connsiteX631" fmla="*/ 2783737 w 12188817"/>
              <a:gd name="connsiteY631" fmla="*/ 6447938 h 6857997"/>
              <a:gd name="connsiteX632" fmla="*/ 2774300 w 12188817"/>
              <a:gd name="connsiteY632" fmla="*/ 6445252 h 6857997"/>
              <a:gd name="connsiteX633" fmla="*/ 2761380 w 12188817"/>
              <a:gd name="connsiteY633" fmla="*/ 6449508 h 6857997"/>
              <a:gd name="connsiteX634" fmla="*/ 2752082 w 12188817"/>
              <a:gd name="connsiteY634" fmla="*/ 6462554 h 6857997"/>
              <a:gd name="connsiteX635" fmla="*/ 2748600 w 12188817"/>
              <a:gd name="connsiteY635" fmla="*/ 6483971 h 6857997"/>
              <a:gd name="connsiteX636" fmla="*/ 2756449 w 12188817"/>
              <a:gd name="connsiteY636" fmla="*/ 6512539 h 6857997"/>
              <a:gd name="connsiteX637" fmla="*/ 2775041 w 12188817"/>
              <a:gd name="connsiteY637" fmla="*/ 6522690 h 6857997"/>
              <a:gd name="connsiteX638" fmla="*/ 2784528 w 12188817"/>
              <a:gd name="connsiteY638" fmla="*/ 6519864 h 6857997"/>
              <a:gd name="connsiteX639" fmla="*/ 2791714 w 12188817"/>
              <a:gd name="connsiteY639" fmla="*/ 6511667 h 6857997"/>
              <a:gd name="connsiteX640" fmla="*/ 2791714 w 12188817"/>
              <a:gd name="connsiteY640" fmla="*/ 6521015 h 6857997"/>
              <a:gd name="connsiteX641" fmla="*/ 2801341 w 12188817"/>
              <a:gd name="connsiteY641" fmla="*/ 6521015 h 6857997"/>
              <a:gd name="connsiteX642" fmla="*/ 2801341 w 12188817"/>
              <a:gd name="connsiteY642" fmla="*/ 6418742 h 6857997"/>
              <a:gd name="connsiteX643" fmla="*/ 2590094 w 12188817"/>
              <a:gd name="connsiteY643" fmla="*/ 6418742 h 6857997"/>
              <a:gd name="connsiteX644" fmla="*/ 2590094 w 12188817"/>
              <a:gd name="connsiteY644" fmla="*/ 6521015 h 6857997"/>
              <a:gd name="connsiteX645" fmla="*/ 2600349 w 12188817"/>
              <a:gd name="connsiteY645" fmla="*/ 6521015 h 6857997"/>
              <a:gd name="connsiteX646" fmla="*/ 2600349 w 12188817"/>
              <a:gd name="connsiteY646" fmla="*/ 6418742 h 6857997"/>
              <a:gd name="connsiteX647" fmla="*/ 2380892 w 12188817"/>
              <a:gd name="connsiteY647" fmla="*/ 6418742 h 6857997"/>
              <a:gd name="connsiteX648" fmla="*/ 2380892 w 12188817"/>
              <a:gd name="connsiteY648" fmla="*/ 6433183 h 6857997"/>
              <a:gd name="connsiteX649" fmla="*/ 2391148 w 12188817"/>
              <a:gd name="connsiteY649" fmla="*/ 6433183 h 6857997"/>
              <a:gd name="connsiteX650" fmla="*/ 2391148 w 12188817"/>
              <a:gd name="connsiteY650" fmla="*/ 6418742 h 6857997"/>
              <a:gd name="connsiteX651" fmla="*/ 2024493 w 12188817"/>
              <a:gd name="connsiteY651" fmla="*/ 6418742 h 6857997"/>
              <a:gd name="connsiteX652" fmla="*/ 1992149 w 12188817"/>
              <a:gd name="connsiteY652" fmla="*/ 6521015 h 6857997"/>
              <a:gd name="connsiteX653" fmla="*/ 2003850 w 12188817"/>
              <a:gd name="connsiteY653" fmla="*/ 6521015 h 6857997"/>
              <a:gd name="connsiteX654" fmla="*/ 2012966 w 12188817"/>
              <a:gd name="connsiteY654" fmla="*/ 6490040 h 6857997"/>
              <a:gd name="connsiteX655" fmla="*/ 2048249 w 12188817"/>
              <a:gd name="connsiteY655" fmla="*/ 6490040 h 6857997"/>
              <a:gd name="connsiteX656" fmla="*/ 2058004 w 12188817"/>
              <a:gd name="connsiteY656" fmla="*/ 6521015 h 6857997"/>
              <a:gd name="connsiteX657" fmla="*/ 2070702 w 12188817"/>
              <a:gd name="connsiteY657" fmla="*/ 6521015 h 6857997"/>
              <a:gd name="connsiteX658" fmla="*/ 2036357 w 12188817"/>
              <a:gd name="connsiteY658" fmla="*/ 6418742 h 6857997"/>
              <a:gd name="connsiteX659" fmla="*/ 1818918 w 12188817"/>
              <a:gd name="connsiteY659" fmla="*/ 6418742 h 6857997"/>
              <a:gd name="connsiteX660" fmla="*/ 1818918 w 12188817"/>
              <a:gd name="connsiteY660" fmla="*/ 6433183 h 6857997"/>
              <a:gd name="connsiteX661" fmla="*/ 1829173 w 12188817"/>
              <a:gd name="connsiteY661" fmla="*/ 6433183 h 6857997"/>
              <a:gd name="connsiteX662" fmla="*/ 1829173 w 12188817"/>
              <a:gd name="connsiteY662" fmla="*/ 6418742 h 6857997"/>
              <a:gd name="connsiteX663" fmla="*/ 1752242 w 12188817"/>
              <a:gd name="connsiteY663" fmla="*/ 6418742 h 6857997"/>
              <a:gd name="connsiteX664" fmla="*/ 1752242 w 12188817"/>
              <a:gd name="connsiteY664" fmla="*/ 6433183 h 6857997"/>
              <a:gd name="connsiteX665" fmla="*/ 1762498 w 12188817"/>
              <a:gd name="connsiteY665" fmla="*/ 6433183 h 6857997"/>
              <a:gd name="connsiteX666" fmla="*/ 1762498 w 12188817"/>
              <a:gd name="connsiteY666" fmla="*/ 6418742 h 6857997"/>
              <a:gd name="connsiteX667" fmla="*/ 1361717 w 12188817"/>
              <a:gd name="connsiteY667" fmla="*/ 6418742 h 6857997"/>
              <a:gd name="connsiteX668" fmla="*/ 1361717 w 12188817"/>
              <a:gd name="connsiteY668" fmla="*/ 6521015 h 6857997"/>
              <a:gd name="connsiteX669" fmla="*/ 1371973 w 12188817"/>
              <a:gd name="connsiteY669" fmla="*/ 6521015 h 6857997"/>
              <a:gd name="connsiteX670" fmla="*/ 1371973 w 12188817"/>
              <a:gd name="connsiteY670" fmla="*/ 6480483 h 6857997"/>
              <a:gd name="connsiteX671" fmla="*/ 1376682 w 12188817"/>
              <a:gd name="connsiteY671" fmla="*/ 6461437 h 6857997"/>
              <a:gd name="connsiteX672" fmla="*/ 1388088 w 12188817"/>
              <a:gd name="connsiteY672" fmla="*/ 6456066 h 6857997"/>
              <a:gd name="connsiteX673" fmla="*/ 1397506 w 12188817"/>
              <a:gd name="connsiteY673" fmla="*/ 6460252 h 6857997"/>
              <a:gd name="connsiteX674" fmla="*/ 1400924 w 12188817"/>
              <a:gd name="connsiteY674" fmla="*/ 6474065 h 6857997"/>
              <a:gd name="connsiteX675" fmla="*/ 1400924 w 12188817"/>
              <a:gd name="connsiteY675" fmla="*/ 6521015 h 6857997"/>
              <a:gd name="connsiteX676" fmla="*/ 1411180 w 12188817"/>
              <a:gd name="connsiteY676" fmla="*/ 6521015 h 6857997"/>
              <a:gd name="connsiteX677" fmla="*/ 1411180 w 12188817"/>
              <a:gd name="connsiteY677" fmla="*/ 6474065 h 6857997"/>
              <a:gd name="connsiteX678" fmla="*/ 1405564 w 12188817"/>
              <a:gd name="connsiteY678" fmla="*/ 6451426 h 6857997"/>
              <a:gd name="connsiteX679" fmla="*/ 1390251 w 12188817"/>
              <a:gd name="connsiteY679" fmla="*/ 6445252 h 6857997"/>
              <a:gd name="connsiteX680" fmla="*/ 1380170 w 12188817"/>
              <a:gd name="connsiteY680" fmla="*/ 6447799 h 6857997"/>
              <a:gd name="connsiteX681" fmla="*/ 1371973 w 12188817"/>
              <a:gd name="connsiteY681" fmla="*/ 6455438 h 6857997"/>
              <a:gd name="connsiteX682" fmla="*/ 1371973 w 12188817"/>
              <a:gd name="connsiteY682" fmla="*/ 6418742 h 6857997"/>
              <a:gd name="connsiteX683" fmla="*/ 1266468 w 12188817"/>
              <a:gd name="connsiteY683" fmla="*/ 6418742 h 6857997"/>
              <a:gd name="connsiteX684" fmla="*/ 1266468 w 12188817"/>
              <a:gd name="connsiteY684" fmla="*/ 6433183 h 6857997"/>
              <a:gd name="connsiteX685" fmla="*/ 1276723 w 12188817"/>
              <a:gd name="connsiteY685" fmla="*/ 6433183 h 6857997"/>
              <a:gd name="connsiteX686" fmla="*/ 1276723 w 12188817"/>
              <a:gd name="connsiteY686" fmla="*/ 6418742 h 6857997"/>
              <a:gd name="connsiteX687" fmla="*/ 5958280 w 12188817"/>
              <a:gd name="connsiteY687" fmla="*/ 6416998 h 6857997"/>
              <a:gd name="connsiteX688" fmla="*/ 5948872 w 12188817"/>
              <a:gd name="connsiteY688" fmla="*/ 6419301 h 6857997"/>
              <a:gd name="connsiteX689" fmla="*/ 5943312 w 12188817"/>
              <a:gd name="connsiteY689" fmla="*/ 6425963 h 6857997"/>
              <a:gd name="connsiteX690" fmla="*/ 5941493 w 12188817"/>
              <a:gd name="connsiteY690" fmla="*/ 6439044 h 6857997"/>
              <a:gd name="connsiteX691" fmla="*/ 5941493 w 12188817"/>
              <a:gd name="connsiteY691" fmla="*/ 6446927 h 6857997"/>
              <a:gd name="connsiteX692" fmla="*/ 5932354 w 12188817"/>
              <a:gd name="connsiteY692" fmla="*/ 6446927 h 6857997"/>
              <a:gd name="connsiteX693" fmla="*/ 5932354 w 12188817"/>
              <a:gd name="connsiteY693" fmla="*/ 6456694 h 6857997"/>
              <a:gd name="connsiteX694" fmla="*/ 5941493 w 12188817"/>
              <a:gd name="connsiteY694" fmla="*/ 6456694 h 6857997"/>
              <a:gd name="connsiteX695" fmla="*/ 5941493 w 12188817"/>
              <a:gd name="connsiteY695" fmla="*/ 6521015 h 6857997"/>
              <a:gd name="connsiteX696" fmla="*/ 5951746 w 12188817"/>
              <a:gd name="connsiteY696" fmla="*/ 6521015 h 6857997"/>
              <a:gd name="connsiteX697" fmla="*/ 5951746 w 12188817"/>
              <a:gd name="connsiteY697" fmla="*/ 6456694 h 6857997"/>
              <a:gd name="connsiteX698" fmla="*/ 5963606 w 12188817"/>
              <a:gd name="connsiteY698" fmla="*/ 6456694 h 6857997"/>
              <a:gd name="connsiteX699" fmla="*/ 5963606 w 12188817"/>
              <a:gd name="connsiteY699" fmla="*/ 6446927 h 6857997"/>
              <a:gd name="connsiteX700" fmla="*/ 5951746 w 12188817"/>
              <a:gd name="connsiteY700" fmla="*/ 6446927 h 6857997"/>
              <a:gd name="connsiteX701" fmla="*/ 5951746 w 12188817"/>
              <a:gd name="connsiteY701" fmla="*/ 6440090 h 6857997"/>
              <a:gd name="connsiteX702" fmla="*/ 5953734 w 12188817"/>
              <a:gd name="connsiteY702" fmla="*/ 6430916 h 6857997"/>
              <a:gd name="connsiteX703" fmla="*/ 5960327 w 12188817"/>
              <a:gd name="connsiteY703" fmla="*/ 6428509 h 6857997"/>
              <a:gd name="connsiteX704" fmla="*/ 5966397 w 12188817"/>
              <a:gd name="connsiteY704" fmla="*/ 6429207 h 6857997"/>
              <a:gd name="connsiteX705" fmla="*/ 5967205 w 12188817"/>
              <a:gd name="connsiteY705" fmla="*/ 6423469 h 6857997"/>
              <a:gd name="connsiteX706" fmla="*/ 5967205 w 12188817"/>
              <a:gd name="connsiteY706" fmla="*/ 6433183 h 6857997"/>
              <a:gd name="connsiteX707" fmla="*/ 5977462 w 12188817"/>
              <a:gd name="connsiteY707" fmla="*/ 6433183 h 6857997"/>
              <a:gd name="connsiteX708" fmla="*/ 5977462 w 12188817"/>
              <a:gd name="connsiteY708" fmla="*/ 6418742 h 6857997"/>
              <a:gd name="connsiteX709" fmla="*/ 5967872 w 12188817"/>
              <a:gd name="connsiteY709" fmla="*/ 6418742 h 6857997"/>
              <a:gd name="connsiteX710" fmla="*/ 5967932 w 12188817"/>
              <a:gd name="connsiteY710" fmla="*/ 6418324 h 6857997"/>
              <a:gd name="connsiteX711" fmla="*/ 5958280 w 12188817"/>
              <a:gd name="connsiteY711" fmla="*/ 6416998 h 6857997"/>
              <a:gd name="connsiteX712" fmla="*/ 883226 w 12188817"/>
              <a:gd name="connsiteY712" fmla="*/ 6416998 h 6857997"/>
              <a:gd name="connsiteX713" fmla="*/ 862262 w 12188817"/>
              <a:gd name="connsiteY713" fmla="*/ 6423591 h 6857997"/>
              <a:gd name="connsiteX714" fmla="*/ 846181 w 12188817"/>
              <a:gd name="connsiteY714" fmla="*/ 6442532 h 6857997"/>
              <a:gd name="connsiteX715" fmla="*/ 840042 w 12188817"/>
              <a:gd name="connsiteY715" fmla="*/ 6469670 h 6857997"/>
              <a:gd name="connsiteX716" fmla="*/ 852460 w 12188817"/>
              <a:gd name="connsiteY716" fmla="*/ 6506539 h 6857997"/>
              <a:gd name="connsiteX717" fmla="*/ 883226 w 12188817"/>
              <a:gd name="connsiteY717" fmla="*/ 6522271 h 6857997"/>
              <a:gd name="connsiteX718" fmla="*/ 904190 w 12188817"/>
              <a:gd name="connsiteY718" fmla="*/ 6515678 h 6857997"/>
              <a:gd name="connsiteX719" fmla="*/ 920270 w 12188817"/>
              <a:gd name="connsiteY719" fmla="*/ 6496738 h 6857997"/>
              <a:gd name="connsiteX720" fmla="*/ 926409 w 12188817"/>
              <a:gd name="connsiteY720" fmla="*/ 6469670 h 6857997"/>
              <a:gd name="connsiteX721" fmla="*/ 913991 w 12188817"/>
              <a:gd name="connsiteY721" fmla="*/ 6432765 h 6857997"/>
              <a:gd name="connsiteX722" fmla="*/ 883226 w 12188817"/>
              <a:gd name="connsiteY722" fmla="*/ 6416998 h 6857997"/>
              <a:gd name="connsiteX723" fmla="*/ 5757199 w 12188817"/>
              <a:gd name="connsiteY723" fmla="*/ 6416929 h 6857997"/>
              <a:gd name="connsiteX724" fmla="*/ 5737086 w 12188817"/>
              <a:gd name="connsiteY724" fmla="*/ 6422897 h 6857997"/>
              <a:gd name="connsiteX725" fmla="*/ 5722805 w 12188817"/>
              <a:gd name="connsiteY725" fmla="*/ 6440559 h 6857997"/>
              <a:gd name="connsiteX726" fmla="*/ 5717534 w 12188817"/>
              <a:gd name="connsiteY726" fmla="*/ 6469146 h 6857997"/>
              <a:gd name="connsiteX727" fmla="*/ 5722800 w 12188817"/>
              <a:gd name="connsiteY727" fmla="*/ 6498815 h 6857997"/>
              <a:gd name="connsiteX728" fmla="*/ 5736335 w 12188817"/>
              <a:gd name="connsiteY728" fmla="*/ 6517070 h 6857997"/>
              <a:gd name="connsiteX729" fmla="*/ 5756252 w 12188817"/>
              <a:gd name="connsiteY729" fmla="*/ 6522759 h 6857997"/>
              <a:gd name="connsiteX730" fmla="*/ 5778751 w 12188817"/>
              <a:gd name="connsiteY730" fmla="*/ 6514283 h 6857997"/>
              <a:gd name="connsiteX731" fmla="*/ 5791691 w 12188817"/>
              <a:gd name="connsiteY731" fmla="*/ 6488575 h 6857997"/>
              <a:gd name="connsiteX732" fmla="*/ 5780529 w 12188817"/>
              <a:gd name="connsiteY732" fmla="*/ 6485157 h 6857997"/>
              <a:gd name="connsiteX733" fmla="*/ 5771703 w 12188817"/>
              <a:gd name="connsiteY733" fmla="*/ 6504726 h 6857997"/>
              <a:gd name="connsiteX734" fmla="*/ 5756044 w 12188817"/>
              <a:gd name="connsiteY734" fmla="*/ 6511179 h 6857997"/>
              <a:gd name="connsiteX735" fmla="*/ 5736369 w 12188817"/>
              <a:gd name="connsiteY735" fmla="*/ 6500671 h 6857997"/>
              <a:gd name="connsiteX736" fmla="*/ 5728974 w 12188817"/>
              <a:gd name="connsiteY736" fmla="*/ 6469145 h 6857997"/>
              <a:gd name="connsiteX737" fmla="*/ 5732644 w 12188817"/>
              <a:gd name="connsiteY737" fmla="*/ 6446175 h 6857997"/>
              <a:gd name="connsiteX738" fmla="*/ 5742457 w 12188817"/>
              <a:gd name="connsiteY738" fmla="*/ 6432804 h 6857997"/>
              <a:gd name="connsiteX739" fmla="*/ 5756988 w 12188817"/>
              <a:gd name="connsiteY739" fmla="*/ 6428509 h 6857997"/>
              <a:gd name="connsiteX740" fmla="*/ 5779412 w 12188817"/>
              <a:gd name="connsiteY740" fmla="*/ 6449787 h 6857997"/>
              <a:gd name="connsiteX741" fmla="*/ 5790296 w 12188817"/>
              <a:gd name="connsiteY741" fmla="*/ 6446648 h 6857997"/>
              <a:gd name="connsiteX742" fmla="*/ 5778076 w 12188817"/>
              <a:gd name="connsiteY742" fmla="*/ 6424480 h 6857997"/>
              <a:gd name="connsiteX743" fmla="*/ 5757199 w 12188817"/>
              <a:gd name="connsiteY743" fmla="*/ 6416929 h 6857997"/>
              <a:gd name="connsiteX744" fmla="*/ 2249524 w 12188817"/>
              <a:gd name="connsiteY744" fmla="*/ 6416929 h 6857997"/>
              <a:gd name="connsiteX745" fmla="*/ 2227897 w 12188817"/>
              <a:gd name="connsiteY745" fmla="*/ 6424812 h 6857997"/>
              <a:gd name="connsiteX746" fmla="*/ 2219874 w 12188817"/>
              <a:gd name="connsiteY746" fmla="*/ 6445113 h 6857997"/>
              <a:gd name="connsiteX747" fmla="*/ 2222665 w 12188817"/>
              <a:gd name="connsiteY747" fmla="*/ 6457496 h 6857997"/>
              <a:gd name="connsiteX748" fmla="*/ 2230478 w 12188817"/>
              <a:gd name="connsiteY748" fmla="*/ 6466530 h 6857997"/>
              <a:gd name="connsiteX749" fmla="*/ 2247361 w 12188817"/>
              <a:gd name="connsiteY749" fmla="*/ 6473609 h 6857997"/>
              <a:gd name="connsiteX750" fmla="*/ 2264697 w 12188817"/>
              <a:gd name="connsiteY750" fmla="*/ 6479711 h 6857997"/>
              <a:gd name="connsiteX751" fmla="*/ 2270697 w 12188817"/>
              <a:gd name="connsiteY751" fmla="*/ 6485246 h 6857997"/>
              <a:gd name="connsiteX752" fmla="*/ 2272685 w 12188817"/>
              <a:gd name="connsiteY752" fmla="*/ 6493147 h 6857997"/>
              <a:gd name="connsiteX753" fmla="*/ 2267209 w 12188817"/>
              <a:gd name="connsiteY753" fmla="*/ 6505713 h 6857997"/>
              <a:gd name="connsiteX754" fmla="*/ 2251826 w 12188817"/>
              <a:gd name="connsiteY754" fmla="*/ 6510551 h 6857997"/>
              <a:gd name="connsiteX755" fmla="*/ 2239408 w 12188817"/>
              <a:gd name="connsiteY755" fmla="*/ 6507690 h 6857997"/>
              <a:gd name="connsiteX756" fmla="*/ 2230932 w 12188817"/>
              <a:gd name="connsiteY756" fmla="*/ 6500121 h 6857997"/>
              <a:gd name="connsiteX757" fmla="*/ 2227130 w 12188817"/>
              <a:gd name="connsiteY757" fmla="*/ 6486971 h 6857997"/>
              <a:gd name="connsiteX758" fmla="*/ 2216665 w 12188817"/>
              <a:gd name="connsiteY758" fmla="*/ 6488087 h 6857997"/>
              <a:gd name="connsiteX759" fmla="*/ 2226258 w 12188817"/>
              <a:gd name="connsiteY759" fmla="*/ 6513411 h 6857997"/>
              <a:gd name="connsiteX760" fmla="*/ 2251059 w 12188817"/>
              <a:gd name="connsiteY760" fmla="*/ 6522759 h 6857997"/>
              <a:gd name="connsiteX761" fmla="*/ 2268116 w 12188817"/>
              <a:gd name="connsiteY761" fmla="*/ 6518996 h 6857997"/>
              <a:gd name="connsiteX762" fmla="*/ 2279313 w 12188817"/>
              <a:gd name="connsiteY762" fmla="*/ 6508020 h 6857997"/>
              <a:gd name="connsiteX763" fmla="*/ 2283429 w 12188817"/>
              <a:gd name="connsiteY763" fmla="*/ 6492028 h 6857997"/>
              <a:gd name="connsiteX764" fmla="*/ 2279514 w 12188817"/>
              <a:gd name="connsiteY764" fmla="*/ 6476800 h 6857997"/>
              <a:gd name="connsiteX765" fmla="*/ 2267928 w 12188817"/>
              <a:gd name="connsiteY765" fmla="*/ 6466500 h 6857997"/>
              <a:gd name="connsiteX766" fmla="*/ 2250496 w 12188817"/>
              <a:gd name="connsiteY766" fmla="*/ 6460543 h 6857997"/>
              <a:gd name="connsiteX767" fmla="*/ 2234177 w 12188817"/>
              <a:gd name="connsiteY767" fmla="*/ 6453621 h 6857997"/>
              <a:gd name="connsiteX768" fmla="*/ 2230548 w 12188817"/>
              <a:gd name="connsiteY768" fmla="*/ 6443995 h 6857997"/>
              <a:gd name="connsiteX769" fmla="*/ 2235501 w 12188817"/>
              <a:gd name="connsiteY769" fmla="*/ 6433078 h 6857997"/>
              <a:gd name="connsiteX770" fmla="*/ 2249873 w 12188817"/>
              <a:gd name="connsiteY770" fmla="*/ 6428858 h 6857997"/>
              <a:gd name="connsiteX771" fmla="*/ 2264279 w 12188817"/>
              <a:gd name="connsiteY771" fmla="*/ 6433672 h 6857997"/>
              <a:gd name="connsiteX772" fmla="*/ 2270243 w 12188817"/>
              <a:gd name="connsiteY772" fmla="*/ 6448462 h 6857997"/>
              <a:gd name="connsiteX773" fmla="*/ 2280917 w 12188817"/>
              <a:gd name="connsiteY773" fmla="*/ 6447485 h 6857997"/>
              <a:gd name="connsiteX774" fmla="*/ 2276766 w 12188817"/>
              <a:gd name="connsiteY774" fmla="*/ 6431230 h 6857997"/>
              <a:gd name="connsiteX775" fmla="*/ 2265883 w 12188817"/>
              <a:gd name="connsiteY775" fmla="*/ 6420626 h 6857997"/>
              <a:gd name="connsiteX776" fmla="*/ 2249524 w 12188817"/>
              <a:gd name="connsiteY776" fmla="*/ 6416929 h 6857997"/>
              <a:gd name="connsiteX777" fmla="*/ 2107518 w 12188817"/>
              <a:gd name="connsiteY777" fmla="*/ 6416929 h 6857997"/>
              <a:gd name="connsiteX778" fmla="*/ 2085892 w 12188817"/>
              <a:gd name="connsiteY778" fmla="*/ 6422827 h 6857997"/>
              <a:gd name="connsiteX779" fmla="*/ 2071102 w 12188817"/>
              <a:gd name="connsiteY779" fmla="*/ 6441152 h 6857997"/>
              <a:gd name="connsiteX780" fmla="*/ 2065451 w 12188817"/>
              <a:gd name="connsiteY780" fmla="*/ 6470332 h 6857997"/>
              <a:gd name="connsiteX781" fmla="*/ 2071067 w 12188817"/>
              <a:gd name="connsiteY781" fmla="*/ 6498675 h 6857997"/>
              <a:gd name="connsiteX782" fmla="*/ 2086310 w 12188817"/>
              <a:gd name="connsiteY782" fmla="*/ 6516616 h 6857997"/>
              <a:gd name="connsiteX783" fmla="*/ 2108216 w 12188817"/>
              <a:gd name="connsiteY783" fmla="*/ 6522759 h 6857997"/>
              <a:gd name="connsiteX784" fmla="*/ 2126145 w 12188817"/>
              <a:gd name="connsiteY784" fmla="*/ 6518748 h 6857997"/>
              <a:gd name="connsiteX785" fmla="*/ 2143028 w 12188817"/>
              <a:gd name="connsiteY785" fmla="*/ 6506784 h 6857997"/>
              <a:gd name="connsiteX786" fmla="*/ 2143028 w 12188817"/>
              <a:gd name="connsiteY786" fmla="*/ 6468763 h 6857997"/>
              <a:gd name="connsiteX787" fmla="*/ 2107518 w 12188817"/>
              <a:gd name="connsiteY787" fmla="*/ 6468832 h 6857997"/>
              <a:gd name="connsiteX788" fmla="*/ 2107518 w 12188817"/>
              <a:gd name="connsiteY788" fmla="*/ 6480901 h 6857997"/>
              <a:gd name="connsiteX789" fmla="*/ 2132145 w 12188817"/>
              <a:gd name="connsiteY789" fmla="*/ 6480901 h 6857997"/>
              <a:gd name="connsiteX790" fmla="*/ 2132145 w 12188817"/>
              <a:gd name="connsiteY790" fmla="*/ 6499947 h 6857997"/>
              <a:gd name="connsiteX791" fmla="*/ 2121227 w 12188817"/>
              <a:gd name="connsiteY791" fmla="*/ 6507411 h 6857997"/>
              <a:gd name="connsiteX792" fmla="*/ 2107798 w 12188817"/>
              <a:gd name="connsiteY792" fmla="*/ 6510551 h 6857997"/>
              <a:gd name="connsiteX793" fmla="*/ 2085473 w 12188817"/>
              <a:gd name="connsiteY793" fmla="*/ 6500322 h 6857997"/>
              <a:gd name="connsiteX794" fmla="*/ 2076892 w 12188817"/>
              <a:gd name="connsiteY794" fmla="*/ 6469565 h 6857997"/>
              <a:gd name="connsiteX795" fmla="*/ 2080904 w 12188817"/>
              <a:gd name="connsiteY795" fmla="*/ 6446733 h 6857997"/>
              <a:gd name="connsiteX796" fmla="*/ 2091508 w 12188817"/>
              <a:gd name="connsiteY796" fmla="*/ 6432943 h 6857997"/>
              <a:gd name="connsiteX797" fmla="*/ 2107239 w 12188817"/>
              <a:gd name="connsiteY797" fmla="*/ 6428509 h 6857997"/>
              <a:gd name="connsiteX798" fmla="*/ 2118541 w 12188817"/>
              <a:gd name="connsiteY798" fmla="*/ 6430951 h 6857997"/>
              <a:gd name="connsiteX799" fmla="*/ 2126634 w 12188817"/>
              <a:gd name="connsiteY799" fmla="*/ 6437683 h 6857997"/>
              <a:gd name="connsiteX800" fmla="*/ 2131726 w 12188817"/>
              <a:gd name="connsiteY800" fmla="*/ 6450624 h 6857997"/>
              <a:gd name="connsiteX801" fmla="*/ 2141702 w 12188817"/>
              <a:gd name="connsiteY801" fmla="*/ 6447276 h 6857997"/>
              <a:gd name="connsiteX802" fmla="*/ 2135005 w 12188817"/>
              <a:gd name="connsiteY802" fmla="*/ 6430044 h 6857997"/>
              <a:gd name="connsiteX803" fmla="*/ 2123634 w 12188817"/>
              <a:gd name="connsiteY803" fmla="*/ 6420347 h 6857997"/>
              <a:gd name="connsiteX804" fmla="*/ 2107518 w 12188817"/>
              <a:gd name="connsiteY804" fmla="*/ 6416929 h 6857997"/>
              <a:gd name="connsiteX805" fmla="*/ 1516099 w 12188817"/>
              <a:gd name="connsiteY805" fmla="*/ 6416929 h 6857997"/>
              <a:gd name="connsiteX806" fmla="*/ 1494472 w 12188817"/>
              <a:gd name="connsiteY806" fmla="*/ 6424812 h 6857997"/>
              <a:gd name="connsiteX807" fmla="*/ 1486449 w 12188817"/>
              <a:gd name="connsiteY807" fmla="*/ 6445113 h 6857997"/>
              <a:gd name="connsiteX808" fmla="*/ 1489240 w 12188817"/>
              <a:gd name="connsiteY808" fmla="*/ 6457496 h 6857997"/>
              <a:gd name="connsiteX809" fmla="*/ 1497053 w 12188817"/>
              <a:gd name="connsiteY809" fmla="*/ 6466530 h 6857997"/>
              <a:gd name="connsiteX810" fmla="*/ 1513936 w 12188817"/>
              <a:gd name="connsiteY810" fmla="*/ 6473609 h 6857997"/>
              <a:gd name="connsiteX811" fmla="*/ 1531272 w 12188817"/>
              <a:gd name="connsiteY811" fmla="*/ 6479711 h 6857997"/>
              <a:gd name="connsiteX812" fmla="*/ 1537272 w 12188817"/>
              <a:gd name="connsiteY812" fmla="*/ 6485246 h 6857997"/>
              <a:gd name="connsiteX813" fmla="*/ 1539260 w 12188817"/>
              <a:gd name="connsiteY813" fmla="*/ 6493147 h 6857997"/>
              <a:gd name="connsiteX814" fmla="*/ 1533784 w 12188817"/>
              <a:gd name="connsiteY814" fmla="*/ 6505713 h 6857997"/>
              <a:gd name="connsiteX815" fmla="*/ 1518401 w 12188817"/>
              <a:gd name="connsiteY815" fmla="*/ 6510551 h 6857997"/>
              <a:gd name="connsiteX816" fmla="*/ 1505983 w 12188817"/>
              <a:gd name="connsiteY816" fmla="*/ 6507690 h 6857997"/>
              <a:gd name="connsiteX817" fmla="*/ 1497507 w 12188817"/>
              <a:gd name="connsiteY817" fmla="*/ 6500121 h 6857997"/>
              <a:gd name="connsiteX818" fmla="*/ 1493705 w 12188817"/>
              <a:gd name="connsiteY818" fmla="*/ 6486971 h 6857997"/>
              <a:gd name="connsiteX819" fmla="*/ 1483240 w 12188817"/>
              <a:gd name="connsiteY819" fmla="*/ 6488087 h 6857997"/>
              <a:gd name="connsiteX820" fmla="*/ 1492833 w 12188817"/>
              <a:gd name="connsiteY820" fmla="*/ 6513411 h 6857997"/>
              <a:gd name="connsiteX821" fmla="*/ 1517633 w 12188817"/>
              <a:gd name="connsiteY821" fmla="*/ 6522759 h 6857997"/>
              <a:gd name="connsiteX822" fmla="*/ 1534691 w 12188817"/>
              <a:gd name="connsiteY822" fmla="*/ 6518996 h 6857997"/>
              <a:gd name="connsiteX823" fmla="*/ 1545887 w 12188817"/>
              <a:gd name="connsiteY823" fmla="*/ 6508020 h 6857997"/>
              <a:gd name="connsiteX824" fmla="*/ 1550004 w 12188817"/>
              <a:gd name="connsiteY824" fmla="*/ 6492028 h 6857997"/>
              <a:gd name="connsiteX825" fmla="*/ 1546089 w 12188817"/>
              <a:gd name="connsiteY825" fmla="*/ 6476800 h 6857997"/>
              <a:gd name="connsiteX826" fmla="*/ 1534503 w 12188817"/>
              <a:gd name="connsiteY826" fmla="*/ 6466500 h 6857997"/>
              <a:gd name="connsiteX827" fmla="*/ 1517071 w 12188817"/>
              <a:gd name="connsiteY827" fmla="*/ 6460543 h 6857997"/>
              <a:gd name="connsiteX828" fmla="*/ 1500752 w 12188817"/>
              <a:gd name="connsiteY828" fmla="*/ 6453621 h 6857997"/>
              <a:gd name="connsiteX829" fmla="*/ 1497123 w 12188817"/>
              <a:gd name="connsiteY829" fmla="*/ 6443995 h 6857997"/>
              <a:gd name="connsiteX830" fmla="*/ 1502076 w 12188817"/>
              <a:gd name="connsiteY830" fmla="*/ 6433078 h 6857997"/>
              <a:gd name="connsiteX831" fmla="*/ 1516448 w 12188817"/>
              <a:gd name="connsiteY831" fmla="*/ 6428858 h 6857997"/>
              <a:gd name="connsiteX832" fmla="*/ 1530854 w 12188817"/>
              <a:gd name="connsiteY832" fmla="*/ 6433672 h 6857997"/>
              <a:gd name="connsiteX833" fmla="*/ 1536818 w 12188817"/>
              <a:gd name="connsiteY833" fmla="*/ 6448462 h 6857997"/>
              <a:gd name="connsiteX834" fmla="*/ 1547492 w 12188817"/>
              <a:gd name="connsiteY834" fmla="*/ 6447485 h 6857997"/>
              <a:gd name="connsiteX835" fmla="*/ 1543341 w 12188817"/>
              <a:gd name="connsiteY835" fmla="*/ 6431230 h 6857997"/>
              <a:gd name="connsiteX836" fmla="*/ 1532458 w 12188817"/>
              <a:gd name="connsiteY836" fmla="*/ 6420626 h 6857997"/>
              <a:gd name="connsiteX837" fmla="*/ 1516099 w 12188817"/>
              <a:gd name="connsiteY837" fmla="*/ 6416929 h 6857997"/>
              <a:gd name="connsiteX838" fmla="*/ 999308 w 12188817"/>
              <a:gd name="connsiteY838" fmla="*/ 6416929 h 6857997"/>
              <a:gd name="connsiteX839" fmla="*/ 979197 w 12188817"/>
              <a:gd name="connsiteY839" fmla="*/ 6422897 h 6857997"/>
              <a:gd name="connsiteX840" fmla="*/ 964916 w 12188817"/>
              <a:gd name="connsiteY840" fmla="*/ 6440559 h 6857997"/>
              <a:gd name="connsiteX841" fmla="*/ 959644 w 12188817"/>
              <a:gd name="connsiteY841" fmla="*/ 6469146 h 6857997"/>
              <a:gd name="connsiteX842" fmla="*/ 964911 w 12188817"/>
              <a:gd name="connsiteY842" fmla="*/ 6498815 h 6857997"/>
              <a:gd name="connsiteX843" fmla="*/ 978445 w 12188817"/>
              <a:gd name="connsiteY843" fmla="*/ 6517070 h 6857997"/>
              <a:gd name="connsiteX844" fmla="*/ 998363 w 12188817"/>
              <a:gd name="connsiteY844" fmla="*/ 6522759 h 6857997"/>
              <a:gd name="connsiteX845" fmla="*/ 1020862 w 12188817"/>
              <a:gd name="connsiteY845" fmla="*/ 6514283 h 6857997"/>
              <a:gd name="connsiteX846" fmla="*/ 1033803 w 12188817"/>
              <a:gd name="connsiteY846" fmla="*/ 6488575 h 6857997"/>
              <a:gd name="connsiteX847" fmla="*/ 1022640 w 12188817"/>
              <a:gd name="connsiteY847" fmla="*/ 6485157 h 6857997"/>
              <a:gd name="connsiteX848" fmla="*/ 1013815 w 12188817"/>
              <a:gd name="connsiteY848" fmla="*/ 6504726 h 6857997"/>
              <a:gd name="connsiteX849" fmla="*/ 998154 w 12188817"/>
              <a:gd name="connsiteY849" fmla="*/ 6511179 h 6857997"/>
              <a:gd name="connsiteX850" fmla="*/ 978480 w 12188817"/>
              <a:gd name="connsiteY850" fmla="*/ 6500671 h 6857997"/>
              <a:gd name="connsiteX851" fmla="*/ 971086 w 12188817"/>
              <a:gd name="connsiteY851" fmla="*/ 6469145 h 6857997"/>
              <a:gd name="connsiteX852" fmla="*/ 974753 w 12188817"/>
              <a:gd name="connsiteY852" fmla="*/ 6446175 h 6857997"/>
              <a:gd name="connsiteX853" fmla="*/ 984568 w 12188817"/>
              <a:gd name="connsiteY853" fmla="*/ 6432804 h 6857997"/>
              <a:gd name="connsiteX854" fmla="*/ 999100 w 12188817"/>
              <a:gd name="connsiteY854" fmla="*/ 6428509 h 6857997"/>
              <a:gd name="connsiteX855" fmla="*/ 1021524 w 12188817"/>
              <a:gd name="connsiteY855" fmla="*/ 6449787 h 6857997"/>
              <a:gd name="connsiteX856" fmla="*/ 1032407 w 12188817"/>
              <a:gd name="connsiteY856" fmla="*/ 6446648 h 6857997"/>
              <a:gd name="connsiteX857" fmla="*/ 1020187 w 12188817"/>
              <a:gd name="connsiteY857" fmla="*/ 6424480 h 6857997"/>
              <a:gd name="connsiteX858" fmla="*/ 999308 w 12188817"/>
              <a:gd name="connsiteY858" fmla="*/ 6416929 h 6857997"/>
              <a:gd name="connsiteX859" fmla="*/ 10831505 w 12188817"/>
              <a:gd name="connsiteY859" fmla="*/ 6415084 h 6857997"/>
              <a:gd name="connsiteX860" fmla="*/ 10873860 w 12188817"/>
              <a:gd name="connsiteY860" fmla="*/ 6415084 h 6857997"/>
              <a:gd name="connsiteX861" fmla="*/ 10904530 w 12188817"/>
              <a:gd name="connsiteY861" fmla="*/ 6430343 h 6857997"/>
              <a:gd name="connsiteX862" fmla="*/ 10873860 w 12188817"/>
              <a:gd name="connsiteY862" fmla="*/ 6445247 h 6857997"/>
              <a:gd name="connsiteX863" fmla="*/ 10831505 w 12188817"/>
              <a:gd name="connsiteY863" fmla="*/ 6445247 h 6857997"/>
              <a:gd name="connsiteX864" fmla="*/ 11108524 w 12188817"/>
              <a:gd name="connsiteY864" fmla="*/ 6410322 h 6857997"/>
              <a:gd name="connsiteX865" fmla="*/ 11152180 w 12188817"/>
              <a:gd name="connsiteY865" fmla="*/ 6454961 h 6857997"/>
              <a:gd name="connsiteX866" fmla="*/ 11108524 w 12188817"/>
              <a:gd name="connsiteY866" fmla="*/ 6499222 h 6857997"/>
              <a:gd name="connsiteX867" fmla="*/ 11064867 w 12188817"/>
              <a:gd name="connsiteY867" fmla="*/ 6453827 h 6857997"/>
              <a:gd name="connsiteX868" fmla="*/ 11108524 w 12188817"/>
              <a:gd name="connsiteY868" fmla="*/ 6410322 h 6857997"/>
              <a:gd name="connsiteX869" fmla="*/ 11212505 w 12188817"/>
              <a:gd name="connsiteY869" fmla="*/ 6391272 h 6857997"/>
              <a:gd name="connsiteX870" fmla="*/ 11212505 w 12188817"/>
              <a:gd name="connsiteY870" fmla="*/ 6518272 h 6857997"/>
              <a:gd name="connsiteX871" fmla="*/ 11246059 w 12188817"/>
              <a:gd name="connsiteY871" fmla="*/ 6518272 h 6857997"/>
              <a:gd name="connsiteX872" fmla="*/ 11246059 w 12188817"/>
              <a:gd name="connsiteY872" fmla="*/ 6422083 h 6857997"/>
              <a:gd name="connsiteX873" fmla="*/ 11315692 w 12188817"/>
              <a:gd name="connsiteY873" fmla="*/ 6518272 h 6857997"/>
              <a:gd name="connsiteX874" fmla="*/ 11355380 w 12188817"/>
              <a:gd name="connsiteY874" fmla="*/ 6518272 h 6857997"/>
              <a:gd name="connsiteX875" fmla="*/ 11355380 w 12188817"/>
              <a:gd name="connsiteY875" fmla="*/ 6391272 h 6857997"/>
              <a:gd name="connsiteX876" fmla="*/ 11322187 w 12188817"/>
              <a:gd name="connsiteY876" fmla="*/ 6391272 h 6857997"/>
              <a:gd name="connsiteX877" fmla="*/ 11322187 w 12188817"/>
              <a:gd name="connsiteY877" fmla="*/ 6482577 h 6857997"/>
              <a:gd name="connsiteX878" fmla="*/ 11255800 w 12188817"/>
              <a:gd name="connsiteY878" fmla="*/ 6391272 h 6857997"/>
              <a:gd name="connsiteX879" fmla="*/ 10968030 w 12188817"/>
              <a:gd name="connsiteY879" fmla="*/ 6391272 h 6857997"/>
              <a:gd name="connsiteX880" fmla="*/ 10968030 w 12188817"/>
              <a:gd name="connsiteY880" fmla="*/ 6518272 h 6857997"/>
              <a:gd name="connsiteX881" fmla="*/ 11002955 w 12188817"/>
              <a:gd name="connsiteY881" fmla="*/ 6518272 h 6857997"/>
              <a:gd name="connsiteX882" fmla="*/ 11002955 w 12188817"/>
              <a:gd name="connsiteY882" fmla="*/ 6391272 h 6857997"/>
              <a:gd name="connsiteX883" fmla="*/ 10798167 w 12188817"/>
              <a:gd name="connsiteY883" fmla="*/ 6391272 h 6857997"/>
              <a:gd name="connsiteX884" fmla="*/ 10798167 w 12188817"/>
              <a:gd name="connsiteY884" fmla="*/ 6518272 h 6857997"/>
              <a:gd name="connsiteX885" fmla="*/ 10832210 w 12188817"/>
              <a:gd name="connsiteY885" fmla="*/ 6518272 h 6857997"/>
              <a:gd name="connsiteX886" fmla="*/ 10832210 w 12188817"/>
              <a:gd name="connsiteY886" fmla="*/ 6468299 h 6857997"/>
              <a:gd name="connsiteX887" fmla="*/ 10871986 w 12188817"/>
              <a:gd name="connsiteY887" fmla="*/ 6468299 h 6857997"/>
              <a:gd name="connsiteX888" fmla="*/ 10907462 w 12188817"/>
              <a:gd name="connsiteY888" fmla="*/ 6518272 h 6857997"/>
              <a:gd name="connsiteX889" fmla="*/ 10945805 w 12188817"/>
              <a:gd name="connsiteY889" fmla="*/ 6518272 h 6857997"/>
              <a:gd name="connsiteX890" fmla="*/ 10905670 w 12188817"/>
              <a:gd name="connsiteY890" fmla="*/ 6465293 h 6857997"/>
              <a:gd name="connsiteX891" fmla="*/ 10938280 w 12188817"/>
              <a:gd name="connsiteY891" fmla="*/ 6429598 h 6857997"/>
              <a:gd name="connsiteX892" fmla="*/ 10881661 w 12188817"/>
              <a:gd name="connsiteY892" fmla="*/ 6391272 h 6857997"/>
              <a:gd name="connsiteX893" fmla="*/ 10728317 w 12188817"/>
              <a:gd name="connsiteY893" fmla="*/ 6391272 h 6857997"/>
              <a:gd name="connsiteX894" fmla="*/ 10728317 w 12188817"/>
              <a:gd name="connsiteY894" fmla="*/ 6518272 h 6857997"/>
              <a:gd name="connsiteX895" fmla="*/ 10763242 w 12188817"/>
              <a:gd name="connsiteY895" fmla="*/ 6518272 h 6857997"/>
              <a:gd name="connsiteX896" fmla="*/ 10763242 w 12188817"/>
              <a:gd name="connsiteY896" fmla="*/ 6391272 h 6857997"/>
              <a:gd name="connsiteX897" fmla="*/ 10604321 w 12188817"/>
              <a:gd name="connsiteY897" fmla="*/ 6391272 h 6857997"/>
              <a:gd name="connsiteX898" fmla="*/ 10547342 w 12188817"/>
              <a:gd name="connsiteY898" fmla="*/ 6429973 h 6857997"/>
              <a:gd name="connsiteX899" fmla="*/ 10601436 w 12188817"/>
              <a:gd name="connsiteY899" fmla="*/ 6466420 h 6857997"/>
              <a:gd name="connsiteX900" fmla="*/ 10641466 w 12188817"/>
              <a:gd name="connsiteY900" fmla="*/ 6466420 h 6857997"/>
              <a:gd name="connsiteX901" fmla="*/ 10665628 w 12188817"/>
              <a:gd name="connsiteY901" fmla="*/ 6481074 h 6857997"/>
              <a:gd name="connsiteX902" fmla="*/ 10639302 w 12188817"/>
              <a:gd name="connsiteY902" fmla="*/ 6495352 h 6857997"/>
              <a:gd name="connsiteX903" fmla="*/ 10553833 w 12188817"/>
              <a:gd name="connsiteY903" fmla="*/ 6495352 h 6857997"/>
              <a:gd name="connsiteX904" fmla="*/ 10553833 w 12188817"/>
              <a:gd name="connsiteY904" fmla="*/ 6518272 h 6857997"/>
              <a:gd name="connsiteX905" fmla="*/ 10644711 w 12188817"/>
              <a:gd name="connsiteY905" fmla="*/ 6518272 h 6857997"/>
              <a:gd name="connsiteX906" fmla="*/ 10701330 w 12188817"/>
              <a:gd name="connsiteY906" fmla="*/ 6480323 h 6857997"/>
              <a:gd name="connsiteX907" fmla="*/ 10649760 w 12188817"/>
              <a:gd name="connsiteY907" fmla="*/ 6444252 h 6857997"/>
              <a:gd name="connsiteX908" fmla="*/ 10604321 w 12188817"/>
              <a:gd name="connsiteY908" fmla="*/ 6444252 h 6857997"/>
              <a:gd name="connsiteX909" fmla="*/ 10583044 w 12188817"/>
              <a:gd name="connsiteY909" fmla="*/ 6430349 h 6857997"/>
              <a:gd name="connsiteX910" fmla="*/ 10609009 w 12188817"/>
              <a:gd name="connsiteY910" fmla="*/ 6413817 h 6857997"/>
              <a:gd name="connsiteX911" fmla="*/ 10693396 w 12188817"/>
              <a:gd name="connsiteY911" fmla="*/ 6413817 h 6857997"/>
              <a:gd name="connsiteX912" fmla="*/ 10693396 w 12188817"/>
              <a:gd name="connsiteY912" fmla="*/ 6391272 h 6857997"/>
              <a:gd name="connsiteX913" fmla="*/ 10490061 w 12188817"/>
              <a:gd name="connsiteY913" fmla="*/ 6391272 h 6857997"/>
              <a:gd name="connsiteX914" fmla="*/ 10490061 w 12188817"/>
              <a:gd name="connsiteY914" fmla="*/ 6482682 h 6857997"/>
              <a:gd name="connsiteX915" fmla="*/ 10423841 w 12188817"/>
              <a:gd name="connsiteY915" fmla="*/ 6391647 h 6857997"/>
              <a:gd name="connsiteX916" fmla="*/ 10380655 w 12188817"/>
              <a:gd name="connsiteY916" fmla="*/ 6391647 h 6857997"/>
              <a:gd name="connsiteX917" fmla="*/ 10380655 w 12188817"/>
              <a:gd name="connsiteY917" fmla="*/ 6518272 h 6857997"/>
              <a:gd name="connsiteX918" fmla="*/ 10414124 w 12188817"/>
              <a:gd name="connsiteY918" fmla="*/ 6518272 h 6857997"/>
              <a:gd name="connsiteX919" fmla="*/ 10414124 w 12188817"/>
              <a:gd name="connsiteY919" fmla="*/ 6422367 h 6857997"/>
              <a:gd name="connsiteX920" fmla="*/ 10483942 w 12188817"/>
              <a:gd name="connsiteY920" fmla="*/ 6518272 h 6857997"/>
              <a:gd name="connsiteX921" fmla="*/ 10523170 w 12188817"/>
              <a:gd name="connsiteY921" fmla="*/ 6518272 h 6857997"/>
              <a:gd name="connsiteX922" fmla="*/ 10523530 w 12188817"/>
              <a:gd name="connsiteY922" fmla="*/ 6391272 h 6857997"/>
              <a:gd name="connsiteX923" fmla="*/ 10293755 w 12188817"/>
              <a:gd name="connsiteY923" fmla="*/ 6391272 h 6857997"/>
              <a:gd name="connsiteX924" fmla="*/ 10217142 w 12188817"/>
              <a:gd name="connsiteY924" fmla="*/ 6457027 h 6857997"/>
              <a:gd name="connsiteX925" fmla="*/ 10242077 w 12188817"/>
              <a:gd name="connsiteY925" fmla="*/ 6507000 h 6857997"/>
              <a:gd name="connsiteX926" fmla="*/ 10293032 w 12188817"/>
              <a:gd name="connsiteY926" fmla="*/ 6518272 h 6857997"/>
              <a:gd name="connsiteX927" fmla="*/ 10350492 w 12188817"/>
              <a:gd name="connsiteY927" fmla="*/ 6518272 h 6857997"/>
              <a:gd name="connsiteX928" fmla="*/ 10350492 w 12188817"/>
              <a:gd name="connsiteY928" fmla="*/ 6496104 h 6857997"/>
              <a:gd name="connsiteX929" fmla="*/ 10294478 w 12188817"/>
              <a:gd name="connsiteY929" fmla="*/ 6496104 h 6857997"/>
              <a:gd name="connsiteX930" fmla="*/ 10255810 w 12188817"/>
              <a:gd name="connsiteY930" fmla="*/ 6464917 h 6857997"/>
              <a:gd name="connsiteX931" fmla="*/ 10350492 w 12188817"/>
              <a:gd name="connsiteY931" fmla="*/ 6464917 h 6857997"/>
              <a:gd name="connsiteX932" fmla="*/ 10350492 w 12188817"/>
              <a:gd name="connsiteY932" fmla="*/ 6442749 h 6857997"/>
              <a:gd name="connsiteX933" fmla="*/ 10255810 w 12188817"/>
              <a:gd name="connsiteY933" fmla="*/ 6442749 h 6857997"/>
              <a:gd name="connsiteX934" fmla="*/ 10294478 w 12188817"/>
              <a:gd name="connsiteY934" fmla="*/ 6413441 h 6857997"/>
              <a:gd name="connsiteX935" fmla="*/ 10350492 w 12188817"/>
              <a:gd name="connsiteY935" fmla="*/ 6413441 h 6857997"/>
              <a:gd name="connsiteX936" fmla="*/ 10350492 w 12188817"/>
              <a:gd name="connsiteY936" fmla="*/ 6391272 h 6857997"/>
              <a:gd name="connsiteX937" fmla="*/ 10104126 w 12188817"/>
              <a:gd name="connsiteY937" fmla="*/ 6391272 h 6857997"/>
              <a:gd name="connsiteX938" fmla="*/ 10047280 w 12188817"/>
              <a:gd name="connsiteY938" fmla="*/ 6429973 h 6857997"/>
              <a:gd name="connsiteX939" fmla="*/ 10101248 w 12188817"/>
              <a:gd name="connsiteY939" fmla="*/ 6466420 h 6857997"/>
              <a:gd name="connsiteX940" fmla="*/ 10141184 w 12188817"/>
              <a:gd name="connsiteY940" fmla="*/ 6466420 h 6857997"/>
              <a:gd name="connsiteX941" fmla="*/ 10165649 w 12188817"/>
              <a:gd name="connsiteY941" fmla="*/ 6481074 h 6857997"/>
              <a:gd name="connsiteX942" fmla="*/ 10139025 w 12188817"/>
              <a:gd name="connsiteY942" fmla="*/ 6495352 h 6857997"/>
              <a:gd name="connsiteX943" fmla="*/ 10053756 w 12188817"/>
              <a:gd name="connsiteY943" fmla="*/ 6495352 h 6857997"/>
              <a:gd name="connsiteX944" fmla="*/ 10053756 w 12188817"/>
              <a:gd name="connsiteY944" fmla="*/ 6518272 h 6857997"/>
              <a:gd name="connsiteX945" fmla="*/ 10144422 w 12188817"/>
              <a:gd name="connsiteY945" fmla="*/ 6518272 h 6857997"/>
              <a:gd name="connsiteX946" fmla="*/ 10201268 w 12188817"/>
              <a:gd name="connsiteY946" fmla="*/ 6480323 h 6857997"/>
              <a:gd name="connsiteX947" fmla="*/ 10149459 w 12188817"/>
              <a:gd name="connsiteY947" fmla="*/ 6444252 h 6857997"/>
              <a:gd name="connsiteX948" fmla="*/ 10104486 w 12188817"/>
              <a:gd name="connsiteY948" fmla="*/ 6444252 h 6857997"/>
              <a:gd name="connsiteX949" fmla="*/ 10082899 w 12188817"/>
              <a:gd name="connsiteY949" fmla="*/ 6430349 h 6857997"/>
              <a:gd name="connsiteX950" fmla="*/ 10109163 w 12188817"/>
              <a:gd name="connsiteY950" fmla="*/ 6413817 h 6857997"/>
              <a:gd name="connsiteX951" fmla="*/ 10193353 w 12188817"/>
              <a:gd name="connsiteY951" fmla="*/ 6413817 h 6857997"/>
              <a:gd name="connsiteX952" fmla="*/ 10193353 w 12188817"/>
              <a:gd name="connsiteY952" fmla="*/ 6391272 h 6857997"/>
              <a:gd name="connsiteX953" fmla="*/ 11099976 w 12188817"/>
              <a:gd name="connsiteY953" fmla="*/ 6389684 h 6857997"/>
              <a:gd name="connsiteX954" fmla="*/ 11026767 w 12188817"/>
              <a:gd name="connsiteY954" fmla="*/ 6453474 h 6857997"/>
              <a:gd name="connsiteX955" fmla="*/ 11107910 w 12188817"/>
              <a:gd name="connsiteY955" fmla="*/ 6519859 h 6857997"/>
              <a:gd name="connsiteX956" fmla="*/ 11188692 w 12188817"/>
              <a:gd name="connsiteY956" fmla="*/ 6454586 h 6857997"/>
              <a:gd name="connsiteX957" fmla="*/ 11115844 w 12188817"/>
              <a:gd name="connsiteY957" fmla="*/ 6389684 h 6857997"/>
              <a:gd name="connsiteX958" fmla="*/ 0 w 12188817"/>
              <a:gd name="connsiteY958" fmla="*/ 0 h 6857997"/>
              <a:gd name="connsiteX959" fmla="*/ 12188817 w 12188817"/>
              <a:gd name="connsiteY959" fmla="*/ 0 h 6857997"/>
              <a:gd name="connsiteX960" fmla="*/ 12188817 w 12188817"/>
              <a:gd name="connsiteY960" fmla="*/ 3141660 h 6857997"/>
              <a:gd name="connsiteX961" fmla="*/ 6095993 w 12188817"/>
              <a:gd name="connsiteY961" fmla="*/ 3141660 h 6857997"/>
              <a:gd name="connsiteX962" fmla="*/ 6095993 w 12188817"/>
              <a:gd name="connsiteY962" fmla="*/ 6237284 h 6857997"/>
              <a:gd name="connsiteX963" fmla="*/ 12188817 w 12188817"/>
              <a:gd name="connsiteY963" fmla="*/ 6237284 h 6857997"/>
              <a:gd name="connsiteX964" fmla="*/ 12188817 w 12188817"/>
              <a:gd name="connsiteY964" fmla="*/ 6857997 h 6857997"/>
              <a:gd name="connsiteX965" fmla="*/ 0 w 12188817"/>
              <a:gd name="connsiteY965"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Lst>
            <a:rect l="l" t="t" r="r" b="b"/>
            <a:pathLst>
              <a:path w="12188817" h="6857997">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4" y="6483831"/>
                </a:moveTo>
                <a:lnTo>
                  <a:pt x="6291674" y="6488436"/>
                </a:lnTo>
                <a:cubicBezTo>
                  <a:pt x="6291674" y="6494528"/>
                  <a:pt x="6290930" y="6499168"/>
                  <a:pt x="6289442" y="6502354"/>
                </a:cubicBezTo>
                <a:cubicBezTo>
                  <a:pt x="6287953" y="6505539"/>
                  <a:pt x="6285709" y="6508086"/>
                  <a:pt x="6282709" y="6509993"/>
                </a:cubicBezTo>
                <a:cubicBezTo>
                  <a:pt x="6279710" y="6511900"/>
                  <a:pt x="6276373" y="6512853"/>
                  <a:pt x="6272698" y="6512853"/>
                </a:cubicBezTo>
                <a:cubicBezTo>
                  <a:pt x="6268838" y="6512853"/>
                  <a:pt x="6265815" y="6511795"/>
                  <a:pt x="6263629" y="6509679"/>
                </a:cubicBezTo>
                <a:cubicBezTo>
                  <a:pt x="6261443" y="6507563"/>
                  <a:pt x="6260350" y="6504737"/>
                  <a:pt x="6260350" y="6501203"/>
                </a:cubicBezTo>
                <a:cubicBezTo>
                  <a:pt x="6260350" y="6498924"/>
                  <a:pt x="6260827" y="6496912"/>
                  <a:pt x="6261780" y="6495168"/>
                </a:cubicBezTo>
                <a:cubicBezTo>
                  <a:pt x="6262734" y="6493424"/>
                  <a:pt x="6264071" y="6492075"/>
                  <a:pt x="6265792" y="6491122"/>
                </a:cubicBezTo>
                <a:cubicBezTo>
                  <a:pt x="6267513" y="6490168"/>
                  <a:pt x="6270536" y="6489320"/>
                  <a:pt x="6274861" y="6488575"/>
                </a:cubicBezTo>
                <a:cubicBezTo>
                  <a:pt x="6282302" y="6487273"/>
                  <a:pt x="6287907" y="6485692"/>
                  <a:pt x="6291674"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1" y="6455577"/>
                </a:moveTo>
                <a:cubicBezTo>
                  <a:pt x="6092407" y="6455577"/>
                  <a:pt x="6096616" y="6457880"/>
                  <a:pt x="6099918" y="6462484"/>
                </a:cubicBezTo>
                <a:cubicBezTo>
                  <a:pt x="6102197" y="6465647"/>
                  <a:pt x="6103569" y="6470437"/>
                  <a:pt x="6104034" y="6476855"/>
                </a:cubicBezTo>
                <a:lnTo>
                  <a:pt x="6070131" y="6476855"/>
                </a:lnTo>
                <a:cubicBezTo>
                  <a:pt x="6070456" y="6470344"/>
                  <a:pt x="6072247" y="6465170"/>
                  <a:pt x="6075502" y="6461333"/>
                </a:cubicBezTo>
                <a:cubicBezTo>
                  <a:pt x="6078757" y="6457496"/>
                  <a:pt x="6082689" y="6455577"/>
                  <a:pt x="6087291" y="6455577"/>
                </a:cubicBezTo>
                <a:close/>
                <a:moveTo>
                  <a:pt x="6018394" y="6455577"/>
                </a:moveTo>
                <a:cubicBezTo>
                  <a:pt x="6023280" y="6455577"/>
                  <a:pt x="6027331" y="6457961"/>
                  <a:pt x="6030544" y="6462728"/>
                </a:cubicBezTo>
                <a:cubicBezTo>
                  <a:pt x="6033753" y="6467495"/>
                  <a:pt x="6035357" y="6475065"/>
                  <a:pt x="6035357" y="6485436"/>
                </a:cubicBezTo>
                <a:cubicBezTo>
                  <a:pt x="6035357" y="6494459"/>
                  <a:pt x="6033753" y="6501203"/>
                  <a:pt x="6030544" y="6505667"/>
                </a:cubicBezTo>
                <a:cubicBezTo>
                  <a:pt x="6027331" y="6510132"/>
                  <a:pt x="6023537" y="6512365"/>
                  <a:pt x="6019162" y="6512365"/>
                </a:cubicBezTo>
                <a:cubicBezTo>
                  <a:pt x="6014741" y="6512365"/>
                  <a:pt x="6010868" y="6510039"/>
                  <a:pt x="6007540" y="6505388"/>
                </a:cubicBezTo>
                <a:cubicBezTo>
                  <a:pt x="6004213" y="6500737"/>
                  <a:pt x="6002550" y="6493622"/>
                  <a:pt x="6002550" y="6484041"/>
                </a:cubicBezTo>
                <a:cubicBezTo>
                  <a:pt x="6002550" y="6474227"/>
                  <a:pt x="6004108" y="6467030"/>
                  <a:pt x="6007226" y="6462449"/>
                </a:cubicBezTo>
                <a:cubicBezTo>
                  <a:pt x="6010344" y="6457868"/>
                  <a:pt x="6014066" y="6455577"/>
                  <a:pt x="6018394" y="6455577"/>
                </a:cubicBezTo>
                <a:close/>
                <a:moveTo>
                  <a:pt x="5829559" y="6455577"/>
                </a:moveTo>
                <a:cubicBezTo>
                  <a:pt x="5834722" y="6455577"/>
                  <a:pt x="5839048" y="6457917"/>
                  <a:pt x="5842534" y="6462597"/>
                </a:cubicBezTo>
                <a:cubicBezTo>
                  <a:pt x="5846022" y="6467277"/>
                  <a:pt x="5847769" y="6474390"/>
                  <a:pt x="5847769" y="6483936"/>
                </a:cubicBezTo>
                <a:cubicBezTo>
                  <a:pt x="5847769" y="6493436"/>
                  <a:pt x="5846035" y="6500548"/>
                  <a:pt x="5842571" y="6505275"/>
                </a:cubicBezTo>
                <a:cubicBezTo>
                  <a:pt x="5839105" y="6510001"/>
                  <a:pt x="5834955" y="6512365"/>
                  <a:pt x="5830117" y="6512365"/>
                </a:cubicBezTo>
                <a:cubicBezTo>
                  <a:pt x="5824956" y="6512365"/>
                  <a:pt x="5820628" y="6510025"/>
                  <a:pt x="5817141" y="6505345"/>
                </a:cubicBezTo>
                <a:cubicBezTo>
                  <a:pt x="5813654" y="6500665"/>
                  <a:pt x="5811909" y="6493529"/>
                  <a:pt x="5811909" y="6483936"/>
                </a:cubicBezTo>
                <a:cubicBezTo>
                  <a:pt x="5811909" y="6474437"/>
                  <a:pt x="5813630" y="6467335"/>
                  <a:pt x="5817070" y="6462632"/>
                </a:cubicBezTo>
                <a:cubicBezTo>
                  <a:pt x="5820513" y="6457929"/>
                  <a:pt x="5824676" y="6455577"/>
                  <a:pt x="5829559"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0" y="6446927"/>
                </a:moveTo>
                <a:lnTo>
                  <a:pt x="6224380" y="6521015"/>
                </a:lnTo>
                <a:lnTo>
                  <a:pt x="6234636" y="6521015"/>
                </a:lnTo>
                <a:lnTo>
                  <a:pt x="6234636" y="6446927"/>
                </a:lnTo>
                <a:close/>
                <a:moveTo>
                  <a:pt x="5967205" y="6446927"/>
                </a:moveTo>
                <a:lnTo>
                  <a:pt x="5967205" y="6521015"/>
                </a:lnTo>
                <a:lnTo>
                  <a:pt x="5977462" y="6521015"/>
                </a:lnTo>
                <a:lnTo>
                  <a:pt x="5977462"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68" y="6445252"/>
                </a:moveTo>
                <a:cubicBezTo>
                  <a:pt x="6270582" y="6445252"/>
                  <a:pt x="6264292" y="6447066"/>
                  <a:pt x="6259897" y="6450694"/>
                </a:cubicBezTo>
                <a:cubicBezTo>
                  <a:pt x="6255502" y="6454322"/>
                  <a:pt x="6252583" y="6460112"/>
                  <a:pt x="6251142" y="6468065"/>
                </a:cubicBezTo>
                <a:lnTo>
                  <a:pt x="6261257" y="6469739"/>
                </a:lnTo>
                <a:cubicBezTo>
                  <a:pt x="6262373" y="6464271"/>
                  <a:pt x="6264118" y="6460543"/>
                  <a:pt x="6266489" y="6458557"/>
                </a:cubicBezTo>
                <a:cubicBezTo>
                  <a:pt x="6268861" y="6456571"/>
                  <a:pt x="6272443" y="6455577"/>
                  <a:pt x="6277233" y="6455577"/>
                </a:cubicBezTo>
                <a:cubicBezTo>
                  <a:pt x="6282535" y="6455577"/>
                  <a:pt x="6286465" y="6457066"/>
                  <a:pt x="6289023" y="6460042"/>
                </a:cubicBezTo>
                <a:cubicBezTo>
                  <a:pt x="6290837" y="6462089"/>
                  <a:pt x="6291744" y="6465647"/>
                  <a:pt x="6291744" y="6470716"/>
                </a:cubicBezTo>
                <a:lnTo>
                  <a:pt x="6291674" y="6473925"/>
                </a:lnTo>
                <a:cubicBezTo>
                  <a:pt x="6287767" y="6475626"/>
                  <a:pt x="6281628" y="6477091"/>
                  <a:pt x="6273256" y="6478320"/>
                </a:cubicBezTo>
                <a:cubicBezTo>
                  <a:pt x="6267024" y="6479204"/>
                  <a:pt x="6262373" y="6480576"/>
                  <a:pt x="6259304" y="6482436"/>
                </a:cubicBezTo>
                <a:cubicBezTo>
                  <a:pt x="6256234" y="6484297"/>
                  <a:pt x="6253816" y="6486878"/>
                  <a:pt x="6252048" y="6490180"/>
                </a:cubicBezTo>
                <a:cubicBezTo>
                  <a:pt x="6250281" y="6493482"/>
                  <a:pt x="6249397" y="6497273"/>
                  <a:pt x="6249397" y="6501551"/>
                </a:cubicBezTo>
                <a:cubicBezTo>
                  <a:pt x="6249397" y="6508016"/>
                  <a:pt x="6251281" y="6513155"/>
                  <a:pt x="6255048" y="6516969"/>
                </a:cubicBezTo>
                <a:cubicBezTo>
                  <a:pt x="6258816" y="6520783"/>
                  <a:pt x="6263862" y="6522690"/>
                  <a:pt x="6270187" y="6522690"/>
                </a:cubicBezTo>
                <a:cubicBezTo>
                  <a:pt x="6274187" y="6522690"/>
                  <a:pt x="6278047" y="6521782"/>
                  <a:pt x="6281768" y="6519968"/>
                </a:cubicBezTo>
                <a:cubicBezTo>
                  <a:pt x="6285488" y="6518154"/>
                  <a:pt x="6289069" y="6515456"/>
                  <a:pt x="6292511" y="6511875"/>
                </a:cubicBezTo>
                <a:cubicBezTo>
                  <a:pt x="6292837" y="6515411"/>
                  <a:pt x="6293534" y="6518457"/>
                  <a:pt x="6294604" y="6521015"/>
                </a:cubicBezTo>
                <a:lnTo>
                  <a:pt x="6305348" y="6521015"/>
                </a:lnTo>
                <a:cubicBezTo>
                  <a:pt x="6304045" y="6518132"/>
                  <a:pt x="6303173" y="6515167"/>
                  <a:pt x="6302731" y="6512120"/>
                </a:cubicBezTo>
                <a:cubicBezTo>
                  <a:pt x="6302290" y="6509074"/>
                  <a:pt x="6302069" y="6501691"/>
                  <a:pt x="6302069" y="6489971"/>
                </a:cubicBezTo>
                <a:lnTo>
                  <a:pt x="6302069" y="6473227"/>
                </a:lnTo>
                <a:cubicBezTo>
                  <a:pt x="6302069" y="6466437"/>
                  <a:pt x="6301592" y="6461275"/>
                  <a:pt x="6300639" y="6457740"/>
                </a:cubicBezTo>
                <a:cubicBezTo>
                  <a:pt x="6299685" y="6454205"/>
                  <a:pt x="6297395" y="6451240"/>
                  <a:pt x="6293767" y="6448845"/>
                </a:cubicBezTo>
                <a:cubicBezTo>
                  <a:pt x="6290139" y="6446450"/>
                  <a:pt x="6285139" y="6445252"/>
                  <a:pt x="6278768" y="6445252"/>
                </a:cubicBezTo>
                <a:close/>
                <a:moveTo>
                  <a:pt x="6157700" y="6445252"/>
                </a:moveTo>
                <a:cubicBezTo>
                  <a:pt x="6153521" y="6445252"/>
                  <a:pt x="6149818" y="6446258"/>
                  <a:pt x="6146592" y="6448270"/>
                </a:cubicBezTo>
                <a:cubicBezTo>
                  <a:pt x="6143365" y="6450282"/>
                  <a:pt x="6140638" y="6453323"/>
                  <a:pt x="6138409" y="6457392"/>
                </a:cubicBezTo>
                <a:lnTo>
                  <a:pt x="6138409" y="6446927"/>
                </a:lnTo>
                <a:lnTo>
                  <a:pt x="6129130" y="6446927"/>
                </a:lnTo>
                <a:lnTo>
                  <a:pt x="6129130" y="6521015"/>
                </a:lnTo>
                <a:lnTo>
                  <a:pt x="6139386" y="6521015"/>
                </a:lnTo>
                <a:lnTo>
                  <a:pt x="6139386" y="6480509"/>
                </a:lnTo>
                <a:cubicBezTo>
                  <a:pt x="6139386" y="6471570"/>
                  <a:pt x="6140851" y="6465261"/>
                  <a:pt x="6143781" y="6461583"/>
                </a:cubicBezTo>
                <a:cubicBezTo>
                  <a:pt x="6146711" y="6457905"/>
                  <a:pt x="6150641" y="6456066"/>
                  <a:pt x="6155571" y="6456066"/>
                </a:cubicBezTo>
                <a:cubicBezTo>
                  <a:pt x="6158175" y="6456066"/>
                  <a:pt x="6160466" y="6456752"/>
                  <a:pt x="6162442" y="6458126"/>
                </a:cubicBezTo>
                <a:cubicBezTo>
                  <a:pt x="6164419" y="6459499"/>
                  <a:pt x="6165872" y="6461443"/>
                  <a:pt x="6166803" y="6463957"/>
                </a:cubicBezTo>
                <a:cubicBezTo>
                  <a:pt x="6167733" y="6466471"/>
                  <a:pt x="6168198" y="6470452"/>
                  <a:pt x="6168198" y="6475900"/>
                </a:cubicBezTo>
                <a:lnTo>
                  <a:pt x="6168198" y="6521015"/>
                </a:lnTo>
                <a:lnTo>
                  <a:pt x="6178453" y="6521015"/>
                </a:lnTo>
                <a:lnTo>
                  <a:pt x="6178453" y="6475460"/>
                </a:lnTo>
                <a:cubicBezTo>
                  <a:pt x="6178453" y="6468623"/>
                  <a:pt x="6178035" y="6463554"/>
                  <a:pt x="6177199" y="6460252"/>
                </a:cubicBezTo>
                <a:cubicBezTo>
                  <a:pt x="6176364" y="6456949"/>
                  <a:pt x="6175099" y="6454264"/>
                  <a:pt x="6173404" y="6452194"/>
                </a:cubicBezTo>
                <a:cubicBezTo>
                  <a:pt x="6171709" y="6450124"/>
                  <a:pt x="6169481" y="6448450"/>
                  <a:pt x="6166718" y="6447171"/>
                </a:cubicBezTo>
                <a:cubicBezTo>
                  <a:pt x="6163956" y="6445892"/>
                  <a:pt x="6160949" y="6445252"/>
                  <a:pt x="6157700" y="6445252"/>
                </a:cubicBezTo>
                <a:close/>
                <a:moveTo>
                  <a:pt x="6087364" y="6445252"/>
                </a:moveTo>
                <a:cubicBezTo>
                  <a:pt x="6079131" y="6445252"/>
                  <a:pt x="6072328" y="6448613"/>
                  <a:pt x="6066956" y="6455333"/>
                </a:cubicBezTo>
                <a:cubicBezTo>
                  <a:pt x="6061584" y="6462054"/>
                  <a:pt x="6058897" y="6471809"/>
                  <a:pt x="6058897" y="6484599"/>
                </a:cubicBezTo>
                <a:cubicBezTo>
                  <a:pt x="6058897" y="6496924"/>
                  <a:pt x="6061560" y="6506353"/>
                  <a:pt x="6066885" y="6512888"/>
                </a:cubicBezTo>
                <a:cubicBezTo>
                  <a:pt x="6072212" y="6519422"/>
                  <a:pt x="6079175" y="6522690"/>
                  <a:pt x="6087781" y="6522690"/>
                </a:cubicBezTo>
                <a:cubicBezTo>
                  <a:pt x="6094617" y="6522690"/>
                  <a:pt x="6100348" y="6520678"/>
                  <a:pt x="6104976" y="6516655"/>
                </a:cubicBezTo>
                <a:cubicBezTo>
                  <a:pt x="6109604" y="6512632"/>
                  <a:pt x="6112801" y="6506667"/>
                  <a:pt x="6114569" y="6498761"/>
                </a:cubicBezTo>
                <a:lnTo>
                  <a:pt x="6103965" y="6497156"/>
                </a:lnTo>
                <a:cubicBezTo>
                  <a:pt x="6100941" y="6507295"/>
                  <a:pt x="6095570" y="6512365"/>
                  <a:pt x="6087849" y="6512365"/>
                </a:cubicBezTo>
                <a:cubicBezTo>
                  <a:pt x="6082919" y="6512365"/>
                  <a:pt x="6078734" y="6510248"/>
                  <a:pt x="6075292" y="6506016"/>
                </a:cubicBezTo>
                <a:cubicBezTo>
                  <a:pt x="6071853" y="6501784"/>
                  <a:pt x="6069920" y="6495505"/>
                  <a:pt x="6069506" y="6487180"/>
                </a:cubicBezTo>
                <a:lnTo>
                  <a:pt x="6114848" y="6487180"/>
                </a:lnTo>
                <a:lnTo>
                  <a:pt x="6114917" y="6483831"/>
                </a:lnTo>
                <a:cubicBezTo>
                  <a:pt x="6114917" y="6471321"/>
                  <a:pt x="6112290" y="6461763"/>
                  <a:pt x="6107034" y="6455159"/>
                </a:cubicBezTo>
                <a:cubicBezTo>
                  <a:pt x="6101779" y="6448555"/>
                  <a:pt x="6095221" y="6445252"/>
                  <a:pt x="6087364" y="6445252"/>
                </a:cubicBezTo>
                <a:close/>
                <a:moveTo>
                  <a:pt x="5900526" y="6445252"/>
                </a:moveTo>
                <a:cubicBezTo>
                  <a:pt x="5896346" y="6445252"/>
                  <a:pt x="5892645" y="6446258"/>
                  <a:pt x="5889417" y="6448270"/>
                </a:cubicBezTo>
                <a:cubicBezTo>
                  <a:pt x="5886191" y="6450282"/>
                  <a:pt x="5883465" y="6453323"/>
                  <a:pt x="5881235" y="6457392"/>
                </a:cubicBezTo>
                <a:lnTo>
                  <a:pt x="5881235" y="6446927"/>
                </a:lnTo>
                <a:lnTo>
                  <a:pt x="5871957" y="6446927"/>
                </a:lnTo>
                <a:lnTo>
                  <a:pt x="5871957" y="6521015"/>
                </a:lnTo>
                <a:lnTo>
                  <a:pt x="5882211" y="6521015"/>
                </a:lnTo>
                <a:lnTo>
                  <a:pt x="5882211" y="6480509"/>
                </a:lnTo>
                <a:cubicBezTo>
                  <a:pt x="5882211" y="6471570"/>
                  <a:pt x="5883676" y="6465261"/>
                  <a:pt x="5886607" y="6461583"/>
                </a:cubicBezTo>
                <a:cubicBezTo>
                  <a:pt x="5889538" y="6457905"/>
                  <a:pt x="5893467" y="6456066"/>
                  <a:pt x="5898396" y="6456066"/>
                </a:cubicBezTo>
                <a:cubicBezTo>
                  <a:pt x="5901002" y="6456066"/>
                  <a:pt x="5903292" y="6456752"/>
                  <a:pt x="5905268" y="6458126"/>
                </a:cubicBezTo>
                <a:cubicBezTo>
                  <a:pt x="5907246" y="6459499"/>
                  <a:pt x="5908697" y="6461443"/>
                  <a:pt x="5909630" y="6463957"/>
                </a:cubicBezTo>
                <a:cubicBezTo>
                  <a:pt x="5910559" y="6466471"/>
                  <a:pt x="5911024" y="6470452"/>
                  <a:pt x="5911024" y="6475900"/>
                </a:cubicBezTo>
                <a:lnTo>
                  <a:pt x="5911024" y="6521015"/>
                </a:lnTo>
                <a:lnTo>
                  <a:pt x="5921278" y="6521015"/>
                </a:lnTo>
                <a:lnTo>
                  <a:pt x="5921278" y="6475460"/>
                </a:lnTo>
                <a:cubicBezTo>
                  <a:pt x="5921278" y="6468623"/>
                  <a:pt x="5920860" y="6463554"/>
                  <a:pt x="5920026" y="6460252"/>
                </a:cubicBezTo>
                <a:cubicBezTo>
                  <a:pt x="5919190" y="6456949"/>
                  <a:pt x="5917925" y="6454264"/>
                  <a:pt x="5916230" y="6452194"/>
                </a:cubicBezTo>
                <a:cubicBezTo>
                  <a:pt x="5914534" y="6450124"/>
                  <a:pt x="5912308" y="6448450"/>
                  <a:pt x="5909545" y="6447171"/>
                </a:cubicBezTo>
                <a:cubicBezTo>
                  <a:pt x="5906782" y="6445892"/>
                  <a:pt x="5903776" y="6445252"/>
                  <a:pt x="5900526" y="6445252"/>
                </a:cubicBezTo>
                <a:close/>
                <a:moveTo>
                  <a:pt x="5829838" y="6445252"/>
                </a:moveTo>
                <a:cubicBezTo>
                  <a:pt x="5821607" y="6445252"/>
                  <a:pt x="5814804" y="6448508"/>
                  <a:pt x="5809432" y="6455019"/>
                </a:cubicBezTo>
                <a:cubicBezTo>
                  <a:pt x="5804061" y="6461531"/>
                  <a:pt x="5801375" y="6471181"/>
                  <a:pt x="5801375" y="6483971"/>
                </a:cubicBezTo>
                <a:cubicBezTo>
                  <a:pt x="5801375" y="6496714"/>
                  <a:pt x="5804085" y="6506353"/>
                  <a:pt x="5809502" y="6512888"/>
                </a:cubicBezTo>
                <a:cubicBezTo>
                  <a:pt x="5814920" y="6519422"/>
                  <a:pt x="5821700" y="6522690"/>
                  <a:pt x="5829838" y="6522690"/>
                </a:cubicBezTo>
                <a:cubicBezTo>
                  <a:pt x="5838116" y="6522690"/>
                  <a:pt x="5844931" y="6519434"/>
                  <a:pt x="5850280" y="6512923"/>
                </a:cubicBezTo>
                <a:cubicBezTo>
                  <a:pt x="5855626" y="6506411"/>
                  <a:pt x="5858301" y="6496505"/>
                  <a:pt x="5858301" y="6483204"/>
                </a:cubicBezTo>
                <a:cubicBezTo>
                  <a:pt x="5858301" y="6470925"/>
                  <a:pt x="5855581" y="6461531"/>
                  <a:pt x="5850139" y="6455019"/>
                </a:cubicBezTo>
                <a:cubicBezTo>
                  <a:pt x="5844697" y="6448508"/>
                  <a:pt x="5837931" y="6445252"/>
                  <a:pt x="5829838"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3" y="6421045"/>
                </a:moveTo>
                <a:lnTo>
                  <a:pt x="6198038" y="6428579"/>
                </a:lnTo>
                <a:lnTo>
                  <a:pt x="6198038" y="6446927"/>
                </a:lnTo>
                <a:lnTo>
                  <a:pt x="6190503" y="6446927"/>
                </a:lnTo>
                <a:lnTo>
                  <a:pt x="6190503" y="6456694"/>
                </a:lnTo>
                <a:lnTo>
                  <a:pt x="6198038" y="6456694"/>
                </a:lnTo>
                <a:lnTo>
                  <a:pt x="6198038" y="6499319"/>
                </a:lnTo>
                <a:cubicBezTo>
                  <a:pt x="6198038" y="6506667"/>
                  <a:pt x="6198445" y="6511574"/>
                  <a:pt x="6199259" y="6514039"/>
                </a:cubicBezTo>
                <a:cubicBezTo>
                  <a:pt x="6200073" y="6516504"/>
                  <a:pt x="6201573" y="6518446"/>
                  <a:pt x="6203758" y="6519864"/>
                </a:cubicBezTo>
                <a:cubicBezTo>
                  <a:pt x="6205944" y="6521283"/>
                  <a:pt x="6208828" y="6521992"/>
                  <a:pt x="6212409" y="6521992"/>
                </a:cubicBezTo>
                <a:cubicBezTo>
                  <a:pt x="6214688" y="6521992"/>
                  <a:pt x="6217246" y="6521620"/>
                  <a:pt x="6220083" y="6520876"/>
                </a:cubicBezTo>
                <a:lnTo>
                  <a:pt x="6218688" y="6509783"/>
                </a:lnTo>
                <a:cubicBezTo>
                  <a:pt x="6216827" y="6510109"/>
                  <a:pt x="6215316" y="6510272"/>
                  <a:pt x="6214153" y="6510272"/>
                </a:cubicBezTo>
                <a:cubicBezTo>
                  <a:pt x="6211735" y="6510272"/>
                  <a:pt x="6210084" y="6509435"/>
                  <a:pt x="6209200" y="6507760"/>
                </a:cubicBezTo>
                <a:cubicBezTo>
                  <a:pt x="6208595" y="6506598"/>
                  <a:pt x="6208293" y="6504016"/>
                  <a:pt x="6208293" y="6500017"/>
                </a:cubicBezTo>
                <a:lnTo>
                  <a:pt x="6208293" y="6456694"/>
                </a:lnTo>
                <a:lnTo>
                  <a:pt x="6218688" y="6456694"/>
                </a:lnTo>
                <a:lnTo>
                  <a:pt x="6218688" y="6446927"/>
                </a:lnTo>
                <a:lnTo>
                  <a:pt x="6208293"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2" y="6418742"/>
                </a:moveTo>
                <a:lnTo>
                  <a:pt x="6319282" y="6521015"/>
                </a:lnTo>
                <a:lnTo>
                  <a:pt x="6329537" y="6521015"/>
                </a:lnTo>
                <a:lnTo>
                  <a:pt x="6329537" y="6418742"/>
                </a:lnTo>
                <a:close/>
                <a:moveTo>
                  <a:pt x="6224380" y="6418742"/>
                </a:moveTo>
                <a:lnTo>
                  <a:pt x="6224380" y="6433183"/>
                </a:lnTo>
                <a:lnTo>
                  <a:pt x="6234636" y="6433183"/>
                </a:lnTo>
                <a:lnTo>
                  <a:pt x="6234636" y="6418742"/>
                </a:lnTo>
                <a:close/>
                <a:moveTo>
                  <a:pt x="6034361" y="6418742"/>
                </a:moveTo>
                <a:lnTo>
                  <a:pt x="6034361" y="6455438"/>
                </a:lnTo>
                <a:cubicBezTo>
                  <a:pt x="6032457" y="6452229"/>
                  <a:pt x="6030052" y="6449729"/>
                  <a:pt x="6027152" y="6447938"/>
                </a:cubicBezTo>
                <a:cubicBezTo>
                  <a:pt x="6024249" y="6446148"/>
                  <a:pt x="6021105" y="6445252"/>
                  <a:pt x="6017716" y="6445252"/>
                </a:cubicBezTo>
                <a:cubicBezTo>
                  <a:pt x="6012977" y="6445252"/>
                  <a:pt x="6008671" y="6446671"/>
                  <a:pt x="6004794" y="6449508"/>
                </a:cubicBezTo>
                <a:cubicBezTo>
                  <a:pt x="6000918" y="6452345"/>
                  <a:pt x="5997817" y="6456694"/>
                  <a:pt x="5995495" y="6462554"/>
                </a:cubicBezTo>
                <a:cubicBezTo>
                  <a:pt x="5993174" y="6468414"/>
                  <a:pt x="5992013" y="6475553"/>
                  <a:pt x="5992013" y="6483971"/>
                </a:cubicBezTo>
                <a:cubicBezTo>
                  <a:pt x="5992013" y="6496249"/>
                  <a:pt x="5994629" y="6505772"/>
                  <a:pt x="5999862" y="6512539"/>
                </a:cubicBezTo>
                <a:cubicBezTo>
                  <a:pt x="6005094" y="6519306"/>
                  <a:pt x="6011292" y="6522690"/>
                  <a:pt x="6018454" y="6522690"/>
                </a:cubicBezTo>
                <a:cubicBezTo>
                  <a:pt x="6021849" y="6522690"/>
                  <a:pt x="6025011" y="6521748"/>
                  <a:pt x="6027944" y="6519864"/>
                </a:cubicBezTo>
                <a:cubicBezTo>
                  <a:pt x="6030873" y="6517981"/>
                  <a:pt x="6033267" y="6515248"/>
                  <a:pt x="6035129" y="6511667"/>
                </a:cubicBezTo>
                <a:lnTo>
                  <a:pt x="6035129" y="6521015"/>
                </a:lnTo>
                <a:lnTo>
                  <a:pt x="6044755" y="6521015"/>
                </a:lnTo>
                <a:lnTo>
                  <a:pt x="6044755"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0" y="6416998"/>
                </a:moveTo>
                <a:cubicBezTo>
                  <a:pt x="5954503" y="6416998"/>
                  <a:pt x="5951367" y="6417766"/>
                  <a:pt x="5948872" y="6419301"/>
                </a:cubicBezTo>
                <a:cubicBezTo>
                  <a:pt x="5946376" y="6420835"/>
                  <a:pt x="5944524" y="6423056"/>
                  <a:pt x="5943312" y="6425963"/>
                </a:cubicBezTo>
                <a:cubicBezTo>
                  <a:pt x="5942098" y="6428870"/>
                  <a:pt x="5941493" y="6433230"/>
                  <a:pt x="5941493" y="6439044"/>
                </a:cubicBezTo>
                <a:lnTo>
                  <a:pt x="5941493" y="6446927"/>
                </a:lnTo>
                <a:lnTo>
                  <a:pt x="5932354" y="6446927"/>
                </a:lnTo>
                <a:lnTo>
                  <a:pt x="5932354" y="6456694"/>
                </a:lnTo>
                <a:lnTo>
                  <a:pt x="5941493" y="6456694"/>
                </a:lnTo>
                <a:lnTo>
                  <a:pt x="5941493" y="6521015"/>
                </a:lnTo>
                <a:lnTo>
                  <a:pt x="5951746" y="6521015"/>
                </a:lnTo>
                <a:lnTo>
                  <a:pt x="5951746" y="6456694"/>
                </a:lnTo>
                <a:lnTo>
                  <a:pt x="5963606" y="6456694"/>
                </a:lnTo>
                <a:lnTo>
                  <a:pt x="5963606" y="6446927"/>
                </a:lnTo>
                <a:lnTo>
                  <a:pt x="5951746" y="6446927"/>
                </a:lnTo>
                <a:lnTo>
                  <a:pt x="5951746" y="6440090"/>
                </a:lnTo>
                <a:cubicBezTo>
                  <a:pt x="5951746" y="6435579"/>
                  <a:pt x="5952412" y="6432521"/>
                  <a:pt x="5953734" y="6430916"/>
                </a:cubicBezTo>
                <a:cubicBezTo>
                  <a:pt x="5955060" y="6429312"/>
                  <a:pt x="5957262" y="6428509"/>
                  <a:pt x="5960327" y="6428509"/>
                </a:cubicBezTo>
                <a:cubicBezTo>
                  <a:pt x="5962235" y="6428509"/>
                  <a:pt x="5964257" y="6428742"/>
                  <a:pt x="5966397" y="6429207"/>
                </a:cubicBezTo>
                <a:lnTo>
                  <a:pt x="5967205" y="6423469"/>
                </a:lnTo>
                <a:lnTo>
                  <a:pt x="5967205" y="6433183"/>
                </a:lnTo>
                <a:lnTo>
                  <a:pt x="5977462" y="6433183"/>
                </a:lnTo>
                <a:lnTo>
                  <a:pt x="5977462" y="6418742"/>
                </a:lnTo>
                <a:lnTo>
                  <a:pt x="5967872" y="6418742"/>
                </a:lnTo>
                <a:lnTo>
                  <a:pt x="5967932" y="6418324"/>
                </a:lnTo>
                <a:cubicBezTo>
                  <a:pt x="5964433" y="6417440"/>
                  <a:pt x="5961216" y="6416998"/>
                  <a:pt x="5958280"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1" y="6418918"/>
                  <a:pt x="5737086" y="6422897"/>
                </a:cubicBezTo>
                <a:cubicBezTo>
                  <a:pt x="5731080" y="6426876"/>
                  <a:pt x="5726321" y="6432763"/>
                  <a:pt x="5722805" y="6440559"/>
                </a:cubicBezTo>
                <a:cubicBezTo>
                  <a:pt x="5719290" y="6448354"/>
                  <a:pt x="5717534" y="6457883"/>
                  <a:pt x="5717534" y="6469146"/>
                </a:cubicBezTo>
                <a:cubicBezTo>
                  <a:pt x="5717534" y="6480548"/>
                  <a:pt x="5719288" y="6490438"/>
                  <a:pt x="5722800" y="6498815"/>
                </a:cubicBezTo>
                <a:cubicBezTo>
                  <a:pt x="5726311" y="6507192"/>
                  <a:pt x="5730823" y="6513277"/>
                  <a:pt x="5736335" y="6517070"/>
                </a:cubicBezTo>
                <a:cubicBezTo>
                  <a:pt x="5741846" y="6520863"/>
                  <a:pt x="5748485" y="6522759"/>
                  <a:pt x="5756252" y="6522759"/>
                </a:cubicBezTo>
                <a:cubicBezTo>
                  <a:pt x="5765089" y="6522759"/>
                  <a:pt x="5772589" y="6519934"/>
                  <a:pt x="5778751" y="6514283"/>
                </a:cubicBezTo>
                <a:cubicBezTo>
                  <a:pt x="5784913" y="6508632"/>
                  <a:pt x="5789228" y="6500063"/>
                  <a:pt x="5791691" y="6488575"/>
                </a:cubicBezTo>
                <a:lnTo>
                  <a:pt x="5780529" y="6485157"/>
                </a:lnTo>
                <a:cubicBezTo>
                  <a:pt x="5779041" y="6493901"/>
                  <a:pt x="5776099" y="6500423"/>
                  <a:pt x="5771703" y="6504726"/>
                </a:cubicBezTo>
                <a:cubicBezTo>
                  <a:pt x="5767310" y="6509028"/>
                  <a:pt x="5762088" y="6511179"/>
                  <a:pt x="5756044" y="6511179"/>
                </a:cubicBezTo>
                <a:cubicBezTo>
                  <a:pt x="5747857" y="6511179"/>
                  <a:pt x="5741300" y="6507676"/>
                  <a:pt x="5736369" y="6500671"/>
                </a:cubicBezTo>
                <a:cubicBezTo>
                  <a:pt x="5731440" y="6493665"/>
                  <a:pt x="5728974" y="6483157"/>
                  <a:pt x="5728974" y="6469145"/>
                </a:cubicBezTo>
                <a:cubicBezTo>
                  <a:pt x="5728974" y="6459883"/>
                  <a:pt x="5730197" y="6452226"/>
                  <a:pt x="5732644" y="6446175"/>
                </a:cubicBezTo>
                <a:cubicBezTo>
                  <a:pt x="5735088" y="6440123"/>
                  <a:pt x="5738360" y="6435666"/>
                  <a:pt x="5742457" y="6432804"/>
                </a:cubicBezTo>
                <a:cubicBezTo>
                  <a:pt x="5746556" y="6429941"/>
                  <a:pt x="5751400" y="6428509"/>
                  <a:pt x="5756988" y="6428509"/>
                </a:cubicBezTo>
                <a:cubicBezTo>
                  <a:pt x="5768213" y="6428509"/>
                  <a:pt x="5775687" y="6435602"/>
                  <a:pt x="5779412" y="6449787"/>
                </a:cubicBezTo>
                <a:lnTo>
                  <a:pt x="5790296" y="6446648"/>
                </a:lnTo>
                <a:cubicBezTo>
                  <a:pt x="5787968" y="6436903"/>
                  <a:pt x="5783895" y="6429514"/>
                  <a:pt x="5778076" y="6424480"/>
                </a:cubicBezTo>
                <a:cubicBezTo>
                  <a:pt x="5772257" y="6419446"/>
                  <a:pt x="5765297"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5" y="6415084"/>
                </a:moveTo>
                <a:lnTo>
                  <a:pt x="10873860" y="6415084"/>
                </a:lnTo>
                <a:cubicBezTo>
                  <a:pt x="10894306" y="6415084"/>
                  <a:pt x="10904530" y="6417923"/>
                  <a:pt x="10904530" y="6430343"/>
                </a:cubicBezTo>
                <a:cubicBezTo>
                  <a:pt x="10904530" y="6442408"/>
                  <a:pt x="10894306" y="6445247"/>
                  <a:pt x="10873860" y="6445247"/>
                </a:cubicBezTo>
                <a:lnTo>
                  <a:pt x="10831505" y="6445247"/>
                </a:lnTo>
                <a:close/>
                <a:moveTo>
                  <a:pt x="11108524" y="6410322"/>
                </a:moveTo>
                <a:cubicBezTo>
                  <a:pt x="11138470" y="6410322"/>
                  <a:pt x="11152180" y="6424698"/>
                  <a:pt x="11152180" y="6454961"/>
                </a:cubicBezTo>
                <a:cubicBezTo>
                  <a:pt x="11152180" y="6484847"/>
                  <a:pt x="11138470" y="6499222"/>
                  <a:pt x="11108524" y="6499222"/>
                </a:cubicBezTo>
                <a:cubicBezTo>
                  <a:pt x="11077856" y="6499222"/>
                  <a:pt x="11064867" y="6484847"/>
                  <a:pt x="11064867" y="6453827"/>
                </a:cubicBezTo>
                <a:cubicBezTo>
                  <a:pt x="11064867" y="6424698"/>
                  <a:pt x="11078938" y="6410322"/>
                  <a:pt x="11108524" y="6410322"/>
                </a:cubicBezTo>
                <a:close/>
                <a:moveTo>
                  <a:pt x="11212505" y="6391272"/>
                </a:moveTo>
                <a:lnTo>
                  <a:pt x="11212505" y="6518272"/>
                </a:lnTo>
                <a:lnTo>
                  <a:pt x="11246059" y="6518272"/>
                </a:lnTo>
                <a:lnTo>
                  <a:pt x="11246059" y="6422083"/>
                </a:lnTo>
                <a:lnTo>
                  <a:pt x="11315692" y="6518272"/>
                </a:lnTo>
                <a:lnTo>
                  <a:pt x="11355380" y="6518272"/>
                </a:lnTo>
                <a:lnTo>
                  <a:pt x="11355380" y="6391272"/>
                </a:lnTo>
                <a:lnTo>
                  <a:pt x="11322187" y="6391272"/>
                </a:lnTo>
                <a:lnTo>
                  <a:pt x="11322187" y="6482577"/>
                </a:lnTo>
                <a:lnTo>
                  <a:pt x="11255800" y="6391272"/>
                </a:lnTo>
                <a:close/>
                <a:moveTo>
                  <a:pt x="10968030" y="6391272"/>
                </a:moveTo>
                <a:lnTo>
                  <a:pt x="10968030" y="6518272"/>
                </a:lnTo>
                <a:lnTo>
                  <a:pt x="11002955" y="6518272"/>
                </a:lnTo>
                <a:lnTo>
                  <a:pt x="11002955" y="6391272"/>
                </a:lnTo>
                <a:close/>
                <a:moveTo>
                  <a:pt x="10798167" y="6391272"/>
                </a:moveTo>
                <a:lnTo>
                  <a:pt x="10798167" y="6518272"/>
                </a:lnTo>
                <a:lnTo>
                  <a:pt x="10832210" y="6518272"/>
                </a:lnTo>
                <a:lnTo>
                  <a:pt x="10832210" y="6468299"/>
                </a:lnTo>
                <a:lnTo>
                  <a:pt x="10871986" y="6468299"/>
                </a:lnTo>
                <a:lnTo>
                  <a:pt x="10907462" y="6518272"/>
                </a:lnTo>
                <a:lnTo>
                  <a:pt x="10945805" y="6518272"/>
                </a:lnTo>
                <a:lnTo>
                  <a:pt x="10905670" y="6465293"/>
                </a:lnTo>
                <a:cubicBezTo>
                  <a:pt x="10926454" y="6461536"/>
                  <a:pt x="10938280" y="6449136"/>
                  <a:pt x="10938280" y="6429598"/>
                </a:cubicBezTo>
                <a:cubicBezTo>
                  <a:pt x="10938280" y="6402920"/>
                  <a:pt x="10920004" y="6391272"/>
                  <a:pt x="10881661" y="6391272"/>
                </a:cubicBezTo>
                <a:close/>
                <a:moveTo>
                  <a:pt x="10728317" y="6391272"/>
                </a:moveTo>
                <a:lnTo>
                  <a:pt x="10728317" y="6518272"/>
                </a:lnTo>
                <a:lnTo>
                  <a:pt x="10763242" y="6518272"/>
                </a:lnTo>
                <a:lnTo>
                  <a:pt x="10763242" y="6391272"/>
                </a:lnTo>
                <a:close/>
                <a:moveTo>
                  <a:pt x="10604321" y="6391272"/>
                </a:moveTo>
                <a:cubicBezTo>
                  <a:pt x="10565734" y="6391272"/>
                  <a:pt x="10547342" y="6402544"/>
                  <a:pt x="10547342" y="6429973"/>
                </a:cubicBezTo>
                <a:cubicBezTo>
                  <a:pt x="10547342" y="6455524"/>
                  <a:pt x="10564291" y="6466420"/>
                  <a:pt x="10601436" y="6466420"/>
                </a:cubicBezTo>
                <a:lnTo>
                  <a:pt x="10641466" y="6466420"/>
                </a:lnTo>
                <a:cubicBezTo>
                  <a:pt x="10658055" y="6466420"/>
                  <a:pt x="10665628" y="6469802"/>
                  <a:pt x="10665628" y="6481074"/>
                </a:cubicBezTo>
                <a:cubicBezTo>
                  <a:pt x="10665628" y="6491970"/>
                  <a:pt x="10657333" y="6495352"/>
                  <a:pt x="10639302" y="6495352"/>
                </a:cubicBezTo>
                <a:lnTo>
                  <a:pt x="10553833" y="6495352"/>
                </a:lnTo>
                <a:lnTo>
                  <a:pt x="10553833" y="6518272"/>
                </a:lnTo>
                <a:lnTo>
                  <a:pt x="10644711" y="6518272"/>
                </a:lnTo>
                <a:cubicBezTo>
                  <a:pt x="10682938" y="6518272"/>
                  <a:pt x="10701330" y="6507000"/>
                  <a:pt x="10701330" y="6480323"/>
                </a:cubicBezTo>
                <a:cubicBezTo>
                  <a:pt x="10701330" y="6453645"/>
                  <a:pt x="10685823" y="6444252"/>
                  <a:pt x="10649760" y="6444252"/>
                </a:cubicBezTo>
                <a:lnTo>
                  <a:pt x="10604321" y="6444252"/>
                </a:lnTo>
                <a:cubicBezTo>
                  <a:pt x="10590257" y="6444252"/>
                  <a:pt x="10583044" y="6439743"/>
                  <a:pt x="10583044" y="6430349"/>
                </a:cubicBezTo>
                <a:cubicBezTo>
                  <a:pt x="10583044" y="6418701"/>
                  <a:pt x="10591339" y="6413817"/>
                  <a:pt x="10609009" y="6413817"/>
                </a:cubicBezTo>
                <a:lnTo>
                  <a:pt x="10693396" y="6413817"/>
                </a:lnTo>
                <a:lnTo>
                  <a:pt x="10693396" y="6391272"/>
                </a:lnTo>
                <a:close/>
                <a:moveTo>
                  <a:pt x="10490061" y="6391272"/>
                </a:moveTo>
                <a:lnTo>
                  <a:pt x="10490061" y="6482682"/>
                </a:lnTo>
                <a:lnTo>
                  <a:pt x="10423841" y="6391647"/>
                </a:lnTo>
                <a:lnTo>
                  <a:pt x="10380655" y="6391647"/>
                </a:lnTo>
                <a:lnTo>
                  <a:pt x="10380655" y="6518272"/>
                </a:lnTo>
                <a:lnTo>
                  <a:pt x="10414124" y="6518272"/>
                </a:lnTo>
                <a:lnTo>
                  <a:pt x="10414124" y="6422367"/>
                </a:lnTo>
                <a:lnTo>
                  <a:pt x="10483942" y="6518272"/>
                </a:lnTo>
                <a:lnTo>
                  <a:pt x="10523170" y="6518272"/>
                </a:lnTo>
                <a:lnTo>
                  <a:pt x="10523530" y="6391272"/>
                </a:lnTo>
                <a:close/>
                <a:moveTo>
                  <a:pt x="10293755" y="6391272"/>
                </a:moveTo>
                <a:cubicBezTo>
                  <a:pt x="10241355" y="6391272"/>
                  <a:pt x="10217142" y="6411938"/>
                  <a:pt x="10217142" y="6457027"/>
                </a:cubicBezTo>
                <a:cubicBezTo>
                  <a:pt x="10217142" y="6479947"/>
                  <a:pt x="10225454" y="6496479"/>
                  <a:pt x="10242077" y="6507000"/>
                </a:cubicBezTo>
                <a:cubicBezTo>
                  <a:pt x="10257978" y="6516769"/>
                  <a:pt x="10273156" y="6518272"/>
                  <a:pt x="10293032" y="6518272"/>
                </a:cubicBezTo>
                <a:lnTo>
                  <a:pt x="10350492" y="6518272"/>
                </a:lnTo>
                <a:lnTo>
                  <a:pt x="10350492" y="6496104"/>
                </a:lnTo>
                <a:lnTo>
                  <a:pt x="10294478" y="6496104"/>
                </a:lnTo>
                <a:cubicBezTo>
                  <a:pt x="10267374" y="6496104"/>
                  <a:pt x="10255810" y="6487837"/>
                  <a:pt x="10255810" y="6464917"/>
                </a:cubicBezTo>
                <a:lnTo>
                  <a:pt x="10350492" y="6464917"/>
                </a:lnTo>
                <a:lnTo>
                  <a:pt x="10350492" y="6442749"/>
                </a:lnTo>
                <a:lnTo>
                  <a:pt x="10255810" y="6442749"/>
                </a:lnTo>
                <a:cubicBezTo>
                  <a:pt x="10257255" y="6422834"/>
                  <a:pt x="10269904" y="6413441"/>
                  <a:pt x="10294478" y="6413441"/>
                </a:cubicBezTo>
                <a:lnTo>
                  <a:pt x="10350492" y="6413441"/>
                </a:lnTo>
                <a:lnTo>
                  <a:pt x="10350492" y="6391272"/>
                </a:lnTo>
                <a:close/>
                <a:moveTo>
                  <a:pt x="10104126" y="6391272"/>
                </a:moveTo>
                <a:cubicBezTo>
                  <a:pt x="10065629" y="6391272"/>
                  <a:pt x="10047280" y="6402544"/>
                  <a:pt x="10047280" y="6429973"/>
                </a:cubicBezTo>
                <a:cubicBezTo>
                  <a:pt x="10047280" y="6455524"/>
                  <a:pt x="10064190" y="6466420"/>
                  <a:pt x="10101248" y="6466420"/>
                </a:cubicBezTo>
                <a:lnTo>
                  <a:pt x="10141184" y="6466420"/>
                </a:lnTo>
                <a:cubicBezTo>
                  <a:pt x="10157734" y="6466420"/>
                  <a:pt x="10165649" y="6469802"/>
                  <a:pt x="10165649" y="6481074"/>
                </a:cubicBezTo>
                <a:cubicBezTo>
                  <a:pt x="10165649" y="6491970"/>
                  <a:pt x="10157014" y="6495352"/>
                  <a:pt x="10139025" y="6495352"/>
                </a:cubicBezTo>
                <a:lnTo>
                  <a:pt x="10053756" y="6495352"/>
                </a:lnTo>
                <a:lnTo>
                  <a:pt x="10053756" y="6518272"/>
                </a:lnTo>
                <a:lnTo>
                  <a:pt x="10144422" y="6518272"/>
                </a:lnTo>
                <a:cubicBezTo>
                  <a:pt x="10182919" y="6518272"/>
                  <a:pt x="10201268" y="6507000"/>
                  <a:pt x="10201268" y="6480323"/>
                </a:cubicBezTo>
                <a:cubicBezTo>
                  <a:pt x="10201268" y="6453645"/>
                  <a:pt x="10185437" y="6444252"/>
                  <a:pt x="10149459" y="6444252"/>
                </a:cubicBezTo>
                <a:lnTo>
                  <a:pt x="10104486" y="6444252"/>
                </a:lnTo>
                <a:cubicBezTo>
                  <a:pt x="10090094" y="6444252"/>
                  <a:pt x="10082899" y="6439743"/>
                  <a:pt x="10082899" y="6430349"/>
                </a:cubicBezTo>
                <a:cubicBezTo>
                  <a:pt x="10082899" y="6418701"/>
                  <a:pt x="10091174" y="6413817"/>
                  <a:pt x="10109163" y="6413817"/>
                </a:cubicBezTo>
                <a:lnTo>
                  <a:pt x="10193353" y="6413817"/>
                </a:lnTo>
                <a:lnTo>
                  <a:pt x="10193353" y="6391272"/>
                </a:lnTo>
                <a:close/>
                <a:moveTo>
                  <a:pt x="11099976" y="6389684"/>
                </a:moveTo>
                <a:cubicBezTo>
                  <a:pt x="11050930" y="6391539"/>
                  <a:pt x="11026767" y="6412307"/>
                  <a:pt x="11026767" y="6453474"/>
                </a:cubicBezTo>
                <a:cubicBezTo>
                  <a:pt x="11026767" y="6498720"/>
                  <a:pt x="11052011" y="6519859"/>
                  <a:pt x="11107910" y="6519859"/>
                </a:cubicBezTo>
                <a:cubicBezTo>
                  <a:pt x="11163087" y="6519859"/>
                  <a:pt x="11188692" y="6498720"/>
                  <a:pt x="11188692" y="6454586"/>
                </a:cubicBezTo>
                <a:cubicBezTo>
                  <a:pt x="11188692" y="6412307"/>
                  <a:pt x="11165611" y="6391539"/>
                  <a:pt x="11115844" y="6389684"/>
                </a:cubicBezTo>
                <a:close/>
                <a:moveTo>
                  <a:pt x="0" y="0"/>
                </a:moveTo>
                <a:lnTo>
                  <a:pt x="12188817" y="0"/>
                </a:lnTo>
                <a:lnTo>
                  <a:pt x="12188817" y="3141660"/>
                </a:lnTo>
                <a:lnTo>
                  <a:pt x="6095993" y="3141660"/>
                </a:lnTo>
                <a:lnTo>
                  <a:pt x="6095993" y="6237284"/>
                </a:lnTo>
                <a:lnTo>
                  <a:pt x="12188817" y="6237284"/>
                </a:lnTo>
                <a:lnTo>
                  <a:pt x="12188817"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4969342"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0" name="Textplatzhalter 2"/>
          <p:cNvSpPr>
            <a:spLocks noGrp="1"/>
          </p:cNvSpPr>
          <p:nvPr userDrawn="1">
            <p:ph type="body" sz="quarter" idx="11" hasCustomPrompt="1"/>
          </p:nvPr>
        </p:nvSpPr>
        <p:spPr>
          <a:xfrm>
            <a:off x="6395432" y="3994289"/>
            <a:ext cx="4956781" cy="1980000"/>
          </a:xfrm>
        </p:spPr>
        <p:txBody>
          <a:bodyPr/>
          <a:lstStyle>
            <a:lvl1pPr>
              <a:defRPr baseline="0">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userDrawn="1">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
        <p:nvSpPr>
          <p:cNvPr id="3" name="Foliennummernplatzhalter 2">
            <a:extLst>
              <a:ext uri="{FF2B5EF4-FFF2-40B4-BE49-F238E27FC236}">
                <a16:creationId xmlns:a16="http://schemas.microsoft.com/office/drawing/2014/main" id="{06BC0DB4-B1D4-483F-9157-D4C92C98CF64}"/>
              </a:ext>
            </a:extLst>
          </p:cNvPr>
          <p:cNvSpPr>
            <a:spLocks noGrp="1"/>
          </p:cNvSpPr>
          <p:nvPr>
            <p:ph type="sldNum" sz="quarter" idx="15"/>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393912822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460045" cy="3516259"/>
            <a:chOff x="4" y="3106800"/>
            <a:chExt cx="11460045" cy="3516259"/>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7" y="6345195"/>
              <a:ext cx="1500502" cy="229341"/>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Bildplatzhalter 33">
            <a:extLst>
              <a:ext uri="{FF2B5EF4-FFF2-40B4-BE49-F238E27FC236}">
                <a16:creationId xmlns:a16="http://schemas.microsoft.com/office/drawing/2014/main" id="{7FB2593A-BDE2-4288-9E4C-D7A00081A1E1}"/>
              </a:ext>
            </a:extLst>
          </p:cNvPr>
          <p:cNvSpPr>
            <a:spLocks noGrp="1"/>
          </p:cNvSpPr>
          <p:nvPr>
            <p:ph type="pic" sz="quarter" idx="14"/>
          </p:nvPr>
        </p:nvSpPr>
        <p:spPr>
          <a:xfrm>
            <a:off x="9" y="4"/>
            <a:ext cx="12188817" cy="6857997"/>
          </a:xfrm>
          <a:custGeom>
            <a:avLst/>
            <a:gdLst>
              <a:gd name="connsiteX0" fmla="*/ 2164817 w 12188817"/>
              <a:gd name="connsiteY0" fmla="*/ 6506714 h 6857997"/>
              <a:gd name="connsiteX1" fmla="*/ 2164817 w 12188817"/>
              <a:gd name="connsiteY1" fmla="*/ 6521015 h 6857997"/>
              <a:gd name="connsiteX2" fmla="*/ 2170608 w 12188817"/>
              <a:gd name="connsiteY2" fmla="*/ 6521015 h 6857997"/>
              <a:gd name="connsiteX3" fmla="*/ 2168864 w 12188817"/>
              <a:gd name="connsiteY3" fmla="*/ 6530887 h 6857997"/>
              <a:gd name="connsiteX4" fmla="*/ 2164120 w 12188817"/>
              <a:gd name="connsiteY4" fmla="*/ 6535875 h 6857997"/>
              <a:gd name="connsiteX5" fmla="*/ 2166980 w 12188817"/>
              <a:gd name="connsiteY5" fmla="*/ 6541247 h 6857997"/>
              <a:gd name="connsiteX6" fmla="*/ 2174096 w 12188817"/>
              <a:gd name="connsiteY6" fmla="*/ 6534026 h 6857997"/>
              <a:gd name="connsiteX7" fmla="*/ 2176538 w 12188817"/>
              <a:gd name="connsiteY7" fmla="*/ 6521015 h 6857997"/>
              <a:gd name="connsiteX8" fmla="*/ 2176538 w 12188817"/>
              <a:gd name="connsiteY8" fmla="*/ 6506714 h 6857997"/>
              <a:gd name="connsiteX9" fmla="*/ 6291674 w 12188817"/>
              <a:gd name="connsiteY9" fmla="*/ 6483831 h 6857997"/>
              <a:gd name="connsiteX10" fmla="*/ 6291674 w 12188817"/>
              <a:gd name="connsiteY10" fmla="*/ 6488436 h 6857997"/>
              <a:gd name="connsiteX11" fmla="*/ 6289442 w 12188817"/>
              <a:gd name="connsiteY11" fmla="*/ 6502354 h 6857997"/>
              <a:gd name="connsiteX12" fmla="*/ 6282709 w 12188817"/>
              <a:gd name="connsiteY12" fmla="*/ 6509993 h 6857997"/>
              <a:gd name="connsiteX13" fmla="*/ 6272698 w 12188817"/>
              <a:gd name="connsiteY13" fmla="*/ 6512853 h 6857997"/>
              <a:gd name="connsiteX14" fmla="*/ 6263629 w 12188817"/>
              <a:gd name="connsiteY14" fmla="*/ 6509679 h 6857997"/>
              <a:gd name="connsiteX15" fmla="*/ 6260350 w 12188817"/>
              <a:gd name="connsiteY15" fmla="*/ 6501203 h 6857997"/>
              <a:gd name="connsiteX16" fmla="*/ 6261780 w 12188817"/>
              <a:gd name="connsiteY16" fmla="*/ 6495168 h 6857997"/>
              <a:gd name="connsiteX17" fmla="*/ 6265792 w 12188817"/>
              <a:gd name="connsiteY17" fmla="*/ 6491122 h 6857997"/>
              <a:gd name="connsiteX18" fmla="*/ 6274861 w 12188817"/>
              <a:gd name="connsiteY18" fmla="*/ 6488575 h 6857997"/>
              <a:gd name="connsiteX19" fmla="*/ 6291674 w 12188817"/>
              <a:gd name="connsiteY19" fmla="*/ 6483831 h 6857997"/>
              <a:gd name="connsiteX20" fmla="*/ 2657736 w 12188817"/>
              <a:gd name="connsiteY20" fmla="*/ 6483831 h 6857997"/>
              <a:gd name="connsiteX21" fmla="*/ 2657736 w 12188817"/>
              <a:gd name="connsiteY21" fmla="*/ 6488436 h 6857997"/>
              <a:gd name="connsiteX22" fmla="*/ 2655504 w 12188817"/>
              <a:gd name="connsiteY22" fmla="*/ 6502354 h 6857997"/>
              <a:gd name="connsiteX23" fmla="*/ 2648771 w 12188817"/>
              <a:gd name="connsiteY23" fmla="*/ 6509993 h 6857997"/>
              <a:gd name="connsiteX24" fmla="*/ 2638760 w 12188817"/>
              <a:gd name="connsiteY24" fmla="*/ 6512853 h 6857997"/>
              <a:gd name="connsiteX25" fmla="*/ 2629691 w 12188817"/>
              <a:gd name="connsiteY25" fmla="*/ 6509679 h 6857997"/>
              <a:gd name="connsiteX26" fmla="*/ 2626412 w 12188817"/>
              <a:gd name="connsiteY26" fmla="*/ 6501203 h 6857997"/>
              <a:gd name="connsiteX27" fmla="*/ 2627843 w 12188817"/>
              <a:gd name="connsiteY27" fmla="*/ 6495168 h 6857997"/>
              <a:gd name="connsiteX28" fmla="*/ 2631854 w 12188817"/>
              <a:gd name="connsiteY28" fmla="*/ 6491122 h 6857997"/>
              <a:gd name="connsiteX29" fmla="*/ 2640923 w 12188817"/>
              <a:gd name="connsiteY29" fmla="*/ 6488575 h 6857997"/>
              <a:gd name="connsiteX30" fmla="*/ 2657736 w 12188817"/>
              <a:gd name="connsiteY30" fmla="*/ 6483831 h 6857997"/>
              <a:gd name="connsiteX31" fmla="*/ 6087291 w 12188817"/>
              <a:gd name="connsiteY31" fmla="*/ 6455577 h 6857997"/>
              <a:gd name="connsiteX32" fmla="*/ 6099918 w 12188817"/>
              <a:gd name="connsiteY32" fmla="*/ 6462484 h 6857997"/>
              <a:gd name="connsiteX33" fmla="*/ 6104034 w 12188817"/>
              <a:gd name="connsiteY33" fmla="*/ 6476855 h 6857997"/>
              <a:gd name="connsiteX34" fmla="*/ 6070131 w 12188817"/>
              <a:gd name="connsiteY34" fmla="*/ 6476855 h 6857997"/>
              <a:gd name="connsiteX35" fmla="*/ 6075502 w 12188817"/>
              <a:gd name="connsiteY35" fmla="*/ 6461333 h 6857997"/>
              <a:gd name="connsiteX36" fmla="*/ 6087291 w 12188817"/>
              <a:gd name="connsiteY36" fmla="*/ 6455577 h 6857997"/>
              <a:gd name="connsiteX37" fmla="*/ 6018394 w 12188817"/>
              <a:gd name="connsiteY37" fmla="*/ 6455577 h 6857997"/>
              <a:gd name="connsiteX38" fmla="*/ 6030542 w 12188817"/>
              <a:gd name="connsiteY38" fmla="*/ 6462728 h 6857997"/>
              <a:gd name="connsiteX39" fmla="*/ 6035357 w 12188817"/>
              <a:gd name="connsiteY39" fmla="*/ 6485436 h 6857997"/>
              <a:gd name="connsiteX40" fmla="*/ 6030542 w 12188817"/>
              <a:gd name="connsiteY40" fmla="*/ 6505667 h 6857997"/>
              <a:gd name="connsiteX41" fmla="*/ 6019162 w 12188817"/>
              <a:gd name="connsiteY41" fmla="*/ 6512365 h 6857997"/>
              <a:gd name="connsiteX42" fmla="*/ 6007540 w 12188817"/>
              <a:gd name="connsiteY42" fmla="*/ 6505388 h 6857997"/>
              <a:gd name="connsiteX43" fmla="*/ 6002547 w 12188817"/>
              <a:gd name="connsiteY43" fmla="*/ 6484041 h 6857997"/>
              <a:gd name="connsiteX44" fmla="*/ 6007226 w 12188817"/>
              <a:gd name="connsiteY44" fmla="*/ 6462449 h 6857997"/>
              <a:gd name="connsiteX45" fmla="*/ 6018394 w 12188817"/>
              <a:gd name="connsiteY45" fmla="*/ 6455577 h 6857997"/>
              <a:gd name="connsiteX46" fmla="*/ 5829559 w 12188817"/>
              <a:gd name="connsiteY46" fmla="*/ 6455577 h 6857997"/>
              <a:gd name="connsiteX47" fmla="*/ 5842534 w 12188817"/>
              <a:gd name="connsiteY47" fmla="*/ 6462597 h 6857997"/>
              <a:gd name="connsiteX48" fmla="*/ 5847767 w 12188817"/>
              <a:gd name="connsiteY48" fmla="*/ 6483936 h 6857997"/>
              <a:gd name="connsiteX49" fmla="*/ 5842571 w 12188817"/>
              <a:gd name="connsiteY49" fmla="*/ 6505275 h 6857997"/>
              <a:gd name="connsiteX50" fmla="*/ 5830117 w 12188817"/>
              <a:gd name="connsiteY50" fmla="*/ 6512365 h 6857997"/>
              <a:gd name="connsiteX51" fmla="*/ 5817142 w 12188817"/>
              <a:gd name="connsiteY51" fmla="*/ 6505345 h 6857997"/>
              <a:gd name="connsiteX52" fmla="*/ 5811909 w 12188817"/>
              <a:gd name="connsiteY52" fmla="*/ 6483936 h 6857997"/>
              <a:gd name="connsiteX53" fmla="*/ 5817070 w 12188817"/>
              <a:gd name="connsiteY53" fmla="*/ 6462632 h 6857997"/>
              <a:gd name="connsiteX54" fmla="*/ 5829559 w 12188817"/>
              <a:gd name="connsiteY54" fmla="*/ 6455577 h 6857997"/>
              <a:gd name="connsiteX55" fmla="*/ 2774981 w 12188817"/>
              <a:gd name="connsiteY55" fmla="*/ 6455577 h 6857997"/>
              <a:gd name="connsiteX56" fmla="*/ 2787127 w 12188817"/>
              <a:gd name="connsiteY56" fmla="*/ 6462728 h 6857997"/>
              <a:gd name="connsiteX57" fmla="*/ 2791944 w 12188817"/>
              <a:gd name="connsiteY57" fmla="*/ 6485436 h 6857997"/>
              <a:gd name="connsiteX58" fmla="*/ 2787127 w 12188817"/>
              <a:gd name="connsiteY58" fmla="*/ 6505667 h 6857997"/>
              <a:gd name="connsiteX59" fmla="*/ 2775749 w 12188817"/>
              <a:gd name="connsiteY59" fmla="*/ 6512365 h 6857997"/>
              <a:gd name="connsiteX60" fmla="*/ 2764126 w 12188817"/>
              <a:gd name="connsiteY60" fmla="*/ 6505388 h 6857997"/>
              <a:gd name="connsiteX61" fmla="*/ 2759134 w 12188817"/>
              <a:gd name="connsiteY61" fmla="*/ 6484041 h 6857997"/>
              <a:gd name="connsiteX62" fmla="*/ 2763811 w 12188817"/>
              <a:gd name="connsiteY62" fmla="*/ 6462449 h 6857997"/>
              <a:gd name="connsiteX63" fmla="*/ 2774981 w 12188817"/>
              <a:gd name="connsiteY63" fmla="*/ 6455577 h 6857997"/>
              <a:gd name="connsiteX64" fmla="*/ 2510503 w 12188817"/>
              <a:gd name="connsiteY64" fmla="*/ 6455577 h 6857997"/>
              <a:gd name="connsiteX65" fmla="*/ 2523130 w 12188817"/>
              <a:gd name="connsiteY65" fmla="*/ 6462484 h 6857997"/>
              <a:gd name="connsiteX66" fmla="*/ 2527246 w 12188817"/>
              <a:gd name="connsiteY66" fmla="*/ 6476855 h 6857997"/>
              <a:gd name="connsiteX67" fmla="*/ 2493341 w 12188817"/>
              <a:gd name="connsiteY67" fmla="*/ 6476855 h 6857997"/>
              <a:gd name="connsiteX68" fmla="*/ 2498713 w 12188817"/>
              <a:gd name="connsiteY68" fmla="*/ 6461333 h 6857997"/>
              <a:gd name="connsiteX69" fmla="*/ 2510503 w 12188817"/>
              <a:gd name="connsiteY69" fmla="*/ 6455577 h 6857997"/>
              <a:gd name="connsiteX70" fmla="*/ 1871770 w 12188817"/>
              <a:gd name="connsiteY70" fmla="*/ 6455577 h 6857997"/>
              <a:gd name="connsiteX71" fmla="*/ 1884746 w 12188817"/>
              <a:gd name="connsiteY71" fmla="*/ 6462597 h 6857997"/>
              <a:gd name="connsiteX72" fmla="*/ 1889978 w 12188817"/>
              <a:gd name="connsiteY72" fmla="*/ 6483936 h 6857997"/>
              <a:gd name="connsiteX73" fmla="*/ 1884781 w 12188817"/>
              <a:gd name="connsiteY73" fmla="*/ 6505275 h 6857997"/>
              <a:gd name="connsiteX74" fmla="*/ 1872328 w 12188817"/>
              <a:gd name="connsiteY74" fmla="*/ 6512365 h 6857997"/>
              <a:gd name="connsiteX75" fmla="*/ 1859352 w 12188817"/>
              <a:gd name="connsiteY75" fmla="*/ 6505345 h 6857997"/>
              <a:gd name="connsiteX76" fmla="*/ 1854120 w 12188817"/>
              <a:gd name="connsiteY76" fmla="*/ 6483936 h 6857997"/>
              <a:gd name="connsiteX77" fmla="*/ 1859282 w 12188817"/>
              <a:gd name="connsiteY77" fmla="*/ 6462632 h 6857997"/>
              <a:gd name="connsiteX78" fmla="*/ 1871770 w 12188817"/>
              <a:gd name="connsiteY78" fmla="*/ 6455577 h 6857997"/>
              <a:gd name="connsiteX79" fmla="*/ 1586578 w 12188817"/>
              <a:gd name="connsiteY79" fmla="*/ 6455577 h 6857997"/>
              <a:gd name="connsiteX80" fmla="*/ 1599205 w 12188817"/>
              <a:gd name="connsiteY80" fmla="*/ 6462484 h 6857997"/>
              <a:gd name="connsiteX81" fmla="*/ 1603321 w 12188817"/>
              <a:gd name="connsiteY81" fmla="*/ 6476855 h 6857997"/>
              <a:gd name="connsiteX82" fmla="*/ 1569416 w 12188817"/>
              <a:gd name="connsiteY82" fmla="*/ 6476855 h 6857997"/>
              <a:gd name="connsiteX83" fmla="*/ 1574788 w 12188817"/>
              <a:gd name="connsiteY83" fmla="*/ 6461333 h 6857997"/>
              <a:gd name="connsiteX84" fmla="*/ 1586578 w 12188817"/>
              <a:gd name="connsiteY84" fmla="*/ 6455577 h 6857997"/>
              <a:gd name="connsiteX85" fmla="*/ 1317679 w 12188817"/>
              <a:gd name="connsiteY85" fmla="*/ 6455577 h 6857997"/>
              <a:gd name="connsiteX86" fmla="*/ 1329914 w 12188817"/>
              <a:gd name="connsiteY86" fmla="*/ 6462397 h 6857997"/>
              <a:gd name="connsiteX87" fmla="*/ 1334947 w 12188817"/>
              <a:gd name="connsiteY87" fmla="*/ 6483204 h 6857997"/>
              <a:gd name="connsiteX88" fmla="*/ 1330053 w 12188817"/>
              <a:gd name="connsiteY88" fmla="*/ 6504116 h 6857997"/>
              <a:gd name="connsiteX89" fmla="*/ 1318169 w 12188817"/>
              <a:gd name="connsiteY89" fmla="*/ 6510690 h 6857997"/>
              <a:gd name="connsiteX90" fmla="*/ 1306354 w 12188817"/>
              <a:gd name="connsiteY90" fmla="*/ 6503976 h 6857997"/>
              <a:gd name="connsiteX91" fmla="*/ 1301530 w 12188817"/>
              <a:gd name="connsiteY91" fmla="*/ 6482644 h 6857997"/>
              <a:gd name="connsiteX92" fmla="*/ 1306389 w 12188817"/>
              <a:gd name="connsiteY92" fmla="*/ 6462397 h 6857997"/>
              <a:gd name="connsiteX93" fmla="*/ 1317679 w 12188817"/>
              <a:gd name="connsiteY93" fmla="*/ 6455577 h 6857997"/>
              <a:gd name="connsiteX94" fmla="*/ 1071670 w 12188817"/>
              <a:gd name="connsiteY94" fmla="*/ 6455577 h 6857997"/>
              <a:gd name="connsiteX95" fmla="*/ 1084646 w 12188817"/>
              <a:gd name="connsiteY95" fmla="*/ 6462597 h 6857997"/>
              <a:gd name="connsiteX96" fmla="*/ 1089878 w 12188817"/>
              <a:gd name="connsiteY96" fmla="*/ 6483936 h 6857997"/>
              <a:gd name="connsiteX97" fmla="*/ 1084681 w 12188817"/>
              <a:gd name="connsiteY97" fmla="*/ 6505275 h 6857997"/>
              <a:gd name="connsiteX98" fmla="*/ 1072228 w 12188817"/>
              <a:gd name="connsiteY98" fmla="*/ 6512365 h 6857997"/>
              <a:gd name="connsiteX99" fmla="*/ 1059252 w 12188817"/>
              <a:gd name="connsiteY99" fmla="*/ 6505345 h 6857997"/>
              <a:gd name="connsiteX100" fmla="*/ 1054020 w 12188817"/>
              <a:gd name="connsiteY100" fmla="*/ 6483936 h 6857997"/>
              <a:gd name="connsiteX101" fmla="*/ 1059182 w 12188817"/>
              <a:gd name="connsiteY101" fmla="*/ 6462632 h 6857997"/>
              <a:gd name="connsiteX102" fmla="*/ 1071670 w 12188817"/>
              <a:gd name="connsiteY102" fmla="*/ 6455577 h 6857997"/>
              <a:gd name="connsiteX103" fmla="*/ 1139782 w 12188817"/>
              <a:gd name="connsiteY103" fmla="*/ 6455089 h 6857997"/>
              <a:gd name="connsiteX104" fmla="*/ 1151472 w 12188817"/>
              <a:gd name="connsiteY104" fmla="*/ 6462065 h 6857997"/>
              <a:gd name="connsiteX105" fmla="*/ 1156274 w 12188817"/>
              <a:gd name="connsiteY105" fmla="*/ 6483552 h 6857997"/>
              <a:gd name="connsiteX106" fmla="*/ 1151334 w 12188817"/>
              <a:gd name="connsiteY106" fmla="*/ 6505319 h 6857997"/>
              <a:gd name="connsiteX107" fmla="*/ 1139852 w 12188817"/>
              <a:gd name="connsiteY107" fmla="*/ 6512365 h 6857997"/>
              <a:gd name="connsiteX108" fmla="*/ 1128229 w 12188817"/>
              <a:gd name="connsiteY108" fmla="*/ 6505563 h 6857997"/>
              <a:gd name="connsiteX109" fmla="*/ 1123428 w 12188817"/>
              <a:gd name="connsiteY109" fmla="*/ 6484390 h 6857997"/>
              <a:gd name="connsiteX110" fmla="*/ 1128508 w 12188817"/>
              <a:gd name="connsiteY110" fmla="*/ 6462589 h 6857997"/>
              <a:gd name="connsiteX111" fmla="*/ 1139782 w 12188817"/>
              <a:gd name="connsiteY111" fmla="*/ 6455089 h 6857997"/>
              <a:gd name="connsiteX112" fmla="*/ 6224380 w 12188817"/>
              <a:gd name="connsiteY112" fmla="*/ 6446927 h 6857997"/>
              <a:gd name="connsiteX113" fmla="*/ 6224380 w 12188817"/>
              <a:gd name="connsiteY113" fmla="*/ 6521015 h 6857997"/>
              <a:gd name="connsiteX114" fmla="*/ 6234636 w 12188817"/>
              <a:gd name="connsiteY114" fmla="*/ 6521015 h 6857997"/>
              <a:gd name="connsiteX115" fmla="*/ 6234636 w 12188817"/>
              <a:gd name="connsiteY115" fmla="*/ 6446927 h 6857997"/>
              <a:gd name="connsiteX116" fmla="*/ 5967205 w 12188817"/>
              <a:gd name="connsiteY116" fmla="*/ 6446927 h 6857997"/>
              <a:gd name="connsiteX117" fmla="*/ 5967205 w 12188817"/>
              <a:gd name="connsiteY117" fmla="*/ 6521015 h 6857997"/>
              <a:gd name="connsiteX118" fmla="*/ 5977462 w 12188817"/>
              <a:gd name="connsiteY118" fmla="*/ 6521015 h 6857997"/>
              <a:gd name="connsiteX119" fmla="*/ 5977462 w 12188817"/>
              <a:gd name="connsiteY119" fmla="*/ 6446927 h 6857997"/>
              <a:gd name="connsiteX120" fmla="*/ 2380892 w 12188817"/>
              <a:gd name="connsiteY120" fmla="*/ 6446927 h 6857997"/>
              <a:gd name="connsiteX121" fmla="*/ 2380892 w 12188817"/>
              <a:gd name="connsiteY121" fmla="*/ 6521015 h 6857997"/>
              <a:gd name="connsiteX122" fmla="*/ 2391148 w 12188817"/>
              <a:gd name="connsiteY122" fmla="*/ 6521015 h 6857997"/>
              <a:gd name="connsiteX123" fmla="*/ 2391148 w 12188817"/>
              <a:gd name="connsiteY123" fmla="*/ 6446927 h 6857997"/>
              <a:gd name="connsiteX124" fmla="*/ 2287703 w 12188817"/>
              <a:gd name="connsiteY124" fmla="*/ 6446927 h 6857997"/>
              <a:gd name="connsiteX125" fmla="*/ 2306367 w 12188817"/>
              <a:gd name="connsiteY125" fmla="*/ 6521015 h 6857997"/>
              <a:gd name="connsiteX126" fmla="*/ 2317108 w 12188817"/>
              <a:gd name="connsiteY126" fmla="*/ 6521015 h 6857997"/>
              <a:gd name="connsiteX127" fmla="*/ 2329386 w 12188817"/>
              <a:gd name="connsiteY127" fmla="*/ 6464019 h 6857997"/>
              <a:gd name="connsiteX128" fmla="*/ 2331689 w 12188817"/>
              <a:gd name="connsiteY128" fmla="*/ 6476646 h 6857997"/>
              <a:gd name="connsiteX129" fmla="*/ 2341385 w 12188817"/>
              <a:gd name="connsiteY129" fmla="*/ 6521015 h 6857997"/>
              <a:gd name="connsiteX130" fmla="*/ 2352104 w 12188817"/>
              <a:gd name="connsiteY130" fmla="*/ 6521015 h 6857997"/>
              <a:gd name="connsiteX131" fmla="*/ 2371070 w 12188817"/>
              <a:gd name="connsiteY131" fmla="*/ 6446927 h 6857997"/>
              <a:gd name="connsiteX132" fmla="*/ 2361025 w 12188817"/>
              <a:gd name="connsiteY132" fmla="*/ 6446927 h 6857997"/>
              <a:gd name="connsiteX133" fmla="*/ 2350655 w 12188817"/>
              <a:gd name="connsiteY133" fmla="*/ 6489761 h 6857997"/>
              <a:gd name="connsiteX134" fmla="*/ 2347176 w 12188817"/>
              <a:gd name="connsiteY134" fmla="*/ 6504063 h 6857997"/>
              <a:gd name="connsiteX135" fmla="*/ 2344116 w 12188817"/>
              <a:gd name="connsiteY135" fmla="*/ 6489901 h 6857997"/>
              <a:gd name="connsiteX136" fmla="*/ 2335078 w 12188817"/>
              <a:gd name="connsiteY136" fmla="*/ 6446927 h 6857997"/>
              <a:gd name="connsiteX137" fmla="*/ 2324448 w 12188817"/>
              <a:gd name="connsiteY137" fmla="*/ 6446927 h 6857997"/>
              <a:gd name="connsiteX138" fmla="*/ 2314810 w 12188817"/>
              <a:gd name="connsiteY138" fmla="*/ 6490319 h 6857997"/>
              <a:gd name="connsiteX139" fmla="*/ 2311597 w 12188817"/>
              <a:gd name="connsiteY139" fmla="*/ 6505598 h 6857997"/>
              <a:gd name="connsiteX140" fmla="*/ 2308021 w 12188817"/>
              <a:gd name="connsiteY140" fmla="*/ 6489692 h 6857997"/>
              <a:gd name="connsiteX141" fmla="*/ 2298346 w 12188817"/>
              <a:gd name="connsiteY141" fmla="*/ 6446927 h 6857997"/>
              <a:gd name="connsiteX142" fmla="*/ 1818918 w 12188817"/>
              <a:gd name="connsiteY142" fmla="*/ 6446927 h 6857997"/>
              <a:gd name="connsiteX143" fmla="*/ 1818918 w 12188817"/>
              <a:gd name="connsiteY143" fmla="*/ 6521015 h 6857997"/>
              <a:gd name="connsiteX144" fmla="*/ 1829173 w 12188817"/>
              <a:gd name="connsiteY144" fmla="*/ 6521015 h 6857997"/>
              <a:gd name="connsiteX145" fmla="*/ 1829173 w 12188817"/>
              <a:gd name="connsiteY145" fmla="*/ 6446927 h 6857997"/>
              <a:gd name="connsiteX146" fmla="*/ 1752242 w 12188817"/>
              <a:gd name="connsiteY146" fmla="*/ 6446927 h 6857997"/>
              <a:gd name="connsiteX147" fmla="*/ 1752242 w 12188817"/>
              <a:gd name="connsiteY147" fmla="*/ 6521015 h 6857997"/>
              <a:gd name="connsiteX148" fmla="*/ 1762498 w 12188817"/>
              <a:gd name="connsiteY148" fmla="*/ 6521015 h 6857997"/>
              <a:gd name="connsiteX149" fmla="*/ 1762498 w 12188817"/>
              <a:gd name="connsiteY149" fmla="*/ 6446927 h 6857997"/>
              <a:gd name="connsiteX150" fmla="*/ 1266468 w 12188817"/>
              <a:gd name="connsiteY150" fmla="*/ 6446927 h 6857997"/>
              <a:gd name="connsiteX151" fmla="*/ 1266468 w 12188817"/>
              <a:gd name="connsiteY151" fmla="*/ 6521015 h 6857997"/>
              <a:gd name="connsiteX152" fmla="*/ 1276723 w 12188817"/>
              <a:gd name="connsiteY152" fmla="*/ 6521015 h 6857997"/>
              <a:gd name="connsiteX153" fmla="*/ 1276723 w 12188817"/>
              <a:gd name="connsiteY153" fmla="*/ 6446927 h 6857997"/>
              <a:gd name="connsiteX154" fmla="*/ 6278768 w 12188817"/>
              <a:gd name="connsiteY154" fmla="*/ 6445252 h 6857997"/>
              <a:gd name="connsiteX155" fmla="*/ 6259897 w 12188817"/>
              <a:gd name="connsiteY155" fmla="*/ 6450694 h 6857997"/>
              <a:gd name="connsiteX156" fmla="*/ 6251142 w 12188817"/>
              <a:gd name="connsiteY156" fmla="*/ 6468065 h 6857997"/>
              <a:gd name="connsiteX157" fmla="*/ 6261257 w 12188817"/>
              <a:gd name="connsiteY157" fmla="*/ 6469739 h 6857997"/>
              <a:gd name="connsiteX158" fmla="*/ 6266489 w 12188817"/>
              <a:gd name="connsiteY158" fmla="*/ 6458557 h 6857997"/>
              <a:gd name="connsiteX159" fmla="*/ 6277233 w 12188817"/>
              <a:gd name="connsiteY159" fmla="*/ 6455577 h 6857997"/>
              <a:gd name="connsiteX160" fmla="*/ 6289023 w 12188817"/>
              <a:gd name="connsiteY160" fmla="*/ 6460042 h 6857997"/>
              <a:gd name="connsiteX161" fmla="*/ 6291744 w 12188817"/>
              <a:gd name="connsiteY161" fmla="*/ 6470716 h 6857997"/>
              <a:gd name="connsiteX162" fmla="*/ 6291674 w 12188817"/>
              <a:gd name="connsiteY162" fmla="*/ 6473925 h 6857997"/>
              <a:gd name="connsiteX163" fmla="*/ 6273256 w 12188817"/>
              <a:gd name="connsiteY163" fmla="*/ 6478320 h 6857997"/>
              <a:gd name="connsiteX164" fmla="*/ 6259304 w 12188817"/>
              <a:gd name="connsiteY164" fmla="*/ 6482436 h 6857997"/>
              <a:gd name="connsiteX165" fmla="*/ 6252048 w 12188817"/>
              <a:gd name="connsiteY165" fmla="*/ 6490180 h 6857997"/>
              <a:gd name="connsiteX166" fmla="*/ 6249397 w 12188817"/>
              <a:gd name="connsiteY166" fmla="*/ 6501551 h 6857997"/>
              <a:gd name="connsiteX167" fmla="*/ 6255048 w 12188817"/>
              <a:gd name="connsiteY167" fmla="*/ 6516969 h 6857997"/>
              <a:gd name="connsiteX168" fmla="*/ 6270187 w 12188817"/>
              <a:gd name="connsiteY168" fmla="*/ 6522690 h 6857997"/>
              <a:gd name="connsiteX169" fmla="*/ 6281768 w 12188817"/>
              <a:gd name="connsiteY169" fmla="*/ 6519968 h 6857997"/>
              <a:gd name="connsiteX170" fmla="*/ 6292511 w 12188817"/>
              <a:gd name="connsiteY170" fmla="*/ 6511875 h 6857997"/>
              <a:gd name="connsiteX171" fmla="*/ 6294604 w 12188817"/>
              <a:gd name="connsiteY171" fmla="*/ 6521015 h 6857997"/>
              <a:gd name="connsiteX172" fmla="*/ 6305348 w 12188817"/>
              <a:gd name="connsiteY172" fmla="*/ 6521015 h 6857997"/>
              <a:gd name="connsiteX173" fmla="*/ 6302731 w 12188817"/>
              <a:gd name="connsiteY173" fmla="*/ 6512120 h 6857997"/>
              <a:gd name="connsiteX174" fmla="*/ 6302069 w 12188817"/>
              <a:gd name="connsiteY174" fmla="*/ 6489971 h 6857997"/>
              <a:gd name="connsiteX175" fmla="*/ 6302069 w 12188817"/>
              <a:gd name="connsiteY175" fmla="*/ 6473227 h 6857997"/>
              <a:gd name="connsiteX176" fmla="*/ 6300639 w 12188817"/>
              <a:gd name="connsiteY176" fmla="*/ 6457740 h 6857997"/>
              <a:gd name="connsiteX177" fmla="*/ 6293767 w 12188817"/>
              <a:gd name="connsiteY177" fmla="*/ 6448845 h 6857997"/>
              <a:gd name="connsiteX178" fmla="*/ 6278768 w 12188817"/>
              <a:gd name="connsiteY178" fmla="*/ 6445252 h 6857997"/>
              <a:gd name="connsiteX179" fmla="*/ 6157700 w 12188817"/>
              <a:gd name="connsiteY179" fmla="*/ 6445252 h 6857997"/>
              <a:gd name="connsiteX180" fmla="*/ 6146592 w 12188817"/>
              <a:gd name="connsiteY180" fmla="*/ 6448270 h 6857997"/>
              <a:gd name="connsiteX181" fmla="*/ 6138409 w 12188817"/>
              <a:gd name="connsiteY181" fmla="*/ 6457392 h 6857997"/>
              <a:gd name="connsiteX182" fmla="*/ 6138409 w 12188817"/>
              <a:gd name="connsiteY182" fmla="*/ 6446927 h 6857997"/>
              <a:gd name="connsiteX183" fmla="*/ 6129130 w 12188817"/>
              <a:gd name="connsiteY183" fmla="*/ 6446927 h 6857997"/>
              <a:gd name="connsiteX184" fmla="*/ 6129130 w 12188817"/>
              <a:gd name="connsiteY184" fmla="*/ 6521015 h 6857997"/>
              <a:gd name="connsiteX185" fmla="*/ 6139386 w 12188817"/>
              <a:gd name="connsiteY185" fmla="*/ 6521015 h 6857997"/>
              <a:gd name="connsiteX186" fmla="*/ 6139386 w 12188817"/>
              <a:gd name="connsiteY186" fmla="*/ 6480509 h 6857997"/>
              <a:gd name="connsiteX187" fmla="*/ 6143781 w 12188817"/>
              <a:gd name="connsiteY187" fmla="*/ 6461583 h 6857997"/>
              <a:gd name="connsiteX188" fmla="*/ 6155571 w 12188817"/>
              <a:gd name="connsiteY188" fmla="*/ 6456066 h 6857997"/>
              <a:gd name="connsiteX189" fmla="*/ 6162442 w 12188817"/>
              <a:gd name="connsiteY189" fmla="*/ 6458126 h 6857997"/>
              <a:gd name="connsiteX190" fmla="*/ 6166803 w 12188817"/>
              <a:gd name="connsiteY190" fmla="*/ 6463957 h 6857997"/>
              <a:gd name="connsiteX191" fmla="*/ 6168198 w 12188817"/>
              <a:gd name="connsiteY191" fmla="*/ 6475900 h 6857997"/>
              <a:gd name="connsiteX192" fmla="*/ 6168198 w 12188817"/>
              <a:gd name="connsiteY192" fmla="*/ 6521015 h 6857997"/>
              <a:gd name="connsiteX193" fmla="*/ 6178453 w 12188817"/>
              <a:gd name="connsiteY193" fmla="*/ 6521015 h 6857997"/>
              <a:gd name="connsiteX194" fmla="*/ 6178453 w 12188817"/>
              <a:gd name="connsiteY194" fmla="*/ 6475460 h 6857997"/>
              <a:gd name="connsiteX195" fmla="*/ 6177199 w 12188817"/>
              <a:gd name="connsiteY195" fmla="*/ 6460252 h 6857997"/>
              <a:gd name="connsiteX196" fmla="*/ 6173404 w 12188817"/>
              <a:gd name="connsiteY196" fmla="*/ 6452194 h 6857997"/>
              <a:gd name="connsiteX197" fmla="*/ 6166718 w 12188817"/>
              <a:gd name="connsiteY197" fmla="*/ 6447171 h 6857997"/>
              <a:gd name="connsiteX198" fmla="*/ 6157700 w 12188817"/>
              <a:gd name="connsiteY198" fmla="*/ 6445252 h 6857997"/>
              <a:gd name="connsiteX199" fmla="*/ 6087364 w 12188817"/>
              <a:gd name="connsiteY199" fmla="*/ 6445252 h 6857997"/>
              <a:gd name="connsiteX200" fmla="*/ 6066956 w 12188817"/>
              <a:gd name="connsiteY200" fmla="*/ 6455333 h 6857997"/>
              <a:gd name="connsiteX201" fmla="*/ 6058897 w 12188817"/>
              <a:gd name="connsiteY201" fmla="*/ 6484599 h 6857997"/>
              <a:gd name="connsiteX202" fmla="*/ 6066885 w 12188817"/>
              <a:gd name="connsiteY202" fmla="*/ 6512888 h 6857997"/>
              <a:gd name="connsiteX203" fmla="*/ 6087783 w 12188817"/>
              <a:gd name="connsiteY203" fmla="*/ 6522690 h 6857997"/>
              <a:gd name="connsiteX204" fmla="*/ 6104976 w 12188817"/>
              <a:gd name="connsiteY204" fmla="*/ 6516655 h 6857997"/>
              <a:gd name="connsiteX205" fmla="*/ 6114569 w 12188817"/>
              <a:gd name="connsiteY205" fmla="*/ 6498761 h 6857997"/>
              <a:gd name="connsiteX206" fmla="*/ 6103965 w 12188817"/>
              <a:gd name="connsiteY206" fmla="*/ 6497156 h 6857997"/>
              <a:gd name="connsiteX207" fmla="*/ 6087849 w 12188817"/>
              <a:gd name="connsiteY207" fmla="*/ 6512365 h 6857997"/>
              <a:gd name="connsiteX208" fmla="*/ 6075292 w 12188817"/>
              <a:gd name="connsiteY208" fmla="*/ 6506016 h 6857997"/>
              <a:gd name="connsiteX209" fmla="*/ 6069506 w 12188817"/>
              <a:gd name="connsiteY209" fmla="*/ 6487180 h 6857997"/>
              <a:gd name="connsiteX210" fmla="*/ 6114848 w 12188817"/>
              <a:gd name="connsiteY210" fmla="*/ 6487180 h 6857997"/>
              <a:gd name="connsiteX211" fmla="*/ 6114917 w 12188817"/>
              <a:gd name="connsiteY211" fmla="*/ 6483831 h 6857997"/>
              <a:gd name="connsiteX212" fmla="*/ 6107034 w 12188817"/>
              <a:gd name="connsiteY212" fmla="*/ 6455159 h 6857997"/>
              <a:gd name="connsiteX213" fmla="*/ 6087364 w 12188817"/>
              <a:gd name="connsiteY213" fmla="*/ 6445252 h 6857997"/>
              <a:gd name="connsiteX214" fmla="*/ 5900526 w 12188817"/>
              <a:gd name="connsiteY214" fmla="*/ 6445252 h 6857997"/>
              <a:gd name="connsiteX215" fmla="*/ 5889417 w 12188817"/>
              <a:gd name="connsiteY215" fmla="*/ 6448270 h 6857997"/>
              <a:gd name="connsiteX216" fmla="*/ 5881235 w 12188817"/>
              <a:gd name="connsiteY216" fmla="*/ 6457392 h 6857997"/>
              <a:gd name="connsiteX217" fmla="*/ 5881235 w 12188817"/>
              <a:gd name="connsiteY217" fmla="*/ 6446927 h 6857997"/>
              <a:gd name="connsiteX218" fmla="*/ 5871957 w 12188817"/>
              <a:gd name="connsiteY218" fmla="*/ 6446927 h 6857997"/>
              <a:gd name="connsiteX219" fmla="*/ 5871957 w 12188817"/>
              <a:gd name="connsiteY219" fmla="*/ 6521015 h 6857997"/>
              <a:gd name="connsiteX220" fmla="*/ 5882211 w 12188817"/>
              <a:gd name="connsiteY220" fmla="*/ 6521015 h 6857997"/>
              <a:gd name="connsiteX221" fmla="*/ 5882211 w 12188817"/>
              <a:gd name="connsiteY221" fmla="*/ 6480509 h 6857997"/>
              <a:gd name="connsiteX222" fmla="*/ 5886607 w 12188817"/>
              <a:gd name="connsiteY222" fmla="*/ 6461583 h 6857997"/>
              <a:gd name="connsiteX223" fmla="*/ 5898396 w 12188817"/>
              <a:gd name="connsiteY223" fmla="*/ 6456066 h 6857997"/>
              <a:gd name="connsiteX224" fmla="*/ 5905267 w 12188817"/>
              <a:gd name="connsiteY224" fmla="*/ 6458126 h 6857997"/>
              <a:gd name="connsiteX225" fmla="*/ 5909630 w 12188817"/>
              <a:gd name="connsiteY225" fmla="*/ 6463957 h 6857997"/>
              <a:gd name="connsiteX226" fmla="*/ 5911024 w 12188817"/>
              <a:gd name="connsiteY226" fmla="*/ 6475900 h 6857997"/>
              <a:gd name="connsiteX227" fmla="*/ 5911024 w 12188817"/>
              <a:gd name="connsiteY227" fmla="*/ 6521015 h 6857997"/>
              <a:gd name="connsiteX228" fmla="*/ 5921278 w 12188817"/>
              <a:gd name="connsiteY228" fmla="*/ 6521015 h 6857997"/>
              <a:gd name="connsiteX229" fmla="*/ 5921278 w 12188817"/>
              <a:gd name="connsiteY229" fmla="*/ 6475460 h 6857997"/>
              <a:gd name="connsiteX230" fmla="*/ 5920026 w 12188817"/>
              <a:gd name="connsiteY230" fmla="*/ 6460252 h 6857997"/>
              <a:gd name="connsiteX231" fmla="*/ 5916230 w 12188817"/>
              <a:gd name="connsiteY231" fmla="*/ 6452194 h 6857997"/>
              <a:gd name="connsiteX232" fmla="*/ 5909545 w 12188817"/>
              <a:gd name="connsiteY232" fmla="*/ 6447171 h 6857997"/>
              <a:gd name="connsiteX233" fmla="*/ 5900526 w 12188817"/>
              <a:gd name="connsiteY233" fmla="*/ 6445252 h 6857997"/>
              <a:gd name="connsiteX234" fmla="*/ 5829838 w 12188817"/>
              <a:gd name="connsiteY234" fmla="*/ 6445252 h 6857997"/>
              <a:gd name="connsiteX235" fmla="*/ 5809433 w 12188817"/>
              <a:gd name="connsiteY235" fmla="*/ 6455019 h 6857997"/>
              <a:gd name="connsiteX236" fmla="*/ 5801376 w 12188817"/>
              <a:gd name="connsiteY236" fmla="*/ 6483971 h 6857997"/>
              <a:gd name="connsiteX237" fmla="*/ 5809502 w 12188817"/>
              <a:gd name="connsiteY237" fmla="*/ 6512888 h 6857997"/>
              <a:gd name="connsiteX238" fmla="*/ 5829838 w 12188817"/>
              <a:gd name="connsiteY238" fmla="*/ 6522690 h 6857997"/>
              <a:gd name="connsiteX239" fmla="*/ 5850280 w 12188817"/>
              <a:gd name="connsiteY239" fmla="*/ 6512923 h 6857997"/>
              <a:gd name="connsiteX240" fmla="*/ 5858301 w 12188817"/>
              <a:gd name="connsiteY240" fmla="*/ 6483204 h 6857997"/>
              <a:gd name="connsiteX241" fmla="*/ 5850139 w 12188817"/>
              <a:gd name="connsiteY241" fmla="*/ 6455019 h 6857997"/>
              <a:gd name="connsiteX242" fmla="*/ 5829838 w 12188817"/>
              <a:gd name="connsiteY242" fmla="*/ 6445252 h 6857997"/>
              <a:gd name="connsiteX243" fmla="*/ 2714262 w 12188817"/>
              <a:gd name="connsiteY243" fmla="*/ 6445252 h 6857997"/>
              <a:gd name="connsiteX244" fmla="*/ 2703154 w 12188817"/>
              <a:gd name="connsiteY244" fmla="*/ 6448270 h 6857997"/>
              <a:gd name="connsiteX245" fmla="*/ 2694971 w 12188817"/>
              <a:gd name="connsiteY245" fmla="*/ 6457392 h 6857997"/>
              <a:gd name="connsiteX246" fmla="*/ 2694971 w 12188817"/>
              <a:gd name="connsiteY246" fmla="*/ 6446927 h 6857997"/>
              <a:gd name="connsiteX247" fmla="*/ 2685692 w 12188817"/>
              <a:gd name="connsiteY247" fmla="*/ 6446927 h 6857997"/>
              <a:gd name="connsiteX248" fmla="*/ 2685692 w 12188817"/>
              <a:gd name="connsiteY248" fmla="*/ 6521015 h 6857997"/>
              <a:gd name="connsiteX249" fmla="*/ 2695948 w 12188817"/>
              <a:gd name="connsiteY249" fmla="*/ 6521015 h 6857997"/>
              <a:gd name="connsiteX250" fmla="*/ 2695948 w 12188817"/>
              <a:gd name="connsiteY250" fmla="*/ 6480509 h 6857997"/>
              <a:gd name="connsiteX251" fmla="*/ 2700343 w 12188817"/>
              <a:gd name="connsiteY251" fmla="*/ 6461583 h 6857997"/>
              <a:gd name="connsiteX252" fmla="*/ 2712133 w 12188817"/>
              <a:gd name="connsiteY252" fmla="*/ 6456066 h 6857997"/>
              <a:gd name="connsiteX253" fmla="*/ 2719004 w 12188817"/>
              <a:gd name="connsiteY253" fmla="*/ 6458126 h 6857997"/>
              <a:gd name="connsiteX254" fmla="*/ 2723365 w 12188817"/>
              <a:gd name="connsiteY254" fmla="*/ 6463957 h 6857997"/>
              <a:gd name="connsiteX255" fmla="*/ 2724760 w 12188817"/>
              <a:gd name="connsiteY255" fmla="*/ 6475900 h 6857997"/>
              <a:gd name="connsiteX256" fmla="*/ 2724760 w 12188817"/>
              <a:gd name="connsiteY256" fmla="*/ 6521015 h 6857997"/>
              <a:gd name="connsiteX257" fmla="*/ 2735015 w 12188817"/>
              <a:gd name="connsiteY257" fmla="*/ 6521015 h 6857997"/>
              <a:gd name="connsiteX258" fmla="*/ 2735015 w 12188817"/>
              <a:gd name="connsiteY258" fmla="*/ 6475460 h 6857997"/>
              <a:gd name="connsiteX259" fmla="*/ 2733761 w 12188817"/>
              <a:gd name="connsiteY259" fmla="*/ 6460252 h 6857997"/>
              <a:gd name="connsiteX260" fmla="*/ 2729966 w 12188817"/>
              <a:gd name="connsiteY260" fmla="*/ 6452194 h 6857997"/>
              <a:gd name="connsiteX261" fmla="*/ 2723280 w 12188817"/>
              <a:gd name="connsiteY261" fmla="*/ 6447171 h 6857997"/>
              <a:gd name="connsiteX262" fmla="*/ 2714262 w 12188817"/>
              <a:gd name="connsiteY262" fmla="*/ 6445252 h 6857997"/>
              <a:gd name="connsiteX263" fmla="*/ 2644830 w 12188817"/>
              <a:gd name="connsiteY263" fmla="*/ 6445252 h 6857997"/>
              <a:gd name="connsiteX264" fmla="*/ 2625959 w 12188817"/>
              <a:gd name="connsiteY264" fmla="*/ 6450694 h 6857997"/>
              <a:gd name="connsiteX265" fmla="*/ 2617204 w 12188817"/>
              <a:gd name="connsiteY265" fmla="*/ 6468065 h 6857997"/>
              <a:gd name="connsiteX266" fmla="*/ 2627319 w 12188817"/>
              <a:gd name="connsiteY266" fmla="*/ 6469739 h 6857997"/>
              <a:gd name="connsiteX267" fmla="*/ 2632552 w 12188817"/>
              <a:gd name="connsiteY267" fmla="*/ 6458557 h 6857997"/>
              <a:gd name="connsiteX268" fmla="*/ 2643295 w 12188817"/>
              <a:gd name="connsiteY268" fmla="*/ 6455577 h 6857997"/>
              <a:gd name="connsiteX269" fmla="*/ 2655085 w 12188817"/>
              <a:gd name="connsiteY269" fmla="*/ 6460042 h 6857997"/>
              <a:gd name="connsiteX270" fmla="*/ 2657806 w 12188817"/>
              <a:gd name="connsiteY270" fmla="*/ 6470716 h 6857997"/>
              <a:gd name="connsiteX271" fmla="*/ 2657736 w 12188817"/>
              <a:gd name="connsiteY271" fmla="*/ 6473925 h 6857997"/>
              <a:gd name="connsiteX272" fmla="*/ 2639319 w 12188817"/>
              <a:gd name="connsiteY272" fmla="*/ 6478320 h 6857997"/>
              <a:gd name="connsiteX273" fmla="*/ 2625366 w 12188817"/>
              <a:gd name="connsiteY273" fmla="*/ 6482436 h 6857997"/>
              <a:gd name="connsiteX274" fmla="*/ 2618110 w 12188817"/>
              <a:gd name="connsiteY274" fmla="*/ 6490180 h 6857997"/>
              <a:gd name="connsiteX275" fmla="*/ 2615460 w 12188817"/>
              <a:gd name="connsiteY275" fmla="*/ 6501551 h 6857997"/>
              <a:gd name="connsiteX276" fmla="*/ 2621110 w 12188817"/>
              <a:gd name="connsiteY276" fmla="*/ 6516969 h 6857997"/>
              <a:gd name="connsiteX277" fmla="*/ 2636249 w 12188817"/>
              <a:gd name="connsiteY277" fmla="*/ 6522690 h 6857997"/>
              <a:gd name="connsiteX278" fmla="*/ 2647830 w 12188817"/>
              <a:gd name="connsiteY278" fmla="*/ 6519968 h 6857997"/>
              <a:gd name="connsiteX279" fmla="*/ 2658573 w 12188817"/>
              <a:gd name="connsiteY279" fmla="*/ 6511875 h 6857997"/>
              <a:gd name="connsiteX280" fmla="*/ 2660666 w 12188817"/>
              <a:gd name="connsiteY280" fmla="*/ 6521015 h 6857997"/>
              <a:gd name="connsiteX281" fmla="*/ 2671410 w 12188817"/>
              <a:gd name="connsiteY281" fmla="*/ 6521015 h 6857997"/>
              <a:gd name="connsiteX282" fmla="*/ 2668793 w 12188817"/>
              <a:gd name="connsiteY282" fmla="*/ 6512120 h 6857997"/>
              <a:gd name="connsiteX283" fmla="*/ 2668131 w 12188817"/>
              <a:gd name="connsiteY283" fmla="*/ 6489971 h 6857997"/>
              <a:gd name="connsiteX284" fmla="*/ 2668131 w 12188817"/>
              <a:gd name="connsiteY284" fmla="*/ 6473227 h 6857997"/>
              <a:gd name="connsiteX285" fmla="*/ 2666701 w 12188817"/>
              <a:gd name="connsiteY285" fmla="*/ 6457740 h 6857997"/>
              <a:gd name="connsiteX286" fmla="*/ 2659829 w 12188817"/>
              <a:gd name="connsiteY286" fmla="*/ 6448845 h 6857997"/>
              <a:gd name="connsiteX287" fmla="*/ 2644830 w 12188817"/>
              <a:gd name="connsiteY287" fmla="*/ 6445252 h 6857997"/>
              <a:gd name="connsiteX288" fmla="*/ 2574806 w 12188817"/>
              <a:gd name="connsiteY288" fmla="*/ 6445252 h 6857997"/>
              <a:gd name="connsiteX289" fmla="*/ 2568144 w 12188817"/>
              <a:gd name="connsiteY289" fmla="*/ 6447799 h 6857997"/>
              <a:gd name="connsiteX290" fmla="*/ 2561621 w 12188817"/>
              <a:gd name="connsiteY290" fmla="*/ 6458159 h 6857997"/>
              <a:gd name="connsiteX291" fmla="*/ 2561621 w 12188817"/>
              <a:gd name="connsiteY291" fmla="*/ 6446927 h 6857997"/>
              <a:gd name="connsiteX292" fmla="*/ 2552342 w 12188817"/>
              <a:gd name="connsiteY292" fmla="*/ 6446927 h 6857997"/>
              <a:gd name="connsiteX293" fmla="*/ 2552342 w 12188817"/>
              <a:gd name="connsiteY293" fmla="*/ 6521015 h 6857997"/>
              <a:gd name="connsiteX294" fmla="*/ 2562598 w 12188817"/>
              <a:gd name="connsiteY294" fmla="*/ 6521015 h 6857997"/>
              <a:gd name="connsiteX295" fmla="*/ 2562598 w 12188817"/>
              <a:gd name="connsiteY295" fmla="*/ 6482227 h 6857997"/>
              <a:gd name="connsiteX296" fmla="*/ 2564551 w 12188817"/>
              <a:gd name="connsiteY296" fmla="*/ 6466949 h 6857997"/>
              <a:gd name="connsiteX297" fmla="*/ 2568388 w 12188817"/>
              <a:gd name="connsiteY297" fmla="*/ 6460531 h 6857997"/>
              <a:gd name="connsiteX298" fmla="*/ 2574388 w 12188817"/>
              <a:gd name="connsiteY298" fmla="*/ 6458228 h 6857997"/>
              <a:gd name="connsiteX299" fmla="*/ 2581852 w 12188817"/>
              <a:gd name="connsiteY299" fmla="*/ 6460949 h 6857997"/>
              <a:gd name="connsiteX300" fmla="*/ 2585340 w 12188817"/>
              <a:gd name="connsiteY300" fmla="*/ 6449299 h 6857997"/>
              <a:gd name="connsiteX301" fmla="*/ 2574806 w 12188817"/>
              <a:gd name="connsiteY301" fmla="*/ 6445252 h 6857997"/>
              <a:gd name="connsiteX302" fmla="*/ 2510573 w 12188817"/>
              <a:gd name="connsiteY302" fmla="*/ 6445252 h 6857997"/>
              <a:gd name="connsiteX303" fmla="*/ 2490167 w 12188817"/>
              <a:gd name="connsiteY303" fmla="*/ 6455333 h 6857997"/>
              <a:gd name="connsiteX304" fmla="*/ 2482110 w 12188817"/>
              <a:gd name="connsiteY304" fmla="*/ 6484599 h 6857997"/>
              <a:gd name="connsiteX305" fmla="*/ 2490097 w 12188817"/>
              <a:gd name="connsiteY305" fmla="*/ 6512888 h 6857997"/>
              <a:gd name="connsiteX306" fmla="*/ 2510992 w 12188817"/>
              <a:gd name="connsiteY306" fmla="*/ 6522690 h 6857997"/>
              <a:gd name="connsiteX307" fmla="*/ 2528188 w 12188817"/>
              <a:gd name="connsiteY307" fmla="*/ 6516655 h 6857997"/>
              <a:gd name="connsiteX308" fmla="*/ 2537781 w 12188817"/>
              <a:gd name="connsiteY308" fmla="*/ 6498761 h 6857997"/>
              <a:gd name="connsiteX309" fmla="*/ 2527176 w 12188817"/>
              <a:gd name="connsiteY309" fmla="*/ 6497156 h 6857997"/>
              <a:gd name="connsiteX310" fmla="*/ 2511061 w 12188817"/>
              <a:gd name="connsiteY310" fmla="*/ 6512365 h 6857997"/>
              <a:gd name="connsiteX311" fmla="*/ 2498504 w 12188817"/>
              <a:gd name="connsiteY311" fmla="*/ 6506016 h 6857997"/>
              <a:gd name="connsiteX312" fmla="*/ 2492714 w 12188817"/>
              <a:gd name="connsiteY312" fmla="*/ 6487180 h 6857997"/>
              <a:gd name="connsiteX313" fmla="*/ 2538060 w 12188817"/>
              <a:gd name="connsiteY313" fmla="*/ 6487180 h 6857997"/>
              <a:gd name="connsiteX314" fmla="*/ 2538129 w 12188817"/>
              <a:gd name="connsiteY314" fmla="*/ 6483831 h 6857997"/>
              <a:gd name="connsiteX315" fmla="*/ 2530246 w 12188817"/>
              <a:gd name="connsiteY315" fmla="*/ 6455159 h 6857997"/>
              <a:gd name="connsiteX316" fmla="*/ 2510573 w 12188817"/>
              <a:gd name="connsiteY316" fmla="*/ 6445252 h 6857997"/>
              <a:gd name="connsiteX317" fmla="*/ 1942737 w 12188817"/>
              <a:gd name="connsiteY317" fmla="*/ 6445252 h 6857997"/>
              <a:gd name="connsiteX318" fmla="*/ 1931629 w 12188817"/>
              <a:gd name="connsiteY318" fmla="*/ 6448270 h 6857997"/>
              <a:gd name="connsiteX319" fmla="*/ 1923446 w 12188817"/>
              <a:gd name="connsiteY319" fmla="*/ 6457392 h 6857997"/>
              <a:gd name="connsiteX320" fmla="*/ 1923446 w 12188817"/>
              <a:gd name="connsiteY320" fmla="*/ 6446927 h 6857997"/>
              <a:gd name="connsiteX321" fmla="*/ 1914167 w 12188817"/>
              <a:gd name="connsiteY321" fmla="*/ 6446927 h 6857997"/>
              <a:gd name="connsiteX322" fmla="*/ 1914167 w 12188817"/>
              <a:gd name="connsiteY322" fmla="*/ 6521015 h 6857997"/>
              <a:gd name="connsiteX323" fmla="*/ 1924423 w 12188817"/>
              <a:gd name="connsiteY323" fmla="*/ 6521015 h 6857997"/>
              <a:gd name="connsiteX324" fmla="*/ 1924423 w 12188817"/>
              <a:gd name="connsiteY324" fmla="*/ 6480509 h 6857997"/>
              <a:gd name="connsiteX325" fmla="*/ 1928818 w 12188817"/>
              <a:gd name="connsiteY325" fmla="*/ 6461583 h 6857997"/>
              <a:gd name="connsiteX326" fmla="*/ 1940608 w 12188817"/>
              <a:gd name="connsiteY326" fmla="*/ 6456066 h 6857997"/>
              <a:gd name="connsiteX327" fmla="*/ 1947479 w 12188817"/>
              <a:gd name="connsiteY327" fmla="*/ 6458126 h 6857997"/>
              <a:gd name="connsiteX328" fmla="*/ 1951840 w 12188817"/>
              <a:gd name="connsiteY328" fmla="*/ 6463957 h 6857997"/>
              <a:gd name="connsiteX329" fmla="*/ 1953235 w 12188817"/>
              <a:gd name="connsiteY329" fmla="*/ 6475900 h 6857997"/>
              <a:gd name="connsiteX330" fmla="*/ 1953235 w 12188817"/>
              <a:gd name="connsiteY330" fmla="*/ 6521015 h 6857997"/>
              <a:gd name="connsiteX331" fmla="*/ 1963490 w 12188817"/>
              <a:gd name="connsiteY331" fmla="*/ 6521015 h 6857997"/>
              <a:gd name="connsiteX332" fmla="*/ 1963490 w 12188817"/>
              <a:gd name="connsiteY332" fmla="*/ 6475460 h 6857997"/>
              <a:gd name="connsiteX333" fmla="*/ 1962236 w 12188817"/>
              <a:gd name="connsiteY333" fmla="*/ 6460252 h 6857997"/>
              <a:gd name="connsiteX334" fmla="*/ 1958441 w 12188817"/>
              <a:gd name="connsiteY334" fmla="*/ 6452194 h 6857997"/>
              <a:gd name="connsiteX335" fmla="*/ 1951755 w 12188817"/>
              <a:gd name="connsiteY335" fmla="*/ 6447171 h 6857997"/>
              <a:gd name="connsiteX336" fmla="*/ 1942737 w 12188817"/>
              <a:gd name="connsiteY336" fmla="*/ 6445252 h 6857997"/>
              <a:gd name="connsiteX337" fmla="*/ 1872049 w 12188817"/>
              <a:gd name="connsiteY337" fmla="*/ 6445252 h 6857997"/>
              <a:gd name="connsiteX338" fmla="*/ 1851643 w 12188817"/>
              <a:gd name="connsiteY338" fmla="*/ 6455019 h 6857997"/>
              <a:gd name="connsiteX339" fmla="*/ 1843586 w 12188817"/>
              <a:gd name="connsiteY339" fmla="*/ 6483971 h 6857997"/>
              <a:gd name="connsiteX340" fmla="*/ 1851713 w 12188817"/>
              <a:gd name="connsiteY340" fmla="*/ 6512888 h 6857997"/>
              <a:gd name="connsiteX341" fmla="*/ 1872049 w 12188817"/>
              <a:gd name="connsiteY341" fmla="*/ 6522690 h 6857997"/>
              <a:gd name="connsiteX342" fmla="*/ 1892490 w 12188817"/>
              <a:gd name="connsiteY342" fmla="*/ 6512923 h 6857997"/>
              <a:gd name="connsiteX343" fmla="*/ 1900512 w 12188817"/>
              <a:gd name="connsiteY343" fmla="*/ 6483204 h 6857997"/>
              <a:gd name="connsiteX344" fmla="*/ 1892350 w 12188817"/>
              <a:gd name="connsiteY344" fmla="*/ 6455019 h 6857997"/>
              <a:gd name="connsiteX345" fmla="*/ 1872049 w 12188817"/>
              <a:gd name="connsiteY345" fmla="*/ 6445252 h 6857997"/>
              <a:gd name="connsiteX346" fmla="*/ 1803281 w 12188817"/>
              <a:gd name="connsiteY346" fmla="*/ 6445252 h 6857997"/>
              <a:gd name="connsiteX347" fmla="*/ 1796619 w 12188817"/>
              <a:gd name="connsiteY347" fmla="*/ 6447799 h 6857997"/>
              <a:gd name="connsiteX348" fmla="*/ 1790096 w 12188817"/>
              <a:gd name="connsiteY348" fmla="*/ 6458159 h 6857997"/>
              <a:gd name="connsiteX349" fmla="*/ 1790096 w 12188817"/>
              <a:gd name="connsiteY349" fmla="*/ 6446927 h 6857997"/>
              <a:gd name="connsiteX350" fmla="*/ 1780818 w 12188817"/>
              <a:gd name="connsiteY350" fmla="*/ 6446927 h 6857997"/>
              <a:gd name="connsiteX351" fmla="*/ 1780818 w 12188817"/>
              <a:gd name="connsiteY351" fmla="*/ 6521015 h 6857997"/>
              <a:gd name="connsiteX352" fmla="*/ 1791073 w 12188817"/>
              <a:gd name="connsiteY352" fmla="*/ 6521015 h 6857997"/>
              <a:gd name="connsiteX353" fmla="*/ 1791073 w 12188817"/>
              <a:gd name="connsiteY353" fmla="*/ 6482227 h 6857997"/>
              <a:gd name="connsiteX354" fmla="*/ 1793026 w 12188817"/>
              <a:gd name="connsiteY354" fmla="*/ 6466949 h 6857997"/>
              <a:gd name="connsiteX355" fmla="*/ 1796863 w 12188817"/>
              <a:gd name="connsiteY355" fmla="*/ 6460531 h 6857997"/>
              <a:gd name="connsiteX356" fmla="*/ 1802863 w 12188817"/>
              <a:gd name="connsiteY356" fmla="*/ 6458228 h 6857997"/>
              <a:gd name="connsiteX357" fmla="*/ 1810327 w 12188817"/>
              <a:gd name="connsiteY357" fmla="*/ 6460949 h 6857997"/>
              <a:gd name="connsiteX358" fmla="*/ 1813815 w 12188817"/>
              <a:gd name="connsiteY358" fmla="*/ 6449299 h 6857997"/>
              <a:gd name="connsiteX359" fmla="*/ 1803281 w 12188817"/>
              <a:gd name="connsiteY359" fmla="*/ 6445252 h 6857997"/>
              <a:gd name="connsiteX360" fmla="*/ 1715742 w 12188817"/>
              <a:gd name="connsiteY360" fmla="*/ 6445252 h 6857997"/>
              <a:gd name="connsiteX361" fmla="*/ 1698930 w 12188817"/>
              <a:gd name="connsiteY361" fmla="*/ 6451182 h 6857997"/>
              <a:gd name="connsiteX362" fmla="*/ 1692860 w 12188817"/>
              <a:gd name="connsiteY362" fmla="*/ 6466600 h 6857997"/>
              <a:gd name="connsiteX363" fmla="*/ 1695092 w 12188817"/>
              <a:gd name="connsiteY363" fmla="*/ 6476437 h 6857997"/>
              <a:gd name="connsiteX364" fmla="*/ 1701371 w 12188817"/>
              <a:gd name="connsiteY364" fmla="*/ 6483343 h 6857997"/>
              <a:gd name="connsiteX365" fmla="*/ 1717417 w 12188817"/>
              <a:gd name="connsiteY365" fmla="*/ 6489622 h 6857997"/>
              <a:gd name="connsiteX366" fmla="*/ 1727881 w 12188817"/>
              <a:gd name="connsiteY366" fmla="*/ 6493808 h 6857997"/>
              <a:gd name="connsiteX367" fmla="*/ 1731021 w 12188817"/>
              <a:gd name="connsiteY367" fmla="*/ 6500644 h 6857997"/>
              <a:gd name="connsiteX368" fmla="*/ 1727367 w 12188817"/>
              <a:gd name="connsiteY368" fmla="*/ 6509051 h 6857997"/>
              <a:gd name="connsiteX369" fmla="*/ 1717031 w 12188817"/>
              <a:gd name="connsiteY369" fmla="*/ 6512365 h 6857997"/>
              <a:gd name="connsiteX370" fmla="*/ 1706313 w 12188817"/>
              <a:gd name="connsiteY370" fmla="*/ 6508545 h 6857997"/>
              <a:gd name="connsiteX371" fmla="*/ 1701371 w 12188817"/>
              <a:gd name="connsiteY371" fmla="*/ 6496877 h 6857997"/>
              <a:gd name="connsiteX372" fmla="*/ 1691116 w 12188817"/>
              <a:gd name="connsiteY372" fmla="*/ 6498831 h 6857997"/>
              <a:gd name="connsiteX373" fmla="*/ 1716440 w 12188817"/>
              <a:gd name="connsiteY373" fmla="*/ 6522690 h 6857997"/>
              <a:gd name="connsiteX374" fmla="*/ 1734823 w 12188817"/>
              <a:gd name="connsiteY374" fmla="*/ 6516120 h 6857997"/>
              <a:gd name="connsiteX375" fmla="*/ 1741555 w 12188817"/>
              <a:gd name="connsiteY375" fmla="*/ 6498929 h 6857997"/>
              <a:gd name="connsiteX376" fmla="*/ 1739470 w 12188817"/>
              <a:gd name="connsiteY376" fmla="*/ 6489040 h 6857997"/>
              <a:gd name="connsiteX377" fmla="*/ 1733631 w 12188817"/>
              <a:gd name="connsiteY377" fmla="*/ 6482471 h 6857997"/>
              <a:gd name="connsiteX378" fmla="*/ 1717094 w 12188817"/>
              <a:gd name="connsiteY378" fmla="*/ 6476004 h 6857997"/>
              <a:gd name="connsiteX379" fmla="*/ 1705911 w 12188817"/>
              <a:gd name="connsiteY379" fmla="*/ 6471558 h 6857997"/>
              <a:gd name="connsiteX380" fmla="*/ 1702766 w 12188817"/>
              <a:gd name="connsiteY380" fmla="*/ 6465096 h 6857997"/>
              <a:gd name="connsiteX381" fmla="*/ 1706045 w 12188817"/>
              <a:gd name="connsiteY381" fmla="*/ 6458252 h 6857997"/>
              <a:gd name="connsiteX382" fmla="*/ 1716021 w 12188817"/>
              <a:gd name="connsiteY382" fmla="*/ 6455577 h 6857997"/>
              <a:gd name="connsiteX383" fmla="*/ 1729207 w 12188817"/>
              <a:gd name="connsiteY383" fmla="*/ 6467716 h 6857997"/>
              <a:gd name="connsiteX384" fmla="*/ 1739252 w 12188817"/>
              <a:gd name="connsiteY384" fmla="*/ 6466042 h 6857997"/>
              <a:gd name="connsiteX385" fmla="*/ 1735485 w 12188817"/>
              <a:gd name="connsiteY385" fmla="*/ 6454252 h 6857997"/>
              <a:gd name="connsiteX386" fmla="*/ 1727637 w 12188817"/>
              <a:gd name="connsiteY386" fmla="*/ 6447694 h 6857997"/>
              <a:gd name="connsiteX387" fmla="*/ 1715742 w 12188817"/>
              <a:gd name="connsiteY387" fmla="*/ 6445252 h 6857997"/>
              <a:gd name="connsiteX388" fmla="*/ 1656986 w 12188817"/>
              <a:gd name="connsiteY388" fmla="*/ 6445252 h 6857997"/>
              <a:gd name="connsiteX389" fmla="*/ 1645879 w 12188817"/>
              <a:gd name="connsiteY389" fmla="*/ 6448270 h 6857997"/>
              <a:gd name="connsiteX390" fmla="*/ 1637696 w 12188817"/>
              <a:gd name="connsiteY390" fmla="*/ 6457392 h 6857997"/>
              <a:gd name="connsiteX391" fmla="*/ 1637696 w 12188817"/>
              <a:gd name="connsiteY391" fmla="*/ 6446927 h 6857997"/>
              <a:gd name="connsiteX392" fmla="*/ 1628418 w 12188817"/>
              <a:gd name="connsiteY392" fmla="*/ 6446927 h 6857997"/>
              <a:gd name="connsiteX393" fmla="*/ 1628418 w 12188817"/>
              <a:gd name="connsiteY393" fmla="*/ 6521015 h 6857997"/>
              <a:gd name="connsiteX394" fmla="*/ 1638673 w 12188817"/>
              <a:gd name="connsiteY394" fmla="*/ 6521015 h 6857997"/>
              <a:gd name="connsiteX395" fmla="*/ 1638673 w 12188817"/>
              <a:gd name="connsiteY395" fmla="*/ 6480509 h 6857997"/>
              <a:gd name="connsiteX396" fmla="*/ 1643068 w 12188817"/>
              <a:gd name="connsiteY396" fmla="*/ 6461583 h 6857997"/>
              <a:gd name="connsiteX397" fmla="*/ 1654858 w 12188817"/>
              <a:gd name="connsiteY397" fmla="*/ 6456066 h 6857997"/>
              <a:gd name="connsiteX398" fmla="*/ 1661729 w 12188817"/>
              <a:gd name="connsiteY398" fmla="*/ 6458126 h 6857997"/>
              <a:gd name="connsiteX399" fmla="*/ 1666089 w 12188817"/>
              <a:gd name="connsiteY399" fmla="*/ 6463957 h 6857997"/>
              <a:gd name="connsiteX400" fmla="*/ 1667485 w 12188817"/>
              <a:gd name="connsiteY400" fmla="*/ 6475900 h 6857997"/>
              <a:gd name="connsiteX401" fmla="*/ 1667485 w 12188817"/>
              <a:gd name="connsiteY401" fmla="*/ 6521015 h 6857997"/>
              <a:gd name="connsiteX402" fmla="*/ 1677740 w 12188817"/>
              <a:gd name="connsiteY402" fmla="*/ 6521015 h 6857997"/>
              <a:gd name="connsiteX403" fmla="*/ 1677740 w 12188817"/>
              <a:gd name="connsiteY403" fmla="*/ 6475460 h 6857997"/>
              <a:gd name="connsiteX404" fmla="*/ 1676487 w 12188817"/>
              <a:gd name="connsiteY404" fmla="*/ 6460252 h 6857997"/>
              <a:gd name="connsiteX405" fmla="*/ 1672691 w 12188817"/>
              <a:gd name="connsiteY405" fmla="*/ 6452194 h 6857997"/>
              <a:gd name="connsiteX406" fmla="*/ 1666005 w 12188817"/>
              <a:gd name="connsiteY406" fmla="*/ 6447171 h 6857997"/>
              <a:gd name="connsiteX407" fmla="*/ 1656986 w 12188817"/>
              <a:gd name="connsiteY407" fmla="*/ 6445252 h 6857997"/>
              <a:gd name="connsiteX408" fmla="*/ 1586648 w 12188817"/>
              <a:gd name="connsiteY408" fmla="*/ 6445252 h 6857997"/>
              <a:gd name="connsiteX409" fmla="*/ 1566242 w 12188817"/>
              <a:gd name="connsiteY409" fmla="*/ 6455333 h 6857997"/>
              <a:gd name="connsiteX410" fmla="*/ 1558184 w 12188817"/>
              <a:gd name="connsiteY410" fmla="*/ 6484599 h 6857997"/>
              <a:gd name="connsiteX411" fmla="*/ 1566172 w 12188817"/>
              <a:gd name="connsiteY411" fmla="*/ 6512888 h 6857997"/>
              <a:gd name="connsiteX412" fmla="*/ 1587067 w 12188817"/>
              <a:gd name="connsiteY412" fmla="*/ 6522690 h 6857997"/>
              <a:gd name="connsiteX413" fmla="*/ 1604263 w 12188817"/>
              <a:gd name="connsiteY413" fmla="*/ 6516655 h 6857997"/>
              <a:gd name="connsiteX414" fmla="*/ 1613856 w 12188817"/>
              <a:gd name="connsiteY414" fmla="*/ 6498761 h 6857997"/>
              <a:gd name="connsiteX415" fmla="*/ 1603252 w 12188817"/>
              <a:gd name="connsiteY415" fmla="*/ 6497156 h 6857997"/>
              <a:gd name="connsiteX416" fmla="*/ 1587136 w 12188817"/>
              <a:gd name="connsiteY416" fmla="*/ 6512365 h 6857997"/>
              <a:gd name="connsiteX417" fmla="*/ 1574579 w 12188817"/>
              <a:gd name="connsiteY417" fmla="*/ 6506016 h 6857997"/>
              <a:gd name="connsiteX418" fmla="*/ 1568788 w 12188817"/>
              <a:gd name="connsiteY418" fmla="*/ 6487180 h 6857997"/>
              <a:gd name="connsiteX419" fmla="*/ 1614135 w 12188817"/>
              <a:gd name="connsiteY419" fmla="*/ 6487180 h 6857997"/>
              <a:gd name="connsiteX420" fmla="*/ 1614204 w 12188817"/>
              <a:gd name="connsiteY420" fmla="*/ 6483831 h 6857997"/>
              <a:gd name="connsiteX421" fmla="*/ 1606321 w 12188817"/>
              <a:gd name="connsiteY421" fmla="*/ 6455159 h 6857997"/>
              <a:gd name="connsiteX422" fmla="*/ 1586648 w 12188817"/>
              <a:gd name="connsiteY422" fmla="*/ 6445252 h 6857997"/>
              <a:gd name="connsiteX423" fmla="*/ 1317367 w 12188817"/>
              <a:gd name="connsiteY423" fmla="*/ 6445252 h 6857997"/>
              <a:gd name="connsiteX424" fmla="*/ 1304147 w 12188817"/>
              <a:gd name="connsiteY424" fmla="*/ 6449438 h 6857997"/>
              <a:gd name="connsiteX425" fmla="*/ 1294624 w 12188817"/>
              <a:gd name="connsiteY425" fmla="*/ 6462554 h 6857997"/>
              <a:gd name="connsiteX426" fmla="*/ 1290996 w 12188817"/>
              <a:gd name="connsiteY426" fmla="*/ 6483413 h 6857997"/>
              <a:gd name="connsiteX427" fmla="*/ 1299228 w 12188817"/>
              <a:gd name="connsiteY427" fmla="*/ 6511807 h 6857997"/>
              <a:gd name="connsiteX428" fmla="*/ 1317297 w 12188817"/>
              <a:gd name="connsiteY428" fmla="*/ 6521015 h 6857997"/>
              <a:gd name="connsiteX429" fmla="*/ 1326575 w 12188817"/>
              <a:gd name="connsiteY429" fmla="*/ 6518590 h 6857997"/>
              <a:gd name="connsiteX430" fmla="*/ 1334110 w 12188817"/>
              <a:gd name="connsiteY430" fmla="*/ 6511384 h 6857997"/>
              <a:gd name="connsiteX431" fmla="*/ 1333203 w 12188817"/>
              <a:gd name="connsiteY431" fmla="*/ 6527850 h 6857997"/>
              <a:gd name="connsiteX432" fmla="*/ 1327727 w 12188817"/>
              <a:gd name="connsiteY432" fmla="*/ 6537514 h 6857997"/>
              <a:gd name="connsiteX433" fmla="*/ 1316948 w 12188817"/>
              <a:gd name="connsiteY433" fmla="*/ 6540758 h 6857997"/>
              <a:gd name="connsiteX434" fmla="*/ 1307251 w 12188817"/>
              <a:gd name="connsiteY434" fmla="*/ 6537846 h 6857997"/>
              <a:gd name="connsiteX435" fmla="*/ 1303065 w 12188817"/>
              <a:gd name="connsiteY435" fmla="*/ 6528968 h 6857997"/>
              <a:gd name="connsiteX436" fmla="*/ 1293019 w 12188817"/>
              <a:gd name="connsiteY436" fmla="*/ 6527154 h 6857997"/>
              <a:gd name="connsiteX437" fmla="*/ 1299159 w 12188817"/>
              <a:gd name="connsiteY437" fmla="*/ 6544735 h 6857997"/>
              <a:gd name="connsiteX438" fmla="*/ 1317297 w 12188817"/>
              <a:gd name="connsiteY438" fmla="*/ 6551083 h 6857997"/>
              <a:gd name="connsiteX439" fmla="*/ 1332575 w 12188817"/>
              <a:gd name="connsiteY439" fmla="*/ 6546863 h 6857997"/>
              <a:gd name="connsiteX440" fmla="*/ 1341714 w 12188817"/>
              <a:gd name="connsiteY440" fmla="*/ 6535352 h 6857997"/>
              <a:gd name="connsiteX441" fmla="*/ 1344505 w 12188817"/>
              <a:gd name="connsiteY441" fmla="*/ 6510969 h 6857997"/>
              <a:gd name="connsiteX442" fmla="*/ 1344505 w 12188817"/>
              <a:gd name="connsiteY442" fmla="*/ 6446927 h 6857997"/>
              <a:gd name="connsiteX443" fmla="*/ 1335017 w 12188817"/>
              <a:gd name="connsiteY443" fmla="*/ 6446927 h 6857997"/>
              <a:gd name="connsiteX444" fmla="*/ 1335017 w 12188817"/>
              <a:gd name="connsiteY444" fmla="*/ 6455787 h 6857997"/>
              <a:gd name="connsiteX445" fmla="*/ 1327168 w 12188817"/>
              <a:gd name="connsiteY445" fmla="*/ 6447886 h 6857997"/>
              <a:gd name="connsiteX446" fmla="*/ 1317367 w 12188817"/>
              <a:gd name="connsiteY446" fmla="*/ 6445252 h 6857997"/>
              <a:gd name="connsiteX447" fmla="*/ 1250831 w 12188817"/>
              <a:gd name="connsiteY447" fmla="*/ 6445252 h 6857997"/>
              <a:gd name="connsiteX448" fmla="*/ 1244169 w 12188817"/>
              <a:gd name="connsiteY448" fmla="*/ 6447799 h 6857997"/>
              <a:gd name="connsiteX449" fmla="*/ 1237646 w 12188817"/>
              <a:gd name="connsiteY449" fmla="*/ 6458159 h 6857997"/>
              <a:gd name="connsiteX450" fmla="*/ 1237646 w 12188817"/>
              <a:gd name="connsiteY450" fmla="*/ 6446927 h 6857997"/>
              <a:gd name="connsiteX451" fmla="*/ 1230693 w 12188817"/>
              <a:gd name="connsiteY451" fmla="*/ 6446927 h 6857997"/>
              <a:gd name="connsiteX452" fmla="*/ 1228368 w 12188817"/>
              <a:gd name="connsiteY452" fmla="*/ 6446927 h 6857997"/>
              <a:gd name="connsiteX453" fmla="*/ 1220369 w 12188817"/>
              <a:gd name="connsiteY453" fmla="*/ 6446927 h 6857997"/>
              <a:gd name="connsiteX454" fmla="*/ 1207392 w 12188817"/>
              <a:gd name="connsiteY454" fmla="*/ 6490086 h 6857997"/>
              <a:gd name="connsiteX455" fmla="*/ 1203206 w 12188817"/>
              <a:gd name="connsiteY455" fmla="*/ 6506960 h 6857997"/>
              <a:gd name="connsiteX456" fmla="*/ 1198811 w 12188817"/>
              <a:gd name="connsiteY456" fmla="*/ 6489808 h 6857997"/>
              <a:gd name="connsiteX457" fmla="*/ 1186114 w 12188817"/>
              <a:gd name="connsiteY457" fmla="*/ 6446927 h 6857997"/>
              <a:gd name="connsiteX458" fmla="*/ 1175022 w 12188817"/>
              <a:gd name="connsiteY458" fmla="*/ 6446927 h 6857997"/>
              <a:gd name="connsiteX459" fmla="*/ 1198132 w 12188817"/>
              <a:gd name="connsiteY459" fmla="*/ 6521125 h 6857997"/>
              <a:gd name="connsiteX460" fmla="*/ 1194080 w 12188817"/>
              <a:gd name="connsiteY460" fmla="*/ 6533431 h 6857997"/>
              <a:gd name="connsiteX461" fmla="*/ 1190554 w 12188817"/>
              <a:gd name="connsiteY461" fmla="*/ 6537549 h 6857997"/>
              <a:gd name="connsiteX462" fmla="*/ 1185143 w 12188817"/>
              <a:gd name="connsiteY462" fmla="*/ 6538875 h 6857997"/>
              <a:gd name="connsiteX463" fmla="*/ 1179277 w 12188817"/>
              <a:gd name="connsiteY463" fmla="*/ 6537758 h 6857997"/>
              <a:gd name="connsiteX464" fmla="*/ 1180394 w 12188817"/>
              <a:gd name="connsiteY464" fmla="*/ 6549548 h 6857997"/>
              <a:gd name="connsiteX465" fmla="*/ 1187032 w 12188817"/>
              <a:gd name="connsiteY465" fmla="*/ 6551083 h 6857997"/>
              <a:gd name="connsiteX466" fmla="*/ 1194543 w 12188817"/>
              <a:gd name="connsiteY466" fmla="*/ 6548921 h 6857997"/>
              <a:gd name="connsiteX467" fmla="*/ 1200483 w 12188817"/>
              <a:gd name="connsiteY467" fmla="*/ 6541840 h 6857997"/>
              <a:gd name="connsiteX468" fmla="*/ 1207645 w 12188817"/>
              <a:gd name="connsiteY468" fmla="*/ 6522271 h 6857997"/>
              <a:gd name="connsiteX469" fmla="*/ 1228368 w 12188817"/>
              <a:gd name="connsiteY469" fmla="*/ 6454529 h 6857997"/>
              <a:gd name="connsiteX470" fmla="*/ 1228368 w 12188817"/>
              <a:gd name="connsiteY470" fmla="*/ 6521015 h 6857997"/>
              <a:gd name="connsiteX471" fmla="*/ 1238623 w 12188817"/>
              <a:gd name="connsiteY471" fmla="*/ 6521015 h 6857997"/>
              <a:gd name="connsiteX472" fmla="*/ 1238623 w 12188817"/>
              <a:gd name="connsiteY472" fmla="*/ 6482227 h 6857997"/>
              <a:gd name="connsiteX473" fmla="*/ 1240576 w 12188817"/>
              <a:gd name="connsiteY473" fmla="*/ 6466949 h 6857997"/>
              <a:gd name="connsiteX474" fmla="*/ 1244413 w 12188817"/>
              <a:gd name="connsiteY474" fmla="*/ 6460531 h 6857997"/>
              <a:gd name="connsiteX475" fmla="*/ 1250413 w 12188817"/>
              <a:gd name="connsiteY475" fmla="*/ 6458228 h 6857997"/>
              <a:gd name="connsiteX476" fmla="*/ 1257877 w 12188817"/>
              <a:gd name="connsiteY476" fmla="*/ 6460949 h 6857997"/>
              <a:gd name="connsiteX477" fmla="*/ 1261365 w 12188817"/>
              <a:gd name="connsiteY477" fmla="*/ 6449299 h 6857997"/>
              <a:gd name="connsiteX478" fmla="*/ 1250831 w 12188817"/>
              <a:gd name="connsiteY478" fmla="*/ 6445252 h 6857997"/>
              <a:gd name="connsiteX479" fmla="*/ 1141038 w 12188817"/>
              <a:gd name="connsiteY479" fmla="*/ 6445252 h 6857997"/>
              <a:gd name="connsiteX480" fmla="*/ 1131286 w 12188817"/>
              <a:gd name="connsiteY480" fmla="*/ 6447903 h 6857997"/>
              <a:gd name="connsiteX481" fmla="*/ 1123555 w 12188817"/>
              <a:gd name="connsiteY481" fmla="*/ 6456554 h 6857997"/>
              <a:gd name="connsiteX482" fmla="*/ 1123555 w 12188817"/>
              <a:gd name="connsiteY482" fmla="*/ 6446927 h 6857997"/>
              <a:gd name="connsiteX483" fmla="*/ 1114068 w 12188817"/>
              <a:gd name="connsiteY483" fmla="*/ 6446927 h 6857997"/>
              <a:gd name="connsiteX484" fmla="*/ 1114068 w 12188817"/>
              <a:gd name="connsiteY484" fmla="*/ 6549409 h 6857997"/>
              <a:gd name="connsiteX485" fmla="*/ 1124323 w 12188817"/>
              <a:gd name="connsiteY485" fmla="*/ 6549409 h 6857997"/>
              <a:gd name="connsiteX486" fmla="*/ 1124323 w 12188817"/>
              <a:gd name="connsiteY486" fmla="*/ 6513341 h 6857997"/>
              <a:gd name="connsiteX487" fmla="*/ 1131439 w 12188817"/>
              <a:gd name="connsiteY487" fmla="*/ 6520248 h 6857997"/>
              <a:gd name="connsiteX488" fmla="*/ 1140298 w 12188817"/>
              <a:gd name="connsiteY488" fmla="*/ 6522690 h 6857997"/>
              <a:gd name="connsiteX489" fmla="*/ 1158890 w 12188817"/>
              <a:gd name="connsiteY489" fmla="*/ 6512469 h 6857997"/>
              <a:gd name="connsiteX490" fmla="*/ 1166808 w 12188817"/>
              <a:gd name="connsiteY490" fmla="*/ 6483343 h 6857997"/>
              <a:gd name="connsiteX491" fmla="*/ 1163291 w 12188817"/>
              <a:gd name="connsiteY491" fmla="*/ 6462449 h 6857997"/>
              <a:gd name="connsiteX492" fmla="*/ 1153993 w 12188817"/>
              <a:gd name="connsiteY492" fmla="*/ 6449508 h 6857997"/>
              <a:gd name="connsiteX493" fmla="*/ 1141038 w 12188817"/>
              <a:gd name="connsiteY493" fmla="*/ 6445252 h 6857997"/>
              <a:gd name="connsiteX494" fmla="*/ 1071949 w 12188817"/>
              <a:gd name="connsiteY494" fmla="*/ 6445252 h 6857997"/>
              <a:gd name="connsiteX495" fmla="*/ 1051543 w 12188817"/>
              <a:gd name="connsiteY495" fmla="*/ 6455019 h 6857997"/>
              <a:gd name="connsiteX496" fmla="*/ 1043486 w 12188817"/>
              <a:gd name="connsiteY496" fmla="*/ 6483971 h 6857997"/>
              <a:gd name="connsiteX497" fmla="*/ 1051613 w 12188817"/>
              <a:gd name="connsiteY497" fmla="*/ 6512888 h 6857997"/>
              <a:gd name="connsiteX498" fmla="*/ 1071949 w 12188817"/>
              <a:gd name="connsiteY498" fmla="*/ 6522690 h 6857997"/>
              <a:gd name="connsiteX499" fmla="*/ 1092390 w 12188817"/>
              <a:gd name="connsiteY499" fmla="*/ 6512923 h 6857997"/>
              <a:gd name="connsiteX500" fmla="*/ 1100412 w 12188817"/>
              <a:gd name="connsiteY500" fmla="*/ 6483204 h 6857997"/>
              <a:gd name="connsiteX501" fmla="*/ 1092250 w 12188817"/>
              <a:gd name="connsiteY501" fmla="*/ 6455019 h 6857997"/>
              <a:gd name="connsiteX502" fmla="*/ 1071949 w 12188817"/>
              <a:gd name="connsiteY502" fmla="*/ 6445252 h 6857997"/>
              <a:gd name="connsiteX503" fmla="*/ 883892 w 12188817"/>
              <a:gd name="connsiteY503" fmla="*/ 6440020 h 6857997"/>
              <a:gd name="connsiteX504" fmla="*/ 867086 w 12188817"/>
              <a:gd name="connsiteY504" fmla="*/ 6447642 h 6857997"/>
              <a:gd name="connsiteX505" fmla="*/ 860692 w 12188817"/>
              <a:gd name="connsiteY505" fmla="*/ 6469809 h 6857997"/>
              <a:gd name="connsiteX506" fmla="*/ 867156 w 12188817"/>
              <a:gd name="connsiteY506" fmla="*/ 6492115 h 6857997"/>
              <a:gd name="connsiteX507" fmla="*/ 883401 w 12188817"/>
              <a:gd name="connsiteY507" fmla="*/ 6499877 h 6857997"/>
              <a:gd name="connsiteX508" fmla="*/ 896713 w 12188817"/>
              <a:gd name="connsiteY508" fmla="*/ 6494819 h 6857997"/>
              <a:gd name="connsiteX509" fmla="*/ 904155 w 12188817"/>
              <a:gd name="connsiteY509" fmla="*/ 6480762 h 6857997"/>
              <a:gd name="connsiteX510" fmla="*/ 897178 w 12188817"/>
              <a:gd name="connsiteY510" fmla="*/ 6478250 h 6857997"/>
              <a:gd name="connsiteX511" fmla="*/ 891863 w 12188817"/>
              <a:gd name="connsiteY511" fmla="*/ 6488192 h 6857997"/>
              <a:gd name="connsiteX512" fmla="*/ 882842 w 12188817"/>
              <a:gd name="connsiteY512" fmla="*/ 6491715 h 6857997"/>
              <a:gd name="connsiteX513" fmla="*/ 872562 w 12188817"/>
              <a:gd name="connsiteY513" fmla="*/ 6486326 h 6857997"/>
              <a:gd name="connsiteX514" fmla="*/ 868436 w 12188817"/>
              <a:gd name="connsiteY514" fmla="*/ 6470300 h 6857997"/>
              <a:gd name="connsiteX515" fmla="*/ 872772 w 12188817"/>
              <a:gd name="connsiteY515" fmla="*/ 6453502 h 6857997"/>
              <a:gd name="connsiteX516" fmla="*/ 883613 w 12188817"/>
              <a:gd name="connsiteY516" fmla="*/ 6447834 h 6857997"/>
              <a:gd name="connsiteX517" fmla="*/ 891341 w 12188817"/>
              <a:gd name="connsiteY517" fmla="*/ 6450520 h 6857997"/>
              <a:gd name="connsiteX518" fmla="*/ 896481 w 12188817"/>
              <a:gd name="connsiteY518" fmla="*/ 6458507 h 6857997"/>
              <a:gd name="connsiteX519" fmla="*/ 903317 w 12188817"/>
              <a:gd name="connsiteY519" fmla="*/ 6456484 h 6857997"/>
              <a:gd name="connsiteX520" fmla="*/ 896260 w 12188817"/>
              <a:gd name="connsiteY520" fmla="*/ 6444346 h 6857997"/>
              <a:gd name="connsiteX521" fmla="*/ 883892 w 12188817"/>
              <a:gd name="connsiteY521" fmla="*/ 6440020 h 6857997"/>
              <a:gd name="connsiteX522" fmla="*/ 2030135 w 12188817"/>
              <a:gd name="connsiteY522" fmla="*/ 6429486 h 6857997"/>
              <a:gd name="connsiteX523" fmla="*/ 2036063 w 12188817"/>
              <a:gd name="connsiteY523" fmla="*/ 6450694 h 6857997"/>
              <a:gd name="connsiteX524" fmla="*/ 2044779 w 12188817"/>
              <a:gd name="connsiteY524" fmla="*/ 6479018 h 6857997"/>
              <a:gd name="connsiteX525" fmla="*/ 2016211 w 12188817"/>
              <a:gd name="connsiteY525" fmla="*/ 6479018 h 6857997"/>
              <a:gd name="connsiteX526" fmla="*/ 2025540 w 12188817"/>
              <a:gd name="connsiteY526" fmla="*/ 6449020 h 6857997"/>
              <a:gd name="connsiteX527" fmla="*/ 2030135 w 12188817"/>
              <a:gd name="connsiteY527" fmla="*/ 6429486 h 6857997"/>
              <a:gd name="connsiteX528" fmla="*/ 883226 w 12188817"/>
              <a:gd name="connsiteY528" fmla="*/ 6425649 h 6857997"/>
              <a:gd name="connsiteX529" fmla="*/ 907922 w 12188817"/>
              <a:gd name="connsiteY529" fmla="*/ 6437738 h 6857997"/>
              <a:gd name="connsiteX530" fmla="*/ 919223 w 12188817"/>
              <a:gd name="connsiteY530" fmla="*/ 6469670 h 6857997"/>
              <a:gd name="connsiteX531" fmla="*/ 909317 w 12188817"/>
              <a:gd name="connsiteY531" fmla="*/ 6499925 h 6857997"/>
              <a:gd name="connsiteX532" fmla="*/ 883226 w 12188817"/>
              <a:gd name="connsiteY532" fmla="*/ 6513620 h 6857997"/>
              <a:gd name="connsiteX533" fmla="*/ 858530 w 12188817"/>
              <a:gd name="connsiteY533" fmla="*/ 6501603 h 6857997"/>
              <a:gd name="connsiteX534" fmla="*/ 847228 w 12188817"/>
              <a:gd name="connsiteY534" fmla="*/ 6469670 h 6857997"/>
              <a:gd name="connsiteX535" fmla="*/ 857134 w 12188817"/>
              <a:gd name="connsiteY535" fmla="*/ 6439344 h 6857997"/>
              <a:gd name="connsiteX536" fmla="*/ 883226 w 12188817"/>
              <a:gd name="connsiteY536" fmla="*/ 6425649 h 6857997"/>
              <a:gd name="connsiteX537" fmla="*/ 6208293 w 12188817"/>
              <a:gd name="connsiteY537" fmla="*/ 6421045 h 6857997"/>
              <a:gd name="connsiteX538" fmla="*/ 6198038 w 12188817"/>
              <a:gd name="connsiteY538" fmla="*/ 6428579 h 6857997"/>
              <a:gd name="connsiteX539" fmla="*/ 6198038 w 12188817"/>
              <a:gd name="connsiteY539" fmla="*/ 6446927 h 6857997"/>
              <a:gd name="connsiteX540" fmla="*/ 6190503 w 12188817"/>
              <a:gd name="connsiteY540" fmla="*/ 6446927 h 6857997"/>
              <a:gd name="connsiteX541" fmla="*/ 6190503 w 12188817"/>
              <a:gd name="connsiteY541" fmla="*/ 6456694 h 6857997"/>
              <a:gd name="connsiteX542" fmla="*/ 6198038 w 12188817"/>
              <a:gd name="connsiteY542" fmla="*/ 6456694 h 6857997"/>
              <a:gd name="connsiteX543" fmla="*/ 6198038 w 12188817"/>
              <a:gd name="connsiteY543" fmla="*/ 6499319 h 6857997"/>
              <a:gd name="connsiteX544" fmla="*/ 6199259 w 12188817"/>
              <a:gd name="connsiteY544" fmla="*/ 6514039 h 6857997"/>
              <a:gd name="connsiteX545" fmla="*/ 6203758 w 12188817"/>
              <a:gd name="connsiteY545" fmla="*/ 6519864 h 6857997"/>
              <a:gd name="connsiteX546" fmla="*/ 6212409 w 12188817"/>
              <a:gd name="connsiteY546" fmla="*/ 6521992 h 6857997"/>
              <a:gd name="connsiteX547" fmla="*/ 6220083 w 12188817"/>
              <a:gd name="connsiteY547" fmla="*/ 6520876 h 6857997"/>
              <a:gd name="connsiteX548" fmla="*/ 6218688 w 12188817"/>
              <a:gd name="connsiteY548" fmla="*/ 6509783 h 6857997"/>
              <a:gd name="connsiteX549" fmla="*/ 6214153 w 12188817"/>
              <a:gd name="connsiteY549" fmla="*/ 6510272 h 6857997"/>
              <a:gd name="connsiteX550" fmla="*/ 6209200 w 12188817"/>
              <a:gd name="connsiteY550" fmla="*/ 6507760 h 6857997"/>
              <a:gd name="connsiteX551" fmla="*/ 6208293 w 12188817"/>
              <a:gd name="connsiteY551" fmla="*/ 6500017 h 6857997"/>
              <a:gd name="connsiteX552" fmla="*/ 6208293 w 12188817"/>
              <a:gd name="connsiteY552" fmla="*/ 6456694 h 6857997"/>
              <a:gd name="connsiteX553" fmla="*/ 6218688 w 12188817"/>
              <a:gd name="connsiteY553" fmla="*/ 6456694 h 6857997"/>
              <a:gd name="connsiteX554" fmla="*/ 6218688 w 12188817"/>
              <a:gd name="connsiteY554" fmla="*/ 6446927 h 6857997"/>
              <a:gd name="connsiteX555" fmla="*/ 6208293 w 12188817"/>
              <a:gd name="connsiteY555" fmla="*/ 6446927 h 6857997"/>
              <a:gd name="connsiteX556" fmla="*/ 2421955 w 12188817"/>
              <a:gd name="connsiteY556" fmla="*/ 6421045 h 6857997"/>
              <a:gd name="connsiteX557" fmla="*/ 2411700 w 12188817"/>
              <a:gd name="connsiteY557" fmla="*/ 6428579 h 6857997"/>
              <a:gd name="connsiteX558" fmla="*/ 2411700 w 12188817"/>
              <a:gd name="connsiteY558" fmla="*/ 6446927 h 6857997"/>
              <a:gd name="connsiteX559" fmla="*/ 2404165 w 12188817"/>
              <a:gd name="connsiteY559" fmla="*/ 6446927 h 6857997"/>
              <a:gd name="connsiteX560" fmla="*/ 2404165 w 12188817"/>
              <a:gd name="connsiteY560" fmla="*/ 6456694 h 6857997"/>
              <a:gd name="connsiteX561" fmla="*/ 2411700 w 12188817"/>
              <a:gd name="connsiteY561" fmla="*/ 6456694 h 6857997"/>
              <a:gd name="connsiteX562" fmla="*/ 2411700 w 12188817"/>
              <a:gd name="connsiteY562" fmla="*/ 6499319 h 6857997"/>
              <a:gd name="connsiteX563" fmla="*/ 2412921 w 12188817"/>
              <a:gd name="connsiteY563" fmla="*/ 6514039 h 6857997"/>
              <a:gd name="connsiteX564" fmla="*/ 2417421 w 12188817"/>
              <a:gd name="connsiteY564" fmla="*/ 6519864 h 6857997"/>
              <a:gd name="connsiteX565" fmla="*/ 2426071 w 12188817"/>
              <a:gd name="connsiteY565" fmla="*/ 6521992 h 6857997"/>
              <a:gd name="connsiteX566" fmla="*/ 2432786 w 12188817"/>
              <a:gd name="connsiteY566" fmla="*/ 6521015 h 6857997"/>
              <a:gd name="connsiteX567" fmla="*/ 2486528 w 12188817"/>
              <a:gd name="connsiteY567" fmla="*/ 6521015 h 6857997"/>
              <a:gd name="connsiteX568" fmla="*/ 2486528 w 12188817"/>
              <a:gd name="connsiteY568" fmla="*/ 6510202 h 6857997"/>
              <a:gd name="connsiteX569" fmla="*/ 2458405 w 12188817"/>
              <a:gd name="connsiteY569" fmla="*/ 6510202 h 6857997"/>
              <a:gd name="connsiteX570" fmla="*/ 2445424 w 12188817"/>
              <a:gd name="connsiteY570" fmla="*/ 6510830 h 6857997"/>
              <a:gd name="connsiteX571" fmla="*/ 2451786 w 12188817"/>
              <a:gd name="connsiteY571" fmla="*/ 6502249 h 6857997"/>
              <a:gd name="connsiteX572" fmla="*/ 2484784 w 12188817"/>
              <a:gd name="connsiteY572" fmla="*/ 6455229 h 6857997"/>
              <a:gd name="connsiteX573" fmla="*/ 2484784 w 12188817"/>
              <a:gd name="connsiteY573" fmla="*/ 6446927 h 6857997"/>
              <a:gd name="connsiteX574" fmla="*/ 2435043 w 12188817"/>
              <a:gd name="connsiteY574" fmla="*/ 6446927 h 6857997"/>
              <a:gd name="connsiteX575" fmla="*/ 2435043 w 12188817"/>
              <a:gd name="connsiteY575" fmla="*/ 6457112 h 6857997"/>
              <a:gd name="connsiteX576" fmla="*/ 2459828 w 12188817"/>
              <a:gd name="connsiteY576" fmla="*/ 6457112 h 6857997"/>
              <a:gd name="connsiteX577" fmla="*/ 2471487 w 12188817"/>
              <a:gd name="connsiteY577" fmla="*/ 6456694 h 6857997"/>
              <a:gd name="connsiteX578" fmla="*/ 2432740 w 12188817"/>
              <a:gd name="connsiteY578" fmla="*/ 6510830 h 6857997"/>
              <a:gd name="connsiteX579" fmla="*/ 2432740 w 12188817"/>
              <a:gd name="connsiteY579" fmla="*/ 6512889 h 6857997"/>
              <a:gd name="connsiteX580" fmla="*/ 2432350 w 12188817"/>
              <a:gd name="connsiteY580" fmla="*/ 6509783 h 6857997"/>
              <a:gd name="connsiteX581" fmla="*/ 2427815 w 12188817"/>
              <a:gd name="connsiteY581" fmla="*/ 6510272 h 6857997"/>
              <a:gd name="connsiteX582" fmla="*/ 2422862 w 12188817"/>
              <a:gd name="connsiteY582" fmla="*/ 6507760 h 6857997"/>
              <a:gd name="connsiteX583" fmla="*/ 2421955 w 12188817"/>
              <a:gd name="connsiteY583" fmla="*/ 6500017 h 6857997"/>
              <a:gd name="connsiteX584" fmla="*/ 2421955 w 12188817"/>
              <a:gd name="connsiteY584" fmla="*/ 6456694 h 6857997"/>
              <a:gd name="connsiteX585" fmla="*/ 2432350 w 12188817"/>
              <a:gd name="connsiteY585" fmla="*/ 6456694 h 6857997"/>
              <a:gd name="connsiteX586" fmla="*/ 2432350 w 12188817"/>
              <a:gd name="connsiteY586" fmla="*/ 6446927 h 6857997"/>
              <a:gd name="connsiteX587" fmla="*/ 2421955 w 12188817"/>
              <a:gd name="connsiteY587" fmla="*/ 6446927 h 6857997"/>
              <a:gd name="connsiteX588" fmla="*/ 1440880 w 12188817"/>
              <a:gd name="connsiteY588" fmla="*/ 6421045 h 6857997"/>
              <a:gd name="connsiteX589" fmla="*/ 1430625 w 12188817"/>
              <a:gd name="connsiteY589" fmla="*/ 6428579 h 6857997"/>
              <a:gd name="connsiteX590" fmla="*/ 1430625 w 12188817"/>
              <a:gd name="connsiteY590" fmla="*/ 6446927 h 6857997"/>
              <a:gd name="connsiteX591" fmla="*/ 1423090 w 12188817"/>
              <a:gd name="connsiteY591" fmla="*/ 6446927 h 6857997"/>
              <a:gd name="connsiteX592" fmla="*/ 1423090 w 12188817"/>
              <a:gd name="connsiteY592" fmla="*/ 6456694 h 6857997"/>
              <a:gd name="connsiteX593" fmla="*/ 1430625 w 12188817"/>
              <a:gd name="connsiteY593" fmla="*/ 6456694 h 6857997"/>
              <a:gd name="connsiteX594" fmla="*/ 1430625 w 12188817"/>
              <a:gd name="connsiteY594" fmla="*/ 6499319 h 6857997"/>
              <a:gd name="connsiteX595" fmla="*/ 1431846 w 12188817"/>
              <a:gd name="connsiteY595" fmla="*/ 6514039 h 6857997"/>
              <a:gd name="connsiteX596" fmla="*/ 1436345 w 12188817"/>
              <a:gd name="connsiteY596" fmla="*/ 6519864 h 6857997"/>
              <a:gd name="connsiteX597" fmla="*/ 1444996 w 12188817"/>
              <a:gd name="connsiteY597" fmla="*/ 6521992 h 6857997"/>
              <a:gd name="connsiteX598" fmla="*/ 1452670 w 12188817"/>
              <a:gd name="connsiteY598" fmla="*/ 6520876 h 6857997"/>
              <a:gd name="connsiteX599" fmla="*/ 1451275 w 12188817"/>
              <a:gd name="connsiteY599" fmla="*/ 6509783 h 6857997"/>
              <a:gd name="connsiteX600" fmla="*/ 1446740 w 12188817"/>
              <a:gd name="connsiteY600" fmla="*/ 6510272 h 6857997"/>
              <a:gd name="connsiteX601" fmla="*/ 1441787 w 12188817"/>
              <a:gd name="connsiteY601" fmla="*/ 6507760 h 6857997"/>
              <a:gd name="connsiteX602" fmla="*/ 1440880 w 12188817"/>
              <a:gd name="connsiteY602" fmla="*/ 6500017 h 6857997"/>
              <a:gd name="connsiteX603" fmla="*/ 1440880 w 12188817"/>
              <a:gd name="connsiteY603" fmla="*/ 6456694 h 6857997"/>
              <a:gd name="connsiteX604" fmla="*/ 1451275 w 12188817"/>
              <a:gd name="connsiteY604" fmla="*/ 6456694 h 6857997"/>
              <a:gd name="connsiteX605" fmla="*/ 1451275 w 12188817"/>
              <a:gd name="connsiteY605" fmla="*/ 6446927 h 6857997"/>
              <a:gd name="connsiteX606" fmla="*/ 1440880 w 12188817"/>
              <a:gd name="connsiteY606" fmla="*/ 6446927 h 6857997"/>
              <a:gd name="connsiteX607" fmla="*/ 6319282 w 12188817"/>
              <a:gd name="connsiteY607" fmla="*/ 6418742 h 6857997"/>
              <a:gd name="connsiteX608" fmla="*/ 6319282 w 12188817"/>
              <a:gd name="connsiteY608" fmla="*/ 6521015 h 6857997"/>
              <a:gd name="connsiteX609" fmla="*/ 6329537 w 12188817"/>
              <a:gd name="connsiteY609" fmla="*/ 6521015 h 6857997"/>
              <a:gd name="connsiteX610" fmla="*/ 6329537 w 12188817"/>
              <a:gd name="connsiteY610" fmla="*/ 6418742 h 6857997"/>
              <a:gd name="connsiteX611" fmla="*/ 6224380 w 12188817"/>
              <a:gd name="connsiteY611" fmla="*/ 6418742 h 6857997"/>
              <a:gd name="connsiteX612" fmla="*/ 6224380 w 12188817"/>
              <a:gd name="connsiteY612" fmla="*/ 6433183 h 6857997"/>
              <a:gd name="connsiteX613" fmla="*/ 6234636 w 12188817"/>
              <a:gd name="connsiteY613" fmla="*/ 6433183 h 6857997"/>
              <a:gd name="connsiteX614" fmla="*/ 6234636 w 12188817"/>
              <a:gd name="connsiteY614" fmla="*/ 6418742 h 6857997"/>
              <a:gd name="connsiteX615" fmla="*/ 6034361 w 12188817"/>
              <a:gd name="connsiteY615" fmla="*/ 6418742 h 6857997"/>
              <a:gd name="connsiteX616" fmla="*/ 6034361 w 12188817"/>
              <a:gd name="connsiteY616" fmla="*/ 6455438 h 6857997"/>
              <a:gd name="connsiteX617" fmla="*/ 6027152 w 12188817"/>
              <a:gd name="connsiteY617" fmla="*/ 6447938 h 6857997"/>
              <a:gd name="connsiteX618" fmla="*/ 6017716 w 12188817"/>
              <a:gd name="connsiteY618" fmla="*/ 6445252 h 6857997"/>
              <a:gd name="connsiteX619" fmla="*/ 6004794 w 12188817"/>
              <a:gd name="connsiteY619" fmla="*/ 6449508 h 6857997"/>
              <a:gd name="connsiteX620" fmla="*/ 5995495 w 12188817"/>
              <a:gd name="connsiteY620" fmla="*/ 6462554 h 6857997"/>
              <a:gd name="connsiteX621" fmla="*/ 5992013 w 12188817"/>
              <a:gd name="connsiteY621" fmla="*/ 6483971 h 6857997"/>
              <a:gd name="connsiteX622" fmla="*/ 5999862 w 12188817"/>
              <a:gd name="connsiteY622" fmla="*/ 6512539 h 6857997"/>
              <a:gd name="connsiteX623" fmla="*/ 6018454 w 12188817"/>
              <a:gd name="connsiteY623" fmla="*/ 6522690 h 6857997"/>
              <a:gd name="connsiteX624" fmla="*/ 6027944 w 12188817"/>
              <a:gd name="connsiteY624" fmla="*/ 6519864 h 6857997"/>
              <a:gd name="connsiteX625" fmla="*/ 6035129 w 12188817"/>
              <a:gd name="connsiteY625" fmla="*/ 6511667 h 6857997"/>
              <a:gd name="connsiteX626" fmla="*/ 6035129 w 12188817"/>
              <a:gd name="connsiteY626" fmla="*/ 6521015 h 6857997"/>
              <a:gd name="connsiteX627" fmla="*/ 6044755 w 12188817"/>
              <a:gd name="connsiteY627" fmla="*/ 6521015 h 6857997"/>
              <a:gd name="connsiteX628" fmla="*/ 6044755 w 12188817"/>
              <a:gd name="connsiteY628" fmla="*/ 6418742 h 6857997"/>
              <a:gd name="connsiteX629" fmla="*/ 2790947 w 12188817"/>
              <a:gd name="connsiteY629" fmla="*/ 6418742 h 6857997"/>
              <a:gd name="connsiteX630" fmla="*/ 2790947 w 12188817"/>
              <a:gd name="connsiteY630" fmla="*/ 6455438 h 6857997"/>
              <a:gd name="connsiteX631" fmla="*/ 2783737 w 12188817"/>
              <a:gd name="connsiteY631" fmla="*/ 6447938 h 6857997"/>
              <a:gd name="connsiteX632" fmla="*/ 2774300 w 12188817"/>
              <a:gd name="connsiteY632" fmla="*/ 6445252 h 6857997"/>
              <a:gd name="connsiteX633" fmla="*/ 2761380 w 12188817"/>
              <a:gd name="connsiteY633" fmla="*/ 6449508 h 6857997"/>
              <a:gd name="connsiteX634" fmla="*/ 2752082 w 12188817"/>
              <a:gd name="connsiteY634" fmla="*/ 6462554 h 6857997"/>
              <a:gd name="connsiteX635" fmla="*/ 2748600 w 12188817"/>
              <a:gd name="connsiteY635" fmla="*/ 6483971 h 6857997"/>
              <a:gd name="connsiteX636" fmla="*/ 2756449 w 12188817"/>
              <a:gd name="connsiteY636" fmla="*/ 6512539 h 6857997"/>
              <a:gd name="connsiteX637" fmla="*/ 2775041 w 12188817"/>
              <a:gd name="connsiteY637" fmla="*/ 6522690 h 6857997"/>
              <a:gd name="connsiteX638" fmla="*/ 2784528 w 12188817"/>
              <a:gd name="connsiteY638" fmla="*/ 6519864 h 6857997"/>
              <a:gd name="connsiteX639" fmla="*/ 2791714 w 12188817"/>
              <a:gd name="connsiteY639" fmla="*/ 6511667 h 6857997"/>
              <a:gd name="connsiteX640" fmla="*/ 2791714 w 12188817"/>
              <a:gd name="connsiteY640" fmla="*/ 6521015 h 6857997"/>
              <a:gd name="connsiteX641" fmla="*/ 2801341 w 12188817"/>
              <a:gd name="connsiteY641" fmla="*/ 6521015 h 6857997"/>
              <a:gd name="connsiteX642" fmla="*/ 2801341 w 12188817"/>
              <a:gd name="connsiteY642" fmla="*/ 6418742 h 6857997"/>
              <a:gd name="connsiteX643" fmla="*/ 2590094 w 12188817"/>
              <a:gd name="connsiteY643" fmla="*/ 6418742 h 6857997"/>
              <a:gd name="connsiteX644" fmla="*/ 2590094 w 12188817"/>
              <a:gd name="connsiteY644" fmla="*/ 6521015 h 6857997"/>
              <a:gd name="connsiteX645" fmla="*/ 2600349 w 12188817"/>
              <a:gd name="connsiteY645" fmla="*/ 6521015 h 6857997"/>
              <a:gd name="connsiteX646" fmla="*/ 2600349 w 12188817"/>
              <a:gd name="connsiteY646" fmla="*/ 6418742 h 6857997"/>
              <a:gd name="connsiteX647" fmla="*/ 2380892 w 12188817"/>
              <a:gd name="connsiteY647" fmla="*/ 6418742 h 6857997"/>
              <a:gd name="connsiteX648" fmla="*/ 2380892 w 12188817"/>
              <a:gd name="connsiteY648" fmla="*/ 6433183 h 6857997"/>
              <a:gd name="connsiteX649" fmla="*/ 2391148 w 12188817"/>
              <a:gd name="connsiteY649" fmla="*/ 6433183 h 6857997"/>
              <a:gd name="connsiteX650" fmla="*/ 2391148 w 12188817"/>
              <a:gd name="connsiteY650" fmla="*/ 6418742 h 6857997"/>
              <a:gd name="connsiteX651" fmla="*/ 2024493 w 12188817"/>
              <a:gd name="connsiteY651" fmla="*/ 6418742 h 6857997"/>
              <a:gd name="connsiteX652" fmla="*/ 1992149 w 12188817"/>
              <a:gd name="connsiteY652" fmla="*/ 6521015 h 6857997"/>
              <a:gd name="connsiteX653" fmla="*/ 2003850 w 12188817"/>
              <a:gd name="connsiteY653" fmla="*/ 6521015 h 6857997"/>
              <a:gd name="connsiteX654" fmla="*/ 2012966 w 12188817"/>
              <a:gd name="connsiteY654" fmla="*/ 6490040 h 6857997"/>
              <a:gd name="connsiteX655" fmla="*/ 2048249 w 12188817"/>
              <a:gd name="connsiteY655" fmla="*/ 6490040 h 6857997"/>
              <a:gd name="connsiteX656" fmla="*/ 2058004 w 12188817"/>
              <a:gd name="connsiteY656" fmla="*/ 6521015 h 6857997"/>
              <a:gd name="connsiteX657" fmla="*/ 2070702 w 12188817"/>
              <a:gd name="connsiteY657" fmla="*/ 6521015 h 6857997"/>
              <a:gd name="connsiteX658" fmla="*/ 2036357 w 12188817"/>
              <a:gd name="connsiteY658" fmla="*/ 6418742 h 6857997"/>
              <a:gd name="connsiteX659" fmla="*/ 1818918 w 12188817"/>
              <a:gd name="connsiteY659" fmla="*/ 6418742 h 6857997"/>
              <a:gd name="connsiteX660" fmla="*/ 1818918 w 12188817"/>
              <a:gd name="connsiteY660" fmla="*/ 6433183 h 6857997"/>
              <a:gd name="connsiteX661" fmla="*/ 1829173 w 12188817"/>
              <a:gd name="connsiteY661" fmla="*/ 6433183 h 6857997"/>
              <a:gd name="connsiteX662" fmla="*/ 1829173 w 12188817"/>
              <a:gd name="connsiteY662" fmla="*/ 6418742 h 6857997"/>
              <a:gd name="connsiteX663" fmla="*/ 1752242 w 12188817"/>
              <a:gd name="connsiteY663" fmla="*/ 6418742 h 6857997"/>
              <a:gd name="connsiteX664" fmla="*/ 1752242 w 12188817"/>
              <a:gd name="connsiteY664" fmla="*/ 6433183 h 6857997"/>
              <a:gd name="connsiteX665" fmla="*/ 1762498 w 12188817"/>
              <a:gd name="connsiteY665" fmla="*/ 6433183 h 6857997"/>
              <a:gd name="connsiteX666" fmla="*/ 1762498 w 12188817"/>
              <a:gd name="connsiteY666" fmla="*/ 6418742 h 6857997"/>
              <a:gd name="connsiteX667" fmla="*/ 1361717 w 12188817"/>
              <a:gd name="connsiteY667" fmla="*/ 6418742 h 6857997"/>
              <a:gd name="connsiteX668" fmla="*/ 1361717 w 12188817"/>
              <a:gd name="connsiteY668" fmla="*/ 6521015 h 6857997"/>
              <a:gd name="connsiteX669" fmla="*/ 1371973 w 12188817"/>
              <a:gd name="connsiteY669" fmla="*/ 6521015 h 6857997"/>
              <a:gd name="connsiteX670" fmla="*/ 1371973 w 12188817"/>
              <a:gd name="connsiteY670" fmla="*/ 6480483 h 6857997"/>
              <a:gd name="connsiteX671" fmla="*/ 1376682 w 12188817"/>
              <a:gd name="connsiteY671" fmla="*/ 6461437 h 6857997"/>
              <a:gd name="connsiteX672" fmla="*/ 1388088 w 12188817"/>
              <a:gd name="connsiteY672" fmla="*/ 6456066 h 6857997"/>
              <a:gd name="connsiteX673" fmla="*/ 1397506 w 12188817"/>
              <a:gd name="connsiteY673" fmla="*/ 6460252 h 6857997"/>
              <a:gd name="connsiteX674" fmla="*/ 1400924 w 12188817"/>
              <a:gd name="connsiteY674" fmla="*/ 6474065 h 6857997"/>
              <a:gd name="connsiteX675" fmla="*/ 1400924 w 12188817"/>
              <a:gd name="connsiteY675" fmla="*/ 6521015 h 6857997"/>
              <a:gd name="connsiteX676" fmla="*/ 1411180 w 12188817"/>
              <a:gd name="connsiteY676" fmla="*/ 6521015 h 6857997"/>
              <a:gd name="connsiteX677" fmla="*/ 1411180 w 12188817"/>
              <a:gd name="connsiteY677" fmla="*/ 6474065 h 6857997"/>
              <a:gd name="connsiteX678" fmla="*/ 1405564 w 12188817"/>
              <a:gd name="connsiteY678" fmla="*/ 6451426 h 6857997"/>
              <a:gd name="connsiteX679" fmla="*/ 1390251 w 12188817"/>
              <a:gd name="connsiteY679" fmla="*/ 6445252 h 6857997"/>
              <a:gd name="connsiteX680" fmla="*/ 1380170 w 12188817"/>
              <a:gd name="connsiteY680" fmla="*/ 6447799 h 6857997"/>
              <a:gd name="connsiteX681" fmla="*/ 1371973 w 12188817"/>
              <a:gd name="connsiteY681" fmla="*/ 6455438 h 6857997"/>
              <a:gd name="connsiteX682" fmla="*/ 1371973 w 12188817"/>
              <a:gd name="connsiteY682" fmla="*/ 6418742 h 6857997"/>
              <a:gd name="connsiteX683" fmla="*/ 1266468 w 12188817"/>
              <a:gd name="connsiteY683" fmla="*/ 6418742 h 6857997"/>
              <a:gd name="connsiteX684" fmla="*/ 1266468 w 12188817"/>
              <a:gd name="connsiteY684" fmla="*/ 6433183 h 6857997"/>
              <a:gd name="connsiteX685" fmla="*/ 1276723 w 12188817"/>
              <a:gd name="connsiteY685" fmla="*/ 6433183 h 6857997"/>
              <a:gd name="connsiteX686" fmla="*/ 1276723 w 12188817"/>
              <a:gd name="connsiteY686" fmla="*/ 6418742 h 6857997"/>
              <a:gd name="connsiteX687" fmla="*/ 5958279 w 12188817"/>
              <a:gd name="connsiteY687" fmla="*/ 6416998 h 6857997"/>
              <a:gd name="connsiteX688" fmla="*/ 5948872 w 12188817"/>
              <a:gd name="connsiteY688" fmla="*/ 6419301 h 6857997"/>
              <a:gd name="connsiteX689" fmla="*/ 5943310 w 12188817"/>
              <a:gd name="connsiteY689" fmla="*/ 6425963 h 6857997"/>
              <a:gd name="connsiteX690" fmla="*/ 5941493 w 12188817"/>
              <a:gd name="connsiteY690" fmla="*/ 6439044 h 6857997"/>
              <a:gd name="connsiteX691" fmla="*/ 5941493 w 12188817"/>
              <a:gd name="connsiteY691" fmla="*/ 6446927 h 6857997"/>
              <a:gd name="connsiteX692" fmla="*/ 5932352 w 12188817"/>
              <a:gd name="connsiteY692" fmla="*/ 6446927 h 6857997"/>
              <a:gd name="connsiteX693" fmla="*/ 5932352 w 12188817"/>
              <a:gd name="connsiteY693" fmla="*/ 6456694 h 6857997"/>
              <a:gd name="connsiteX694" fmla="*/ 5941493 w 12188817"/>
              <a:gd name="connsiteY694" fmla="*/ 6456694 h 6857997"/>
              <a:gd name="connsiteX695" fmla="*/ 5941493 w 12188817"/>
              <a:gd name="connsiteY695" fmla="*/ 6521015 h 6857997"/>
              <a:gd name="connsiteX696" fmla="*/ 5951746 w 12188817"/>
              <a:gd name="connsiteY696" fmla="*/ 6521015 h 6857997"/>
              <a:gd name="connsiteX697" fmla="*/ 5951746 w 12188817"/>
              <a:gd name="connsiteY697" fmla="*/ 6456694 h 6857997"/>
              <a:gd name="connsiteX698" fmla="*/ 5963607 w 12188817"/>
              <a:gd name="connsiteY698" fmla="*/ 6456694 h 6857997"/>
              <a:gd name="connsiteX699" fmla="*/ 5963607 w 12188817"/>
              <a:gd name="connsiteY699" fmla="*/ 6446927 h 6857997"/>
              <a:gd name="connsiteX700" fmla="*/ 5951746 w 12188817"/>
              <a:gd name="connsiteY700" fmla="*/ 6446927 h 6857997"/>
              <a:gd name="connsiteX701" fmla="*/ 5951746 w 12188817"/>
              <a:gd name="connsiteY701" fmla="*/ 6440090 h 6857997"/>
              <a:gd name="connsiteX702" fmla="*/ 5953735 w 12188817"/>
              <a:gd name="connsiteY702" fmla="*/ 6430916 h 6857997"/>
              <a:gd name="connsiteX703" fmla="*/ 5960327 w 12188817"/>
              <a:gd name="connsiteY703" fmla="*/ 6428509 h 6857997"/>
              <a:gd name="connsiteX704" fmla="*/ 5966397 w 12188817"/>
              <a:gd name="connsiteY704" fmla="*/ 6429207 h 6857997"/>
              <a:gd name="connsiteX705" fmla="*/ 5967205 w 12188817"/>
              <a:gd name="connsiteY705" fmla="*/ 6423469 h 6857997"/>
              <a:gd name="connsiteX706" fmla="*/ 5967205 w 12188817"/>
              <a:gd name="connsiteY706" fmla="*/ 6433183 h 6857997"/>
              <a:gd name="connsiteX707" fmla="*/ 5977462 w 12188817"/>
              <a:gd name="connsiteY707" fmla="*/ 6433183 h 6857997"/>
              <a:gd name="connsiteX708" fmla="*/ 5977462 w 12188817"/>
              <a:gd name="connsiteY708" fmla="*/ 6418742 h 6857997"/>
              <a:gd name="connsiteX709" fmla="*/ 5967872 w 12188817"/>
              <a:gd name="connsiteY709" fmla="*/ 6418742 h 6857997"/>
              <a:gd name="connsiteX710" fmla="*/ 5967932 w 12188817"/>
              <a:gd name="connsiteY710" fmla="*/ 6418324 h 6857997"/>
              <a:gd name="connsiteX711" fmla="*/ 5958279 w 12188817"/>
              <a:gd name="connsiteY711" fmla="*/ 6416998 h 6857997"/>
              <a:gd name="connsiteX712" fmla="*/ 883226 w 12188817"/>
              <a:gd name="connsiteY712" fmla="*/ 6416998 h 6857997"/>
              <a:gd name="connsiteX713" fmla="*/ 862262 w 12188817"/>
              <a:gd name="connsiteY713" fmla="*/ 6423591 h 6857997"/>
              <a:gd name="connsiteX714" fmla="*/ 846181 w 12188817"/>
              <a:gd name="connsiteY714" fmla="*/ 6442532 h 6857997"/>
              <a:gd name="connsiteX715" fmla="*/ 840042 w 12188817"/>
              <a:gd name="connsiteY715" fmla="*/ 6469670 h 6857997"/>
              <a:gd name="connsiteX716" fmla="*/ 852460 w 12188817"/>
              <a:gd name="connsiteY716" fmla="*/ 6506539 h 6857997"/>
              <a:gd name="connsiteX717" fmla="*/ 883226 w 12188817"/>
              <a:gd name="connsiteY717" fmla="*/ 6522271 h 6857997"/>
              <a:gd name="connsiteX718" fmla="*/ 904190 w 12188817"/>
              <a:gd name="connsiteY718" fmla="*/ 6515678 h 6857997"/>
              <a:gd name="connsiteX719" fmla="*/ 920270 w 12188817"/>
              <a:gd name="connsiteY719" fmla="*/ 6496738 h 6857997"/>
              <a:gd name="connsiteX720" fmla="*/ 926409 w 12188817"/>
              <a:gd name="connsiteY720" fmla="*/ 6469670 h 6857997"/>
              <a:gd name="connsiteX721" fmla="*/ 913991 w 12188817"/>
              <a:gd name="connsiteY721" fmla="*/ 6432765 h 6857997"/>
              <a:gd name="connsiteX722" fmla="*/ 883226 w 12188817"/>
              <a:gd name="connsiteY722" fmla="*/ 6416998 h 6857997"/>
              <a:gd name="connsiteX723" fmla="*/ 5757197 w 12188817"/>
              <a:gd name="connsiteY723" fmla="*/ 6416929 h 6857997"/>
              <a:gd name="connsiteX724" fmla="*/ 5737086 w 12188817"/>
              <a:gd name="connsiteY724" fmla="*/ 6422897 h 6857997"/>
              <a:gd name="connsiteX725" fmla="*/ 5722805 w 12188817"/>
              <a:gd name="connsiteY725" fmla="*/ 6440559 h 6857997"/>
              <a:gd name="connsiteX726" fmla="*/ 5717533 w 12188817"/>
              <a:gd name="connsiteY726" fmla="*/ 6469146 h 6857997"/>
              <a:gd name="connsiteX727" fmla="*/ 5722800 w 12188817"/>
              <a:gd name="connsiteY727" fmla="*/ 6498815 h 6857997"/>
              <a:gd name="connsiteX728" fmla="*/ 5736334 w 12188817"/>
              <a:gd name="connsiteY728" fmla="*/ 6517070 h 6857997"/>
              <a:gd name="connsiteX729" fmla="*/ 5756252 w 12188817"/>
              <a:gd name="connsiteY729" fmla="*/ 6522759 h 6857997"/>
              <a:gd name="connsiteX730" fmla="*/ 5778750 w 12188817"/>
              <a:gd name="connsiteY730" fmla="*/ 6514283 h 6857997"/>
              <a:gd name="connsiteX731" fmla="*/ 5791691 w 12188817"/>
              <a:gd name="connsiteY731" fmla="*/ 6488575 h 6857997"/>
              <a:gd name="connsiteX732" fmla="*/ 5780529 w 12188817"/>
              <a:gd name="connsiteY732" fmla="*/ 6485157 h 6857997"/>
              <a:gd name="connsiteX733" fmla="*/ 5771703 w 12188817"/>
              <a:gd name="connsiteY733" fmla="*/ 6504726 h 6857997"/>
              <a:gd name="connsiteX734" fmla="*/ 5756044 w 12188817"/>
              <a:gd name="connsiteY734" fmla="*/ 6511179 h 6857997"/>
              <a:gd name="connsiteX735" fmla="*/ 5736369 w 12188817"/>
              <a:gd name="connsiteY735" fmla="*/ 6500671 h 6857997"/>
              <a:gd name="connsiteX736" fmla="*/ 5728974 w 12188817"/>
              <a:gd name="connsiteY736" fmla="*/ 6469145 h 6857997"/>
              <a:gd name="connsiteX737" fmla="*/ 5732642 w 12188817"/>
              <a:gd name="connsiteY737" fmla="*/ 6446175 h 6857997"/>
              <a:gd name="connsiteX738" fmla="*/ 5742458 w 12188817"/>
              <a:gd name="connsiteY738" fmla="*/ 6432804 h 6857997"/>
              <a:gd name="connsiteX739" fmla="*/ 5756988 w 12188817"/>
              <a:gd name="connsiteY739" fmla="*/ 6428509 h 6857997"/>
              <a:gd name="connsiteX740" fmla="*/ 5779412 w 12188817"/>
              <a:gd name="connsiteY740" fmla="*/ 6449787 h 6857997"/>
              <a:gd name="connsiteX741" fmla="*/ 5790296 w 12188817"/>
              <a:gd name="connsiteY741" fmla="*/ 6446648 h 6857997"/>
              <a:gd name="connsiteX742" fmla="*/ 5778077 w 12188817"/>
              <a:gd name="connsiteY742" fmla="*/ 6424480 h 6857997"/>
              <a:gd name="connsiteX743" fmla="*/ 5757197 w 12188817"/>
              <a:gd name="connsiteY743" fmla="*/ 6416929 h 6857997"/>
              <a:gd name="connsiteX744" fmla="*/ 2249524 w 12188817"/>
              <a:gd name="connsiteY744" fmla="*/ 6416929 h 6857997"/>
              <a:gd name="connsiteX745" fmla="*/ 2227897 w 12188817"/>
              <a:gd name="connsiteY745" fmla="*/ 6424812 h 6857997"/>
              <a:gd name="connsiteX746" fmla="*/ 2219874 w 12188817"/>
              <a:gd name="connsiteY746" fmla="*/ 6445113 h 6857997"/>
              <a:gd name="connsiteX747" fmla="*/ 2222665 w 12188817"/>
              <a:gd name="connsiteY747" fmla="*/ 6457496 h 6857997"/>
              <a:gd name="connsiteX748" fmla="*/ 2230478 w 12188817"/>
              <a:gd name="connsiteY748" fmla="*/ 6466530 h 6857997"/>
              <a:gd name="connsiteX749" fmla="*/ 2247361 w 12188817"/>
              <a:gd name="connsiteY749" fmla="*/ 6473609 h 6857997"/>
              <a:gd name="connsiteX750" fmla="*/ 2264697 w 12188817"/>
              <a:gd name="connsiteY750" fmla="*/ 6479711 h 6857997"/>
              <a:gd name="connsiteX751" fmla="*/ 2270697 w 12188817"/>
              <a:gd name="connsiteY751" fmla="*/ 6485246 h 6857997"/>
              <a:gd name="connsiteX752" fmla="*/ 2272685 w 12188817"/>
              <a:gd name="connsiteY752" fmla="*/ 6493147 h 6857997"/>
              <a:gd name="connsiteX753" fmla="*/ 2267209 w 12188817"/>
              <a:gd name="connsiteY753" fmla="*/ 6505713 h 6857997"/>
              <a:gd name="connsiteX754" fmla="*/ 2251826 w 12188817"/>
              <a:gd name="connsiteY754" fmla="*/ 6510551 h 6857997"/>
              <a:gd name="connsiteX755" fmla="*/ 2239408 w 12188817"/>
              <a:gd name="connsiteY755" fmla="*/ 6507690 h 6857997"/>
              <a:gd name="connsiteX756" fmla="*/ 2230932 w 12188817"/>
              <a:gd name="connsiteY756" fmla="*/ 6500121 h 6857997"/>
              <a:gd name="connsiteX757" fmla="*/ 2227130 w 12188817"/>
              <a:gd name="connsiteY757" fmla="*/ 6486971 h 6857997"/>
              <a:gd name="connsiteX758" fmla="*/ 2216665 w 12188817"/>
              <a:gd name="connsiteY758" fmla="*/ 6488087 h 6857997"/>
              <a:gd name="connsiteX759" fmla="*/ 2226258 w 12188817"/>
              <a:gd name="connsiteY759" fmla="*/ 6513411 h 6857997"/>
              <a:gd name="connsiteX760" fmla="*/ 2251059 w 12188817"/>
              <a:gd name="connsiteY760" fmla="*/ 6522759 h 6857997"/>
              <a:gd name="connsiteX761" fmla="*/ 2268116 w 12188817"/>
              <a:gd name="connsiteY761" fmla="*/ 6518996 h 6857997"/>
              <a:gd name="connsiteX762" fmla="*/ 2279313 w 12188817"/>
              <a:gd name="connsiteY762" fmla="*/ 6508020 h 6857997"/>
              <a:gd name="connsiteX763" fmla="*/ 2283429 w 12188817"/>
              <a:gd name="connsiteY763" fmla="*/ 6492028 h 6857997"/>
              <a:gd name="connsiteX764" fmla="*/ 2279514 w 12188817"/>
              <a:gd name="connsiteY764" fmla="*/ 6476800 h 6857997"/>
              <a:gd name="connsiteX765" fmla="*/ 2267928 w 12188817"/>
              <a:gd name="connsiteY765" fmla="*/ 6466500 h 6857997"/>
              <a:gd name="connsiteX766" fmla="*/ 2250496 w 12188817"/>
              <a:gd name="connsiteY766" fmla="*/ 6460543 h 6857997"/>
              <a:gd name="connsiteX767" fmla="*/ 2234177 w 12188817"/>
              <a:gd name="connsiteY767" fmla="*/ 6453621 h 6857997"/>
              <a:gd name="connsiteX768" fmla="*/ 2230548 w 12188817"/>
              <a:gd name="connsiteY768" fmla="*/ 6443995 h 6857997"/>
              <a:gd name="connsiteX769" fmla="*/ 2235501 w 12188817"/>
              <a:gd name="connsiteY769" fmla="*/ 6433078 h 6857997"/>
              <a:gd name="connsiteX770" fmla="*/ 2249873 w 12188817"/>
              <a:gd name="connsiteY770" fmla="*/ 6428858 h 6857997"/>
              <a:gd name="connsiteX771" fmla="*/ 2264279 w 12188817"/>
              <a:gd name="connsiteY771" fmla="*/ 6433672 h 6857997"/>
              <a:gd name="connsiteX772" fmla="*/ 2270243 w 12188817"/>
              <a:gd name="connsiteY772" fmla="*/ 6448462 h 6857997"/>
              <a:gd name="connsiteX773" fmla="*/ 2280917 w 12188817"/>
              <a:gd name="connsiteY773" fmla="*/ 6447485 h 6857997"/>
              <a:gd name="connsiteX774" fmla="*/ 2276766 w 12188817"/>
              <a:gd name="connsiteY774" fmla="*/ 6431230 h 6857997"/>
              <a:gd name="connsiteX775" fmla="*/ 2265883 w 12188817"/>
              <a:gd name="connsiteY775" fmla="*/ 6420626 h 6857997"/>
              <a:gd name="connsiteX776" fmla="*/ 2249524 w 12188817"/>
              <a:gd name="connsiteY776" fmla="*/ 6416929 h 6857997"/>
              <a:gd name="connsiteX777" fmla="*/ 2107518 w 12188817"/>
              <a:gd name="connsiteY777" fmla="*/ 6416929 h 6857997"/>
              <a:gd name="connsiteX778" fmla="*/ 2085892 w 12188817"/>
              <a:gd name="connsiteY778" fmla="*/ 6422827 h 6857997"/>
              <a:gd name="connsiteX779" fmla="*/ 2071102 w 12188817"/>
              <a:gd name="connsiteY779" fmla="*/ 6441152 h 6857997"/>
              <a:gd name="connsiteX780" fmla="*/ 2065451 w 12188817"/>
              <a:gd name="connsiteY780" fmla="*/ 6470332 h 6857997"/>
              <a:gd name="connsiteX781" fmla="*/ 2071067 w 12188817"/>
              <a:gd name="connsiteY781" fmla="*/ 6498675 h 6857997"/>
              <a:gd name="connsiteX782" fmla="*/ 2086310 w 12188817"/>
              <a:gd name="connsiteY782" fmla="*/ 6516616 h 6857997"/>
              <a:gd name="connsiteX783" fmla="*/ 2108216 w 12188817"/>
              <a:gd name="connsiteY783" fmla="*/ 6522759 h 6857997"/>
              <a:gd name="connsiteX784" fmla="*/ 2126145 w 12188817"/>
              <a:gd name="connsiteY784" fmla="*/ 6518748 h 6857997"/>
              <a:gd name="connsiteX785" fmla="*/ 2143028 w 12188817"/>
              <a:gd name="connsiteY785" fmla="*/ 6506784 h 6857997"/>
              <a:gd name="connsiteX786" fmla="*/ 2143028 w 12188817"/>
              <a:gd name="connsiteY786" fmla="*/ 6468763 h 6857997"/>
              <a:gd name="connsiteX787" fmla="*/ 2107518 w 12188817"/>
              <a:gd name="connsiteY787" fmla="*/ 6468832 h 6857997"/>
              <a:gd name="connsiteX788" fmla="*/ 2107518 w 12188817"/>
              <a:gd name="connsiteY788" fmla="*/ 6480901 h 6857997"/>
              <a:gd name="connsiteX789" fmla="*/ 2132145 w 12188817"/>
              <a:gd name="connsiteY789" fmla="*/ 6480901 h 6857997"/>
              <a:gd name="connsiteX790" fmla="*/ 2132145 w 12188817"/>
              <a:gd name="connsiteY790" fmla="*/ 6499947 h 6857997"/>
              <a:gd name="connsiteX791" fmla="*/ 2121227 w 12188817"/>
              <a:gd name="connsiteY791" fmla="*/ 6507411 h 6857997"/>
              <a:gd name="connsiteX792" fmla="*/ 2107798 w 12188817"/>
              <a:gd name="connsiteY792" fmla="*/ 6510551 h 6857997"/>
              <a:gd name="connsiteX793" fmla="*/ 2085473 w 12188817"/>
              <a:gd name="connsiteY793" fmla="*/ 6500322 h 6857997"/>
              <a:gd name="connsiteX794" fmla="*/ 2076892 w 12188817"/>
              <a:gd name="connsiteY794" fmla="*/ 6469565 h 6857997"/>
              <a:gd name="connsiteX795" fmla="*/ 2080904 w 12188817"/>
              <a:gd name="connsiteY795" fmla="*/ 6446733 h 6857997"/>
              <a:gd name="connsiteX796" fmla="*/ 2091508 w 12188817"/>
              <a:gd name="connsiteY796" fmla="*/ 6432943 h 6857997"/>
              <a:gd name="connsiteX797" fmla="*/ 2107239 w 12188817"/>
              <a:gd name="connsiteY797" fmla="*/ 6428509 h 6857997"/>
              <a:gd name="connsiteX798" fmla="*/ 2118541 w 12188817"/>
              <a:gd name="connsiteY798" fmla="*/ 6430951 h 6857997"/>
              <a:gd name="connsiteX799" fmla="*/ 2126634 w 12188817"/>
              <a:gd name="connsiteY799" fmla="*/ 6437683 h 6857997"/>
              <a:gd name="connsiteX800" fmla="*/ 2131726 w 12188817"/>
              <a:gd name="connsiteY800" fmla="*/ 6450624 h 6857997"/>
              <a:gd name="connsiteX801" fmla="*/ 2141702 w 12188817"/>
              <a:gd name="connsiteY801" fmla="*/ 6447276 h 6857997"/>
              <a:gd name="connsiteX802" fmla="*/ 2135005 w 12188817"/>
              <a:gd name="connsiteY802" fmla="*/ 6430044 h 6857997"/>
              <a:gd name="connsiteX803" fmla="*/ 2123634 w 12188817"/>
              <a:gd name="connsiteY803" fmla="*/ 6420347 h 6857997"/>
              <a:gd name="connsiteX804" fmla="*/ 2107518 w 12188817"/>
              <a:gd name="connsiteY804" fmla="*/ 6416929 h 6857997"/>
              <a:gd name="connsiteX805" fmla="*/ 1516099 w 12188817"/>
              <a:gd name="connsiteY805" fmla="*/ 6416929 h 6857997"/>
              <a:gd name="connsiteX806" fmla="*/ 1494472 w 12188817"/>
              <a:gd name="connsiteY806" fmla="*/ 6424812 h 6857997"/>
              <a:gd name="connsiteX807" fmla="*/ 1486449 w 12188817"/>
              <a:gd name="connsiteY807" fmla="*/ 6445113 h 6857997"/>
              <a:gd name="connsiteX808" fmla="*/ 1489240 w 12188817"/>
              <a:gd name="connsiteY808" fmla="*/ 6457496 h 6857997"/>
              <a:gd name="connsiteX809" fmla="*/ 1497053 w 12188817"/>
              <a:gd name="connsiteY809" fmla="*/ 6466530 h 6857997"/>
              <a:gd name="connsiteX810" fmla="*/ 1513936 w 12188817"/>
              <a:gd name="connsiteY810" fmla="*/ 6473609 h 6857997"/>
              <a:gd name="connsiteX811" fmla="*/ 1531272 w 12188817"/>
              <a:gd name="connsiteY811" fmla="*/ 6479711 h 6857997"/>
              <a:gd name="connsiteX812" fmla="*/ 1537272 w 12188817"/>
              <a:gd name="connsiteY812" fmla="*/ 6485246 h 6857997"/>
              <a:gd name="connsiteX813" fmla="*/ 1539260 w 12188817"/>
              <a:gd name="connsiteY813" fmla="*/ 6493147 h 6857997"/>
              <a:gd name="connsiteX814" fmla="*/ 1533784 w 12188817"/>
              <a:gd name="connsiteY814" fmla="*/ 6505713 h 6857997"/>
              <a:gd name="connsiteX815" fmla="*/ 1518401 w 12188817"/>
              <a:gd name="connsiteY815" fmla="*/ 6510551 h 6857997"/>
              <a:gd name="connsiteX816" fmla="*/ 1505983 w 12188817"/>
              <a:gd name="connsiteY816" fmla="*/ 6507690 h 6857997"/>
              <a:gd name="connsiteX817" fmla="*/ 1497507 w 12188817"/>
              <a:gd name="connsiteY817" fmla="*/ 6500121 h 6857997"/>
              <a:gd name="connsiteX818" fmla="*/ 1493705 w 12188817"/>
              <a:gd name="connsiteY818" fmla="*/ 6486971 h 6857997"/>
              <a:gd name="connsiteX819" fmla="*/ 1483240 w 12188817"/>
              <a:gd name="connsiteY819" fmla="*/ 6488087 h 6857997"/>
              <a:gd name="connsiteX820" fmla="*/ 1492833 w 12188817"/>
              <a:gd name="connsiteY820" fmla="*/ 6513411 h 6857997"/>
              <a:gd name="connsiteX821" fmla="*/ 1517633 w 12188817"/>
              <a:gd name="connsiteY821" fmla="*/ 6522759 h 6857997"/>
              <a:gd name="connsiteX822" fmla="*/ 1534691 w 12188817"/>
              <a:gd name="connsiteY822" fmla="*/ 6518996 h 6857997"/>
              <a:gd name="connsiteX823" fmla="*/ 1545887 w 12188817"/>
              <a:gd name="connsiteY823" fmla="*/ 6508020 h 6857997"/>
              <a:gd name="connsiteX824" fmla="*/ 1550004 w 12188817"/>
              <a:gd name="connsiteY824" fmla="*/ 6492028 h 6857997"/>
              <a:gd name="connsiteX825" fmla="*/ 1546089 w 12188817"/>
              <a:gd name="connsiteY825" fmla="*/ 6476800 h 6857997"/>
              <a:gd name="connsiteX826" fmla="*/ 1534503 w 12188817"/>
              <a:gd name="connsiteY826" fmla="*/ 6466500 h 6857997"/>
              <a:gd name="connsiteX827" fmla="*/ 1517071 w 12188817"/>
              <a:gd name="connsiteY827" fmla="*/ 6460543 h 6857997"/>
              <a:gd name="connsiteX828" fmla="*/ 1500752 w 12188817"/>
              <a:gd name="connsiteY828" fmla="*/ 6453621 h 6857997"/>
              <a:gd name="connsiteX829" fmla="*/ 1497123 w 12188817"/>
              <a:gd name="connsiteY829" fmla="*/ 6443995 h 6857997"/>
              <a:gd name="connsiteX830" fmla="*/ 1502076 w 12188817"/>
              <a:gd name="connsiteY830" fmla="*/ 6433078 h 6857997"/>
              <a:gd name="connsiteX831" fmla="*/ 1516448 w 12188817"/>
              <a:gd name="connsiteY831" fmla="*/ 6428858 h 6857997"/>
              <a:gd name="connsiteX832" fmla="*/ 1530854 w 12188817"/>
              <a:gd name="connsiteY832" fmla="*/ 6433672 h 6857997"/>
              <a:gd name="connsiteX833" fmla="*/ 1536818 w 12188817"/>
              <a:gd name="connsiteY833" fmla="*/ 6448462 h 6857997"/>
              <a:gd name="connsiteX834" fmla="*/ 1547492 w 12188817"/>
              <a:gd name="connsiteY834" fmla="*/ 6447485 h 6857997"/>
              <a:gd name="connsiteX835" fmla="*/ 1543341 w 12188817"/>
              <a:gd name="connsiteY835" fmla="*/ 6431230 h 6857997"/>
              <a:gd name="connsiteX836" fmla="*/ 1532458 w 12188817"/>
              <a:gd name="connsiteY836" fmla="*/ 6420626 h 6857997"/>
              <a:gd name="connsiteX837" fmla="*/ 1516099 w 12188817"/>
              <a:gd name="connsiteY837" fmla="*/ 6416929 h 6857997"/>
              <a:gd name="connsiteX838" fmla="*/ 999308 w 12188817"/>
              <a:gd name="connsiteY838" fmla="*/ 6416929 h 6857997"/>
              <a:gd name="connsiteX839" fmla="*/ 979197 w 12188817"/>
              <a:gd name="connsiteY839" fmla="*/ 6422897 h 6857997"/>
              <a:gd name="connsiteX840" fmla="*/ 964916 w 12188817"/>
              <a:gd name="connsiteY840" fmla="*/ 6440559 h 6857997"/>
              <a:gd name="connsiteX841" fmla="*/ 959644 w 12188817"/>
              <a:gd name="connsiteY841" fmla="*/ 6469146 h 6857997"/>
              <a:gd name="connsiteX842" fmla="*/ 964911 w 12188817"/>
              <a:gd name="connsiteY842" fmla="*/ 6498815 h 6857997"/>
              <a:gd name="connsiteX843" fmla="*/ 978445 w 12188817"/>
              <a:gd name="connsiteY843" fmla="*/ 6517070 h 6857997"/>
              <a:gd name="connsiteX844" fmla="*/ 998363 w 12188817"/>
              <a:gd name="connsiteY844" fmla="*/ 6522759 h 6857997"/>
              <a:gd name="connsiteX845" fmla="*/ 1020862 w 12188817"/>
              <a:gd name="connsiteY845" fmla="*/ 6514283 h 6857997"/>
              <a:gd name="connsiteX846" fmla="*/ 1033803 w 12188817"/>
              <a:gd name="connsiteY846" fmla="*/ 6488575 h 6857997"/>
              <a:gd name="connsiteX847" fmla="*/ 1022640 w 12188817"/>
              <a:gd name="connsiteY847" fmla="*/ 6485157 h 6857997"/>
              <a:gd name="connsiteX848" fmla="*/ 1013815 w 12188817"/>
              <a:gd name="connsiteY848" fmla="*/ 6504726 h 6857997"/>
              <a:gd name="connsiteX849" fmla="*/ 998154 w 12188817"/>
              <a:gd name="connsiteY849" fmla="*/ 6511179 h 6857997"/>
              <a:gd name="connsiteX850" fmla="*/ 978480 w 12188817"/>
              <a:gd name="connsiteY850" fmla="*/ 6500671 h 6857997"/>
              <a:gd name="connsiteX851" fmla="*/ 971086 w 12188817"/>
              <a:gd name="connsiteY851" fmla="*/ 6469145 h 6857997"/>
              <a:gd name="connsiteX852" fmla="*/ 974753 w 12188817"/>
              <a:gd name="connsiteY852" fmla="*/ 6446175 h 6857997"/>
              <a:gd name="connsiteX853" fmla="*/ 984568 w 12188817"/>
              <a:gd name="connsiteY853" fmla="*/ 6432804 h 6857997"/>
              <a:gd name="connsiteX854" fmla="*/ 999100 w 12188817"/>
              <a:gd name="connsiteY854" fmla="*/ 6428509 h 6857997"/>
              <a:gd name="connsiteX855" fmla="*/ 1021524 w 12188817"/>
              <a:gd name="connsiteY855" fmla="*/ 6449787 h 6857997"/>
              <a:gd name="connsiteX856" fmla="*/ 1032407 w 12188817"/>
              <a:gd name="connsiteY856" fmla="*/ 6446648 h 6857997"/>
              <a:gd name="connsiteX857" fmla="*/ 1020187 w 12188817"/>
              <a:gd name="connsiteY857" fmla="*/ 6424480 h 6857997"/>
              <a:gd name="connsiteX858" fmla="*/ 999308 w 12188817"/>
              <a:gd name="connsiteY858" fmla="*/ 6416929 h 6857997"/>
              <a:gd name="connsiteX859" fmla="*/ 10831505 w 12188817"/>
              <a:gd name="connsiteY859" fmla="*/ 6415084 h 6857997"/>
              <a:gd name="connsiteX860" fmla="*/ 10873860 w 12188817"/>
              <a:gd name="connsiteY860" fmla="*/ 6415084 h 6857997"/>
              <a:gd name="connsiteX861" fmla="*/ 10904530 w 12188817"/>
              <a:gd name="connsiteY861" fmla="*/ 6430343 h 6857997"/>
              <a:gd name="connsiteX862" fmla="*/ 10873860 w 12188817"/>
              <a:gd name="connsiteY862" fmla="*/ 6445247 h 6857997"/>
              <a:gd name="connsiteX863" fmla="*/ 10831505 w 12188817"/>
              <a:gd name="connsiteY863" fmla="*/ 6445247 h 6857997"/>
              <a:gd name="connsiteX864" fmla="*/ 11108524 w 12188817"/>
              <a:gd name="connsiteY864" fmla="*/ 6410322 h 6857997"/>
              <a:gd name="connsiteX865" fmla="*/ 11152180 w 12188817"/>
              <a:gd name="connsiteY865" fmla="*/ 6454961 h 6857997"/>
              <a:gd name="connsiteX866" fmla="*/ 11108524 w 12188817"/>
              <a:gd name="connsiteY866" fmla="*/ 6499222 h 6857997"/>
              <a:gd name="connsiteX867" fmla="*/ 11064867 w 12188817"/>
              <a:gd name="connsiteY867" fmla="*/ 6453827 h 6857997"/>
              <a:gd name="connsiteX868" fmla="*/ 11108524 w 12188817"/>
              <a:gd name="connsiteY868" fmla="*/ 6410322 h 6857997"/>
              <a:gd name="connsiteX869" fmla="*/ 11212505 w 12188817"/>
              <a:gd name="connsiteY869" fmla="*/ 6391272 h 6857997"/>
              <a:gd name="connsiteX870" fmla="*/ 11212505 w 12188817"/>
              <a:gd name="connsiteY870" fmla="*/ 6518272 h 6857997"/>
              <a:gd name="connsiteX871" fmla="*/ 11246059 w 12188817"/>
              <a:gd name="connsiteY871" fmla="*/ 6518272 h 6857997"/>
              <a:gd name="connsiteX872" fmla="*/ 11246059 w 12188817"/>
              <a:gd name="connsiteY872" fmla="*/ 6422083 h 6857997"/>
              <a:gd name="connsiteX873" fmla="*/ 11315692 w 12188817"/>
              <a:gd name="connsiteY873" fmla="*/ 6518272 h 6857997"/>
              <a:gd name="connsiteX874" fmla="*/ 11355380 w 12188817"/>
              <a:gd name="connsiteY874" fmla="*/ 6518272 h 6857997"/>
              <a:gd name="connsiteX875" fmla="*/ 11355380 w 12188817"/>
              <a:gd name="connsiteY875" fmla="*/ 6391272 h 6857997"/>
              <a:gd name="connsiteX876" fmla="*/ 11322187 w 12188817"/>
              <a:gd name="connsiteY876" fmla="*/ 6391272 h 6857997"/>
              <a:gd name="connsiteX877" fmla="*/ 11322187 w 12188817"/>
              <a:gd name="connsiteY877" fmla="*/ 6482577 h 6857997"/>
              <a:gd name="connsiteX878" fmla="*/ 11255800 w 12188817"/>
              <a:gd name="connsiteY878" fmla="*/ 6391272 h 6857997"/>
              <a:gd name="connsiteX879" fmla="*/ 10968030 w 12188817"/>
              <a:gd name="connsiteY879" fmla="*/ 6391272 h 6857997"/>
              <a:gd name="connsiteX880" fmla="*/ 10968030 w 12188817"/>
              <a:gd name="connsiteY880" fmla="*/ 6518272 h 6857997"/>
              <a:gd name="connsiteX881" fmla="*/ 11002955 w 12188817"/>
              <a:gd name="connsiteY881" fmla="*/ 6518272 h 6857997"/>
              <a:gd name="connsiteX882" fmla="*/ 11002955 w 12188817"/>
              <a:gd name="connsiteY882" fmla="*/ 6391272 h 6857997"/>
              <a:gd name="connsiteX883" fmla="*/ 10798167 w 12188817"/>
              <a:gd name="connsiteY883" fmla="*/ 6391272 h 6857997"/>
              <a:gd name="connsiteX884" fmla="*/ 10798167 w 12188817"/>
              <a:gd name="connsiteY884" fmla="*/ 6518272 h 6857997"/>
              <a:gd name="connsiteX885" fmla="*/ 10832210 w 12188817"/>
              <a:gd name="connsiteY885" fmla="*/ 6518272 h 6857997"/>
              <a:gd name="connsiteX886" fmla="*/ 10832210 w 12188817"/>
              <a:gd name="connsiteY886" fmla="*/ 6468299 h 6857997"/>
              <a:gd name="connsiteX887" fmla="*/ 10871986 w 12188817"/>
              <a:gd name="connsiteY887" fmla="*/ 6468299 h 6857997"/>
              <a:gd name="connsiteX888" fmla="*/ 10907462 w 12188817"/>
              <a:gd name="connsiteY888" fmla="*/ 6518272 h 6857997"/>
              <a:gd name="connsiteX889" fmla="*/ 10945805 w 12188817"/>
              <a:gd name="connsiteY889" fmla="*/ 6518272 h 6857997"/>
              <a:gd name="connsiteX890" fmla="*/ 10905670 w 12188817"/>
              <a:gd name="connsiteY890" fmla="*/ 6465293 h 6857997"/>
              <a:gd name="connsiteX891" fmla="*/ 10938280 w 12188817"/>
              <a:gd name="connsiteY891" fmla="*/ 6429598 h 6857997"/>
              <a:gd name="connsiteX892" fmla="*/ 10881661 w 12188817"/>
              <a:gd name="connsiteY892" fmla="*/ 6391272 h 6857997"/>
              <a:gd name="connsiteX893" fmla="*/ 10728317 w 12188817"/>
              <a:gd name="connsiteY893" fmla="*/ 6391272 h 6857997"/>
              <a:gd name="connsiteX894" fmla="*/ 10728317 w 12188817"/>
              <a:gd name="connsiteY894" fmla="*/ 6518272 h 6857997"/>
              <a:gd name="connsiteX895" fmla="*/ 10763242 w 12188817"/>
              <a:gd name="connsiteY895" fmla="*/ 6518272 h 6857997"/>
              <a:gd name="connsiteX896" fmla="*/ 10763242 w 12188817"/>
              <a:gd name="connsiteY896" fmla="*/ 6391272 h 6857997"/>
              <a:gd name="connsiteX897" fmla="*/ 10604321 w 12188817"/>
              <a:gd name="connsiteY897" fmla="*/ 6391272 h 6857997"/>
              <a:gd name="connsiteX898" fmla="*/ 10547342 w 12188817"/>
              <a:gd name="connsiteY898" fmla="*/ 6429973 h 6857997"/>
              <a:gd name="connsiteX899" fmla="*/ 10601436 w 12188817"/>
              <a:gd name="connsiteY899" fmla="*/ 6466420 h 6857997"/>
              <a:gd name="connsiteX900" fmla="*/ 10641466 w 12188817"/>
              <a:gd name="connsiteY900" fmla="*/ 6466420 h 6857997"/>
              <a:gd name="connsiteX901" fmla="*/ 10665628 w 12188817"/>
              <a:gd name="connsiteY901" fmla="*/ 6481074 h 6857997"/>
              <a:gd name="connsiteX902" fmla="*/ 10639302 w 12188817"/>
              <a:gd name="connsiteY902" fmla="*/ 6495352 h 6857997"/>
              <a:gd name="connsiteX903" fmla="*/ 10553833 w 12188817"/>
              <a:gd name="connsiteY903" fmla="*/ 6495352 h 6857997"/>
              <a:gd name="connsiteX904" fmla="*/ 10553833 w 12188817"/>
              <a:gd name="connsiteY904" fmla="*/ 6518272 h 6857997"/>
              <a:gd name="connsiteX905" fmla="*/ 10644711 w 12188817"/>
              <a:gd name="connsiteY905" fmla="*/ 6518272 h 6857997"/>
              <a:gd name="connsiteX906" fmla="*/ 10701330 w 12188817"/>
              <a:gd name="connsiteY906" fmla="*/ 6480323 h 6857997"/>
              <a:gd name="connsiteX907" fmla="*/ 10649760 w 12188817"/>
              <a:gd name="connsiteY907" fmla="*/ 6444252 h 6857997"/>
              <a:gd name="connsiteX908" fmla="*/ 10604321 w 12188817"/>
              <a:gd name="connsiteY908" fmla="*/ 6444252 h 6857997"/>
              <a:gd name="connsiteX909" fmla="*/ 10583044 w 12188817"/>
              <a:gd name="connsiteY909" fmla="*/ 6430349 h 6857997"/>
              <a:gd name="connsiteX910" fmla="*/ 10609009 w 12188817"/>
              <a:gd name="connsiteY910" fmla="*/ 6413817 h 6857997"/>
              <a:gd name="connsiteX911" fmla="*/ 10693396 w 12188817"/>
              <a:gd name="connsiteY911" fmla="*/ 6413817 h 6857997"/>
              <a:gd name="connsiteX912" fmla="*/ 10693396 w 12188817"/>
              <a:gd name="connsiteY912" fmla="*/ 6391272 h 6857997"/>
              <a:gd name="connsiteX913" fmla="*/ 10490061 w 12188817"/>
              <a:gd name="connsiteY913" fmla="*/ 6391272 h 6857997"/>
              <a:gd name="connsiteX914" fmla="*/ 10490061 w 12188817"/>
              <a:gd name="connsiteY914" fmla="*/ 6482682 h 6857997"/>
              <a:gd name="connsiteX915" fmla="*/ 10423841 w 12188817"/>
              <a:gd name="connsiteY915" fmla="*/ 6391647 h 6857997"/>
              <a:gd name="connsiteX916" fmla="*/ 10380655 w 12188817"/>
              <a:gd name="connsiteY916" fmla="*/ 6391647 h 6857997"/>
              <a:gd name="connsiteX917" fmla="*/ 10380655 w 12188817"/>
              <a:gd name="connsiteY917" fmla="*/ 6518272 h 6857997"/>
              <a:gd name="connsiteX918" fmla="*/ 10414124 w 12188817"/>
              <a:gd name="connsiteY918" fmla="*/ 6518272 h 6857997"/>
              <a:gd name="connsiteX919" fmla="*/ 10414124 w 12188817"/>
              <a:gd name="connsiteY919" fmla="*/ 6422367 h 6857997"/>
              <a:gd name="connsiteX920" fmla="*/ 10483942 w 12188817"/>
              <a:gd name="connsiteY920" fmla="*/ 6518272 h 6857997"/>
              <a:gd name="connsiteX921" fmla="*/ 10523170 w 12188817"/>
              <a:gd name="connsiteY921" fmla="*/ 6518272 h 6857997"/>
              <a:gd name="connsiteX922" fmla="*/ 10523530 w 12188817"/>
              <a:gd name="connsiteY922" fmla="*/ 6391272 h 6857997"/>
              <a:gd name="connsiteX923" fmla="*/ 10293755 w 12188817"/>
              <a:gd name="connsiteY923" fmla="*/ 6391272 h 6857997"/>
              <a:gd name="connsiteX924" fmla="*/ 10217142 w 12188817"/>
              <a:gd name="connsiteY924" fmla="*/ 6457027 h 6857997"/>
              <a:gd name="connsiteX925" fmla="*/ 10242077 w 12188817"/>
              <a:gd name="connsiteY925" fmla="*/ 6507000 h 6857997"/>
              <a:gd name="connsiteX926" fmla="*/ 10293032 w 12188817"/>
              <a:gd name="connsiteY926" fmla="*/ 6518272 h 6857997"/>
              <a:gd name="connsiteX927" fmla="*/ 10350492 w 12188817"/>
              <a:gd name="connsiteY927" fmla="*/ 6518272 h 6857997"/>
              <a:gd name="connsiteX928" fmla="*/ 10350492 w 12188817"/>
              <a:gd name="connsiteY928" fmla="*/ 6496104 h 6857997"/>
              <a:gd name="connsiteX929" fmla="*/ 10294478 w 12188817"/>
              <a:gd name="connsiteY929" fmla="*/ 6496104 h 6857997"/>
              <a:gd name="connsiteX930" fmla="*/ 10255810 w 12188817"/>
              <a:gd name="connsiteY930" fmla="*/ 6464917 h 6857997"/>
              <a:gd name="connsiteX931" fmla="*/ 10350492 w 12188817"/>
              <a:gd name="connsiteY931" fmla="*/ 6464917 h 6857997"/>
              <a:gd name="connsiteX932" fmla="*/ 10350492 w 12188817"/>
              <a:gd name="connsiteY932" fmla="*/ 6442749 h 6857997"/>
              <a:gd name="connsiteX933" fmla="*/ 10255810 w 12188817"/>
              <a:gd name="connsiteY933" fmla="*/ 6442749 h 6857997"/>
              <a:gd name="connsiteX934" fmla="*/ 10294478 w 12188817"/>
              <a:gd name="connsiteY934" fmla="*/ 6413441 h 6857997"/>
              <a:gd name="connsiteX935" fmla="*/ 10350492 w 12188817"/>
              <a:gd name="connsiteY935" fmla="*/ 6413441 h 6857997"/>
              <a:gd name="connsiteX936" fmla="*/ 10350492 w 12188817"/>
              <a:gd name="connsiteY936" fmla="*/ 6391272 h 6857997"/>
              <a:gd name="connsiteX937" fmla="*/ 10104126 w 12188817"/>
              <a:gd name="connsiteY937" fmla="*/ 6391272 h 6857997"/>
              <a:gd name="connsiteX938" fmla="*/ 10047280 w 12188817"/>
              <a:gd name="connsiteY938" fmla="*/ 6429973 h 6857997"/>
              <a:gd name="connsiteX939" fmla="*/ 10101248 w 12188817"/>
              <a:gd name="connsiteY939" fmla="*/ 6466420 h 6857997"/>
              <a:gd name="connsiteX940" fmla="*/ 10141184 w 12188817"/>
              <a:gd name="connsiteY940" fmla="*/ 6466420 h 6857997"/>
              <a:gd name="connsiteX941" fmla="*/ 10165649 w 12188817"/>
              <a:gd name="connsiteY941" fmla="*/ 6481074 h 6857997"/>
              <a:gd name="connsiteX942" fmla="*/ 10139025 w 12188817"/>
              <a:gd name="connsiteY942" fmla="*/ 6495352 h 6857997"/>
              <a:gd name="connsiteX943" fmla="*/ 10053756 w 12188817"/>
              <a:gd name="connsiteY943" fmla="*/ 6495352 h 6857997"/>
              <a:gd name="connsiteX944" fmla="*/ 10053756 w 12188817"/>
              <a:gd name="connsiteY944" fmla="*/ 6518272 h 6857997"/>
              <a:gd name="connsiteX945" fmla="*/ 10144422 w 12188817"/>
              <a:gd name="connsiteY945" fmla="*/ 6518272 h 6857997"/>
              <a:gd name="connsiteX946" fmla="*/ 10201268 w 12188817"/>
              <a:gd name="connsiteY946" fmla="*/ 6480323 h 6857997"/>
              <a:gd name="connsiteX947" fmla="*/ 10149459 w 12188817"/>
              <a:gd name="connsiteY947" fmla="*/ 6444252 h 6857997"/>
              <a:gd name="connsiteX948" fmla="*/ 10104486 w 12188817"/>
              <a:gd name="connsiteY948" fmla="*/ 6444252 h 6857997"/>
              <a:gd name="connsiteX949" fmla="*/ 10082899 w 12188817"/>
              <a:gd name="connsiteY949" fmla="*/ 6430349 h 6857997"/>
              <a:gd name="connsiteX950" fmla="*/ 10109163 w 12188817"/>
              <a:gd name="connsiteY950" fmla="*/ 6413817 h 6857997"/>
              <a:gd name="connsiteX951" fmla="*/ 10193353 w 12188817"/>
              <a:gd name="connsiteY951" fmla="*/ 6413817 h 6857997"/>
              <a:gd name="connsiteX952" fmla="*/ 10193353 w 12188817"/>
              <a:gd name="connsiteY952" fmla="*/ 6391272 h 6857997"/>
              <a:gd name="connsiteX953" fmla="*/ 11099976 w 12188817"/>
              <a:gd name="connsiteY953" fmla="*/ 6389684 h 6857997"/>
              <a:gd name="connsiteX954" fmla="*/ 11026767 w 12188817"/>
              <a:gd name="connsiteY954" fmla="*/ 6453474 h 6857997"/>
              <a:gd name="connsiteX955" fmla="*/ 11107910 w 12188817"/>
              <a:gd name="connsiteY955" fmla="*/ 6519859 h 6857997"/>
              <a:gd name="connsiteX956" fmla="*/ 11188692 w 12188817"/>
              <a:gd name="connsiteY956" fmla="*/ 6454586 h 6857997"/>
              <a:gd name="connsiteX957" fmla="*/ 11115844 w 12188817"/>
              <a:gd name="connsiteY957" fmla="*/ 6389684 h 6857997"/>
              <a:gd name="connsiteX958" fmla="*/ 0 w 12188817"/>
              <a:gd name="connsiteY958" fmla="*/ 0 h 6857997"/>
              <a:gd name="connsiteX959" fmla="*/ 12188817 w 12188817"/>
              <a:gd name="connsiteY959" fmla="*/ 0 h 6857997"/>
              <a:gd name="connsiteX960" fmla="*/ 12188817 w 12188817"/>
              <a:gd name="connsiteY960" fmla="*/ 6857997 h 6857997"/>
              <a:gd name="connsiteX961" fmla="*/ 0 w 12188817"/>
              <a:gd name="connsiteY961" fmla="*/ 6857997 h 6857997"/>
              <a:gd name="connsiteX962" fmla="*/ 0 w 12188817"/>
              <a:gd name="connsiteY962" fmla="*/ 6237284 h 6857997"/>
              <a:gd name="connsiteX963" fmla="*/ 6095992 w 12188817"/>
              <a:gd name="connsiteY963" fmla="*/ 6237284 h 6857997"/>
              <a:gd name="connsiteX964" fmla="*/ 6095992 w 12188817"/>
              <a:gd name="connsiteY964" fmla="*/ 3141660 h 6857997"/>
              <a:gd name="connsiteX965" fmla="*/ 0 w 12188817"/>
              <a:gd name="connsiteY965" fmla="*/ 3141660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Lst>
            <a:rect l="l" t="t" r="r" b="b"/>
            <a:pathLst>
              <a:path w="12188817" h="6857997">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4" y="6483831"/>
                </a:moveTo>
                <a:lnTo>
                  <a:pt x="6291674" y="6488436"/>
                </a:lnTo>
                <a:cubicBezTo>
                  <a:pt x="6291674" y="6494528"/>
                  <a:pt x="6290930" y="6499168"/>
                  <a:pt x="6289442" y="6502354"/>
                </a:cubicBezTo>
                <a:cubicBezTo>
                  <a:pt x="6287953" y="6505539"/>
                  <a:pt x="6285709" y="6508086"/>
                  <a:pt x="6282709" y="6509993"/>
                </a:cubicBezTo>
                <a:cubicBezTo>
                  <a:pt x="6279710" y="6511900"/>
                  <a:pt x="6276373" y="6512853"/>
                  <a:pt x="6272698" y="6512853"/>
                </a:cubicBezTo>
                <a:cubicBezTo>
                  <a:pt x="6268838" y="6512853"/>
                  <a:pt x="6265815" y="6511795"/>
                  <a:pt x="6263629" y="6509679"/>
                </a:cubicBezTo>
                <a:cubicBezTo>
                  <a:pt x="6261443" y="6507563"/>
                  <a:pt x="6260350" y="6504737"/>
                  <a:pt x="6260350" y="6501203"/>
                </a:cubicBezTo>
                <a:cubicBezTo>
                  <a:pt x="6260350" y="6498924"/>
                  <a:pt x="6260827" y="6496912"/>
                  <a:pt x="6261780" y="6495168"/>
                </a:cubicBezTo>
                <a:cubicBezTo>
                  <a:pt x="6262734" y="6493424"/>
                  <a:pt x="6264071" y="6492075"/>
                  <a:pt x="6265792" y="6491122"/>
                </a:cubicBezTo>
                <a:cubicBezTo>
                  <a:pt x="6267513" y="6490168"/>
                  <a:pt x="6270536" y="6489320"/>
                  <a:pt x="6274861" y="6488575"/>
                </a:cubicBezTo>
                <a:cubicBezTo>
                  <a:pt x="6282302" y="6487273"/>
                  <a:pt x="6287907" y="6485692"/>
                  <a:pt x="6291674"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1" y="6455577"/>
                </a:moveTo>
                <a:cubicBezTo>
                  <a:pt x="6092407" y="6455577"/>
                  <a:pt x="6096616" y="6457880"/>
                  <a:pt x="6099918" y="6462484"/>
                </a:cubicBezTo>
                <a:cubicBezTo>
                  <a:pt x="6102197" y="6465647"/>
                  <a:pt x="6103569" y="6470437"/>
                  <a:pt x="6104034" y="6476855"/>
                </a:cubicBezTo>
                <a:lnTo>
                  <a:pt x="6070131" y="6476855"/>
                </a:lnTo>
                <a:cubicBezTo>
                  <a:pt x="6070459" y="6470344"/>
                  <a:pt x="6072247" y="6465170"/>
                  <a:pt x="6075502" y="6461333"/>
                </a:cubicBezTo>
                <a:cubicBezTo>
                  <a:pt x="6078757" y="6457496"/>
                  <a:pt x="6082689" y="6455577"/>
                  <a:pt x="6087291" y="6455577"/>
                </a:cubicBezTo>
                <a:close/>
                <a:moveTo>
                  <a:pt x="6018394" y="6455577"/>
                </a:moveTo>
                <a:cubicBezTo>
                  <a:pt x="6023280" y="6455577"/>
                  <a:pt x="6027331" y="6457961"/>
                  <a:pt x="6030542" y="6462728"/>
                </a:cubicBezTo>
                <a:cubicBezTo>
                  <a:pt x="6033753" y="6467495"/>
                  <a:pt x="6035357" y="6475065"/>
                  <a:pt x="6035357" y="6485436"/>
                </a:cubicBezTo>
                <a:cubicBezTo>
                  <a:pt x="6035357" y="6494459"/>
                  <a:pt x="6033753" y="6501203"/>
                  <a:pt x="6030542" y="6505667"/>
                </a:cubicBezTo>
                <a:cubicBezTo>
                  <a:pt x="6027331" y="6510132"/>
                  <a:pt x="6023537" y="6512365"/>
                  <a:pt x="6019162" y="6512365"/>
                </a:cubicBezTo>
                <a:cubicBezTo>
                  <a:pt x="6014741" y="6512365"/>
                  <a:pt x="6010868" y="6510039"/>
                  <a:pt x="6007540" y="6505388"/>
                </a:cubicBezTo>
                <a:cubicBezTo>
                  <a:pt x="6004213" y="6500737"/>
                  <a:pt x="6002547" y="6493622"/>
                  <a:pt x="6002547" y="6484041"/>
                </a:cubicBezTo>
                <a:cubicBezTo>
                  <a:pt x="6002547" y="6474227"/>
                  <a:pt x="6004108" y="6467030"/>
                  <a:pt x="6007226" y="6462449"/>
                </a:cubicBezTo>
                <a:cubicBezTo>
                  <a:pt x="6010344" y="6457868"/>
                  <a:pt x="6014066" y="6455577"/>
                  <a:pt x="6018394" y="6455577"/>
                </a:cubicBezTo>
                <a:close/>
                <a:moveTo>
                  <a:pt x="5829559" y="6455577"/>
                </a:moveTo>
                <a:cubicBezTo>
                  <a:pt x="5834722" y="6455577"/>
                  <a:pt x="5839048" y="6457917"/>
                  <a:pt x="5842534" y="6462597"/>
                </a:cubicBezTo>
                <a:cubicBezTo>
                  <a:pt x="5846022" y="6467277"/>
                  <a:pt x="5847767" y="6474390"/>
                  <a:pt x="5847767" y="6483936"/>
                </a:cubicBezTo>
                <a:cubicBezTo>
                  <a:pt x="5847767" y="6493436"/>
                  <a:pt x="5846035" y="6500548"/>
                  <a:pt x="5842571" y="6505275"/>
                </a:cubicBezTo>
                <a:cubicBezTo>
                  <a:pt x="5839105" y="6510001"/>
                  <a:pt x="5834955" y="6512365"/>
                  <a:pt x="5830117" y="6512365"/>
                </a:cubicBezTo>
                <a:cubicBezTo>
                  <a:pt x="5824956" y="6512365"/>
                  <a:pt x="5820628" y="6510025"/>
                  <a:pt x="5817142" y="6505345"/>
                </a:cubicBezTo>
                <a:cubicBezTo>
                  <a:pt x="5813653" y="6500665"/>
                  <a:pt x="5811909" y="6493529"/>
                  <a:pt x="5811909" y="6483936"/>
                </a:cubicBezTo>
                <a:cubicBezTo>
                  <a:pt x="5811909" y="6474437"/>
                  <a:pt x="5813630" y="6467335"/>
                  <a:pt x="5817070" y="6462632"/>
                </a:cubicBezTo>
                <a:cubicBezTo>
                  <a:pt x="5820513" y="6457929"/>
                  <a:pt x="5824676" y="6455577"/>
                  <a:pt x="5829559"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0" y="6446927"/>
                </a:moveTo>
                <a:lnTo>
                  <a:pt x="6224380" y="6521015"/>
                </a:lnTo>
                <a:lnTo>
                  <a:pt x="6234636" y="6521015"/>
                </a:lnTo>
                <a:lnTo>
                  <a:pt x="6234636" y="6446927"/>
                </a:lnTo>
                <a:close/>
                <a:moveTo>
                  <a:pt x="5967205" y="6446927"/>
                </a:moveTo>
                <a:lnTo>
                  <a:pt x="5967205" y="6521015"/>
                </a:lnTo>
                <a:lnTo>
                  <a:pt x="5977462" y="6521015"/>
                </a:lnTo>
                <a:lnTo>
                  <a:pt x="5977462"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68" y="6445252"/>
                </a:moveTo>
                <a:cubicBezTo>
                  <a:pt x="6270582" y="6445252"/>
                  <a:pt x="6264292" y="6447066"/>
                  <a:pt x="6259897" y="6450694"/>
                </a:cubicBezTo>
                <a:cubicBezTo>
                  <a:pt x="6255502" y="6454322"/>
                  <a:pt x="6252583" y="6460112"/>
                  <a:pt x="6251142" y="6468065"/>
                </a:cubicBezTo>
                <a:lnTo>
                  <a:pt x="6261257" y="6469739"/>
                </a:lnTo>
                <a:cubicBezTo>
                  <a:pt x="6262373" y="6464271"/>
                  <a:pt x="6264118" y="6460543"/>
                  <a:pt x="6266489" y="6458557"/>
                </a:cubicBezTo>
                <a:cubicBezTo>
                  <a:pt x="6268861" y="6456571"/>
                  <a:pt x="6272443" y="6455577"/>
                  <a:pt x="6277233" y="6455577"/>
                </a:cubicBezTo>
                <a:cubicBezTo>
                  <a:pt x="6282535" y="6455577"/>
                  <a:pt x="6286465" y="6457066"/>
                  <a:pt x="6289023" y="6460042"/>
                </a:cubicBezTo>
                <a:cubicBezTo>
                  <a:pt x="6290837" y="6462089"/>
                  <a:pt x="6291744" y="6465647"/>
                  <a:pt x="6291744" y="6470716"/>
                </a:cubicBezTo>
                <a:lnTo>
                  <a:pt x="6291674" y="6473925"/>
                </a:lnTo>
                <a:cubicBezTo>
                  <a:pt x="6287767" y="6475626"/>
                  <a:pt x="6281628" y="6477091"/>
                  <a:pt x="6273256" y="6478320"/>
                </a:cubicBezTo>
                <a:cubicBezTo>
                  <a:pt x="6267024" y="6479204"/>
                  <a:pt x="6262373" y="6480576"/>
                  <a:pt x="6259304" y="6482436"/>
                </a:cubicBezTo>
                <a:cubicBezTo>
                  <a:pt x="6256234" y="6484297"/>
                  <a:pt x="6253816" y="6486878"/>
                  <a:pt x="6252048" y="6490180"/>
                </a:cubicBezTo>
                <a:cubicBezTo>
                  <a:pt x="6250281" y="6493482"/>
                  <a:pt x="6249397" y="6497273"/>
                  <a:pt x="6249397" y="6501551"/>
                </a:cubicBezTo>
                <a:cubicBezTo>
                  <a:pt x="6249397" y="6508016"/>
                  <a:pt x="6251281" y="6513155"/>
                  <a:pt x="6255048" y="6516969"/>
                </a:cubicBezTo>
                <a:cubicBezTo>
                  <a:pt x="6258816" y="6520783"/>
                  <a:pt x="6263862" y="6522690"/>
                  <a:pt x="6270187" y="6522690"/>
                </a:cubicBezTo>
                <a:cubicBezTo>
                  <a:pt x="6274187" y="6522690"/>
                  <a:pt x="6278047" y="6521782"/>
                  <a:pt x="6281768" y="6519968"/>
                </a:cubicBezTo>
                <a:cubicBezTo>
                  <a:pt x="6285488" y="6518154"/>
                  <a:pt x="6289069" y="6515456"/>
                  <a:pt x="6292511" y="6511875"/>
                </a:cubicBezTo>
                <a:cubicBezTo>
                  <a:pt x="6292837" y="6515411"/>
                  <a:pt x="6293534" y="6518457"/>
                  <a:pt x="6294604" y="6521015"/>
                </a:cubicBezTo>
                <a:lnTo>
                  <a:pt x="6305348" y="6521015"/>
                </a:lnTo>
                <a:cubicBezTo>
                  <a:pt x="6304045" y="6518132"/>
                  <a:pt x="6303173" y="6515167"/>
                  <a:pt x="6302731" y="6512120"/>
                </a:cubicBezTo>
                <a:cubicBezTo>
                  <a:pt x="6302290" y="6509074"/>
                  <a:pt x="6302069" y="6501691"/>
                  <a:pt x="6302069" y="6489971"/>
                </a:cubicBezTo>
                <a:lnTo>
                  <a:pt x="6302069" y="6473227"/>
                </a:lnTo>
                <a:cubicBezTo>
                  <a:pt x="6302069" y="6466437"/>
                  <a:pt x="6301592" y="6461275"/>
                  <a:pt x="6300639" y="6457740"/>
                </a:cubicBezTo>
                <a:cubicBezTo>
                  <a:pt x="6299685" y="6454205"/>
                  <a:pt x="6297395" y="6451240"/>
                  <a:pt x="6293767" y="6448845"/>
                </a:cubicBezTo>
                <a:cubicBezTo>
                  <a:pt x="6290139" y="6446450"/>
                  <a:pt x="6285139" y="6445252"/>
                  <a:pt x="6278768" y="6445252"/>
                </a:cubicBezTo>
                <a:close/>
                <a:moveTo>
                  <a:pt x="6157700" y="6445252"/>
                </a:moveTo>
                <a:cubicBezTo>
                  <a:pt x="6153521" y="6445252"/>
                  <a:pt x="6149818" y="6446258"/>
                  <a:pt x="6146592" y="6448270"/>
                </a:cubicBezTo>
                <a:cubicBezTo>
                  <a:pt x="6143365" y="6450282"/>
                  <a:pt x="6140638" y="6453323"/>
                  <a:pt x="6138409" y="6457392"/>
                </a:cubicBezTo>
                <a:lnTo>
                  <a:pt x="6138409" y="6446927"/>
                </a:lnTo>
                <a:lnTo>
                  <a:pt x="6129130" y="6446927"/>
                </a:lnTo>
                <a:lnTo>
                  <a:pt x="6129130" y="6521015"/>
                </a:lnTo>
                <a:lnTo>
                  <a:pt x="6139386" y="6521015"/>
                </a:lnTo>
                <a:lnTo>
                  <a:pt x="6139386" y="6480509"/>
                </a:lnTo>
                <a:cubicBezTo>
                  <a:pt x="6139386" y="6471570"/>
                  <a:pt x="6140851" y="6465261"/>
                  <a:pt x="6143781" y="6461583"/>
                </a:cubicBezTo>
                <a:cubicBezTo>
                  <a:pt x="6146711" y="6457905"/>
                  <a:pt x="6150641" y="6456066"/>
                  <a:pt x="6155571" y="6456066"/>
                </a:cubicBezTo>
                <a:cubicBezTo>
                  <a:pt x="6158175" y="6456066"/>
                  <a:pt x="6160466" y="6456752"/>
                  <a:pt x="6162442" y="6458126"/>
                </a:cubicBezTo>
                <a:cubicBezTo>
                  <a:pt x="6164419" y="6459499"/>
                  <a:pt x="6165872" y="6461443"/>
                  <a:pt x="6166803" y="6463957"/>
                </a:cubicBezTo>
                <a:cubicBezTo>
                  <a:pt x="6167733" y="6466471"/>
                  <a:pt x="6168198" y="6470452"/>
                  <a:pt x="6168198" y="6475900"/>
                </a:cubicBezTo>
                <a:lnTo>
                  <a:pt x="6168198" y="6521015"/>
                </a:lnTo>
                <a:lnTo>
                  <a:pt x="6178453" y="6521015"/>
                </a:lnTo>
                <a:lnTo>
                  <a:pt x="6178453" y="6475460"/>
                </a:lnTo>
                <a:cubicBezTo>
                  <a:pt x="6178453" y="6468623"/>
                  <a:pt x="6178035" y="6463554"/>
                  <a:pt x="6177199" y="6460252"/>
                </a:cubicBezTo>
                <a:cubicBezTo>
                  <a:pt x="6176364" y="6456949"/>
                  <a:pt x="6175099" y="6454264"/>
                  <a:pt x="6173404" y="6452194"/>
                </a:cubicBezTo>
                <a:cubicBezTo>
                  <a:pt x="6171709" y="6450124"/>
                  <a:pt x="6169481" y="6448450"/>
                  <a:pt x="6166718" y="6447171"/>
                </a:cubicBezTo>
                <a:cubicBezTo>
                  <a:pt x="6163956" y="6445892"/>
                  <a:pt x="6160949" y="6445252"/>
                  <a:pt x="6157700" y="6445252"/>
                </a:cubicBezTo>
                <a:close/>
                <a:moveTo>
                  <a:pt x="6087364" y="6445252"/>
                </a:moveTo>
                <a:cubicBezTo>
                  <a:pt x="6079133" y="6445252"/>
                  <a:pt x="6072328" y="6448613"/>
                  <a:pt x="6066956" y="6455333"/>
                </a:cubicBezTo>
                <a:cubicBezTo>
                  <a:pt x="6061584" y="6462054"/>
                  <a:pt x="6058897" y="6471809"/>
                  <a:pt x="6058897" y="6484599"/>
                </a:cubicBezTo>
                <a:cubicBezTo>
                  <a:pt x="6058897" y="6496924"/>
                  <a:pt x="6061560" y="6506353"/>
                  <a:pt x="6066885" y="6512888"/>
                </a:cubicBezTo>
                <a:cubicBezTo>
                  <a:pt x="6072212" y="6519422"/>
                  <a:pt x="6079175" y="6522690"/>
                  <a:pt x="6087783" y="6522690"/>
                </a:cubicBezTo>
                <a:cubicBezTo>
                  <a:pt x="6094616" y="6522690"/>
                  <a:pt x="6100348" y="6520678"/>
                  <a:pt x="6104976" y="6516655"/>
                </a:cubicBezTo>
                <a:cubicBezTo>
                  <a:pt x="6109604" y="6512632"/>
                  <a:pt x="6112801" y="6506667"/>
                  <a:pt x="6114569" y="6498761"/>
                </a:cubicBezTo>
                <a:lnTo>
                  <a:pt x="6103965" y="6497156"/>
                </a:lnTo>
                <a:cubicBezTo>
                  <a:pt x="6100941" y="6507295"/>
                  <a:pt x="6095570" y="6512365"/>
                  <a:pt x="6087849" y="6512365"/>
                </a:cubicBezTo>
                <a:cubicBezTo>
                  <a:pt x="6082919" y="6512365"/>
                  <a:pt x="6078734" y="6510248"/>
                  <a:pt x="6075292" y="6506016"/>
                </a:cubicBezTo>
                <a:cubicBezTo>
                  <a:pt x="6071855" y="6501784"/>
                  <a:pt x="6069920" y="6495505"/>
                  <a:pt x="6069506" y="6487180"/>
                </a:cubicBezTo>
                <a:lnTo>
                  <a:pt x="6114848" y="6487180"/>
                </a:lnTo>
                <a:lnTo>
                  <a:pt x="6114917" y="6483831"/>
                </a:lnTo>
                <a:cubicBezTo>
                  <a:pt x="6114917" y="6471321"/>
                  <a:pt x="6112290" y="6461763"/>
                  <a:pt x="6107034" y="6455159"/>
                </a:cubicBezTo>
                <a:cubicBezTo>
                  <a:pt x="6101779" y="6448555"/>
                  <a:pt x="6095221" y="6445252"/>
                  <a:pt x="6087364" y="6445252"/>
                </a:cubicBezTo>
                <a:close/>
                <a:moveTo>
                  <a:pt x="5900526" y="6445252"/>
                </a:moveTo>
                <a:cubicBezTo>
                  <a:pt x="5896347" y="6445252"/>
                  <a:pt x="5892645" y="6446258"/>
                  <a:pt x="5889417" y="6448270"/>
                </a:cubicBezTo>
                <a:cubicBezTo>
                  <a:pt x="5886191" y="6450282"/>
                  <a:pt x="5883465" y="6453323"/>
                  <a:pt x="5881235" y="6457392"/>
                </a:cubicBezTo>
                <a:lnTo>
                  <a:pt x="5881235" y="6446927"/>
                </a:lnTo>
                <a:lnTo>
                  <a:pt x="5871957" y="6446927"/>
                </a:lnTo>
                <a:lnTo>
                  <a:pt x="5871957" y="6521015"/>
                </a:lnTo>
                <a:lnTo>
                  <a:pt x="5882211" y="6521015"/>
                </a:lnTo>
                <a:lnTo>
                  <a:pt x="5882211" y="6480509"/>
                </a:lnTo>
                <a:cubicBezTo>
                  <a:pt x="5882211" y="6471570"/>
                  <a:pt x="5883676" y="6465261"/>
                  <a:pt x="5886607" y="6461583"/>
                </a:cubicBezTo>
                <a:cubicBezTo>
                  <a:pt x="5889538" y="6457905"/>
                  <a:pt x="5893467" y="6456066"/>
                  <a:pt x="5898396" y="6456066"/>
                </a:cubicBezTo>
                <a:cubicBezTo>
                  <a:pt x="5901000" y="6456066"/>
                  <a:pt x="5903292" y="6456752"/>
                  <a:pt x="5905267" y="6458126"/>
                </a:cubicBezTo>
                <a:cubicBezTo>
                  <a:pt x="5907244" y="6459499"/>
                  <a:pt x="5908697" y="6461443"/>
                  <a:pt x="5909630" y="6463957"/>
                </a:cubicBezTo>
                <a:cubicBezTo>
                  <a:pt x="5910559" y="6466471"/>
                  <a:pt x="5911024" y="6470452"/>
                  <a:pt x="5911024" y="6475900"/>
                </a:cubicBezTo>
                <a:lnTo>
                  <a:pt x="5911024" y="6521015"/>
                </a:lnTo>
                <a:lnTo>
                  <a:pt x="5921278" y="6521015"/>
                </a:lnTo>
                <a:lnTo>
                  <a:pt x="5921278" y="6475460"/>
                </a:lnTo>
                <a:cubicBezTo>
                  <a:pt x="5921278" y="6468623"/>
                  <a:pt x="5920860" y="6463554"/>
                  <a:pt x="5920026" y="6460252"/>
                </a:cubicBezTo>
                <a:cubicBezTo>
                  <a:pt x="5919190" y="6456949"/>
                  <a:pt x="5917925" y="6454264"/>
                  <a:pt x="5916230" y="6452194"/>
                </a:cubicBezTo>
                <a:cubicBezTo>
                  <a:pt x="5914534" y="6450124"/>
                  <a:pt x="5912308" y="6448450"/>
                  <a:pt x="5909545" y="6447171"/>
                </a:cubicBezTo>
                <a:cubicBezTo>
                  <a:pt x="5906782" y="6445892"/>
                  <a:pt x="5903774" y="6445252"/>
                  <a:pt x="5900526" y="6445252"/>
                </a:cubicBezTo>
                <a:close/>
                <a:moveTo>
                  <a:pt x="5829838" y="6445252"/>
                </a:moveTo>
                <a:cubicBezTo>
                  <a:pt x="5821607" y="6445252"/>
                  <a:pt x="5814805" y="6448508"/>
                  <a:pt x="5809433" y="6455019"/>
                </a:cubicBezTo>
                <a:cubicBezTo>
                  <a:pt x="5804061" y="6461531"/>
                  <a:pt x="5801376" y="6471181"/>
                  <a:pt x="5801376" y="6483971"/>
                </a:cubicBezTo>
                <a:cubicBezTo>
                  <a:pt x="5801376" y="6496714"/>
                  <a:pt x="5804083" y="6506353"/>
                  <a:pt x="5809502" y="6512888"/>
                </a:cubicBezTo>
                <a:cubicBezTo>
                  <a:pt x="5814920" y="6519422"/>
                  <a:pt x="5821700" y="6522690"/>
                  <a:pt x="5829838" y="6522690"/>
                </a:cubicBezTo>
                <a:cubicBezTo>
                  <a:pt x="5838117" y="6522690"/>
                  <a:pt x="5844931" y="6519434"/>
                  <a:pt x="5850280" y="6512923"/>
                </a:cubicBezTo>
                <a:cubicBezTo>
                  <a:pt x="5855628" y="6506411"/>
                  <a:pt x="5858301" y="6496505"/>
                  <a:pt x="5858301" y="6483204"/>
                </a:cubicBezTo>
                <a:cubicBezTo>
                  <a:pt x="5858301" y="6470925"/>
                  <a:pt x="5855581" y="6461531"/>
                  <a:pt x="5850139" y="6455019"/>
                </a:cubicBezTo>
                <a:cubicBezTo>
                  <a:pt x="5844697" y="6448508"/>
                  <a:pt x="5837931" y="6445252"/>
                  <a:pt x="5829838"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3" y="6421045"/>
                </a:moveTo>
                <a:lnTo>
                  <a:pt x="6198038" y="6428579"/>
                </a:lnTo>
                <a:lnTo>
                  <a:pt x="6198038" y="6446927"/>
                </a:lnTo>
                <a:lnTo>
                  <a:pt x="6190503" y="6446927"/>
                </a:lnTo>
                <a:lnTo>
                  <a:pt x="6190503" y="6456694"/>
                </a:lnTo>
                <a:lnTo>
                  <a:pt x="6198038" y="6456694"/>
                </a:lnTo>
                <a:lnTo>
                  <a:pt x="6198038" y="6499319"/>
                </a:lnTo>
                <a:cubicBezTo>
                  <a:pt x="6198038" y="6506667"/>
                  <a:pt x="6198445" y="6511574"/>
                  <a:pt x="6199259" y="6514039"/>
                </a:cubicBezTo>
                <a:cubicBezTo>
                  <a:pt x="6200073" y="6516504"/>
                  <a:pt x="6201573" y="6518446"/>
                  <a:pt x="6203758" y="6519864"/>
                </a:cubicBezTo>
                <a:cubicBezTo>
                  <a:pt x="6205944" y="6521283"/>
                  <a:pt x="6208828" y="6521992"/>
                  <a:pt x="6212409" y="6521992"/>
                </a:cubicBezTo>
                <a:cubicBezTo>
                  <a:pt x="6214688" y="6521992"/>
                  <a:pt x="6217246" y="6521620"/>
                  <a:pt x="6220083" y="6520876"/>
                </a:cubicBezTo>
                <a:lnTo>
                  <a:pt x="6218688" y="6509783"/>
                </a:lnTo>
                <a:cubicBezTo>
                  <a:pt x="6216827" y="6510109"/>
                  <a:pt x="6215316" y="6510272"/>
                  <a:pt x="6214153" y="6510272"/>
                </a:cubicBezTo>
                <a:cubicBezTo>
                  <a:pt x="6211735" y="6510272"/>
                  <a:pt x="6210084" y="6509435"/>
                  <a:pt x="6209200" y="6507760"/>
                </a:cubicBezTo>
                <a:cubicBezTo>
                  <a:pt x="6208595" y="6506598"/>
                  <a:pt x="6208293" y="6504016"/>
                  <a:pt x="6208293" y="6500017"/>
                </a:cubicBezTo>
                <a:lnTo>
                  <a:pt x="6208293" y="6456694"/>
                </a:lnTo>
                <a:lnTo>
                  <a:pt x="6218688" y="6456694"/>
                </a:lnTo>
                <a:lnTo>
                  <a:pt x="6218688" y="6446927"/>
                </a:lnTo>
                <a:lnTo>
                  <a:pt x="6208293"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2" y="6418742"/>
                </a:moveTo>
                <a:lnTo>
                  <a:pt x="6319282" y="6521015"/>
                </a:lnTo>
                <a:lnTo>
                  <a:pt x="6329537" y="6521015"/>
                </a:lnTo>
                <a:lnTo>
                  <a:pt x="6329537" y="6418742"/>
                </a:lnTo>
                <a:close/>
                <a:moveTo>
                  <a:pt x="6224380" y="6418742"/>
                </a:moveTo>
                <a:lnTo>
                  <a:pt x="6224380" y="6433183"/>
                </a:lnTo>
                <a:lnTo>
                  <a:pt x="6234636" y="6433183"/>
                </a:lnTo>
                <a:lnTo>
                  <a:pt x="6234636" y="6418742"/>
                </a:lnTo>
                <a:close/>
                <a:moveTo>
                  <a:pt x="6034361" y="6418742"/>
                </a:moveTo>
                <a:lnTo>
                  <a:pt x="6034361" y="6455438"/>
                </a:lnTo>
                <a:cubicBezTo>
                  <a:pt x="6032457" y="6452229"/>
                  <a:pt x="6030052" y="6449729"/>
                  <a:pt x="6027152" y="6447938"/>
                </a:cubicBezTo>
                <a:cubicBezTo>
                  <a:pt x="6024249" y="6446148"/>
                  <a:pt x="6021105" y="6445252"/>
                  <a:pt x="6017716" y="6445252"/>
                </a:cubicBezTo>
                <a:cubicBezTo>
                  <a:pt x="6012977" y="6445252"/>
                  <a:pt x="6008671" y="6446671"/>
                  <a:pt x="6004794" y="6449508"/>
                </a:cubicBezTo>
                <a:cubicBezTo>
                  <a:pt x="6000918" y="6452345"/>
                  <a:pt x="5997817" y="6456694"/>
                  <a:pt x="5995495" y="6462554"/>
                </a:cubicBezTo>
                <a:cubicBezTo>
                  <a:pt x="5993174" y="6468414"/>
                  <a:pt x="5992013" y="6475553"/>
                  <a:pt x="5992013" y="6483971"/>
                </a:cubicBezTo>
                <a:cubicBezTo>
                  <a:pt x="5992013" y="6496249"/>
                  <a:pt x="5994629" y="6505772"/>
                  <a:pt x="5999862" y="6512539"/>
                </a:cubicBezTo>
                <a:cubicBezTo>
                  <a:pt x="6005094" y="6519306"/>
                  <a:pt x="6011291" y="6522690"/>
                  <a:pt x="6018454" y="6522690"/>
                </a:cubicBezTo>
                <a:cubicBezTo>
                  <a:pt x="6021849" y="6522690"/>
                  <a:pt x="6025011" y="6521748"/>
                  <a:pt x="6027944" y="6519864"/>
                </a:cubicBezTo>
                <a:cubicBezTo>
                  <a:pt x="6030873" y="6517981"/>
                  <a:pt x="6033267" y="6515248"/>
                  <a:pt x="6035129" y="6511667"/>
                </a:cubicBezTo>
                <a:lnTo>
                  <a:pt x="6035129" y="6521015"/>
                </a:lnTo>
                <a:lnTo>
                  <a:pt x="6044755" y="6521015"/>
                </a:lnTo>
                <a:lnTo>
                  <a:pt x="6044755"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79" y="6416998"/>
                </a:moveTo>
                <a:cubicBezTo>
                  <a:pt x="5954503" y="6416998"/>
                  <a:pt x="5951367" y="6417766"/>
                  <a:pt x="5948872" y="6419301"/>
                </a:cubicBezTo>
                <a:cubicBezTo>
                  <a:pt x="5946376" y="6420835"/>
                  <a:pt x="5944524" y="6423056"/>
                  <a:pt x="5943310" y="6425963"/>
                </a:cubicBezTo>
                <a:cubicBezTo>
                  <a:pt x="5942098" y="6428870"/>
                  <a:pt x="5941493" y="6433230"/>
                  <a:pt x="5941493" y="6439044"/>
                </a:cubicBezTo>
                <a:lnTo>
                  <a:pt x="5941493" y="6446927"/>
                </a:lnTo>
                <a:lnTo>
                  <a:pt x="5932352" y="6446927"/>
                </a:lnTo>
                <a:lnTo>
                  <a:pt x="5932352" y="6456694"/>
                </a:lnTo>
                <a:lnTo>
                  <a:pt x="5941493" y="6456694"/>
                </a:lnTo>
                <a:lnTo>
                  <a:pt x="5941493" y="6521015"/>
                </a:lnTo>
                <a:lnTo>
                  <a:pt x="5951746" y="6521015"/>
                </a:lnTo>
                <a:lnTo>
                  <a:pt x="5951746" y="6456694"/>
                </a:lnTo>
                <a:lnTo>
                  <a:pt x="5963607" y="6456694"/>
                </a:lnTo>
                <a:lnTo>
                  <a:pt x="5963607" y="6446927"/>
                </a:lnTo>
                <a:lnTo>
                  <a:pt x="5951746" y="6446927"/>
                </a:lnTo>
                <a:lnTo>
                  <a:pt x="5951746" y="6440090"/>
                </a:lnTo>
                <a:cubicBezTo>
                  <a:pt x="5951746" y="6435579"/>
                  <a:pt x="5952412" y="6432521"/>
                  <a:pt x="5953735" y="6430916"/>
                </a:cubicBezTo>
                <a:cubicBezTo>
                  <a:pt x="5955060" y="6429312"/>
                  <a:pt x="5957259" y="6428509"/>
                  <a:pt x="5960327" y="6428509"/>
                </a:cubicBezTo>
                <a:cubicBezTo>
                  <a:pt x="5962235" y="6428509"/>
                  <a:pt x="5964257" y="6428742"/>
                  <a:pt x="5966397" y="6429207"/>
                </a:cubicBezTo>
                <a:lnTo>
                  <a:pt x="5967205" y="6423469"/>
                </a:lnTo>
                <a:lnTo>
                  <a:pt x="5967205" y="6433183"/>
                </a:lnTo>
                <a:lnTo>
                  <a:pt x="5977462" y="6433183"/>
                </a:lnTo>
                <a:lnTo>
                  <a:pt x="5977462" y="6418742"/>
                </a:lnTo>
                <a:lnTo>
                  <a:pt x="5967872" y="6418742"/>
                </a:lnTo>
                <a:lnTo>
                  <a:pt x="5967932" y="6418324"/>
                </a:lnTo>
                <a:cubicBezTo>
                  <a:pt x="5964433" y="6417440"/>
                  <a:pt x="5961216" y="6416998"/>
                  <a:pt x="5958279"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7" y="6416929"/>
                </a:moveTo>
                <a:cubicBezTo>
                  <a:pt x="5749796" y="6416929"/>
                  <a:pt x="5743091" y="6418918"/>
                  <a:pt x="5737086" y="6422897"/>
                </a:cubicBezTo>
                <a:cubicBezTo>
                  <a:pt x="5731080" y="6426876"/>
                  <a:pt x="5726321" y="6432763"/>
                  <a:pt x="5722805" y="6440559"/>
                </a:cubicBezTo>
                <a:cubicBezTo>
                  <a:pt x="5719290" y="6448354"/>
                  <a:pt x="5717533" y="6457883"/>
                  <a:pt x="5717533" y="6469146"/>
                </a:cubicBezTo>
                <a:cubicBezTo>
                  <a:pt x="5717533" y="6480548"/>
                  <a:pt x="5719288" y="6490438"/>
                  <a:pt x="5722800" y="6498815"/>
                </a:cubicBezTo>
                <a:cubicBezTo>
                  <a:pt x="5726311" y="6507192"/>
                  <a:pt x="5730823" y="6513277"/>
                  <a:pt x="5736334" y="6517070"/>
                </a:cubicBezTo>
                <a:cubicBezTo>
                  <a:pt x="5741847" y="6520863"/>
                  <a:pt x="5748485" y="6522759"/>
                  <a:pt x="5756252" y="6522759"/>
                </a:cubicBezTo>
                <a:cubicBezTo>
                  <a:pt x="5765089" y="6522759"/>
                  <a:pt x="5772589" y="6519934"/>
                  <a:pt x="5778750" y="6514283"/>
                </a:cubicBezTo>
                <a:cubicBezTo>
                  <a:pt x="5784915" y="6508632"/>
                  <a:pt x="5789227" y="6500063"/>
                  <a:pt x="5791691" y="6488575"/>
                </a:cubicBezTo>
                <a:lnTo>
                  <a:pt x="5780529" y="6485157"/>
                </a:lnTo>
                <a:cubicBezTo>
                  <a:pt x="5779041" y="6493901"/>
                  <a:pt x="5776099" y="6500423"/>
                  <a:pt x="5771703" y="6504726"/>
                </a:cubicBezTo>
                <a:cubicBezTo>
                  <a:pt x="5767310" y="6509028"/>
                  <a:pt x="5762088" y="6511179"/>
                  <a:pt x="5756044" y="6511179"/>
                </a:cubicBezTo>
                <a:cubicBezTo>
                  <a:pt x="5747857" y="6511179"/>
                  <a:pt x="5741298" y="6507676"/>
                  <a:pt x="5736369" y="6500671"/>
                </a:cubicBezTo>
                <a:cubicBezTo>
                  <a:pt x="5731442" y="6493665"/>
                  <a:pt x="5728974" y="6483157"/>
                  <a:pt x="5728974" y="6469145"/>
                </a:cubicBezTo>
                <a:cubicBezTo>
                  <a:pt x="5728974" y="6459883"/>
                  <a:pt x="5730197" y="6452226"/>
                  <a:pt x="5732642" y="6446175"/>
                </a:cubicBezTo>
                <a:cubicBezTo>
                  <a:pt x="5735088" y="6440123"/>
                  <a:pt x="5738360" y="6435666"/>
                  <a:pt x="5742458" y="6432804"/>
                </a:cubicBezTo>
                <a:cubicBezTo>
                  <a:pt x="5746556" y="6429941"/>
                  <a:pt x="5751400" y="6428509"/>
                  <a:pt x="5756988" y="6428509"/>
                </a:cubicBezTo>
                <a:cubicBezTo>
                  <a:pt x="5768213" y="6428509"/>
                  <a:pt x="5775687" y="6435602"/>
                  <a:pt x="5779412" y="6449787"/>
                </a:cubicBezTo>
                <a:lnTo>
                  <a:pt x="5790296" y="6446648"/>
                </a:lnTo>
                <a:cubicBezTo>
                  <a:pt x="5787968" y="6436903"/>
                  <a:pt x="5783895" y="6429514"/>
                  <a:pt x="5778077" y="6424480"/>
                </a:cubicBezTo>
                <a:cubicBezTo>
                  <a:pt x="5772258" y="6419446"/>
                  <a:pt x="5765297" y="6416929"/>
                  <a:pt x="5757197"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5" y="6415084"/>
                </a:moveTo>
                <a:lnTo>
                  <a:pt x="10873860" y="6415084"/>
                </a:lnTo>
                <a:cubicBezTo>
                  <a:pt x="10894306" y="6415084"/>
                  <a:pt x="10904530" y="6417923"/>
                  <a:pt x="10904530" y="6430343"/>
                </a:cubicBezTo>
                <a:cubicBezTo>
                  <a:pt x="10904530" y="6442408"/>
                  <a:pt x="10894306" y="6445247"/>
                  <a:pt x="10873860" y="6445247"/>
                </a:cubicBezTo>
                <a:lnTo>
                  <a:pt x="10831505" y="6445247"/>
                </a:lnTo>
                <a:close/>
                <a:moveTo>
                  <a:pt x="11108524" y="6410322"/>
                </a:moveTo>
                <a:cubicBezTo>
                  <a:pt x="11138470" y="6410322"/>
                  <a:pt x="11152180" y="6424698"/>
                  <a:pt x="11152180" y="6454961"/>
                </a:cubicBezTo>
                <a:cubicBezTo>
                  <a:pt x="11152180" y="6484847"/>
                  <a:pt x="11138470" y="6499222"/>
                  <a:pt x="11108524" y="6499222"/>
                </a:cubicBezTo>
                <a:cubicBezTo>
                  <a:pt x="11077856" y="6499222"/>
                  <a:pt x="11064867" y="6484847"/>
                  <a:pt x="11064867" y="6453827"/>
                </a:cubicBezTo>
                <a:cubicBezTo>
                  <a:pt x="11064867" y="6424698"/>
                  <a:pt x="11078938" y="6410322"/>
                  <a:pt x="11108524" y="6410322"/>
                </a:cubicBezTo>
                <a:close/>
                <a:moveTo>
                  <a:pt x="11212505" y="6391272"/>
                </a:moveTo>
                <a:lnTo>
                  <a:pt x="11212505" y="6518272"/>
                </a:lnTo>
                <a:lnTo>
                  <a:pt x="11246059" y="6518272"/>
                </a:lnTo>
                <a:lnTo>
                  <a:pt x="11246059" y="6422083"/>
                </a:lnTo>
                <a:lnTo>
                  <a:pt x="11315692" y="6518272"/>
                </a:lnTo>
                <a:lnTo>
                  <a:pt x="11355380" y="6518272"/>
                </a:lnTo>
                <a:lnTo>
                  <a:pt x="11355380" y="6391272"/>
                </a:lnTo>
                <a:lnTo>
                  <a:pt x="11322187" y="6391272"/>
                </a:lnTo>
                <a:lnTo>
                  <a:pt x="11322187" y="6482577"/>
                </a:lnTo>
                <a:lnTo>
                  <a:pt x="11255800" y="6391272"/>
                </a:lnTo>
                <a:close/>
                <a:moveTo>
                  <a:pt x="10968030" y="6391272"/>
                </a:moveTo>
                <a:lnTo>
                  <a:pt x="10968030" y="6518272"/>
                </a:lnTo>
                <a:lnTo>
                  <a:pt x="11002955" y="6518272"/>
                </a:lnTo>
                <a:lnTo>
                  <a:pt x="11002955" y="6391272"/>
                </a:lnTo>
                <a:close/>
                <a:moveTo>
                  <a:pt x="10798167" y="6391272"/>
                </a:moveTo>
                <a:lnTo>
                  <a:pt x="10798167" y="6518272"/>
                </a:lnTo>
                <a:lnTo>
                  <a:pt x="10832210" y="6518272"/>
                </a:lnTo>
                <a:lnTo>
                  <a:pt x="10832210" y="6468299"/>
                </a:lnTo>
                <a:lnTo>
                  <a:pt x="10871986" y="6468299"/>
                </a:lnTo>
                <a:lnTo>
                  <a:pt x="10907462" y="6518272"/>
                </a:lnTo>
                <a:lnTo>
                  <a:pt x="10945805" y="6518272"/>
                </a:lnTo>
                <a:lnTo>
                  <a:pt x="10905670" y="6465293"/>
                </a:lnTo>
                <a:cubicBezTo>
                  <a:pt x="10926454" y="6461536"/>
                  <a:pt x="10938280" y="6449136"/>
                  <a:pt x="10938280" y="6429598"/>
                </a:cubicBezTo>
                <a:cubicBezTo>
                  <a:pt x="10938280" y="6402920"/>
                  <a:pt x="10920004" y="6391272"/>
                  <a:pt x="10881661" y="6391272"/>
                </a:cubicBezTo>
                <a:close/>
                <a:moveTo>
                  <a:pt x="10728317" y="6391272"/>
                </a:moveTo>
                <a:lnTo>
                  <a:pt x="10728317" y="6518272"/>
                </a:lnTo>
                <a:lnTo>
                  <a:pt x="10763242" y="6518272"/>
                </a:lnTo>
                <a:lnTo>
                  <a:pt x="10763242" y="6391272"/>
                </a:lnTo>
                <a:close/>
                <a:moveTo>
                  <a:pt x="10604321" y="6391272"/>
                </a:moveTo>
                <a:cubicBezTo>
                  <a:pt x="10565734" y="6391272"/>
                  <a:pt x="10547342" y="6402544"/>
                  <a:pt x="10547342" y="6429973"/>
                </a:cubicBezTo>
                <a:cubicBezTo>
                  <a:pt x="10547342" y="6455524"/>
                  <a:pt x="10564291" y="6466420"/>
                  <a:pt x="10601436" y="6466420"/>
                </a:cubicBezTo>
                <a:lnTo>
                  <a:pt x="10641466" y="6466420"/>
                </a:lnTo>
                <a:cubicBezTo>
                  <a:pt x="10658055" y="6466420"/>
                  <a:pt x="10665628" y="6469802"/>
                  <a:pt x="10665628" y="6481074"/>
                </a:cubicBezTo>
                <a:cubicBezTo>
                  <a:pt x="10665628" y="6491970"/>
                  <a:pt x="10657333" y="6495352"/>
                  <a:pt x="10639302" y="6495352"/>
                </a:cubicBezTo>
                <a:lnTo>
                  <a:pt x="10553833" y="6495352"/>
                </a:lnTo>
                <a:lnTo>
                  <a:pt x="10553833" y="6518272"/>
                </a:lnTo>
                <a:lnTo>
                  <a:pt x="10644711" y="6518272"/>
                </a:lnTo>
                <a:cubicBezTo>
                  <a:pt x="10682938" y="6518272"/>
                  <a:pt x="10701330" y="6507000"/>
                  <a:pt x="10701330" y="6480323"/>
                </a:cubicBezTo>
                <a:cubicBezTo>
                  <a:pt x="10701330" y="6453645"/>
                  <a:pt x="10685823" y="6444252"/>
                  <a:pt x="10649760" y="6444252"/>
                </a:cubicBezTo>
                <a:lnTo>
                  <a:pt x="10604321" y="6444252"/>
                </a:lnTo>
                <a:cubicBezTo>
                  <a:pt x="10590257" y="6444252"/>
                  <a:pt x="10583044" y="6439743"/>
                  <a:pt x="10583044" y="6430349"/>
                </a:cubicBezTo>
                <a:cubicBezTo>
                  <a:pt x="10583044" y="6418701"/>
                  <a:pt x="10591339" y="6413817"/>
                  <a:pt x="10609009" y="6413817"/>
                </a:cubicBezTo>
                <a:lnTo>
                  <a:pt x="10693396" y="6413817"/>
                </a:lnTo>
                <a:lnTo>
                  <a:pt x="10693396" y="6391272"/>
                </a:lnTo>
                <a:close/>
                <a:moveTo>
                  <a:pt x="10490061" y="6391272"/>
                </a:moveTo>
                <a:lnTo>
                  <a:pt x="10490061" y="6482682"/>
                </a:lnTo>
                <a:lnTo>
                  <a:pt x="10423841" y="6391647"/>
                </a:lnTo>
                <a:lnTo>
                  <a:pt x="10380655" y="6391647"/>
                </a:lnTo>
                <a:lnTo>
                  <a:pt x="10380655" y="6518272"/>
                </a:lnTo>
                <a:lnTo>
                  <a:pt x="10414124" y="6518272"/>
                </a:lnTo>
                <a:lnTo>
                  <a:pt x="10414124" y="6422367"/>
                </a:lnTo>
                <a:lnTo>
                  <a:pt x="10483942" y="6518272"/>
                </a:lnTo>
                <a:lnTo>
                  <a:pt x="10523170" y="6518272"/>
                </a:lnTo>
                <a:lnTo>
                  <a:pt x="10523530" y="6391272"/>
                </a:lnTo>
                <a:close/>
                <a:moveTo>
                  <a:pt x="10293755" y="6391272"/>
                </a:moveTo>
                <a:cubicBezTo>
                  <a:pt x="10241355" y="6391272"/>
                  <a:pt x="10217142" y="6411938"/>
                  <a:pt x="10217142" y="6457027"/>
                </a:cubicBezTo>
                <a:cubicBezTo>
                  <a:pt x="10217142" y="6479947"/>
                  <a:pt x="10225454" y="6496479"/>
                  <a:pt x="10242077" y="6507000"/>
                </a:cubicBezTo>
                <a:cubicBezTo>
                  <a:pt x="10257978" y="6516769"/>
                  <a:pt x="10273156" y="6518272"/>
                  <a:pt x="10293032" y="6518272"/>
                </a:cubicBezTo>
                <a:lnTo>
                  <a:pt x="10350492" y="6518272"/>
                </a:lnTo>
                <a:lnTo>
                  <a:pt x="10350492" y="6496104"/>
                </a:lnTo>
                <a:lnTo>
                  <a:pt x="10294478" y="6496104"/>
                </a:lnTo>
                <a:cubicBezTo>
                  <a:pt x="10267374" y="6496104"/>
                  <a:pt x="10255810" y="6487837"/>
                  <a:pt x="10255810" y="6464917"/>
                </a:cubicBezTo>
                <a:lnTo>
                  <a:pt x="10350492" y="6464917"/>
                </a:lnTo>
                <a:lnTo>
                  <a:pt x="10350492" y="6442749"/>
                </a:lnTo>
                <a:lnTo>
                  <a:pt x="10255810" y="6442749"/>
                </a:lnTo>
                <a:cubicBezTo>
                  <a:pt x="10257255" y="6422834"/>
                  <a:pt x="10269904" y="6413441"/>
                  <a:pt x="10294478" y="6413441"/>
                </a:cubicBezTo>
                <a:lnTo>
                  <a:pt x="10350492" y="6413441"/>
                </a:lnTo>
                <a:lnTo>
                  <a:pt x="10350492" y="6391272"/>
                </a:lnTo>
                <a:close/>
                <a:moveTo>
                  <a:pt x="10104126" y="6391272"/>
                </a:moveTo>
                <a:cubicBezTo>
                  <a:pt x="10065629" y="6391272"/>
                  <a:pt x="10047280" y="6402544"/>
                  <a:pt x="10047280" y="6429973"/>
                </a:cubicBezTo>
                <a:cubicBezTo>
                  <a:pt x="10047280" y="6455524"/>
                  <a:pt x="10064190" y="6466420"/>
                  <a:pt x="10101248" y="6466420"/>
                </a:cubicBezTo>
                <a:lnTo>
                  <a:pt x="10141184" y="6466420"/>
                </a:lnTo>
                <a:cubicBezTo>
                  <a:pt x="10157734" y="6466420"/>
                  <a:pt x="10165649" y="6469802"/>
                  <a:pt x="10165649" y="6481074"/>
                </a:cubicBezTo>
                <a:cubicBezTo>
                  <a:pt x="10165649" y="6491970"/>
                  <a:pt x="10157014" y="6495352"/>
                  <a:pt x="10139025" y="6495352"/>
                </a:cubicBezTo>
                <a:lnTo>
                  <a:pt x="10053756" y="6495352"/>
                </a:lnTo>
                <a:lnTo>
                  <a:pt x="10053756" y="6518272"/>
                </a:lnTo>
                <a:lnTo>
                  <a:pt x="10144422" y="6518272"/>
                </a:lnTo>
                <a:cubicBezTo>
                  <a:pt x="10182919" y="6518272"/>
                  <a:pt x="10201268" y="6507000"/>
                  <a:pt x="10201268" y="6480323"/>
                </a:cubicBezTo>
                <a:cubicBezTo>
                  <a:pt x="10201268" y="6453645"/>
                  <a:pt x="10185437" y="6444252"/>
                  <a:pt x="10149459" y="6444252"/>
                </a:cubicBezTo>
                <a:lnTo>
                  <a:pt x="10104486" y="6444252"/>
                </a:lnTo>
                <a:cubicBezTo>
                  <a:pt x="10090094" y="6444252"/>
                  <a:pt x="10082899" y="6439743"/>
                  <a:pt x="10082899" y="6430349"/>
                </a:cubicBezTo>
                <a:cubicBezTo>
                  <a:pt x="10082899" y="6418701"/>
                  <a:pt x="10091174" y="6413817"/>
                  <a:pt x="10109163" y="6413817"/>
                </a:cubicBezTo>
                <a:lnTo>
                  <a:pt x="10193353" y="6413817"/>
                </a:lnTo>
                <a:lnTo>
                  <a:pt x="10193353" y="6391272"/>
                </a:lnTo>
                <a:close/>
                <a:moveTo>
                  <a:pt x="11099976" y="6389684"/>
                </a:moveTo>
                <a:cubicBezTo>
                  <a:pt x="11050930" y="6391539"/>
                  <a:pt x="11026767" y="6412307"/>
                  <a:pt x="11026767" y="6453474"/>
                </a:cubicBezTo>
                <a:cubicBezTo>
                  <a:pt x="11026767" y="6498720"/>
                  <a:pt x="11052011" y="6519859"/>
                  <a:pt x="11107910" y="6519859"/>
                </a:cubicBezTo>
                <a:cubicBezTo>
                  <a:pt x="11163087" y="6519859"/>
                  <a:pt x="11188692" y="6498720"/>
                  <a:pt x="11188692" y="6454586"/>
                </a:cubicBezTo>
                <a:cubicBezTo>
                  <a:pt x="11188692" y="6412307"/>
                  <a:pt x="11165611" y="6391539"/>
                  <a:pt x="11115844" y="6389684"/>
                </a:cubicBezTo>
                <a:close/>
                <a:moveTo>
                  <a:pt x="0" y="0"/>
                </a:moveTo>
                <a:lnTo>
                  <a:pt x="12188817" y="0"/>
                </a:lnTo>
                <a:lnTo>
                  <a:pt x="12188817" y="6857997"/>
                </a:lnTo>
                <a:lnTo>
                  <a:pt x="0" y="6857997"/>
                </a:lnTo>
                <a:lnTo>
                  <a:pt x="0" y="6237284"/>
                </a:lnTo>
                <a:lnTo>
                  <a:pt x="6095992" y="6237284"/>
                </a:lnTo>
                <a:lnTo>
                  <a:pt x="6095992" y="3141660"/>
                </a:lnTo>
                <a:lnTo>
                  <a:pt x="0" y="3141660"/>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
        <p:nvSpPr>
          <p:cNvPr id="4" name="Foliennummernplatzhalter 3">
            <a:extLst>
              <a:ext uri="{FF2B5EF4-FFF2-40B4-BE49-F238E27FC236}">
                <a16:creationId xmlns:a16="http://schemas.microsoft.com/office/drawing/2014/main" id="{AEF54E00-BB23-4EC2-8E86-2D2A729E305F}"/>
              </a:ext>
            </a:extLst>
          </p:cNvPr>
          <p:cNvSpPr>
            <a:spLocks noGrp="1"/>
          </p:cNvSpPr>
          <p:nvPr>
            <p:ph type="sldNum" sz="quarter" idx="15"/>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394788669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Text (righ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28097" cy="288001"/>
            <a:chOff x="731952" y="6335059"/>
            <a:chExt cx="10728097" cy="288001"/>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7" y="6345196"/>
              <a:ext cx="1500502" cy="277864"/>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Freihandform: Form 12">
            <a:extLst>
              <a:ext uri="{FF2B5EF4-FFF2-40B4-BE49-F238E27FC236}">
                <a16:creationId xmlns:a16="http://schemas.microsoft.com/office/drawing/2014/main" id="{70EDE6A1-7166-4499-937E-ABB44C87EE0F}"/>
              </a:ext>
            </a:extLst>
          </p:cNvPr>
          <p:cNvSpPr>
            <a:spLocks noGrp="1"/>
          </p:cNvSpPr>
          <p:nvPr>
            <p:ph type="pic" sz="quarter" idx="14"/>
          </p:nvPr>
        </p:nvSpPr>
        <p:spPr>
          <a:xfrm>
            <a:off x="9" y="4"/>
            <a:ext cx="12188817" cy="6857997"/>
          </a:xfrm>
          <a:custGeom>
            <a:avLst/>
            <a:gdLst>
              <a:gd name="connsiteX0" fmla="*/ 2164817 w 12188817"/>
              <a:gd name="connsiteY0" fmla="*/ 6506714 h 6857997"/>
              <a:gd name="connsiteX1" fmla="*/ 2164817 w 12188817"/>
              <a:gd name="connsiteY1" fmla="*/ 6521015 h 6857997"/>
              <a:gd name="connsiteX2" fmla="*/ 2170608 w 12188817"/>
              <a:gd name="connsiteY2" fmla="*/ 6521015 h 6857997"/>
              <a:gd name="connsiteX3" fmla="*/ 2168864 w 12188817"/>
              <a:gd name="connsiteY3" fmla="*/ 6530887 h 6857997"/>
              <a:gd name="connsiteX4" fmla="*/ 2164120 w 12188817"/>
              <a:gd name="connsiteY4" fmla="*/ 6535875 h 6857997"/>
              <a:gd name="connsiteX5" fmla="*/ 2166980 w 12188817"/>
              <a:gd name="connsiteY5" fmla="*/ 6541247 h 6857997"/>
              <a:gd name="connsiteX6" fmla="*/ 2174096 w 12188817"/>
              <a:gd name="connsiteY6" fmla="*/ 6534026 h 6857997"/>
              <a:gd name="connsiteX7" fmla="*/ 2176538 w 12188817"/>
              <a:gd name="connsiteY7" fmla="*/ 6521015 h 6857997"/>
              <a:gd name="connsiteX8" fmla="*/ 2176538 w 12188817"/>
              <a:gd name="connsiteY8" fmla="*/ 6506714 h 6857997"/>
              <a:gd name="connsiteX9" fmla="*/ 6291674 w 12188817"/>
              <a:gd name="connsiteY9" fmla="*/ 6483831 h 6857997"/>
              <a:gd name="connsiteX10" fmla="*/ 6291674 w 12188817"/>
              <a:gd name="connsiteY10" fmla="*/ 6488436 h 6857997"/>
              <a:gd name="connsiteX11" fmla="*/ 6289442 w 12188817"/>
              <a:gd name="connsiteY11" fmla="*/ 6502354 h 6857997"/>
              <a:gd name="connsiteX12" fmla="*/ 6282709 w 12188817"/>
              <a:gd name="connsiteY12" fmla="*/ 6509993 h 6857997"/>
              <a:gd name="connsiteX13" fmla="*/ 6272698 w 12188817"/>
              <a:gd name="connsiteY13" fmla="*/ 6512853 h 6857997"/>
              <a:gd name="connsiteX14" fmla="*/ 6263629 w 12188817"/>
              <a:gd name="connsiteY14" fmla="*/ 6509679 h 6857997"/>
              <a:gd name="connsiteX15" fmla="*/ 6260350 w 12188817"/>
              <a:gd name="connsiteY15" fmla="*/ 6501203 h 6857997"/>
              <a:gd name="connsiteX16" fmla="*/ 6261780 w 12188817"/>
              <a:gd name="connsiteY16" fmla="*/ 6495168 h 6857997"/>
              <a:gd name="connsiteX17" fmla="*/ 6265792 w 12188817"/>
              <a:gd name="connsiteY17" fmla="*/ 6491122 h 6857997"/>
              <a:gd name="connsiteX18" fmla="*/ 6274861 w 12188817"/>
              <a:gd name="connsiteY18" fmla="*/ 6488575 h 6857997"/>
              <a:gd name="connsiteX19" fmla="*/ 6291674 w 12188817"/>
              <a:gd name="connsiteY19" fmla="*/ 6483831 h 6857997"/>
              <a:gd name="connsiteX20" fmla="*/ 2657736 w 12188817"/>
              <a:gd name="connsiteY20" fmla="*/ 6483831 h 6857997"/>
              <a:gd name="connsiteX21" fmla="*/ 2657736 w 12188817"/>
              <a:gd name="connsiteY21" fmla="*/ 6488436 h 6857997"/>
              <a:gd name="connsiteX22" fmla="*/ 2655504 w 12188817"/>
              <a:gd name="connsiteY22" fmla="*/ 6502354 h 6857997"/>
              <a:gd name="connsiteX23" fmla="*/ 2648771 w 12188817"/>
              <a:gd name="connsiteY23" fmla="*/ 6509993 h 6857997"/>
              <a:gd name="connsiteX24" fmla="*/ 2638760 w 12188817"/>
              <a:gd name="connsiteY24" fmla="*/ 6512853 h 6857997"/>
              <a:gd name="connsiteX25" fmla="*/ 2629691 w 12188817"/>
              <a:gd name="connsiteY25" fmla="*/ 6509679 h 6857997"/>
              <a:gd name="connsiteX26" fmla="*/ 2626412 w 12188817"/>
              <a:gd name="connsiteY26" fmla="*/ 6501203 h 6857997"/>
              <a:gd name="connsiteX27" fmla="*/ 2627843 w 12188817"/>
              <a:gd name="connsiteY27" fmla="*/ 6495168 h 6857997"/>
              <a:gd name="connsiteX28" fmla="*/ 2631854 w 12188817"/>
              <a:gd name="connsiteY28" fmla="*/ 6491122 h 6857997"/>
              <a:gd name="connsiteX29" fmla="*/ 2640923 w 12188817"/>
              <a:gd name="connsiteY29" fmla="*/ 6488575 h 6857997"/>
              <a:gd name="connsiteX30" fmla="*/ 2657736 w 12188817"/>
              <a:gd name="connsiteY30" fmla="*/ 6483831 h 6857997"/>
              <a:gd name="connsiteX31" fmla="*/ 6087291 w 12188817"/>
              <a:gd name="connsiteY31" fmla="*/ 6455577 h 6857997"/>
              <a:gd name="connsiteX32" fmla="*/ 6099918 w 12188817"/>
              <a:gd name="connsiteY32" fmla="*/ 6462484 h 6857997"/>
              <a:gd name="connsiteX33" fmla="*/ 6104034 w 12188817"/>
              <a:gd name="connsiteY33" fmla="*/ 6476855 h 6857997"/>
              <a:gd name="connsiteX34" fmla="*/ 6070131 w 12188817"/>
              <a:gd name="connsiteY34" fmla="*/ 6476855 h 6857997"/>
              <a:gd name="connsiteX35" fmla="*/ 6075502 w 12188817"/>
              <a:gd name="connsiteY35" fmla="*/ 6461333 h 6857997"/>
              <a:gd name="connsiteX36" fmla="*/ 6087291 w 12188817"/>
              <a:gd name="connsiteY36" fmla="*/ 6455577 h 6857997"/>
              <a:gd name="connsiteX37" fmla="*/ 6018394 w 12188817"/>
              <a:gd name="connsiteY37" fmla="*/ 6455577 h 6857997"/>
              <a:gd name="connsiteX38" fmla="*/ 6030544 w 12188817"/>
              <a:gd name="connsiteY38" fmla="*/ 6462728 h 6857997"/>
              <a:gd name="connsiteX39" fmla="*/ 6035357 w 12188817"/>
              <a:gd name="connsiteY39" fmla="*/ 6485436 h 6857997"/>
              <a:gd name="connsiteX40" fmla="*/ 6030544 w 12188817"/>
              <a:gd name="connsiteY40" fmla="*/ 6505667 h 6857997"/>
              <a:gd name="connsiteX41" fmla="*/ 6019162 w 12188817"/>
              <a:gd name="connsiteY41" fmla="*/ 6512365 h 6857997"/>
              <a:gd name="connsiteX42" fmla="*/ 6007540 w 12188817"/>
              <a:gd name="connsiteY42" fmla="*/ 6505388 h 6857997"/>
              <a:gd name="connsiteX43" fmla="*/ 6002550 w 12188817"/>
              <a:gd name="connsiteY43" fmla="*/ 6484041 h 6857997"/>
              <a:gd name="connsiteX44" fmla="*/ 6007226 w 12188817"/>
              <a:gd name="connsiteY44" fmla="*/ 6462449 h 6857997"/>
              <a:gd name="connsiteX45" fmla="*/ 6018394 w 12188817"/>
              <a:gd name="connsiteY45" fmla="*/ 6455577 h 6857997"/>
              <a:gd name="connsiteX46" fmla="*/ 5829559 w 12188817"/>
              <a:gd name="connsiteY46" fmla="*/ 6455577 h 6857997"/>
              <a:gd name="connsiteX47" fmla="*/ 5842534 w 12188817"/>
              <a:gd name="connsiteY47" fmla="*/ 6462597 h 6857997"/>
              <a:gd name="connsiteX48" fmla="*/ 5847769 w 12188817"/>
              <a:gd name="connsiteY48" fmla="*/ 6483936 h 6857997"/>
              <a:gd name="connsiteX49" fmla="*/ 5842571 w 12188817"/>
              <a:gd name="connsiteY49" fmla="*/ 6505275 h 6857997"/>
              <a:gd name="connsiteX50" fmla="*/ 5830117 w 12188817"/>
              <a:gd name="connsiteY50" fmla="*/ 6512365 h 6857997"/>
              <a:gd name="connsiteX51" fmla="*/ 5817142 w 12188817"/>
              <a:gd name="connsiteY51" fmla="*/ 6505345 h 6857997"/>
              <a:gd name="connsiteX52" fmla="*/ 5811909 w 12188817"/>
              <a:gd name="connsiteY52" fmla="*/ 6483936 h 6857997"/>
              <a:gd name="connsiteX53" fmla="*/ 5817070 w 12188817"/>
              <a:gd name="connsiteY53" fmla="*/ 6462632 h 6857997"/>
              <a:gd name="connsiteX54" fmla="*/ 5829559 w 12188817"/>
              <a:gd name="connsiteY54" fmla="*/ 6455577 h 6857997"/>
              <a:gd name="connsiteX55" fmla="*/ 2774981 w 12188817"/>
              <a:gd name="connsiteY55" fmla="*/ 6455577 h 6857997"/>
              <a:gd name="connsiteX56" fmla="*/ 2787127 w 12188817"/>
              <a:gd name="connsiteY56" fmla="*/ 6462728 h 6857997"/>
              <a:gd name="connsiteX57" fmla="*/ 2791944 w 12188817"/>
              <a:gd name="connsiteY57" fmla="*/ 6485436 h 6857997"/>
              <a:gd name="connsiteX58" fmla="*/ 2787127 w 12188817"/>
              <a:gd name="connsiteY58" fmla="*/ 6505667 h 6857997"/>
              <a:gd name="connsiteX59" fmla="*/ 2775749 w 12188817"/>
              <a:gd name="connsiteY59" fmla="*/ 6512365 h 6857997"/>
              <a:gd name="connsiteX60" fmla="*/ 2764126 w 12188817"/>
              <a:gd name="connsiteY60" fmla="*/ 6505388 h 6857997"/>
              <a:gd name="connsiteX61" fmla="*/ 2759134 w 12188817"/>
              <a:gd name="connsiteY61" fmla="*/ 6484041 h 6857997"/>
              <a:gd name="connsiteX62" fmla="*/ 2763811 w 12188817"/>
              <a:gd name="connsiteY62" fmla="*/ 6462449 h 6857997"/>
              <a:gd name="connsiteX63" fmla="*/ 2774981 w 12188817"/>
              <a:gd name="connsiteY63" fmla="*/ 6455577 h 6857997"/>
              <a:gd name="connsiteX64" fmla="*/ 2510503 w 12188817"/>
              <a:gd name="connsiteY64" fmla="*/ 6455577 h 6857997"/>
              <a:gd name="connsiteX65" fmla="*/ 2523130 w 12188817"/>
              <a:gd name="connsiteY65" fmla="*/ 6462484 h 6857997"/>
              <a:gd name="connsiteX66" fmla="*/ 2527246 w 12188817"/>
              <a:gd name="connsiteY66" fmla="*/ 6476855 h 6857997"/>
              <a:gd name="connsiteX67" fmla="*/ 2493341 w 12188817"/>
              <a:gd name="connsiteY67" fmla="*/ 6476855 h 6857997"/>
              <a:gd name="connsiteX68" fmla="*/ 2498713 w 12188817"/>
              <a:gd name="connsiteY68" fmla="*/ 6461333 h 6857997"/>
              <a:gd name="connsiteX69" fmla="*/ 2510503 w 12188817"/>
              <a:gd name="connsiteY69" fmla="*/ 6455577 h 6857997"/>
              <a:gd name="connsiteX70" fmla="*/ 1871770 w 12188817"/>
              <a:gd name="connsiteY70" fmla="*/ 6455577 h 6857997"/>
              <a:gd name="connsiteX71" fmla="*/ 1884746 w 12188817"/>
              <a:gd name="connsiteY71" fmla="*/ 6462597 h 6857997"/>
              <a:gd name="connsiteX72" fmla="*/ 1889978 w 12188817"/>
              <a:gd name="connsiteY72" fmla="*/ 6483936 h 6857997"/>
              <a:gd name="connsiteX73" fmla="*/ 1884781 w 12188817"/>
              <a:gd name="connsiteY73" fmla="*/ 6505275 h 6857997"/>
              <a:gd name="connsiteX74" fmla="*/ 1872328 w 12188817"/>
              <a:gd name="connsiteY74" fmla="*/ 6512365 h 6857997"/>
              <a:gd name="connsiteX75" fmla="*/ 1859352 w 12188817"/>
              <a:gd name="connsiteY75" fmla="*/ 6505345 h 6857997"/>
              <a:gd name="connsiteX76" fmla="*/ 1854120 w 12188817"/>
              <a:gd name="connsiteY76" fmla="*/ 6483936 h 6857997"/>
              <a:gd name="connsiteX77" fmla="*/ 1859282 w 12188817"/>
              <a:gd name="connsiteY77" fmla="*/ 6462632 h 6857997"/>
              <a:gd name="connsiteX78" fmla="*/ 1871770 w 12188817"/>
              <a:gd name="connsiteY78" fmla="*/ 6455577 h 6857997"/>
              <a:gd name="connsiteX79" fmla="*/ 1586578 w 12188817"/>
              <a:gd name="connsiteY79" fmla="*/ 6455577 h 6857997"/>
              <a:gd name="connsiteX80" fmla="*/ 1599205 w 12188817"/>
              <a:gd name="connsiteY80" fmla="*/ 6462484 h 6857997"/>
              <a:gd name="connsiteX81" fmla="*/ 1603321 w 12188817"/>
              <a:gd name="connsiteY81" fmla="*/ 6476855 h 6857997"/>
              <a:gd name="connsiteX82" fmla="*/ 1569416 w 12188817"/>
              <a:gd name="connsiteY82" fmla="*/ 6476855 h 6857997"/>
              <a:gd name="connsiteX83" fmla="*/ 1574788 w 12188817"/>
              <a:gd name="connsiteY83" fmla="*/ 6461333 h 6857997"/>
              <a:gd name="connsiteX84" fmla="*/ 1586578 w 12188817"/>
              <a:gd name="connsiteY84" fmla="*/ 6455577 h 6857997"/>
              <a:gd name="connsiteX85" fmla="*/ 1317679 w 12188817"/>
              <a:gd name="connsiteY85" fmla="*/ 6455577 h 6857997"/>
              <a:gd name="connsiteX86" fmla="*/ 1329914 w 12188817"/>
              <a:gd name="connsiteY86" fmla="*/ 6462397 h 6857997"/>
              <a:gd name="connsiteX87" fmla="*/ 1334947 w 12188817"/>
              <a:gd name="connsiteY87" fmla="*/ 6483204 h 6857997"/>
              <a:gd name="connsiteX88" fmla="*/ 1330053 w 12188817"/>
              <a:gd name="connsiteY88" fmla="*/ 6504116 h 6857997"/>
              <a:gd name="connsiteX89" fmla="*/ 1318169 w 12188817"/>
              <a:gd name="connsiteY89" fmla="*/ 6510690 h 6857997"/>
              <a:gd name="connsiteX90" fmla="*/ 1306354 w 12188817"/>
              <a:gd name="connsiteY90" fmla="*/ 6503976 h 6857997"/>
              <a:gd name="connsiteX91" fmla="*/ 1301530 w 12188817"/>
              <a:gd name="connsiteY91" fmla="*/ 6482644 h 6857997"/>
              <a:gd name="connsiteX92" fmla="*/ 1306389 w 12188817"/>
              <a:gd name="connsiteY92" fmla="*/ 6462397 h 6857997"/>
              <a:gd name="connsiteX93" fmla="*/ 1317679 w 12188817"/>
              <a:gd name="connsiteY93" fmla="*/ 6455577 h 6857997"/>
              <a:gd name="connsiteX94" fmla="*/ 1071670 w 12188817"/>
              <a:gd name="connsiteY94" fmla="*/ 6455577 h 6857997"/>
              <a:gd name="connsiteX95" fmla="*/ 1084646 w 12188817"/>
              <a:gd name="connsiteY95" fmla="*/ 6462597 h 6857997"/>
              <a:gd name="connsiteX96" fmla="*/ 1089878 w 12188817"/>
              <a:gd name="connsiteY96" fmla="*/ 6483936 h 6857997"/>
              <a:gd name="connsiteX97" fmla="*/ 1084681 w 12188817"/>
              <a:gd name="connsiteY97" fmla="*/ 6505275 h 6857997"/>
              <a:gd name="connsiteX98" fmla="*/ 1072228 w 12188817"/>
              <a:gd name="connsiteY98" fmla="*/ 6512365 h 6857997"/>
              <a:gd name="connsiteX99" fmla="*/ 1059252 w 12188817"/>
              <a:gd name="connsiteY99" fmla="*/ 6505345 h 6857997"/>
              <a:gd name="connsiteX100" fmla="*/ 1054020 w 12188817"/>
              <a:gd name="connsiteY100" fmla="*/ 6483936 h 6857997"/>
              <a:gd name="connsiteX101" fmla="*/ 1059182 w 12188817"/>
              <a:gd name="connsiteY101" fmla="*/ 6462632 h 6857997"/>
              <a:gd name="connsiteX102" fmla="*/ 1071670 w 12188817"/>
              <a:gd name="connsiteY102" fmla="*/ 6455577 h 6857997"/>
              <a:gd name="connsiteX103" fmla="*/ 1139782 w 12188817"/>
              <a:gd name="connsiteY103" fmla="*/ 6455089 h 6857997"/>
              <a:gd name="connsiteX104" fmla="*/ 1151472 w 12188817"/>
              <a:gd name="connsiteY104" fmla="*/ 6462065 h 6857997"/>
              <a:gd name="connsiteX105" fmla="*/ 1156274 w 12188817"/>
              <a:gd name="connsiteY105" fmla="*/ 6483552 h 6857997"/>
              <a:gd name="connsiteX106" fmla="*/ 1151334 w 12188817"/>
              <a:gd name="connsiteY106" fmla="*/ 6505319 h 6857997"/>
              <a:gd name="connsiteX107" fmla="*/ 1139852 w 12188817"/>
              <a:gd name="connsiteY107" fmla="*/ 6512365 h 6857997"/>
              <a:gd name="connsiteX108" fmla="*/ 1128229 w 12188817"/>
              <a:gd name="connsiteY108" fmla="*/ 6505563 h 6857997"/>
              <a:gd name="connsiteX109" fmla="*/ 1123428 w 12188817"/>
              <a:gd name="connsiteY109" fmla="*/ 6484390 h 6857997"/>
              <a:gd name="connsiteX110" fmla="*/ 1128508 w 12188817"/>
              <a:gd name="connsiteY110" fmla="*/ 6462589 h 6857997"/>
              <a:gd name="connsiteX111" fmla="*/ 1139782 w 12188817"/>
              <a:gd name="connsiteY111" fmla="*/ 6455089 h 6857997"/>
              <a:gd name="connsiteX112" fmla="*/ 6224380 w 12188817"/>
              <a:gd name="connsiteY112" fmla="*/ 6446927 h 6857997"/>
              <a:gd name="connsiteX113" fmla="*/ 6224380 w 12188817"/>
              <a:gd name="connsiteY113" fmla="*/ 6521015 h 6857997"/>
              <a:gd name="connsiteX114" fmla="*/ 6234636 w 12188817"/>
              <a:gd name="connsiteY114" fmla="*/ 6521015 h 6857997"/>
              <a:gd name="connsiteX115" fmla="*/ 6234636 w 12188817"/>
              <a:gd name="connsiteY115" fmla="*/ 6446927 h 6857997"/>
              <a:gd name="connsiteX116" fmla="*/ 5967205 w 12188817"/>
              <a:gd name="connsiteY116" fmla="*/ 6446927 h 6857997"/>
              <a:gd name="connsiteX117" fmla="*/ 5967205 w 12188817"/>
              <a:gd name="connsiteY117" fmla="*/ 6521015 h 6857997"/>
              <a:gd name="connsiteX118" fmla="*/ 5977462 w 12188817"/>
              <a:gd name="connsiteY118" fmla="*/ 6521015 h 6857997"/>
              <a:gd name="connsiteX119" fmla="*/ 5977462 w 12188817"/>
              <a:gd name="connsiteY119" fmla="*/ 6446927 h 6857997"/>
              <a:gd name="connsiteX120" fmla="*/ 2380892 w 12188817"/>
              <a:gd name="connsiteY120" fmla="*/ 6446927 h 6857997"/>
              <a:gd name="connsiteX121" fmla="*/ 2380892 w 12188817"/>
              <a:gd name="connsiteY121" fmla="*/ 6521015 h 6857997"/>
              <a:gd name="connsiteX122" fmla="*/ 2391148 w 12188817"/>
              <a:gd name="connsiteY122" fmla="*/ 6521015 h 6857997"/>
              <a:gd name="connsiteX123" fmla="*/ 2391148 w 12188817"/>
              <a:gd name="connsiteY123" fmla="*/ 6446927 h 6857997"/>
              <a:gd name="connsiteX124" fmla="*/ 2287703 w 12188817"/>
              <a:gd name="connsiteY124" fmla="*/ 6446927 h 6857997"/>
              <a:gd name="connsiteX125" fmla="*/ 2306367 w 12188817"/>
              <a:gd name="connsiteY125" fmla="*/ 6521015 h 6857997"/>
              <a:gd name="connsiteX126" fmla="*/ 2317108 w 12188817"/>
              <a:gd name="connsiteY126" fmla="*/ 6521015 h 6857997"/>
              <a:gd name="connsiteX127" fmla="*/ 2329386 w 12188817"/>
              <a:gd name="connsiteY127" fmla="*/ 6464019 h 6857997"/>
              <a:gd name="connsiteX128" fmla="*/ 2331689 w 12188817"/>
              <a:gd name="connsiteY128" fmla="*/ 6476646 h 6857997"/>
              <a:gd name="connsiteX129" fmla="*/ 2341385 w 12188817"/>
              <a:gd name="connsiteY129" fmla="*/ 6521015 h 6857997"/>
              <a:gd name="connsiteX130" fmla="*/ 2352104 w 12188817"/>
              <a:gd name="connsiteY130" fmla="*/ 6521015 h 6857997"/>
              <a:gd name="connsiteX131" fmla="*/ 2371070 w 12188817"/>
              <a:gd name="connsiteY131" fmla="*/ 6446927 h 6857997"/>
              <a:gd name="connsiteX132" fmla="*/ 2361025 w 12188817"/>
              <a:gd name="connsiteY132" fmla="*/ 6446927 h 6857997"/>
              <a:gd name="connsiteX133" fmla="*/ 2350655 w 12188817"/>
              <a:gd name="connsiteY133" fmla="*/ 6489761 h 6857997"/>
              <a:gd name="connsiteX134" fmla="*/ 2347176 w 12188817"/>
              <a:gd name="connsiteY134" fmla="*/ 6504063 h 6857997"/>
              <a:gd name="connsiteX135" fmla="*/ 2344116 w 12188817"/>
              <a:gd name="connsiteY135" fmla="*/ 6489901 h 6857997"/>
              <a:gd name="connsiteX136" fmla="*/ 2335078 w 12188817"/>
              <a:gd name="connsiteY136" fmla="*/ 6446927 h 6857997"/>
              <a:gd name="connsiteX137" fmla="*/ 2324448 w 12188817"/>
              <a:gd name="connsiteY137" fmla="*/ 6446927 h 6857997"/>
              <a:gd name="connsiteX138" fmla="*/ 2314810 w 12188817"/>
              <a:gd name="connsiteY138" fmla="*/ 6490319 h 6857997"/>
              <a:gd name="connsiteX139" fmla="*/ 2311597 w 12188817"/>
              <a:gd name="connsiteY139" fmla="*/ 6505598 h 6857997"/>
              <a:gd name="connsiteX140" fmla="*/ 2308021 w 12188817"/>
              <a:gd name="connsiteY140" fmla="*/ 6489692 h 6857997"/>
              <a:gd name="connsiteX141" fmla="*/ 2298346 w 12188817"/>
              <a:gd name="connsiteY141" fmla="*/ 6446927 h 6857997"/>
              <a:gd name="connsiteX142" fmla="*/ 1818918 w 12188817"/>
              <a:gd name="connsiteY142" fmla="*/ 6446927 h 6857997"/>
              <a:gd name="connsiteX143" fmla="*/ 1818918 w 12188817"/>
              <a:gd name="connsiteY143" fmla="*/ 6521015 h 6857997"/>
              <a:gd name="connsiteX144" fmla="*/ 1829173 w 12188817"/>
              <a:gd name="connsiteY144" fmla="*/ 6521015 h 6857997"/>
              <a:gd name="connsiteX145" fmla="*/ 1829173 w 12188817"/>
              <a:gd name="connsiteY145" fmla="*/ 6446927 h 6857997"/>
              <a:gd name="connsiteX146" fmla="*/ 1752242 w 12188817"/>
              <a:gd name="connsiteY146" fmla="*/ 6446927 h 6857997"/>
              <a:gd name="connsiteX147" fmla="*/ 1752242 w 12188817"/>
              <a:gd name="connsiteY147" fmla="*/ 6521015 h 6857997"/>
              <a:gd name="connsiteX148" fmla="*/ 1762498 w 12188817"/>
              <a:gd name="connsiteY148" fmla="*/ 6521015 h 6857997"/>
              <a:gd name="connsiteX149" fmla="*/ 1762498 w 12188817"/>
              <a:gd name="connsiteY149" fmla="*/ 6446927 h 6857997"/>
              <a:gd name="connsiteX150" fmla="*/ 1266468 w 12188817"/>
              <a:gd name="connsiteY150" fmla="*/ 6446927 h 6857997"/>
              <a:gd name="connsiteX151" fmla="*/ 1266468 w 12188817"/>
              <a:gd name="connsiteY151" fmla="*/ 6521015 h 6857997"/>
              <a:gd name="connsiteX152" fmla="*/ 1276723 w 12188817"/>
              <a:gd name="connsiteY152" fmla="*/ 6521015 h 6857997"/>
              <a:gd name="connsiteX153" fmla="*/ 1276723 w 12188817"/>
              <a:gd name="connsiteY153" fmla="*/ 6446927 h 6857997"/>
              <a:gd name="connsiteX154" fmla="*/ 6278768 w 12188817"/>
              <a:gd name="connsiteY154" fmla="*/ 6445252 h 6857997"/>
              <a:gd name="connsiteX155" fmla="*/ 6259897 w 12188817"/>
              <a:gd name="connsiteY155" fmla="*/ 6450694 h 6857997"/>
              <a:gd name="connsiteX156" fmla="*/ 6251142 w 12188817"/>
              <a:gd name="connsiteY156" fmla="*/ 6468065 h 6857997"/>
              <a:gd name="connsiteX157" fmla="*/ 6261257 w 12188817"/>
              <a:gd name="connsiteY157" fmla="*/ 6469739 h 6857997"/>
              <a:gd name="connsiteX158" fmla="*/ 6266489 w 12188817"/>
              <a:gd name="connsiteY158" fmla="*/ 6458557 h 6857997"/>
              <a:gd name="connsiteX159" fmla="*/ 6277233 w 12188817"/>
              <a:gd name="connsiteY159" fmla="*/ 6455577 h 6857997"/>
              <a:gd name="connsiteX160" fmla="*/ 6289023 w 12188817"/>
              <a:gd name="connsiteY160" fmla="*/ 6460042 h 6857997"/>
              <a:gd name="connsiteX161" fmla="*/ 6291744 w 12188817"/>
              <a:gd name="connsiteY161" fmla="*/ 6470716 h 6857997"/>
              <a:gd name="connsiteX162" fmla="*/ 6291674 w 12188817"/>
              <a:gd name="connsiteY162" fmla="*/ 6473925 h 6857997"/>
              <a:gd name="connsiteX163" fmla="*/ 6273256 w 12188817"/>
              <a:gd name="connsiteY163" fmla="*/ 6478320 h 6857997"/>
              <a:gd name="connsiteX164" fmla="*/ 6259304 w 12188817"/>
              <a:gd name="connsiteY164" fmla="*/ 6482436 h 6857997"/>
              <a:gd name="connsiteX165" fmla="*/ 6252048 w 12188817"/>
              <a:gd name="connsiteY165" fmla="*/ 6490180 h 6857997"/>
              <a:gd name="connsiteX166" fmla="*/ 6249397 w 12188817"/>
              <a:gd name="connsiteY166" fmla="*/ 6501551 h 6857997"/>
              <a:gd name="connsiteX167" fmla="*/ 6255048 w 12188817"/>
              <a:gd name="connsiteY167" fmla="*/ 6516969 h 6857997"/>
              <a:gd name="connsiteX168" fmla="*/ 6270187 w 12188817"/>
              <a:gd name="connsiteY168" fmla="*/ 6522690 h 6857997"/>
              <a:gd name="connsiteX169" fmla="*/ 6281768 w 12188817"/>
              <a:gd name="connsiteY169" fmla="*/ 6519968 h 6857997"/>
              <a:gd name="connsiteX170" fmla="*/ 6292511 w 12188817"/>
              <a:gd name="connsiteY170" fmla="*/ 6511875 h 6857997"/>
              <a:gd name="connsiteX171" fmla="*/ 6294604 w 12188817"/>
              <a:gd name="connsiteY171" fmla="*/ 6521015 h 6857997"/>
              <a:gd name="connsiteX172" fmla="*/ 6305348 w 12188817"/>
              <a:gd name="connsiteY172" fmla="*/ 6521015 h 6857997"/>
              <a:gd name="connsiteX173" fmla="*/ 6302731 w 12188817"/>
              <a:gd name="connsiteY173" fmla="*/ 6512120 h 6857997"/>
              <a:gd name="connsiteX174" fmla="*/ 6302069 w 12188817"/>
              <a:gd name="connsiteY174" fmla="*/ 6489971 h 6857997"/>
              <a:gd name="connsiteX175" fmla="*/ 6302069 w 12188817"/>
              <a:gd name="connsiteY175" fmla="*/ 6473227 h 6857997"/>
              <a:gd name="connsiteX176" fmla="*/ 6300639 w 12188817"/>
              <a:gd name="connsiteY176" fmla="*/ 6457740 h 6857997"/>
              <a:gd name="connsiteX177" fmla="*/ 6293767 w 12188817"/>
              <a:gd name="connsiteY177" fmla="*/ 6448845 h 6857997"/>
              <a:gd name="connsiteX178" fmla="*/ 6278768 w 12188817"/>
              <a:gd name="connsiteY178" fmla="*/ 6445252 h 6857997"/>
              <a:gd name="connsiteX179" fmla="*/ 6157700 w 12188817"/>
              <a:gd name="connsiteY179" fmla="*/ 6445252 h 6857997"/>
              <a:gd name="connsiteX180" fmla="*/ 6146592 w 12188817"/>
              <a:gd name="connsiteY180" fmla="*/ 6448270 h 6857997"/>
              <a:gd name="connsiteX181" fmla="*/ 6138409 w 12188817"/>
              <a:gd name="connsiteY181" fmla="*/ 6457392 h 6857997"/>
              <a:gd name="connsiteX182" fmla="*/ 6138409 w 12188817"/>
              <a:gd name="connsiteY182" fmla="*/ 6446927 h 6857997"/>
              <a:gd name="connsiteX183" fmla="*/ 6129130 w 12188817"/>
              <a:gd name="connsiteY183" fmla="*/ 6446927 h 6857997"/>
              <a:gd name="connsiteX184" fmla="*/ 6129130 w 12188817"/>
              <a:gd name="connsiteY184" fmla="*/ 6521015 h 6857997"/>
              <a:gd name="connsiteX185" fmla="*/ 6139386 w 12188817"/>
              <a:gd name="connsiteY185" fmla="*/ 6521015 h 6857997"/>
              <a:gd name="connsiteX186" fmla="*/ 6139386 w 12188817"/>
              <a:gd name="connsiteY186" fmla="*/ 6480509 h 6857997"/>
              <a:gd name="connsiteX187" fmla="*/ 6143781 w 12188817"/>
              <a:gd name="connsiteY187" fmla="*/ 6461583 h 6857997"/>
              <a:gd name="connsiteX188" fmla="*/ 6155571 w 12188817"/>
              <a:gd name="connsiteY188" fmla="*/ 6456066 h 6857997"/>
              <a:gd name="connsiteX189" fmla="*/ 6162442 w 12188817"/>
              <a:gd name="connsiteY189" fmla="*/ 6458126 h 6857997"/>
              <a:gd name="connsiteX190" fmla="*/ 6166803 w 12188817"/>
              <a:gd name="connsiteY190" fmla="*/ 6463957 h 6857997"/>
              <a:gd name="connsiteX191" fmla="*/ 6168198 w 12188817"/>
              <a:gd name="connsiteY191" fmla="*/ 6475900 h 6857997"/>
              <a:gd name="connsiteX192" fmla="*/ 6168198 w 12188817"/>
              <a:gd name="connsiteY192" fmla="*/ 6521015 h 6857997"/>
              <a:gd name="connsiteX193" fmla="*/ 6178453 w 12188817"/>
              <a:gd name="connsiteY193" fmla="*/ 6521015 h 6857997"/>
              <a:gd name="connsiteX194" fmla="*/ 6178453 w 12188817"/>
              <a:gd name="connsiteY194" fmla="*/ 6475460 h 6857997"/>
              <a:gd name="connsiteX195" fmla="*/ 6177199 w 12188817"/>
              <a:gd name="connsiteY195" fmla="*/ 6460252 h 6857997"/>
              <a:gd name="connsiteX196" fmla="*/ 6173404 w 12188817"/>
              <a:gd name="connsiteY196" fmla="*/ 6452194 h 6857997"/>
              <a:gd name="connsiteX197" fmla="*/ 6166718 w 12188817"/>
              <a:gd name="connsiteY197" fmla="*/ 6447171 h 6857997"/>
              <a:gd name="connsiteX198" fmla="*/ 6157700 w 12188817"/>
              <a:gd name="connsiteY198" fmla="*/ 6445252 h 6857997"/>
              <a:gd name="connsiteX199" fmla="*/ 6087364 w 12188817"/>
              <a:gd name="connsiteY199" fmla="*/ 6445252 h 6857997"/>
              <a:gd name="connsiteX200" fmla="*/ 6066956 w 12188817"/>
              <a:gd name="connsiteY200" fmla="*/ 6455333 h 6857997"/>
              <a:gd name="connsiteX201" fmla="*/ 6058897 w 12188817"/>
              <a:gd name="connsiteY201" fmla="*/ 6484599 h 6857997"/>
              <a:gd name="connsiteX202" fmla="*/ 6066885 w 12188817"/>
              <a:gd name="connsiteY202" fmla="*/ 6512888 h 6857997"/>
              <a:gd name="connsiteX203" fmla="*/ 6087781 w 12188817"/>
              <a:gd name="connsiteY203" fmla="*/ 6522690 h 6857997"/>
              <a:gd name="connsiteX204" fmla="*/ 6104976 w 12188817"/>
              <a:gd name="connsiteY204" fmla="*/ 6516655 h 6857997"/>
              <a:gd name="connsiteX205" fmla="*/ 6114569 w 12188817"/>
              <a:gd name="connsiteY205" fmla="*/ 6498761 h 6857997"/>
              <a:gd name="connsiteX206" fmla="*/ 6103965 w 12188817"/>
              <a:gd name="connsiteY206" fmla="*/ 6497156 h 6857997"/>
              <a:gd name="connsiteX207" fmla="*/ 6087849 w 12188817"/>
              <a:gd name="connsiteY207" fmla="*/ 6512365 h 6857997"/>
              <a:gd name="connsiteX208" fmla="*/ 6075292 w 12188817"/>
              <a:gd name="connsiteY208" fmla="*/ 6506016 h 6857997"/>
              <a:gd name="connsiteX209" fmla="*/ 6069506 w 12188817"/>
              <a:gd name="connsiteY209" fmla="*/ 6487180 h 6857997"/>
              <a:gd name="connsiteX210" fmla="*/ 6114848 w 12188817"/>
              <a:gd name="connsiteY210" fmla="*/ 6487180 h 6857997"/>
              <a:gd name="connsiteX211" fmla="*/ 6114917 w 12188817"/>
              <a:gd name="connsiteY211" fmla="*/ 6483831 h 6857997"/>
              <a:gd name="connsiteX212" fmla="*/ 6107034 w 12188817"/>
              <a:gd name="connsiteY212" fmla="*/ 6455159 h 6857997"/>
              <a:gd name="connsiteX213" fmla="*/ 6087364 w 12188817"/>
              <a:gd name="connsiteY213" fmla="*/ 6445252 h 6857997"/>
              <a:gd name="connsiteX214" fmla="*/ 5900526 w 12188817"/>
              <a:gd name="connsiteY214" fmla="*/ 6445252 h 6857997"/>
              <a:gd name="connsiteX215" fmla="*/ 5889417 w 12188817"/>
              <a:gd name="connsiteY215" fmla="*/ 6448270 h 6857997"/>
              <a:gd name="connsiteX216" fmla="*/ 5881236 w 12188817"/>
              <a:gd name="connsiteY216" fmla="*/ 6457392 h 6857997"/>
              <a:gd name="connsiteX217" fmla="*/ 5881236 w 12188817"/>
              <a:gd name="connsiteY217" fmla="*/ 6446927 h 6857997"/>
              <a:gd name="connsiteX218" fmla="*/ 5871957 w 12188817"/>
              <a:gd name="connsiteY218" fmla="*/ 6446927 h 6857997"/>
              <a:gd name="connsiteX219" fmla="*/ 5871957 w 12188817"/>
              <a:gd name="connsiteY219" fmla="*/ 6521015 h 6857997"/>
              <a:gd name="connsiteX220" fmla="*/ 5882211 w 12188817"/>
              <a:gd name="connsiteY220" fmla="*/ 6521015 h 6857997"/>
              <a:gd name="connsiteX221" fmla="*/ 5882211 w 12188817"/>
              <a:gd name="connsiteY221" fmla="*/ 6480509 h 6857997"/>
              <a:gd name="connsiteX222" fmla="*/ 5886608 w 12188817"/>
              <a:gd name="connsiteY222" fmla="*/ 6461583 h 6857997"/>
              <a:gd name="connsiteX223" fmla="*/ 5898396 w 12188817"/>
              <a:gd name="connsiteY223" fmla="*/ 6456066 h 6857997"/>
              <a:gd name="connsiteX224" fmla="*/ 5905268 w 12188817"/>
              <a:gd name="connsiteY224" fmla="*/ 6458126 h 6857997"/>
              <a:gd name="connsiteX225" fmla="*/ 5909630 w 12188817"/>
              <a:gd name="connsiteY225" fmla="*/ 6463957 h 6857997"/>
              <a:gd name="connsiteX226" fmla="*/ 5911024 w 12188817"/>
              <a:gd name="connsiteY226" fmla="*/ 6475900 h 6857997"/>
              <a:gd name="connsiteX227" fmla="*/ 5911024 w 12188817"/>
              <a:gd name="connsiteY227" fmla="*/ 6521015 h 6857997"/>
              <a:gd name="connsiteX228" fmla="*/ 5921278 w 12188817"/>
              <a:gd name="connsiteY228" fmla="*/ 6521015 h 6857997"/>
              <a:gd name="connsiteX229" fmla="*/ 5921278 w 12188817"/>
              <a:gd name="connsiteY229" fmla="*/ 6475460 h 6857997"/>
              <a:gd name="connsiteX230" fmla="*/ 5920026 w 12188817"/>
              <a:gd name="connsiteY230" fmla="*/ 6460252 h 6857997"/>
              <a:gd name="connsiteX231" fmla="*/ 5916230 w 12188817"/>
              <a:gd name="connsiteY231" fmla="*/ 6452194 h 6857997"/>
              <a:gd name="connsiteX232" fmla="*/ 5909545 w 12188817"/>
              <a:gd name="connsiteY232" fmla="*/ 6447171 h 6857997"/>
              <a:gd name="connsiteX233" fmla="*/ 5900526 w 12188817"/>
              <a:gd name="connsiteY233" fmla="*/ 6445252 h 6857997"/>
              <a:gd name="connsiteX234" fmla="*/ 5829838 w 12188817"/>
              <a:gd name="connsiteY234" fmla="*/ 6445252 h 6857997"/>
              <a:gd name="connsiteX235" fmla="*/ 5809433 w 12188817"/>
              <a:gd name="connsiteY235" fmla="*/ 6455019 h 6857997"/>
              <a:gd name="connsiteX236" fmla="*/ 5801376 w 12188817"/>
              <a:gd name="connsiteY236" fmla="*/ 6483971 h 6857997"/>
              <a:gd name="connsiteX237" fmla="*/ 5809502 w 12188817"/>
              <a:gd name="connsiteY237" fmla="*/ 6512888 h 6857997"/>
              <a:gd name="connsiteX238" fmla="*/ 5829838 w 12188817"/>
              <a:gd name="connsiteY238" fmla="*/ 6522690 h 6857997"/>
              <a:gd name="connsiteX239" fmla="*/ 5850280 w 12188817"/>
              <a:gd name="connsiteY239" fmla="*/ 6512923 h 6857997"/>
              <a:gd name="connsiteX240" fmla="*/ 5858301 w 12188817"/>
              <a:gd name="connsiteY240" fmla="*/ 6483204 h 6857997"/>
              <a:gd name="connsiteX241" fmla="*/ 5850139 w 12188817"/>
              <a:gd name="connsiteY241" fmla="*/ 6455019 h 6857997"/>
              <a:gd name="connsiteX242" fmla="*/ 5829838 w 12188817"/>
              <a:gd name="connsiteY242" fmla="*/ 6445252 h 6857997"/>
              <a:gd name="connsiteX243" fmla="*/ 2714262 w 12188817"/>
              <a:gd name="connsiteY243" fmla="*/ 6445252 h 6857997"/>
              <a:gd name="connsiteX244" fmla="*/ 2703154 w 12188817"/>
              <a:gd name="connsiteY244" fmla="*/ 6448270 h 6857997"/>
              <a:gd name="connsiteX245" fmla="*/ 2694971 w 12188817"/>
              <a:gd name="connsiteY245" fmla="*/ 6457392 h 6857997"/>
              <a:gd name="connsiteX246" fmla="*/ 2694971 w 12188817"/>
              <a:gd name="connsiteY246" fmla="*/ 6446927 h 6857997"/>
              <a:gd name="connsiteX247" fmla="*/ 2685692 w 12188817"/>
              <a:gd name="connsiteY247" fmla="*/ 6446927 h 6857997"/>
              <a:gd name="connsiteX248" fmla="*/ 2685692 w 12188817"/>
              <a:gd name="connsiteY248" fmla="*/ 6521015 h 6857997"/>
              <a:gd name="connsiteX249" fmla="*/ 2695948 w 12188817"/>
              <a:gd name="connsiteY249" fmla="*/ 6521015 h 6857997"/>
              <a:gd name="connsiteX250" fmla="*/ 2695948 w 12188817"/>
              <a:gd name="connsiteY250" fmla="*/ 6480509 h 6857997"/>
              <a:gd name="connsiteX251" fmla="*/ 2700343 w 12188817"/>
              <a:gd name="connsiteY251" fmla="*/ 6461583 h 6857997"/>
              <a:gd name="connsiteX252" fmla="*/ 2712133 w 12188817"/>
              <a:gd name="connsiteY252" fmla="*/ 6456066 h 6857997"/>
              <a:gd name="connsiteX253" fmla="*/ 2719004 w 12188817"/>
              <a:gd name="connsiteY253" fmla="*/ 6458126 h 6857997"/>
              <a:gd name="connsiteX254" fmla="*/ 2723365 w 12188817"/>
              <a:gd name="connsiteY254" fmla="*/ 6463957 h 6857997"/>
              <a:gd name="connsiteX255" fmla="*/ 2724760 w 12188817"/>
              <a:gd name="connsiteY255" fmla="*/ 6475900 h 6857997"/>
              <a:gd name="connsiteX256" fmla="*/ 2724760 w 12188817"/>
              <a:gd name="connsiteY256" fmla="*/ 6521015 h 6857997"/>
              <a:gd name="connsiteX257" fmla="*/ 2735015 w 12188817"/>
              <a:gd name="connsiteY257" fmla="*/ 6521015 h 6857997"/>
              <a:gd name="connsiteX258" fmla="*/ 2735015 w 12188817"/>
              <a:gd name="connsiteY258" fmla="*/ 6475460 h 6857997"/>
              <a:gd name="connsiteX259" fmla="*/ 2733761 w 12188817"/>
              <a:gd name="connsiteY259" fmla="*/ 6460252 h 6857997"/>
              <a:gd name="connsiteX260" fmla="*/ 2729966 w 12188817"/>
              <a:gd name="connsiteY260" fmla="*/ 6452194 h 6857997"/>
              <a:gd name="connsiteX261" fmla="*/ 2723280 w 12188817"/>
              <a:gd name="connsiteY261" fmla="*/ 6447171 h 6857997"/>
              <a:gd name="connsiteX262" fmla="*/ 2714262 w 12188817"/>
              <a:gd name="connsiteY262" fmla="*/ 6445252 h 6857997"/>
              <a:gd name="connsiteX263" fmla="*/ 2644830 w 12188817"/>
              <a:gd name="connsiteY263" fmla="*/ 6445252 h 6857997"/>
              <a:gd name="connsiteX264" fmla="*/ 2625959 w 12188817"/>
              <a:gd name="connsiteY264" fmla="*/ 6450694 h 6857997"/>
              <a:gd name="connsiteX265" fmla="*/ 2617204 w 12188817"/>
              <a:gd name="connsiteY265" fmla="*/ 6468065 h 6857997"/>
              <a:gd name="connsiteX266" fmla="*/ 2627319 w 12188817"/>
              <a:gd name="connsiteY266" fmla="*/ 6469739 h 6857997"/>
              <a:gd name="connsiteX267" fmla="*/ 2632552 w 12188817"/>
              <a:gd name="connsiteY267" fmla="*/ 6458557 h 6857997"/>
              <a:gd name="connsiteX268" fmla="*/ 2643295 w 12188817"/>
              <a:gd name="connsiteY268" fmla="*/ 6455577 h 6857997"/>
              <a:gd name="connsiteX269" fmla="*/ 2655085 w 12188817"/>
              <a:gd name="connsiteY269" fmla="*/ 6460042 h 6857997"/>
              <a:gd name="connsiteX270" fmla="*/ 2657806 w 12188817"/>
              <a:gd name="connsiteY270" fmla="*/ 6470716 h 6857997"/>
              <a:gd name="connsiteX271" fmla="*/ 2657736 w 12188817"/>
              <a:gd name="connsiteY271" fmla="*/ 6473925 h 6857997"/>
              <a:gd name="connsiteX272" fmla="*/ 2639319 w 12188817"/>
              <a:gd name="connsiteY272" fmla="*/ 6478320 h 6857997"/>
              <a:gd name="connsiteX273" fmla="*/ 2625366 w 12188817"/>
              <a:gd name="connsiteY273" fmla="*/ 6482436 h 6857997"/>
              <a:gd name="connsiteX274" fmla="*/ 2618110 w 12188817"/>
              <a:gd name="connsiteY274" fmla="*/ 6490180 h 6857997"/>
              <a:gd name="connsiteX275" fmla="*/ 2615460 w 12188817"/>
              <a:gd name="connsiteY275" fmla="*/ 6501551 h 6857997"/>
              <a:gd name="connsiteX276" fmla="*/ 2621110 w 12188817"/>
              <a:gd name="connsiteY276" fmla="*/ 6516969 h 6857997"/>
              <a:gd name="connsiteX277" fmla="*/ 2636249 w 12188817"/>
              <a:gd name="connsiteY277" fmla="*/ 6522690 h 6857997"/>
              <a:gd name="connsiteX278" fmla="*/ 2647830 w 12188817"/>
              <a:gd name="connsiteY278" fmla="*/ 6519968 h 6857997"/>
              <a:gd name="connsiteX279" fmla="*/ 2658573 w 12188817"/>
              <a:gd name="connsiteY279" fmla="*/ 6511875 h 6857997"/>
              <a:gd name="connsiteX280" fmla="*/ 2660666 w 12188817"/>
              <a:gd name="connsiteY280" fmla="*/ 6521015 h 6857997"/>
              <a:gd name="connsiteX281" fmla="*/ 2671410 w 12188817"/>
              <a:gd name="connsiteY281" fmla="*/ 6521015 h 6857997"/>
              <a:gd name="connsiteX282" fmla="*/ 2668793 w 12188817"/>
              <a:gd name="connsiteY282" fmla="*/ 6512120 h 6857997"/>
              <a:gd name="connsiteX283" fmla="*/ 2668131 w 12188817"/>
              <a:gd name="connsiteY283" fmla="*/ 6489971 h 6857997"/>
              <a:gd name="connsiteX284" fmla="*/ 2668131 w 12188817"/>
              <a:gd name="connsiteY284" fmla="*/ 6473227 h 6857997"/>
              <a:gd name="connsiteX285" fmla="*/ 2666701 w 12188817"/>
              <a:gd name="connsiteY285" fmla="*/ 6457740 h 6857997"/>
              <a:gd name="connsiteX286" fmla="*/ 2659829 w 12188817"/>
              <a:gd name="connsiteY286" fmla="*/ 6448845 h 6857997"/>
              <a:gd name="connsiteX287" fmla="*/ 2644830 w 12188817"/>
              <a:gd name="connsiteY287" fmla="*/ 6445252 h 6857997"/>
              <a:gd name="connsiteX288" fmla="*/ 2574806 w 12188817"/>
              <a:gd name="connsiteY288" fmla="*/ 6445252 h 6857997"/>
              <a:gd name="connsiteX289" fmla="*/ 2568144 w 12188817"/>
              <a:gd name="connsiteY289" fmla="*/ 6447799 h 6857997"/>
              <a:gd name="connsiteX290" fmla="*/ 2561621 w 12188817"/>
              <a:gd name="connsiteY290" fmla="*/ 6458159 h 6857997"/>
              <a:gd name="connsiteX291" fmla="*/ 2561621 w 12188817"/>
              <a:gd name="connsiteY291" fmla="*/ 6446927 h 6857997"/>
              <a:gd name="connsiteX292" fmla="*/ 2552342 w 12188817"/>
              <a:gd name="connsiteY292" fmla="*/ 6446927 h 6857997"/>
              <a:gd name="connsiteX293" fmla="*/ 2552342 w 12188817"/>
              <a:gd name="connsiteY293" fmla="*/ 6521015 h 6857997"/>
              <a:gd name="connsiteX294" fmla="*/ 2562598 w 12188817"/>
              <a:gd name="connsiteY294" fmla="*/ 6521015 h 6857997"/>
              <a:gd name="connsiteX295" fmla="*/ 2562598 w 12188817"/>
              <a:gd name="connsiteY295" fmla="*/ 6482227 h 6857997"/>
              <a:gd name="connsiteX296" fmla="*/ 2564551 w 12188817"/>
              <a:gd name="connsiteY296" fmla="*/ 6466949 h 6857997"/>
              <a:gd name="connsiteX297" fmla="*/ 2568388 w 12188817"/>
              <a:gd name="connsiteY297" fmla="*/ 6460531 h 6857997"/>
              <a:gd name="connsiteX298" fmla="*/ 2574388 w 12188817"/>
              <a:gd name="connsiteY298" fmla="*/ 6458228 h 6857997"/>
              <a:gd name="connsiteX299" fmla="*/ 2581852 w 12188817"/>
              <a:gd name="connsiteY299" fmla="*/ 6460949 h 6857997"/>
              <a:gd name="connsiteX300" fmla="*/ 2585340 w 12188817"/>
              <a:gd name="connsiteY300" fmla="*/ 6449299 h 6857997"/>
              <a:gd name="connsiteX301" fmla="*/ 2574806 w 12188817"/>
              <a:gd name="connsiteY301" fmla="*/ 6445252 h 6857997"/>
              <a:gd name="connsiteX302" fmla="*/ 2510573 w 12188817"/>
              <a:gd name="connsiteY302" fmla="*/ 6445252 h 6857997"/>
              <a:gd name="connsiteX303" fmla="*/ 2490167 w 12188817"/>
              <a:gd name="connsiteY303" fmla="*/ 6455333 h 6857997"/>
              <a:gd name="connsiteX304" fmla="*/ 2482110 w 12188817"/>
              <a:gd name="connsiteY304" fmla="*/ 6484599 h 6857997"/>
              <a:gd name="connsiteX305" fmla="*/ 2490097 w 12188817"/>
              <a:gd name="connsiteY305" fmla="*/ 6512888 h 6857997"/>
              <a:gd name="connsiteX306" fmla="*/ 2510992 w 12188817"/>
              <a:gd name="connsiteY306" fmla="*/ 6522690 h 6857997"/>
              <a:gd name="connsiteX307" fmla="*/ 2528188 w 12188817"/>
              <a:gd name="connsiteY307" fmla="*/ 6516655 h 6857997"/>
              <a:gd name="connsiteX308" fmla="*/ 2537781 w 12188817"/>
              <a:gd name="connsiteY308" fmla="*/ 6498761 h 6857997"/>
              <a:gd name="connsiteX309" fmla="*/ 2527176 w 12188817"/>
              <a:gd name="connsiteY309" fmla="*/ 6497156 h 6857997"/>
              <a:gd name="connsiteX310" fmla="*/ 2511061 w 12188817"/>
              <a:gd name="connsiteY310" fmla="*/ 6512365 h 6857997"/>
              <a:gd name="connsiteX311" fmla="*/ 2498504 w 12188817"/>
              <a:gd name="connsiteY311" fmla="*/ 6506016 h 6857997"/>
              <a:gd name="connsiteX312" fmla="*/ 2492714 w 12188817"/>
              <a:gd name="connsiteY312" fmla="*/ 6487180 h 6857997"/>
              <a:gd name="connsiteX313" fmla="*/ 2538060 w 12188817"/>
              <a:gd name="connsiteY313" fmla="*/ 6487180 h 6857997"/>
              <a:gd name="connsiteX314" fmla="*/ 2538129 w 12188817"/>
              <a:gd name="connsiteY314" fmla="*/ 6483831 h 6857997"/>
              <a:gd name="connsiteX315" fmla="*/ 2530246 w 12188817"/>
              <a:gd name="connsiteY315" fmla="*/ 6455159 h 6857997"/>
              <a:gd name="connsiteX316" fmla="*/ 2510573 w 12188817"/>
              <a:gd name="connsiteY316" fmla="*/ 6445252 h 6857997"/>
              <a:gd name="connsiteX317" fmla="*/ 1942737 w 12188817"/>
              <a:gd name="connsiteY317" fmla="*/ 6445252 h 6857997"/>
              <a:gd name="connsiteX318" fmla="*/ 1931629 w 12188817"/>
              <a:gd name="connsiteY318" fmla="*/ 6448270 h 6857997"/>
              <a:gd name="connsiteX319" fmla="*/ 1923446 w 12188817"/>
              <a:gd name="connsiteY319" fmla="*/ 6457392 h 6857997"/>
              <a:gd name="connsiteX320" fmla="*/ 1923446 w 12188817"/>
              <a:gd name="connsiteY320" fmla="*/ 6446927 h 6857997"/>
              <a:gd name="connsiteX321" fmla="*/ 1914167 w 12188817"/>
              <a:gd name="connsiteY321" fmla="*/ 6446927 h 6857997"/>
              <a:gd name="connsiteX322" fmla="*/ 1914167 w 12188817"/>
              <a:gd name="connsiteY322" fmla="*/ 6521015 h 6857997"/>
              <a:gd name="connsiteX323" fmla="*/ 1924423 w 12188817"/>
              <a:gd name="connsiteY323" fmla="*/ 6521015 h 6857997"/>
              <a:gd name="connsiteX324" fmla="*/ 1924423 w 12188817"/>
              <a:gd name="connsiteY324" fmla="*/ 6480509 h 6857997"/>
              <a:gd name="connsiteX325" fmla="*/ 1928818 w 12188817"/>
              <a:gd name="connsiteY325" fmla="*/ 6461583 h 6857997"/>
              <a:gd name="connsiteX326" fmla="*/ 1940608 w 12188817"/>
              <a:gd name="connsiteY326" fmla="*/ 6456066 h 6857997"/>
              <a:gd name="connsiteX327" fmla="*/ 1947479 w 12188817"/>
              <a:gd name="connsiteY327" fmla="*/ 6458126 h 6857997"/>
              <a:gd name="connsiteX328" fmla="*/ 1951840 w 12188817"/>
              <a:gd name="connsiteY328" fmla="*/ 6463957 h 6857997"/>
              <a:gd name="connsiteX329" fmla="*/ 1953235 w 12188817"/>
              <a:gd name="connsiteY329" fmla="*/ 6475900 h 6857997"/>
              <a:gd name="connsiteX330" fmla="*/ 1953235 w 12188817"/>
              <a:gd name="connsiteY330" fmla="*/ 6521015 h 6857997"/>
              <a:gd name="connsiteX331" fmla="*/ 1963490 w 12188817"/>
              <a:gd name="connsiteY331" fmla="*/ 6521015 h 6857997"/>
              <a:gd name="connsiteX332" fmla="*/ 1963490 w 12188817"/>
              <a:gd name="connsiteY332" fmla="*/ 6475460 h 6857997"/>
              <a:gd name="connsiteX333" fmla="*/ 1962236 w 12188817"/>
              <a:gd name="connsiteY333" fmla="*/ 6460252 h 6857997"/>
              <a:gd name="connsiteX334" fmla="*/ 1958441 w 12188817"/>
              <a:gd name="connsiteY334" fmla="*/ 6452194 h 6857997"/>
              <a:gd name="connsiteX335" fmla="*/ 1951755 w 12188817"/>
              <a:gd name="connsiteY335" fmla="*/ 6447171 h 6857997"/>
              <a:gd name="connsiteX336" fmla="*/ 1942737 w 12188817"/>
              <a:gd name="connsiteY336" fmla="*/ 6445252 h 6857997"/>
              <a:gd name="connsiteX337" fmla="*/ 1872049 w 12188817"/>
              <a:gd name="connsiteY337" fmla="*/ 6445252 h 6857997"/>
              <a:gd name="connsiteX338" fmla="*/ 1851643 w 12188817"/>
              <a:gd name="connsiteY338" fmla="*/ 6455019 h 6857997"/>
              <a:gd name="connsiteX339" fmla="*/ 1843586 w 12188817"/>
              <a:gd name="connsiteY339" fmla="*/ 6483971 h 6857997"/>
              <a:gd name="connsiteX340" fmla="*/ 1851713 w 12188817"/>
              <a:gd name="connsiteY340" fmla="*/ 6512888 h 6857997"/>
              <a:gd name="connsiteX341" fmla="*/ 1872049 w 12188817"/>
              <a:gd name="connsiteY341" fmla="*/ 6522690 h 6857997"/>
              <a:gd name="connsiteX342" fmla="*/ 1892490 w 12188817"/>
              <a:gd name="connsiteY342" fmla="*/ 6512923 h 6857997"/>
              <a:gd name="connsiteX343" fmla="*/ 1900512 w 12188817"/>
              <a:gd name="connsiteY343" fmla="*/ 6483204 h 6857997"/>
              <a:gd name="connsiteX344" fmla="*/ 1892350 w 12188817"/>
              <a:gd name="connsiteY344" fmla="*/ 6455019 h 6857997"/>
              <a:gd name="connsiteX345" fmla="*/ 1872049 w 12188817"/>
              <a:gd name="connsiteY345" fmla="*/ 6445252 h 6857997"/>
              <a:gd name="connsiteX346" fmla="*/ 1803281 w 12188817"/>
              <a:gd name="connsiteY346" fmla="*/ 6445252 h 6857997"/>
              <a:gd name="connsiteX347" fmla="*/ 1796619 w 12188817"/>
              <a:gd name="connsiteY347" fmla="*/ 6447799 h 6857997"/>
              <a:gd name="connsiteX348" fmla="*/ 1790096 w 12188817"/>
              <a:gd name="connsiteY348" fmla="*/ 6458159 h 6857997"/>
              <a:gd name="connsiteX349" fmla="*/ 1790096 w 12188817"/>
              <a:gd name="connsiteY349" fmla="*/ 6446927 h 6857997"/>
              <a:gd name="connsiteX350" fmla="*/ 1780818 w 12188817"/>
              <a:gd name="connsiteY350" fmla="*/ 6446927 h 6857997"/>
              <a:gd name="connsiteX351" fmla="*/ 1780818 w 12188817"/>
              <a:gd name="connsiteY351" fmla="*/ 6521015 h 6857997"/>
              <a:gd name="connsiteX352" fmla="*/ 1791073 w 12188817"/>
              <a:gd name="connsiteY352" fmla="*/ 6521015 h 6857997"/>
              <a:gd name="connsiteX353" fmla="*/ 1791073 w 12188817"/>
              <a:gd name="connsiteY353" fmla="*/ 6482227 h 6857997"/>
              <a:gd name="connsiteX354" fmla="*/ 1793026 w 12188817"/>
              <a:gd name="connsiteY354" fmla="*/ 6466949 h 6857997"/>
              <a:gd name="connsiteX355" fmla="*/ 1796863 w 12188817"/>
              <a:gd name="connsiteY355" fmla="*/ 6460531 h 6857997"/>
              <a:gd name="connsiteX356" fmla="*/ 1802863 w 12188817"/>
              <a:gd name="connsiteY356" fmla="*/ 6458228 h 6857997"/>
              <a:gd name="connsiteX357" fmla="*/ 1810327 w 12188817"/>
              <a:gd name="connsiteY357" fmla="*/ 6460949 h 6857997"/>
              <a:gd name="connsiteX358" fmla="*/ 1813815 w 12188817"/>
              <a:gd name="connsiteY358" fmla="*/ 6449299 h 6857997"/>
              <a:gd name="connsiteX359" fmla="*/ 1803281 w 12188817"/>
              <a:gd name="connsiteY359" fmla="*/ 6445252 h 6857997"/>
              <a:gd name="connsiteX360" fmla="*/ 1715742 w 12188817"/>
              <a:gd name="connsiteY360" fmla="*/ 6445252 h 6857997"/>
              <a:gd name="connsiteX361" fmla="*/ 1698930 w 12188817"/>
              <a:gd name="connsiteY361" fmla="*/ 6451182 h 6857997"/>
              <a:gd name="connsiteX362" fmla="*/ 1692860 w 12188817"/>
              <a:gd name="connsiteY362" fmla="*/ 6466600 h 6857997"/>
              <a:gd name="connsiteX363" fmla="*/ 1695092 w 12188817"/>
              <a:gd name="connsiteY363" fmla="*/ 6476437 h 6857997"/>
              <a:gd name="connsiteX364" fmla="*/ 1701371 w 12188817"/>
              <a:gd name="connsiteY364" fmla="*/ 6483343 h 6857997"/>
              <a:gd name="connsiteX365" fmla="*/ 1717417 w 12188817"/>
              <a:gd name="connsiteY365" fmla="*/ 6489622 h 6857997"/>
              <a:gd name="connsiteX366" fmla="*/ 1727881 w 12188817"/>
              <a:gd name="connsiteY366" fmla="*/ 6493808 h 6857997"/>
              <a:gd name="connsiteX367" fmla="*/ 1731021 w 12188817"/>
              <a:gd name="connsiteY367" fmla="*/ 6500644 h 6857997"/>
              <a:gd name="connsiteX368" fmla="*/ 1727367 w 12188817"/>
              <a:gd name="connsiteY368" fmla="*/ 6509051 h 6857997"/>
              <a:gd name="connsiteX369" fmla="*/ 1717031 w 12188817"/>
              <a:gd name="connsiteY369" fmla="*/ 6512365 h 6857997"/>
              <a:gd name="connsiteX370" fmla="*/ 1706313 w 12188817"/>
              <a:gd name="connsiteY370" fmla="*/ 6508545 h 6857997"/>
              <a:gd name="connsiteX371" fmla="*/ 1701371 w 12188817"/>
              <a:gd name="connsiteY371" fmla="*/ 6496877 h 6857997"/>
              <a:gd name="connsiteX372" fmla="*/ 1691116 w 12188817"/>
              <a:gd name="connsiteY372" fmla="*/ 6498831 h 6857997"/>
              <a:gd name="connsiteX373" fmla="*/ 1716440 w 12188817"/>
              <a:gd name="connsiteY373" fmla="*/ 6522690 h 6857997"/>
              <a:gd name="connsiteX374" fmla="*/ 1734823 w 12188817"/>
              <a:gd name="connsiteY374" fmla="*/ 6516120 h 6857997"/>
              <a:gd name="connsiteX375" fmla="*/ 1741555 w 12188817"/>
              <a:gd name="connsiteY375" fmla="*/ 6498929 h 6857997"/>
              <a:gd name="connsiteX376" fmla="*/ 1739470 w 12188817"/>
              <a:gd name="connsiteY376" fmla="*/ 6489040 h 6857997"/>
              <a:gd name="connsiteX377" fmla="*/ 1733631 w 12188817"/>
              <a:gd name="connsiteY377" fmla="*/ 6482471 h 6857997"/>
              <a:gd name="connsiteX378" fmla="*/ 1717094 w 12188817"/>
              <a:gd name="connsiteY378" fmla="*/ 6476004 h 6857997"/>
              <a:gd name="connsiteX379" fmla="*/ 1705911 w 12188817"/>
              <a:gd name="connsiteY379" fmla="*/ 6471558 h 6857997"/>
              <a:gd name="connsiteX380" fmla="*/ 1702766 w 12188817"/>
              <a:gd name="connsiteY380" fmla="*/ 6465096 h 6857997"/>
              <a:gd name="connsiteX381" fmla="*/ 1706045 w 12188817"/>
              <a:gd name="connsiteY381" fmla="*/ 6458252 h 6857997"/>
              <a:gd name="connsiteX382" fmla="*/ 1716021 w 12188817"/>
              <a:gd name="connsiteY382" fmla="*/ 6455577 h 6857997"/>
              <a:gd name="connsiteX383" fmla="*/ 1729207 w 12188817"/>
              <a:gd name="connsiteY383" fmla="*/ 6467716 h 6857997"/>
              <a:gd name="connsiteX384" fmla="*/ 1739252 w 12188817"/>
              <a:gd name="connsiteY384" fmla="*/ 6466042 h 6857997"/>
              <a:gd name="connsiteX385" fmla="*/ 1735485 w 12188817"/>
              <a:gd name="connsiteY385" fmla="*/ 6454252 h 6857997"/>
              <a:gd name="connsiteX386" fmla="*/ 1727637 w 12188817"/>
              <a:gd name="connsiteY386" fmla="*/ 6447694 h 6857997"/>
              <a:gd name="connsiteX387" fmla="*/ 1715742 w 12188817"/>
              <a:gd name="connsiteY387" fmla="*/ 6445252 h 6857997"/>
              <a:gd name="connsiteX388" fmla="*/ 1656986 w 12188817"/>
              <a:gd name="connsiteY388" fmla="*/ 6445252 h 6857997"/>
              <a:gd name="connsiteX389" fmla="*/ 1645879 w 12188817"/>
              <a:gd name="connsiteY389" fmla="*/ 6448270 h 6857997"/>
              <a:gd name="connsiteX390" fmla="*/ 1637696 w 12188817"/>
              <a:gd name="connsiteY390" fmla="*/ 6457392 h 6857997"/>
              <a:gd name="connsiteX391" fmla="*/ 1637696 w 12188817"/>
              <a:gd name="connsiteY391" fmla="*/ 6446927 h 6857997"/>
              <a:gd name="connsiteX392" fmla="*/ 1628418 w 12188817"/>
              <a:gd name="connsiteY392" fmla="*/ 6446927 h 6857997"/>
              <a:gd name="connsiteX393" fmla="*/ 1628418 w 12188817"/>
              <a:gd name="connsiteY393" fmla="*/ 6521015 h 6857997"/>
              <a:gd name="connsiteX394" fmla="*/ 1638673 w 12188817"/>
              <a:gd name="connsiteY394" fmla="*/ 6521015 h 6857997"/>
              <a:gd name="connsiteX395" fmla="*/ 1638673 w 12188817"/>
              <a:gd name="connsiteY395" fmla="*/ 6480509 h 6857997"/>
              <a:gd name="connsiteX396" fmla="*/ 1643068 w 12188817"/>
              <a:gd name="connsiteY396" fmla="*/ 6461583 h 6857997"/>
              <a:gd name="connsiteX397" fmla="*/ 1654858 w 12188817"/>
              <a:gd name="connsiteY397" fmla="*/ 6456066 h 6857997"/>
              <a:gd name="connsiteX398" fmla="*/ 1661729 w 12188817"/>
              <a:gd name="connsiteY398" fmla="*/ 6458126 h 6857997"/>
              <a:gd name="connsiteX399" fmla="*/ 1666089 w 12188817"/>
              <a:gd name="connsiteY399" fmla="*/ 6463957 h 6857997"/>
              <a:gd name="connsiteX400" fmla="*/ 1667485 w 12188817"/>
              <a:gd name="connsiteY400" fmla="*/ 6475900 h 6857997"/>
              <a:gd name="connsiteX401" fmla="*/ 1667485 w 12188817"/>
              <a:gd name="connsiteY401" fmla="*/ 6521015 h 6857997"/>
              <a:gd name="connsiteX402" fmla="*/ 1677740 w 12188817"/>
              <a:gd name="connsiteY402" fmla="*/ 6521015 h 6857997"/>
              <a:gd name="connsiteX403" fmla="*/ 1677740 w 12188817"/>
              <a:gd name="connsiteY403" fmla="*/ 6475460 h 6857997"/>
              <a:gd name="connsiteX404" fmla="*/ 1676487 w 12188817"/>
              <a:gd name="connsiteY404" fmla="*/ 6460252 h 6857997"/>
              <a:gd name="connsiteX405" fmla="*/ 1672691 w 12188817"/>
              <a:gd name="connsiteY405" fmla="*/ 6452194 h 6857997"/>
              <a:gd name="connsiteX406" fmla="*/ 1666005 w 12188817"/>
              <a:gd name="connsiteY406" fmla="*/ 6447171 h 6857997"/>
              <a:gd name="connsiteX407" fmla="*/ 1656986 w 12188817"/>
              <a:gd name="connsiteY407" fmla="*/ 6445252 h 6857997"/>
              <a:gd name="connsiteX408" fmla="*/ 1586648 w 12188817"/>
              <a:gd name="connsiteY408" fmla="*/ 6445252 h 6857997"/>
              <a:gd name="connsiteX409" fmla="*/ 1566242 w 12188817"/>
              <a:gd name="connsiteY409" fmla="*/ 6455333 h 6857997"/>
              <a:gd name="connsiteX410" fmla="*/ 1558184 w 12188817"/>
              <a:gd name="connsiteY410" fmla="*/ 6484599 h 6857997"/>
              <a:gd name="connsiteX411" fmla="*/ 1566172 w 12188817"/>
              <a:gd name="connsiteY411" fmla="*/ 6512888 h 6857997"/>
              <a:gd name="connsiteX412" fmla="*/ 1587067 w 12188817"/>
              <a:gd name="connsiteY412" fmla="*/ 6522690 h 6857997"/>
              <a:gd name="connsiteX413" fmla="*/ 1604263 w 12188817"/>
              <a:gd name="connsiteY413" fmla="*/ 6516655 h 6857997"/>
              <a:gd name="connsiteX414" fmla="*/ 1613856 w 12188817"/>
              <a:gd name="connsiteY414" fmla="*/ 6498761 h 6857997"/>
              <a:gd name="connsiteX415" fmla="*/ 1603252 w 12188817"/>
              <a:gd name="connsiteY415" fmla="*/ 6497156 h 6857997"/>
              <a:gd name="connsiteX416" fmla="*/ 1587136 w 12188817"/>
              <a:gd name="connsiteY416" fmla="*/ 6512365 h 6857997"/>
              <a:gd name="connsiteX417" fmla="*/ 1574579 w 12188817"/>
              <a:gd name="connsiteY417" fmla="*/ 6506016 h 6857997"/>
              <a:gd name="connsiteX418" fmla="*/ 1568788 w 12188817"/>
              <a:gd name="connsiteY418" fmla="*/ 6487180 h 6857997"/>
              <a:gd name="connsiteX419" fmla="*/ 1614135 w 12188817"/>
              <a:gd name="connsiteY419" fmla="*/ 6487180 h 6857997"/>
              <a:gd name="connsiteX420" fmla="*/ 1614204 w 12188817"/>
              <a:gd name="connsiteY420" fmla="*/ 6483831 h 6857997"/>
              <a:gd name="connsiteX421" fmla="*/ 1606321 w 12188817"/>
              <a:gd name="connsiteY421" fmla="*/ 6455159 h 6857997"/>
              <a:gd name="connsiteX422" fmla="*/ 1586648 w 12188817"/>
              <a:gd name="connsiteY422" fmla="*/ 6445252 h 6857997"/>
              <a:gd name="connsiteX423" fmla="*/ 1317367 w 12188817"/>
              <a:gd name="connsiteY423" fmla="*/ 6445252 h 6857997"/>
              <a:gd name="connsiteX424" fmla="*/ 1304147 w 12188817"/>
              <a:gd name="connsiteY424" fmla="*/ 6449438 h 6857997"/>
              <a:gd name="connsiteX425" fmla="*/ 1294624 w 12188817"/>
              <a:gd name="connsiteY425" fmla="*/ 6462554 h 6857997"/>
              <a:gd name="connsiteX426" fmla="*/ 1290996 w 12188817"/>
              <a:gd name="connsiteY426" fmla="*/ 6483413 h 6857997"/>
              <a:gd name="connsiteX427" fmla="*/ 1299228 w 12188817"/>
              <a:gd name="connsiteY427" fmla="*/ 6511807 h 6857997"/>
              <a:gd name="connsiteX428" fmla="*/ 1317297 w 12188817"/>
              <a:gd name="connsiteY428" fmla="*/ 6521015 h 6857997"/>
              <a:gd name="connsiteX429" fmla="*/ 1326575 w 12188817"/>
              <a:gd name="connsiteY429" fmla="*/ 6518590 h 6857997"/>
              <a:gd name="connsiteX430" fmla="*/ 1334110 w 12188817"/>
              <a:gd name="connsiteY430" fmla="*/ 6511384 h 6857997"/>
              <a:gd name="connsiteX431" fmla="*/ 1333203 w 12188817"/>
              <a:gd name="connsiteY431" fmla="*/ 6527850 h 6857997"/>
              <a:gd name="connsiteX432" fmla="*/ 1327727 w 12188817"/>
              <a:gd name="connsiteY432" fmla="*/ 6537514 h 6857997"/>
              <a:gd name="connsiteX433" fmla="*/ 1316948 w 12188817"/>
              <a:gd name="connsiteY433" fmla="*/ 6540758 h 6857997"/>
              <a:gd name="connsiteX434" fmla="*/ 1307251 w 12188817"/>
              <a:gd name="connsiteY434" fmla="*/ 6537846 h 6857997"/>
              <a:gd name="connsiteX435" fmla="*/ 1303065 w 12188817"/>
              <a:gd name="connsiteY435" fmla="*/ 6528968 h 6857997"/>
              <a:gd name="connsiteX436" fmla="*/ 1293019 w 12188817"/>
              <a:gd name="connsiteY436" fmla="*/ 6527154 h 6857997"/>
              <a:gd name="connsiteX437" fmla="*/ 1299159 w 12188817"/>
              <a:gd name="connsiteY437" fmla="*/ 6544735 h 6857997"/>
              <a:gd name="connsiteX438" fmla="*/ 1317297 w 12188817"/>
              <a:gd name="connsiteY438" fmla="*/ 6551083 h 6857997"/>
              <a:gd name="connsiteX439" fmla="*/ 1332575 w 12188817"/>
              <a:gd name="connsiteY439" fmla="*/ 6546863 h 6857997"/>
              <a:gd name="connsiteX440" fmla="*/ 1341714 w 12188817"/>
              <a:gd name="connsiteY440" fmla="*/ 6535352 h 6857997"/>
              <a:gd name="connsiteX441" fmla="*/ 1344505 w 12188817"/>
              <a:gd name="connsiteY441" fmla="*/ 6510969 h 6857997"/>
              <a:gd name="connsiteX442" fmla="*/ 1344505 w 12188817"/>
              <a:gd name="connsiteY442" fmla="*/ 6446927 h 6857997"/>
              <a:gd name="connsiteX443" fmla="*/ 1335017 w 12188817"/>
              <a:gd name="connsiteY443" fmla="*/ 6446927 h 6857997"/>
              <a:gd name="connsiteX444" fmla="*/ 1335017 w 12188817"/>
              <a:gd name="connsiteY444" fmla="*/ 6455787 h 6857997"/>
              <a:gd name="connsiteX445" fmla="*/ 1327168 w 12188817"/>
              <a:gd name="connsiteY445" fmla="*/ 6447886 h 6857997"/>
              <a:gd name="connsiteX446" fmla="*/ 1317367 w 12188817"/>
              <a:gd name="connsiteY446" fmla="*/ 6445252 h 6857997"/>
              <a:gd name="connsiteX447" fmla="*/ 1250831 w 12188817"/>
              <a:gd name="connsiteY447" fmla="*/ 6445252 h 6857997"/>
              <a:gd name="connsiteX448" fmla="*/ 1244169 w 12188817"/>
              <a:gd name="connsiteY448" fmla="*/ 6447799 h 6857997"/>
              <a:gd name="connsiteX449" fmla="*/ 1237646 w 12188817"/>
              <a:gd name="connsiteY449" fmla="*/ 6458159 h 6857997"/>
              <a:gd name="connsiteX450" fmla="*/ 1237646 w 12188817"/>
              <a:gd name="connsiteY450" fmla="*/ 6446927 h 6857997"/>
              <a:gd name="connsiteX451" fmla="*/ 1230693 w 12188817"/>
              <a:gd name="connsiteY451" fmla="*/ 6446927 h 6857997"/>
              <a:gd name="connsiteX452" fmla="*/ 1228368 w 12188817"/>
              <a:gd name="connsiteY452" fmla="*/ 6446927 h 6857997"/>
              <a:gd name="connsiteX453" fmla="*/ 1220369 w 12188817"/>
              <a:gd name="connsiteY453" fmla="*/ 6446927 h 6857997"/>
              <a:gd name="connsiteX454" fmla="*/ 1207392 w 12188817"/>
              <a:gd name="connsiteY454" fmla="*/ 6490086 h 6857997"/>
              <a:gd name="connsiteX455" fmla="*/ 1203206 w 12188817"/>
              <a:gd name="connsiteY455" fmla="*/ 6506960 h 6857997"/>
              <a:gd name="connsiteX456" fmla="*/ 1198811 w 12188817"/>
              <a:gd name="connsiteY456" fmla="*/ 6489808 h 6857997"/>
              <a:gd name="connsiteX457" fmla="*/ 1186114 w 12188817"/>
              <a:gd name="connsiteY457" fmla="*/ 6446927 h 6857997"/>
              <a:gd name="connsiteX458" fmla="*/ 1175022 w 12188817"/>
              <a:gd name="connsiteY458" fmla="*/ 6446927 h 6857997"/>
              <a:gd name="connsiteX459" fmla="*/ 1198132 w 12188817"/>
              <a:gd name="connsiteY459" fmla="*/ 6521125 h 6857997"/>
              <a:gd name="connsiteX460" fmla="*/ 1194080 w 12188817"/>
              <a:gd name="connsiteY460" fmla="*/ 6533431 h 6857997"/>
              <a:gd name="connsiteX461" fmla="*/ 1190554 w 12188817"/>
              <a:gd name="connsiteY461" fmla="*/ 6537549 h 6857997"/>
              <a:gd name="connsiteX462" fmla="*/ 1185143 w 12188817"/>
              <a:gd name="connsiteY462" fmla="*/ 6538875 h 6857997"/>
              <a:gd name="connsiteX463" fmla="*/ 1179277 w 12188817"/>
              <a:gd name="connsiteY463" fmla="*/ 6537758 h 6857997"/>
              <a:gd name="connsiteX464" fmla="*/ 1180394 w 12188817"/>
              <a:gd name="connsiteY464" fmla="*/ 6549548 h 6857997"/>
              <a:gd name="connsiteX465" fmla="*/ 1187032 w 12188817"/>
              <a:gd name="connsiteY465" fmla="*/ 6551083 h 6857997"/>
              <a:gd name="connsiteX466" fmla="*/ 1194543 w 12188817"/>
              <a:gd name="connsiteY466" fmla="*/ 6548921 h 6857997"/>
              <a:gd name="connsiteX467" fmla="*/ 1200483 w 12188817"/>
              <a:gd name="connsiteY467" fmla="*/ 6541840 h 6857997"/>
              <a:gd name="connsiteX468" fmla="*/ 1207645 w 12188817"/>
              <a:gd name="connsiteY468" fmla="*/ 6522271 h 6857997"/>
              <a:gd name="connsiteX469" fmla="*/ 1228368 w 12188817"/>
              <a:gd name="connsiteY469" fmla="*/ 6454529 h 6857997"/>
              <a:gd name="connsiteX470" fmla="*/ 1228368 w 12188817"/>
              <a:gd name="connsiteY470" fmla="*/ 6521015 h 6857997"/>
              <a:gd name="connsiteX471" fmla="*/ 1238623 w 12188817"/>
              <a:gd name="connsiteY471" fmla="*/ 6521015 h 6857997"/>
              <a:gd name="connsiteX472" fmla="*/ 1238623 w 12188817"/>
              <a:gd name="connsiteY472" fmla="*/ 6482227 h 6857997"/>
              <a:gd name="connsiteX473" fmla="*/ 1240576 w 12188817"/>
              <a:gd name="connsiteY473" fmla="*/ 6466949 h 6857997"/>
              <a:gd name="connsiteX474" fmla="*/ 1244413 w 12188817"/>
              <a:gd name="connsiteY474" fmla="*/ 6460531 h 6857997"/>
              <a:gd name="connsiteX475" fmla="*/ 1250413 w 12188817"/>
              <a:gd name="connsiteY475" fmla="*/ 6458228 h 6857997"/>
              <a:gd name="connsiteX476" fmla="*/ 1257877 w 12188817"/>
              <a:gd name="connsiteY476" fmla="*/ 6460949 h 6857997"/>
              <a:gd name="connsiteX477" fmla="*/ 1261365 w 12188817"/>
              <a:gd name="connsiteY477" fmla="*/ 6449299 h 6857997"/>
              <a:gd name="connsiteX478" fmla="*/ 1250831 w 12188817"/>
              <a:gd name="connsiteY478" fmla="*/ 6445252 h 6857997"/>
              <a:gd name="connsiteX479" fmla="*/ 1141038 w 12188817"/>
              <a:gd name="connsiteY479" fmla="*/ 6445252 h 6857997"/>
              <a:gd name="connsiteX480" fmla="*/ 1131286 w 12188817"/>
              <a:gd name="connsiteY480" fmla="*/ 6447903 h 6857997"/>
              <a:gd name="connsiteX481" fmla="*/ 1123555 w 12188817"/>
              <a:gd name="connsiteY481" fmla="*/ 6456554 h 6857997"/>
              <a:gd name="connsiteX482" fmla="*/ 1123555 w 12188817"/>
              <a:gd name="connsiteY482" fmla="*/ 6446927 h 6857997"/>
              <a:gd name="connsiteX483" fmla="*/ 1114068 w 12188817"/>
              <a:gd name="connsiteY483" fmla="*/ 6446927 h 6857997"/>
              <a:gd name="connsiteX484" fmla="*/ 1114068 w 12188817"/>
              <a:gd name="connsiteY484" fmla="*/ 6549409 h 6857997"/>
              <a:gd name="connsiteX485" fmla="*/ 1124323 w 12188817"/>
              <a:gd name="connsiteY485" fmla="*/ 6549409 h 6857997"/>
              <a:gd name="connsiteX486" fmla="*/ 1124323 w 12188817"/>
              <a:gd name="connsiteY486" fmla="*/ 6513341 h 6857997"/>
              <a:gd name="connsiteX487" fmla="*/ 1131439 w 12188817"/>
              <a:gd name="connsiteY487" fmla="*/ 6520248 h 6857997"/>
              <a:gd name="connsiteX488" fmla="*/ 1140298 w 12188817"/>
              <a:gd name="connsiteY488" fmla="*/ 6522690 h 6857997"/>
              <a:gd name="connsiteX489" fmla="*/ 1158890 w 12188817"/>
              <a:gd name="connsiteY489" fmla="*/ 6512469 h 6857997"/>
              <a:gd name="connsiteX490" fmla="*/ 1166808 w 12188817"/>
              <a:gd name="connsiteY490" fmla="*/ 6483343 h 6857997"/>
              <a:gd name="connsiteX491" fmla="*/ 1163291 w 12188817"/>
              <a:gd name="connsiteY491" fmla="*/ 6462449 h 6857997"/>
              <a:gd name="connsiteX492" fmla="*/ 1153993 w 12188817"/>
              <a:gd name="connsiteY492" fmla="*/ 6449508 h 6857997"/>
              <a:gd name="connsiteX493" fmla="*/ 1141038 w 12188817"/>
              <a:gd name="connsiteY493" fmla="*/ 6445252 h 6857997"/>
              <a:gd name="connsiteX494" fmla="*/ 1071949 w 12188817"/>
              <a:gd name="connsiteY494" fmla="*/ 6445252 h 6857997"/>
              <a:gd name="connsiteX495" fmla="*/ 1051543 w 12188817"/>
              <a:gd name="connsiteY495" fmla="*/ 6455019 h 6857997"/>
              <a:gd name="connsiteX496" fmla="*/ 1043486 w 12188817"/>
              <a:gd name="connsiteY496" fmla="*/ 6483971 h 6857997"/>
              <a:gd name="connsiteX497" fmla="*/ 1051613 w 12188817"/>
              <a:gd name="connsiteY497" fmla="*/ 6512888 h 6857997"/>
              <a:gd name="connsiteX498" fmla="*/ 1071949 w 12188817"/>
              <a:gd name="connsiteY498" fmla="*/ 6522690 h 6857997"/>
              <a:gd name="connsiteX499" fmla="*/ 1092390 w 12188817"/>
              <a:gd name="connsiteY499" fmla="*/ 6512923 h 6857997"/>
              <a:gd name="connsiteX500" fmla="*/ 1100412 w 12188817"/>
              <a:gd name="connsiteY500" fmla="*/ 6483204 h 6857997"/>
              <a:gd name="connsiteX501" fmla="*/ 1092250 w 12188817"/>
              <a:gd name="connsiteY501" fmla="*/ 6455019 h 6857997"/>
              <a:gd name="connsiteX502" fmla="*/ 1071949 w 12188817"/>
              <a:gd name="connsiteY502" fmla="*/ 6445252 h 6857997"/>
              <a:gd name="connsiteX503" fmla="*/ 883892 w 12188817"/>
              <a:gd name="connsiteY503" fmla="*/ 6440020 h 6857997"/>
              <a:gd name="connsiteX504" fmla="*/ 867086 w 12188817"/>
              <a:gd name="connsiteY504" fmla="*/ 6447642 h 6857997"/>
              <a:gd name="connsiteX505" fmla="*/ 860692 w 12188817"/>
              <a:gd name="connsiteY505" fmla="*/ 6469809 h 6857997"/>
              <a:gd name="connsiteX506" fmla="*/ 867156 w 12188817"/>
              <a:gd name="connsiteY506" fmla="*/ 6492115 h 6857997"/>
              <a:gd name="connsiteX507" fmla="*/ 883401 w 12188817"/>
              <a:gd name="connsiteY507" fmla="*/ 6499877 h 6857997"/>
              <a:gd name="connsiteX508" fmla="*/ 896713 w 12188817"/>
              <a:gd name="connsiteY508" fmla="*/ 6494819 h 6857997"/>
              <a:gd name="connsiteX509" fmla="*/ 904155 w 12188817"/>
              <a:gd name="connsiteY509" fmla="*/ 6480762 h 6857997"/>
              <a:gd name="connsiteX510" fmla="*/ 897178 w 12188817"/>
              <a:gd name="connsiteY510" fmla="*/ 6478250 h 6857997"/>
              <a:gd name="connsiteX511" fmla="*/ 891863 w 12188817"/>
              <a:gd name="connsiteY511" fmla="*/ 6488192 h 6857997"/>
              <a:gd name="connsiteX512" fmla="*/ 882842 w 12188817"/>
              <a:gd name="connsiteY512" fmla="*/ 6491715 h 6857997"/>
              <a:gd name="connsiteX513" fmla="*/ 872562 w 12188817"/>
              <a:gd name="connsiteY513" fmla="*/ 6486326 h 6857997"/>
              <a:gd name="connsiteX514" fmla="*/ 868436 w 12188817"/>
              <a:gd name="connsiteY514" fmla="*/ 6470300 h 6857997"/>
              <a:gd name="connsiteX515" fmla="*/ 872772 w 12188817"/>
              <a:gd name="connsiteY515" fmla="*/ 6453502 h 6857997"/>
              <a:gd name="connsiteX516" fmla="*/ 883613 w 12188817"/>
              <a:gd name="connsiteY516" fmla="*/ 6447834 h 6857997"/>
              <a:gd name="connsiteX517" fmla="*/ 891341 w 12188817"/>
              <a:gd name="connsiteY517" fmla="*/ 6450520 h 6857997"/>
              <a:gd name="connsiteX518" fmla="*/ 896481 w 12188817"/>
              <a:gd name="connsiteY518" fmla="*/ 6458507 h 6857997"/>
              <a:gd name="connsiteX519" fmla="*/ 903317 w 12188817"/>
              <a:gd name="connsiteY519" fmla="*/ 6456484 h 6857997"/>
              <a:gd name="connsiteX520" fmla="*/ 896260 w 12188817"/>
              <a:gd name="connsiteY520" fmla="*/ 6444346 h 6857997"/>
              <a:gd name="connsiteX521" fmla="*/ 883892 w 12188817"/>
              <a:gd name="connsiteY521" fmla="*/ 6440020 h 6857997"/>
              <a:gd name="connsiteX522" fmla="*/ 2030135 w 12188817"/>
              <a:gd name="connsiteY522" fmla="*/ 6429486 h 6857997"/>
              <a:gd name="connsiteX523" fmla="*/ 2036063 w 12188817"/>
              <a:gd name="connsiteY523" fmla="*/ 6450694 h 6857997"/>
              <a:gd name="connsiteX524" fmla="*/ 2044779 w 12188817"/>
              <a:gd name="connsiteY524" fmla="*/ 6479018 h 6857997"/>
              <a:gd name="connsiteX525" fmla="*/ 2016211 w 12188817"/>
              <a:gd name="connsiteY525" fmla="*/ 6479018 h 6857997"/>
              <a:gd name="connsiteX526" fmla="*/ 2025540 w 12188817"/>
              <a:gd name="connsiteY526" fmla="*/ 6449020 h 6857997"/>
              <a:gd name="connsiteX527" fmla="*/ 2030135 w 12188817"/>
              <a:gd name="connsiteY527" fmla="*/ 6429486 h 6857997"/>
              <a:gd name="connsiteX528" fmla="*/ 883226 w 12188817"/>
              <a:gd name="connsiteY528" fmla="*/ 6425649 h 6857997"/>
              <a:gd name="connsiteX529" fmla="*/ 907922 w 12188817"/>
              <a:gd name="connsiteY529" fmla="*/ 6437738 h 6857997"/>
              <a:gd name="connsiteX530" fmla="*/ 919223 w 12188817"/>
              <a:gd name="connsiteY530" fmla="*/ 6469670 h 6857997"/>
              <a:gd name="connsiteX531" fmla="*/ 909317 w 12188817"/>
              <a:gd name="connsiteY531" fmla="*/ 6499925 h 6857997"/>
              <a:gd name="connsiteX532" fmla="*/ 883226 w 12188817"/>
              <a:gd name="connsiteY532" fmla="*/ 6513620 h 6857997"/>
              <a:gd name="connsiteX533" fmla="*/ 858530 w 12188817"/>
              <a:gd name="connsiteY533" fmla="*/ 6501603 h 6857997"/>
              <a:gd name="connsiteX534" fmla="*/ 847228 w 12188817"/>
              <a:gd name="connsiteY534" fmla="*/ 6469670 h 6857997"/>
              <a:gd name="connsiteX535" fmla="*/ 857134 w 12188817"/>
              <a:gd name="connsiteY535" fmla="*/ 6439344 h 6857997"/>
              <a:gd name="connsiteX536" fmla="*/ 883226 w 12188817"/>
              <a:gd name="connsiteY536" fmla="*/ 6425649 h 6857997"/>
              <a:gd name="connsiteX537" fmla="*/ 6208293 w 12188817"/>
              <a:gd name="connsiteY537" fmla="*/ 6421045 h 6857997"/>
              <a:gd name="connsiteX538" fmla="*/ 6198038 w 12188817"/>
              <a:gd name="connsiteY538" fmla="*/ 6428579 h 6857997"/>
              <a:gd name="connsiteX539" fmla="*/ 6198038 w 12188817"/>
              <a:gd name="connsiteY539" fmla="*/ 6446927 h 6857997"/>
              <a:gd name="connsiteX540" fmla="*/ 6190503 w 12188817"/>
              <a:gd name="connsiteY540" fmla="*/ 6446927 h 6857997"/>
              <a:gd name="connsiteX541" fmla="*/ 6190503 w 12188817"/>
              <a:gd name="connsiteY541" fmla="*/ 6456694 h 6857997"/>
              <a:gd name="connsiteX542" fmla="*/ 6198038 w 12188817"/>
              <a:gd name="connsiteY542" fmla="*/ 6456694 h 6857997"/>
              <a:gd name="connsiteX543" fmla="*/ 6198038 w 12188817"/>
              <a:gd name="connsiteY543" fmla="*/ 6499319 h 6857997"/>
              <a:gd name="connsiteX544" fmla="*/ 6199259 w 12188817"/>
              <a:gd name="connsiteY544" fmla="*/ 6514039 h 6857997"/>
              <a:gd name="connsiteX545" fmla="*/ 6203758 w 12188817"/>
              <a:gd name="connsiteY545" fmla="*/ 6519864 h 6857997"/>
              <a:gd name="connsiteX546" fmla="*/ 6212409 w 12188817"/>
              <a:gd name="connsiteY546" fmla="*/ 6521992 h 6857997"/>
              <a:gd name="connsiteX547" fmla="*/ 6220083 w 12188817"/>
              <a:gd name="connsiteY547" fmla="*/ 6520876 h 6857997"/>
              <a:gd name="connsiteX548" fmla="*/ 6218688 w 12188817"/>
              <a:gd name="connsiteY548" fmla="*/ 6509783 h 6857997"/>
              <a:gd name="connsiteX549" fmla="*/ 6214153 w 12188817"/>
              <a:gd name="connsiteY549" fmla="*/ 6510272 h 6857997"/>
              <a:gd name="connsiteX550" fmla="*/ 6209200 w 12188817"/>
              <a:gd name="connsiteY550" fmla="*/ 6507760 h 6857997"/>
              <a:gd name="connsiteX551" fmla="*/ 6208293 w 12188817"/>
              <a:gd name="connsiteY551" fmla="*/ 6500017 h 6857997"/>
              <a:gd name="connsiteX552" fmla="*/ 6208293 w 12188817"/>
              <a:gd name="connsiteY552" fmla="*/ 6456694 h 6857997"/>
              <a:gd name="connsiteX553" fmla="*/ 6218688 w 12188817"/>
              <a:gd name="connsiteY553" fmla="*/ 6456694 h 6857997"/>
              <a:gd name="connsiteX554" fmla="*/ 6218688 w 12188817"/>
              <a:gd name="connsiteY554" fmla="*/ 6446927 h 6857997"/>
              <a:gd name="connsiteX555" fmla="*/ 6208293 w 12188817"/>
              <a:gd name="connsiteY555" fmla="*/ 6446927 h 6857997"/>
              <a:gd name="connsiteX556" fmla="*/ 2421955 w 12188817"/>
              <a:gd name="connsiteY556" fmla="*/ 6421045 h 6857997"/>
              <a:gd name="connsiteX557" fmla="*/ 2411700 w 12188817"/>
              <a:gd name="connsiteY557" fmla="*/ 6428579 h 6857997"/>
              <a:gd name="connsiteX558" fmla="*/ 2411700 w 12188817"/>
              <a:gd name="connsiteY558" fmla="*/ 6446927 h 6857997"/>
              <a:gd name="connsiteX559" fmla="*/ 2404165 w 12188817"/>
              <a:gd name="connsiteY559" fmla="*/ 6446927 h 6857997"/>
              <a:gd name="connsiteX560" fmla="*/ 2404165 w 12188817"/>
              <a:gd name="connsiteY560" fmla="*/ 6456694 h 6857997"/>
              <a:gd name="connsiteX561" fmla="*/ 2411700 w 12188817"/>
              <a:gd name="connsiteY561" fmla="*/ 6456694 h 6857997"/>
              <a:gd name="connsiteX562" fmla="*/ 2411700 w 12188817"/>
              <a:gd name="connsiteY562" fmla="*/ 6499319 h 6857997"/>
              <a:gd name="connsiteX563" fmla="*/ 2412921 w 12188817"/>
              <a:gd name="connsiteY563" fmla="*/ 6514039 h 6857997"/>
              <a:gd name="connsiteX564" fmla="*/ 2417421 w 12188817"/>
              <a:gd name="connsiteY564" fmla="*/ 6519864 h 6857997"/>
              <a:gd name="connsiteX565" fmla="*/ 2426071 w 12188817"/>
              <a:gd name="connsiteY565" fmla="*/ 6521992 h 6857997"/>
              <a:gd name="connsiteX566" fmla="*/ 2432786 w 12188817"/>
              <a:gd name="connsiteY566" fmla="*/ 6521015 h 6857997"/>
              <a:gd name="connsiteX567" fmla="*/ 2486528 w 12188817"/>
              <a:gd name="connsiteY567" fmla="*/ 6521015 h 6857997"/>
              <a:gd name="connsiteX568" fmla="*/ 2486528 w 12188817"/>
              <a:gd name="connsiteY568" fmla="*/ 6510202 h 6857997"/>
              <a:gd name="connsiteX569" fmla="*/ 2458405 w 12188817"/>
              <a:gd name="connsiteY569" fmla="*/ 6510202 h 6857997"/>
              <a:gd name="connsiteX570" fmla="*/ 2445424 w 12188817"/>
              <a:gd name="connsiteY570" fmla="*/ 6510830 h 6857997"/>
              <a:gd name="connsiteX571" fmla="*/ 2451786 w 12188817"/>
              <a:gd name="connsiteY571" fmla="*/ 6502249 h 6857997"/>
              <a:gd name="connsiteX572" fmla="*/ 2484784 w 12188817"/>
              <a:gd name="connsiteY572" fmla="*/ 6455229 h 6857997"/>
              <a:gd name="connsiteX573" fmla="*/ 2484784 w 12188817"/>
              <a:gd name="connsiteY573" fmla="*/ 6446927 h 6857997"/>
              <a:gd name="connsiteX574" fmla="*/ 2435043 w 12188817"/>
              <a:gd name="connsiteY574" fmla="*/ 6446927 h 6857997"/>
              <a:gd name="connsiteX575" fmla="*/ 2435043 w 12188817"/>
              <a:gd name="connsiteY575" fmla="*/ 6457112 h 6857997"/>
              <a:gd name="connsiteX576" fmla="*/ 2459828 w 12188817"/>
              <a:gd name="connsiteY576" fmla="*/ 6457112 h 6857997"/>
              <a:gd name="connsiteX577" fmla="*/ 2471487 w 12188817"/>
              <a:gd name="connsiteY577" fmla="*/ 6456694 h 6857997"/>
              <a:gd name="connsiteX578" fmla="*/ 2432740 w 12188817"/>
              <a:gd name="connsiteY578" fmla="*/ 6510830 h 6857997"/>
              <a:gd name="connsiteX579" fmla="*/ 2432740 w 12188817"/>
              <a:gd name="connsiteY579" fmla="*/ 6512889 h 6857997"/>
              <a:gd name="connsiteX580" fmla="*/ 2432350 w 12188817"/>
              <a:gd name="connsiteY580" fmla="*/ 6509783 h 6857997"/>
              <a:gd name="connsiteX581" fmla="*/ 2427815 w 12188817"/>
              <a:gd name="connsiteY581" fmla="*/ 6510272 h 6857997"/>
              <a:gd name="connsiteX582" fmla="*/ 2422862 w 12188817"/>
              <a:gd name="connsiteY582" fmla="*/ 6507760 h 6857997"/>
              <a:gd name="connsiteX583" fmla="*/ 2421955 w 12188817"/>
              <a:gd name="connsiteY583" fmla="*/ 6500017 h 6857997"/>
              <a:gd name="connsiteX584" fmla="*/ 2421955 w 12188817"/>
              <a:gd name="connsiteY584" fmla="*/ 6456694 h 6857997"/>
              <a:gd name="connsiteX585" fmla="*/ 2432350 w 12188817"/>
              <a:gd name="connsiteY585" fmla="*/ 6456694 h 6857997"/>
              <a:gd name="connsiteX586" fmla="*/ 2432350 w 12188817"/>
              <a:gd name="connsiteY586" fmla="*/ 6446927 h 6857997"/>
              <a:gd name="connsiteX587" fmla="*/ 2421955 w 12188817"/>
              <a:gd name="connsiteY587" fmla="*/ 6446927 h 6857997"/>
              <a:gd name="connsiteX588" fmla="*/ 1440880 w 12188817"/>
              <a:gd name="connsiteY588" fmla="*/ 6421045 h 6857997"/>
              <a:gd name="connsiteX589" fmla="*/ 1430625 w 12188817"/>
              <a:gd name="connsiteY589" fmla="*/ 6428579 h 6857997"/>
              <a:gd name="connsiteX590" fmla="*/ 1430625 w 12188817"/>
              <a:gd name="connsiteY590" fmla="*/ 6446927 h 6857997"/>
              <a:gd name="connsiteX591" fmla="*/ 1423090 w 12188817"/>
              <a:gd name="connsiteY591" fmla="*/ 6446927 h 6857997"/>
              <a:gd name="connsiteX592" fmla="*/ 1423090 w 12188817"/>
              <a:gd name="connsiteY592" fmla="*/ 6456694 h 6857997"/>
              <a:gd name="connsiteX593" fmla="*/ 1430625 w 12188817"/>
              <a:gd name="connsiteY593" fmla="*/ 6456694 h 6857997"/>
              <a:gd name="connsiteX594" fmla="*/ 1430625 w 12188817"/>
              <a:gd name="connsiteY594" fmla="*/ 6499319 h 6857997"/>
              <a:gd name="connsiteX595" fmla="*/ 1431846 w 12188817"/>
              <a:gd name="connsiteY595" fmla="*/ 6514039 h 6857997"/>
              <a:gd name="connsiteX596" fmla="*/ 1436345 w 12188817"/>
              <a:gd name="connsiteY596" fmla="*/ 6519864 h 6857997"/>
              <a:gd name="connsiteX597" fmla="*/ 1444996 w 12188817"/>
              <a:gd name="connsiteY597" fmla="*/ 6521992 h 6857997"/>
              <a:gd name="connsiteX598" fmla="*/ 1452670 w 12188817"/>
              <a:gd name="connsiteY598" fmla="*/ 6520876 h 6857997"/>
              <a:gd name="connsiteX599" fmla="*/ 1451275 w 12188817"/>
              <a:gd name="connsiteY599" fmla="*/ 6509783 h 6857997"/>
              <a:gd name="connsiteX600" fmla="*/ 1446740 w 12188817"/>
              <a:gd name="connsiteY600" fmla="*/ 6510272 h 6857997"/>
              <a:gd name="connsiteX601" fmla="*/ 1441787 w 12188817"/>
              <a:gd name="connsiteY601" fmla="*/ 6507760 h 6857997"/>
              <a:gd name="connsiteX602" fmla="*/ 1440880 w 12188817"/>
              <a:gd name="connsiteY602" fmla="*/ 6500017 h 6857997"/>
              <a:gd name="connsiteX603" fmla="*/ 1440880 w 12188817"/>
              <a:gd name="connsiteY603" fmla="*/ 6456694 h 6857997"/>
              <a:gd name="connsiteX604" fmla="*/ 1451275 w 12188817"/>
              <a:gd name="connsiteY604" fmla="*/ 6456694 h 6857997"/>
              <a:gd name="connsiteX605" fmla="*/ 1451275 w 12188817"/>
              <a:gd name="connsiteY605" fmla="*/ 6446927 h 6857997"/>
              <a:gd name="connsiteX606" fmla="*/ 1440880 w 12188817"/>
              <a:gd name="connsiteY606" fmla="*/ 6446927 h 6857997"/>
              <a:gd name="connsiteX607" fmla="*/ 6319282 w 12188817"/>
              <a:gd name="connsiteY607" fmla="*/ 6418742 h 6857997"/>
              <a:gd name="connsiteX608" fmla="*/ 6319282 w 12188817"/>
              <a:gd name="connsiteY608" fmla="*/ 6521015 h 6857997"/>
              <a:gd name="connsiteX609" fmla="*/ 6329537 w 12188817"/>
              <a:gd name="connsiteY609" fmla="*/ 6521015 h 6857997"/>
              <a:gd name="connsiteX610" fmla="*/ 6329537 w 12188817"/>
              <a:gd name="connsiteY610" fmla="*/ 6418742 h 6857997"/>
              <a:gd name="connsiteX611" fmla="*/ 6224380 w 12188817"/>
              <a:gd name="connsiteY611" fmla="*/ 6418742 h 6857997"/>
              <a:gd name="connsiteX612" fmla="*/ 6224380 w 12188817"/>
              <a:gd name="connsiteY612" fmla="*/ 6433183 h 6857997"/>
              <a:gd name="connsiteX613" fmla="*/ 6234636 w 12188817"/>
              <a:gd name="connsiteY613" fmla="*/ 6433183 h 6857997"/>
              <a:gd name="connsiteX614" fmla="*/ 6234636 w 12188817"/>
              <a:gd name="connsiteY614" fmla="*/ 6418742 h 6857997"/>
              <a:gd name="connsiteX615" fmla="*/ 6034361 w 12188817"/>
              <a:gd name="connsiteY615" fmla="*/ 6418742 h 6857997"/>
              <a:gd name="connsiteX616" fmla="*/ 6034361 w 12188817"/>
              <a:gd name="connsiteY616" fmla="*/ 6455438 h 6857997"/>
              <a:gd name="connsiteX617" fmla="*/ 6027153 w 12188817"/>
              <a:gd name="connsiteY617" fmla="*/ 6447938 h 6857997"/>
              <a:gd name="connsiteX618" fmla="*/ 6017716 w 12188817"/>
              <a:gd name="connsiteY618" fmla="*/ 6445252 h 6857997"/>
              <a:gd name="connsiteX619" fmla="*/ 6004794 w 12188817"/>
              <a:gd name="connsiteY619" fmla="*/ 6449508 h 6857997"/>
              <a:gd name="connsiteX620" fmla="*/ 5995495 w 12188817"/>
              <a:gd name="connsiteY620" fmla="*/ 6462554 h 6857997"/>
              <a:gd name="connsiteX621" fmla="*/ 5992013 w 12188817"/>
              <a:gd name="connsiteY621" fmla="*/ 6483971 h 6857997"/>
              <a:gd name="connsiteX622" fmla="*/ 5999862 w 12188817"/>
              <a:gd name="connsiteY622" fmla="*/ 6512539 h 6857997"/>
              <a:gd name="connsiteX623" fmla="*/ 6018454 w 12188817"/>
              <a:gd name="connsiteY623" fmla="*/ 6522690 h 6857997"/>
              <a:gd name="connsiteX624" fmla="*/ 6027944 w 12188817"/>
              <a:gd name="connsiteY624" fmla="*/ 6519864 h 6857997"/>
              <a:gd name="connsiteX625" fmla="*/ 6035129 w 12188817"/>
              <a:gd name="connsiteY625" fmla="*/ 6511667 h 6857997"/>
              <a:gd name="connsiteX626" fmla="*/ 6035129 w 12188817"/>
              <a:gd name="connsiteY626" fmla="*/ 6521015 h 6857997"/>
              <a:gd name="connsiteX627" fmla="*/ 6044755 w 12188817"/>
              <a:gd name="connsiteY627" fmla="*/ 6521015 h 6857997"/>
              <a:gd name="connsiteX628" fmla="*/ 6044755 w 12188817"/>
              <a:gd name="connsiteY628" fmla="*/ 6418742 h 6857997"/>
              <a:gd name="connsiteX629" fmla="*/ 2790947 w 12188817"/>
              <a:gd name="connsiteY629" fmla="*/ 6418742 h 6857997"/>
              <a:gd name="connsiteX630" fmla="*/ 2790947 w 12188817"/>
              <a:gd name="connsiteY630" fmla="*/ 6455438 h 6857997"/>
              <a:gd name="connsiteX631" fmla="*/ 2783737 w 12188817"/>
              <a:gd name="connsiteY631" fmla="*/ 6447938 h 6857997"/>
              <a:gd name="connsiteX632" fmla="*/ 2774300 w 12188817"/>
              <a:gd name="connsiteY632" fmla="*/ 6445252 h 6857997"/>
              <a:gd name="connsiteX633" fmla="*/ 2761380 w 12188817"/>
              <a:gd name="connsiteY633" fmla="*/ 6449508 h 6857997"/>
              <a:gd name="connsiteX634" fmla="*/ 2752082 w 12188817"/>
              <a:gd name="connsiteY634" fmla="*/ 6462554 h 6857997"/>
              <a:gd name="connsiteX635" fmla="*/ 2748600 w 12188817"/>
              <a:gd name="connsiteY635" fmla="*/ 6483971 h 6857997"/>
              <a:gd name="connsiteX636" fmla="*/ 2756449 w 12188817"/>
              <a:gd name="connsiteY636" fmla="*/ 6512539 h 6857997"/>
              <a:gd name="connsiteX637" fmla="*/ 2775041 w 12188817"/>
              <a:gd name="connsiteY637" fmla="*/ 6522690 h 6857997"/>
              <a:gd name="connsiteX638" fmla="*/ 2784528 w 12188817"/>
              <a:gd name="connsiteY638" fmla="*/ 6519864 h 6857997"/>
              <a:gd name="connsiteX639" fmla="*/ 2791714 w 12188817"/>
              <a:gd name="connsiteY639" fmla="*/ 6511667 h 6857997"/>
              <a:gd name="connsiteX640" fmla="*/ 2791714 w 12188817"/>
              <a:gd name="connsiteY640" fmla="*/ 6521015 h 6857997"/>
              <a:gd name="connsiteX641" fmla="*/ 2801341 w 12188817"/>
              <a:gd name="connsiteY641" fmla="*/ 6521015 h 6857997"/>
              <a:gd name="connsiteX642" fmla="*/ 2801341 w 12188817"/>
              <a:gd name="connsiteY642" fmla="*/ 6418742 h 6857997"/>
              <a:gd name="connsiteX643" fmla="*/ 2590094 w 12188817"/>
              <a:gd name="connsiteY643" fmla="*/ 6418742 h 6857997"/>
              <a:gd name="connsiteX644" fmla="*/ 2590094 w 12188817"/>
              <a:gd name="connsiteY644" fmla="*/ 6521015 h 6857997"/>
              <a:gd name="connsiteX645" fmla="*/ 2600349 w 12188817"/>
              <a:gd name="connsiteY645" fmla="*/ 6521015 h 6857997"/>
              <a:gd name="connsiteX646" fmla="*/ 2600349 w 12188817"/>
              <a:gd name="connsiteY646" fmla="*/ 6418742 h 6857997"/>
              <a:gd name="connsiteX647" fmla="*/ 2380892 w 12188817"/>
              <a:gd name="connsiteY647" fmla="*/ 6418742 h 6857997"/>
              <a:gd name="connsiteX648" fmla="*/ 2380892 w 12188817"/>
              <a:gd name="connsiteY648" fmla="*/ 6433183 h 6857997"/>
              <a:gd name="connsiteX649" fmla="*/ 2391148 w 12188817"/>
              <a:gd name="connsiteY649" fmla="*/ 6433183 h 6857997"/>
              <a:gd name="connsiteX650" fmla="*/ 2391148 w 12188817"/>
              <a:gd name="connsiteY650" fmla="*/ 6418742 h 6857997"/>
              <a:gd name="connsiteX651" fmla="*/ 2024493 w 12188817"/>
              <a:gd name="connsiteY651" fmla="*/ 6418742 h 6857997"/>
              <a:gd name="connsiteX652" fmla="*/ 1992149 w 12188817"/>
              <a:gd name="connsiteY652" fmla="*/ 6521015 h 6857997"/>
              <a:gd name="connsiteX653" fmla="*/ 2003850 w 12188817"/>
              <a:gd name="connsiteY653" fmla="*/ 6521015 h 6857997"/>
              <a:gd name="connsiteX654" fmla="*/ 2012966 w 12188817"/>
              <a:gd name="connsiteY654" fmla="*/ 6490040 h 6857997"/>
              <a:gd name="connsiteX655" fmla="*/ 2048249 w 12188817"/>
              <a:gd name="connsiteY655" fmla="*/ 6490040 h 6857997"/>
              <a:gd name="connsiteX656" fmla="*/ 2058004 w 12188817"/>
              <a:gd name="connsiteY656" fmla="*/ 6521015 h 6857997"/>
              <a:gd name="connsiteX657" fmla="*/ 2070702 w 12188817"/>
              <a:gd name="connsiteY657" fmla="*/ 6521015 h 6857997"/>
              <a:gd name="connsiteX658" fmla="*/ 2036357 w 12188817"/>
              <a:gd name="connsiteY658" fmla="*/ 6418742 h 6857997"/>
              <a:gd name="connsiteX659" fmla="*/ 1818918 w 12188817"/>
              <a:gd name="connsiteY659" fmla="*/ 6418742 h 6857997"/>
              <a:gd name="connsiteX660" fmla="*/ 1818918 w 12188817"/>
              <a:gd name="connsiteY660" fmla="*/ 6433183 h 6857997"/>
              <a:gd name="connsiteX661" fmla="*/ 1829173 w 12188817"/>
              <a:gd name="connsiteY661" fmla="*/ 6433183 h 6857997"/>
              <a:gd name="connsiteX662" fmla="*/ 1829173 w 12188817"/>
              <a:gd name="connsiteY662" fmla="*/ 6418742 h 6857997"/>
              <a:gd name="connsiteX663" fmla="*/ 1752242 w 12188817"/>
              <a:gd name="connsiteY663" fmla="*/ 6418742 h 6857997"/>
              <a:gd name="connsiteX664" fmla="*/ 1752242 w 12188817"/>
              <a:gd name="connsiteY664" fmla="*/ 6433183 h 6857997"/>
              <a:gd name="connsiteX665" fmla="*/ 1762498 w 12188817"/>
              <a:gd name="connsiteY665" fmla="*/ 6433183 h 6857997"/>
              <a:gd name="connsiteX666" fmla="*/ 1762498 w 12188817"/>
              <a:gd name="connsiteY666" fmla="*/ 6418742 h 6857997"/>
              <a:gd name="connsiteX667" fmla="*/ 1361717 w 12188817"/>
              <a:gd name="connsiteY667" fmla="*/ 6418742 h 6857997"/>
              <a:gd name="connsiteX668" fmla="*/ 1361717 w 12188817"/>
              <a:gd name="connsiteY668" fmla="*/ 6521015 h 6857997"/>
              <a:gd name="connsiteX669" fmla="*/ 1371973 w 12188817"/>
              <a:gd name="connsiteY669" fmla="*/ 6521015 h 6857997"/>
              <a:gd name="connsiteX670" fmla="*/ 1371973 w 12188817"/>
              <a:gd name="connsiteY670" fmla="*/ 6480483 h 6857997"/>
              <a:gd name="connsiteX671" fmla="*/ 1376682 w 12188817"/>
              <a:gd name="connsiteY671" fmla="*/ 6461437 h 6857997"/>
              <a:gd name="connsiteX672" fmla="*/ 1388088 w 12188817"/>
              <a:gd name="connsiteY672" fmla="*/ 6456066 h 6857997"/>
              <a:gd name="connsiteX673" fmla="*/ 1397506 w 12188817"/>
              <a:gd name="connsiteY673" fmla="*/ 6460252 h 6857997"/>
              <a:gd name="connsiteX674" fmla="*/ 1400924 w 12188817"/>
              <a:gd name="connsiteY674" fmla="*/ 6474065 h 6857997"/>
              <a:gd name="connsiteX675" fmla="*/ 1400924 w 12188817"/>
              <a:gd name="connsiteY675" fmla="*/ 6521015 h 6857997"/>
              <a:gd name="connsiteX676" fmla="*/ 1411180 w 12188817"/>
              <a:gd name="connsiteY676" fmla="*/ 6521015 h 6857997"/>
              <a:gd name="connsiteX677" fmla="*/ 1411180 w 12188817"/>
              <a:gd name="connsiteY677" fmla="*/ 6474065 h 6857997"/>
              <a:gd name="connsiteX678" fmla="*/ 1405564 w 12188817"/>
              <a:gd name="connsiteY678" fmla="*/ 6451426 h 6857997"/>
              <a:gd name="connsiteX679" fmla="*/ 1390251 w 12188817"/>
              <a:gd name="connsiteY679" fmla="*/ 6445252 h 6857997"/>
              <a:gd name="connsiteX680" fmla="*/ 1380170 w 12188817"/>
              <a:gd name="connsiteY680" fmla="*/ 6447799 h 6857997"/>
              <a:gd name="connsiteX681" fmla="*/ 1371973 w 12188817"/>
              <a:gd name="connsiteY681" fmla="*/ 6455438 h 6857997"/>
              <a:gd name="connsiteX682" fmla="*/ 1371973 w 12188817"/>
              <a:gd name="connsiteY682" fmla="*/ 6418742 h 6857997"/>
              <a:gd name="connsiteX683" fmla="*/ 1266468 w 12188817"/>
              <a:gd name="connsiteY683" fmla="*/ 6418742 h 6857997"/>
              <a:gd name="connsiteX684" fmla="*/ 1266468 w 12188817"/>
              <a:gd name="connsiteY684" fmla="*/ 6433183 h 6857997"/>
              <a:gd name="connsiteX685" fmla="*/ 1276723 w 12188817"/>
              <a:gd name="connsiteY685" fmla="*/ 6433183 h 6857997"/>
              <a:gd name="connsiteX686" fmla="*/ 1276723 w 12188817"/>
              <a:gd name="connsiteY686" fmla="*/ 6418742 h 6857997"/>
              <a:gd name="connsiteX687" fmla="*/ 5958280 w 12188817"/>
              <a:gd name="connsiteY687" fmla="*/ 6416998 h 6857997"/>
              <a:gd name="connsiteX688" fmla="*/ 5948873 w 12188817"/>
              <a:gd name="connsiteY688" fmla="*/ 6419301 h 6857997"/>
              <a:gd name="connsiteX689" fmla="*/ 5943312 w 12188817"/>
              <a:gd name="connsiteY689" fmla="*/ 6425963 h 6857997"/>
              <a:gd name="connsiteX690" fmla="*/ 5941493 w 12188817"/>
              <a:gd name="connsiteY690" fmla="*/ 6439044 h 6857997"/>
              <a:gd name="connsiteX691" fmla="*/ 5941493 w 12188817"/>
              <a:gd name="connsiteY691" fmla="*/ 6446927 h 6857997"/>
              <a:gd name="connsiteX692" fmla="*/ 5932354 w 12188817"/>
              <a:gd name="connsiteY692" fmla="*/ 6446927 h 6857997"/>
              <a:gd name="connsiteX693" fmla="*/ 5932354 w 12188817"/>
              <a:gd name="connsiteY693" fmla="*/ 6456694 h 6857997"/>
              <a:gd name="connsiteX694" fmla="*/ 5941493 w 12188817"/>
              <a:gd name="connsiteY694" fmla="*/ 6456694 h 6857997"/>
              <a:gd name="connsiteX695" fmla="*/ 5941493 w 12188817"/>
              <a:gd name="connsiteY695" fmla="*/ 6521015 h 6857997"/>
              <a:gd name="connsiteX696" fmla="*/ 5951746 w 12188817"/>
              <a:gd name="connsiteY696" fmla="*/ 6521015 h 6857997"/>
              <a:gd name="connsiteX697" fmla="*/ 5951746 w 12188817"/>
              <a:gd name="connsiteY697" fmla="*/ 6456694 h 6857997"/>
              <a:gd name="connsiteX698" fmla="*/ 5963606 w 12188817"/>
              <a:gd name="connsiteY698" fmla="*/ 6456694 h 6857997"/>
              <a:gd name="connsiteX699" fmla="*/ 5963606 w 12188817"/>
              <a:gd name="connsiteY699" fmla="*/ 6446927 h 6857997"/>
              <a:gd name="connsiteX700" fmla="*/ 5951746 w 12188817"/>
              <a:gd name="connsiteY700" fmla="*/ 6446927 h 6857997"/>
              <a:gd name="connsiteX701" fmla="*/ 5951746 w 12188817"/>
              <a:gd name="connsiteY701" fmla="*/ 6440090 h 6857997"/>
              <a:gd name="connsiteX702" fmla="*/ 5953734 w 12188817"/>
              <a:gd name="connsiteY702" fmla="*/ 6430916 h 6857997"/>
              <a:gd name="connsiteX703" fmla="*/ 5960327 w 12188817"/>
              <a:gd name="connsiteY703" fmla="*/ 6428509 h 6857997"/>
              <a:gd name="connsiteX704" fmla="*/ 5966397 w 12188817"/>
              <a:gd name="connsiteY704" fmla="*/ 6429207 h 6857997"/>
              <a:gd name="connsiteX705" fmla="*/ 5967205 w 12188817"/>
              <a:gd name="connsiteY705" fmla="*/ 6423469 h 6857997"/>
              <a:gd name="connsiteX706" fmla="*/ 5967205 w 12188817"/>
              <a:gd name="connsiteY706" fmla="*/ 6433183 h 6857997"/>
              <a:gd name="connsiteX707" fmla="*/ 5977462 w 12188817"/>
              <a:gd name="connsiteY707" fmla="*/ 6433183 h 6857997"/>
              <a:gd name="connsiteX708" fmla="*/ 5977462 w 12188817"/>
              <a:gd name="connsiteY708" fmla="*/ 6418742 h 6857997"/>
              <a:gd name="connsiteX709" fmla="*/ 5967872 w 12188817"/>
              <a:gd name="connsiteY709" fmla="*/ 6418742 h 6857997"/>
              <a:gd name="connsiteX710" fmla="*/ 5967933 w 12188817"/>
              <a:gd name="connsiteY710" fmla="*/ 6418324 h 6857997"/>
              <a:gd name="connsiteX711" fmla="*/ 5958280 w 12188817"/>
              <a:gd name="connsiteY711" fmla="*/ 6416998 h 6857997"/>
              <a:gd name="connsiteX712" fmla="*/ 883226 w 12188817"/>
              <a:gd name="connsiteY712" fmla="*/ 6416998 h 6857997"/>
              <a:gd name="connsiteX713" fmla="*/ 862262 w 12188817"/>
              <a:gd name="connsiteY713" fmla="*/ 6423591 h 6857997"/>
              <a:gd name="connsiteX714" fmla="*/ 846181 w 12188817"/>
              <a:gd name="connsiteY714" fmla="*/ 6442532 h 6857997"/>
              <a:gd name="connsiteX715" fmla="*/ 840042 w 12188817"/>
              <a:gd name="connsiteY715" fmla="*/ 6469670 h 6857997"/>
              <a:gd name="connsiteX716" fmla="*/ 852460 w 12188817"/>
              <a:gd name="connsiteY716" fmla="*/ 6506539 h 6857997"/>
              <a:gd name="connsiteX717" fmla="*/ 883226 w 12188817"/>
              <a:gd name="connsiteY717" fmla="*/ 6522271 h 6857997"/>
              <a:gd name="connsiteX718" fmla="*/ 904190 w 12188817"/>
              <a:gd name="connsiteY718" fmla="*/ 6515678 h 6857997"/>
              <a:gd name="connsiteX719" fmla="*/ 920270 w 12188817"/>
              <a:gd name="connsiteY719" fmla="*/ 6496738 h 6857997"/>
              <a:gd name="connsiteX720" fmla="*/ 926409 w 12188817"/>
              <a:gd name="connsiteY720" fmla="*/ 6469670 h 6857997"/>
              <a:gd name="connsiteX721" fmla="*/ 913991 w 12188817"/>
              <a:gd name="connsiteY721" fmla="*/ 6432765 h 6857997"/>
              <a:gd name="connsiteX722" fmla="*/ 883226 w 12188817"/>
              <a:gd name="connsiteY722" fmla="*/ 6416998 h 6857997"/>
              <a:gd name="connsiteX723" fmla="*/ 5757199 w 12188817"/>
              <a:gd name="connsiteY723" fmla="*/ 6416929 h 6857997"/>
              <a:gd name="connsiteX724" fmla="*/ 5737086 w 12188817"/>
              <a:gd name="connsiteY724" fmla="*/ 6422897 h 6857997"/>
              <a:gd name="connsiteX725" fmla="*/ 5722805 w 12188817"/>
              <a:gd name="connsiteY725" fmla="*/ 6440559 h 6857997"/>
              <a:gd name="connsiteX726" fmla="*/ 5717534 w 12188817"/>
              <a:gd name="connsiteY726" fmla="*/ 6469146 h 6857997"/>
              <a:gd name="connsiteX727" fmla="*/ 5722800 w 12188817"/>
              <a:gd name="connsiteY727" fmla="*/ 6498815 h 6857997"/>
              <a:gd name="connsiteX728" fmla="*/ 5736335 w 12188817"/>
              <a:gd name="connsiteY728" fmla="*/ 6517070 h 6857997"/>
              <a:gd name="connsiteX729" fmla="*/ 5756253 w 12188817"/>
              <a:gd name="connsiteY729" fmla="*/ 6522759 h 6857997"/>
              <a:gd name="connsiteX730" fmla="*/ 5778751 w 12188817"/>
              <a:gd name="connsiteY730" fmla="*/ 6514283 h 6857997"/>
              <a:gd name="connsiteX731" fmla="*/ 5791692 w 12188817"/>
              <a:gd name="connsiteY731" fmla="*/ 6488575 h 6857997"/>
              <a:gd name="connsiteX732" fmla="*/ 5780529 w 12188817"/>
              <a:gd name="connsiteY732" fmla="*/ 6485157 h 6857997"/>
              <a:gd name="connsiteX733" fmla="*/ 5771703 w 12188817"/>
              <a:gd name="connsiteY733" fmla="*/ 6504726 h 6857997"/>
              <a:gd name="connsiteX734" fmla="*/ 5756044 w 12188817"/>
              <a:gd name="connsiteY734" fmla="*/ 6511179 h 6857997"/>
              <a:gd name="connsiteX735" fmla="*/ 5736369 w 12188817"/>
              <a:gd name="connsiteY735" fmla="*/ 6500671 h 6857997"/>
              <a:gd name="connsiteX736" fmla="*/ 5728974 w 12188817"/>
              <a:gd name="connsiteY736" fmla="*/ 6469145 h 6857997"/>
              <a:gd name="connsiteX737" fmla="*/ 5732644 w 12188817"/>
              <a:gd name="connsiteY737" fmla="*/ 6446175 h 6857997"/>
              <a:gd name="connsiteX738" fmla="*/ 5742457 w 12188817"/>
              <a:gd name="connsiteY738" fmla="*/ 6432804 h 6857997"/>
              <a:gd name="connsiteX739" fmla="*/ 5756988 w 12188817"/>
              <a:gd name="connsiteY739" fmla="*/ 6428509 h 6857997"/>
              <a:gd name="connsiteX740" fmla="*/ 5779412 w 12188817"/>
              <a:gd name="connsiteY740" fmla="*/ 6449787 h 6857997"/>
              <a:gd name="connsiteX741" fmla="*/ 5790296 w 12188817"/>
              <a:gd name="connsiteY741" fmla="*/ 6446648 h 6857997"/>
              <a:gd name="connsiteX742" fmla="*/ 5778076 w 12188817"/>
              <a:gd name="connsiteY742" fmla="*/ 6424480 h 6857997"/>
              <a:gd name="connsiteX743" fmla="*/ 5757199 w 12188817"/>
              <a:gd name="connsiteY743" fmla="*/ 6416929 h 6857997"/>
              <a:gd name="connsiteX744" fmla="*/ 2249524 w 12188817"/>
              <a:gd name="connsiteY744" fmla="*/ 6416929 h 6857997"/>
              <a:gd name="connsiteX745" fmla="*/ 2227897 w 12188817"/>
              <a:gd name="connsiteY745" fmla="*/ 6424812 h 6857997"/>
              <a:gd name="connsiteX746" fmla="*/ 2219874 w 12188817"/>
              <a:gd name="connsiteY746" fmla="*/ 6445113 h 6857997"/>
              <a:gd name="connsiteX747" fmla="*/ 2222665 w 12188817"/>
              <a:gd name="connsiteY747" fmla="*/ 6457496 h 6857997"/>
              <a:gd name="connsiteX748" fmla="*/ 2230478 w 12188817"/>
              <a:gd name="connsiteY748" fmla="*/ 6466530 h 6857997"/>
              <a:gd name="connsiteX749" fmla="*/ 2247361 w 12188817"/>
              <a:gd name="connsiteY749" fmla="*/ 6473609 h 6857997"/>
              <a:gd name="connsiteX750" fmla="*/ 2264697 w 12188817"/>
              <a:gd name="connsiteY750" fmla="*/ 6479711 h 6857997"/>
              <a:gd name="connsiteX751" fmla="*/ 2270697 w 12188817"/>
              <a:gd name="connsiteY751" fmla="*/ 6485246 h 6857997"/>
              <a:gd name="connsiteX752" fmla="*/ 2272685 w 12188817"/>
              <a:gd name="connsiteY752" fmla="*/ 6493147 h 6857997"/>
              <a:gd name="connsiteX753" fmla="*/ 2267209 w 12188817"/>
              <a:gd name="connsiteY753" fmla="*/ 6505713 h 6857997"/>
              <a:gd name="connsiteX754" fmla="*/ 2251826 w 12188817"/>
              <a:gd name="connsiteY754" fmla="*/ 6510551 h 6857997"/>
              <a:gd name="connsiteX755" fmla="*/ 2239408 w 12188817"/>
              <a:gd name="connsiteY755" fmla="*/ 6507690 h 6857997"/>
              <a:gd name="connsiteX756" fmla="*/ 2230932 w 12188817"/>
              <a:gd name="connsiteY756" fmla="*/ 6500121 h 6857997"/>
              <a:gd name="connsiteX757" fmla="*/ 2227130 w 12188817"/>
              <a:gd name="connsiteY757" fmla="*/ 6486971 h 6857997"/>
              <a:gd name="connsiteX758" fmla="*/ 2216665 w 12188817"/>
              <a:gd name="connsiteY758" fmla="*/ 6488087 h 6857997"/>
              <a:gd name="connsiteX759" fmla="*/ 2226258 w 12188817"/>
              <a:gd name="connsiteY759" fmla="*/ 6513411 h 6857997"/>
              <a:gd name="connsiteX760" fmla="*/ 2251059 w 12188817"/>
              <a:gd name="connsiteY760" fmla="*/ 6522759 h 6857997"/>
              <a:gd name="connsiteX761" fmla="*/ 2268116 w 12188817"/>
              <a:gd name="connsiteY761" fmla="*/ 6518996 h 6857997"/>
              <a:gd name="connsiteX762" fmla="*/ 2279313 w 12188817"/>
              <a:gd name="connsiteY762" fmla="*/ 6508020 h 6857997"/>
              <a:gd name="connsiteX763" fmla="*/ 2283429 w 12188817"/>
              <a:gd name="connsiteY763" fmla="*/ 6492028 h 6857997"/>
              <a:gd name="connsiteX764" fmla="*/ 2279514 w 12188817"/>
              <a:gd name="connsiteY764" fmla="*/ 6476800 h 6857997"/>
              <a:gd name="connsiteX765" fmla="*/ 2267928 w 12188817"/>
              <a:gd name="connsiteY765" fmla="*/ 6466500 h 6857997"/>
              <a:gd name="connsiteX766" fmla="*/ 2250496 w 12188817"/>
              <a:gd name="connsiteY766" fmla="*/ 6460543 h 6857997"/>
              <a:gd name="connsiteX767" fmla="*/ 2234177 w 12188817"/>
              <a:gd name="connsiteY767" fmla="*/ 6453621 h 6857997"/>
              <a:gd name="connsiteX768" fmla="*/ 2230548 w 12188817"/>
              <a:gd name="connsiteY768" fmla="*/ 6443995 h 6857997"/>
              <a:gd name="connsiteX769" fmla="*/ 2235501 w 12188817"/>
              <a:gd name="connsiteY769" fmla="*/ 6433078 h 6857997"/>
              <a:gd name="connsiteX770" fmla="*/ 2249873 w 12188817"/>
              <a:gd name="connsiteY770" fmla="*/ 6428858 h 6857997"/>
              <a:gd name="connsiteX771" fmla="*/ 2264279 w 12188817"/>
              <a:gd name="connsiteY771" fmla="*/ 6433672 h 6857997"/>
              <a:gd name="connsiteX772" fmla="*/ 2270243 w 12188817"/>
              <a:gd name="connsiteY772" fmla="*/ 6448462 h 6857997"/>
              <a:gd name="connsiteX773" fmla="*/ 2280917 w 12188817"/>
              <a:gd name="connsiteY773" fmla="*/ 6447485 h 6857997"/>
              <a:gd name="connsiteX774" fmla="*/ 2276766 w 12188817"/>
              <a:gd name="connsiteY774" fmla="*/ 6431230 h 6857997"/>
              <a:gd name="connsiteX775" fmla="*/ 2265883 w 12188817"/>
              <a:gd name="connsiteY775" fmla="*/ 6420626 h 6857997"/>
              <a:gd name="connsiteX776" fmla="*/ 2249524 w 12188817"/>
              <a:gd name="connsiteY776" fmla="*/ 6416929 h 6857997"/>
              <a:gd name="connsiteX777" fmla="*/ 2107518 w 12188817"/>
              <a:gd name="connsiteY777" fmla="*/ 6416929 h 6857997"/>
              <a:gd name="connsiteX778" fmla="*/ 2085892 w 12188817"/>
              <a:gd name="connsiteY778" fmla="*/ 6422827 h 6857997"/>
              <a:gd name="connsiteX779" fmla="*/ 2071102 w 12188817"/>
              <a:gd name="connsiteY779" fmla="*/ 6441152 h 6857997"/>
              <a:gd name="connsiteX780" fmla="*/ 2065451 w 12188817"/>
              <a:gd name="connsiteY780" fmla="*/ 6470332 h 6857997"/>
              <a:gd name="connsiteX781" fmla="*/ 2071067 w 12188817"/>
              <a:gd name="connsiteY781" fmla="*/ 6498675 h 6857997"/>
              <a:gd name="connsiteX782" fmla="*/ 2086310 w 12188817"/>
              <a:gd name="connsiteY782" fmla="*/ 6516616 h 6857997"/>
              <a:gd name="connsiteX783" fmla="*/ 2108216 w 12188817"/>
              <a:gd name="connsiteY783" fmla="*/ 6522759 h 6857997"/>
              <a:gd name="connsiteX784" fmla="*/ 2126145 w 12188817"/>
              <a:gd name="connsiteY784" fmla="*/ 6518748 h 6857997"/>
              <a:gd name="connsiteX785" fmla="*/ 2143028 w 12188817"/>
              <a:gd name="connsiteY785" fmla="*/ 6506784 h 6857997"/>
              <a:gd name="connsiteX786" fmla="*/ 2143028 w 12188817"/>
              <a:gd name="connsiteY786" fmla="*/ 6468763 h 6857997"/>
              <a:gd name="connsiteX787" fmla="*/ 2107518 w 12188817"/>
              <a:gd name="connsiteY787" fmla="*/ 6468832 h 6857997"/>
              <a:gd name="connsiteX788" fmla="*/ 2107518 w 12188817"/>
              <a:gd name="connsiteY788" fmla="*/ 6480901 h 6857997"/>
              <a:gd name="connsiteX789" fmla="*/ 2132145 w 12188817"/>
              <a:gd name="connsiteY789" fmla="*/ 6480901 h 6857997"/>
              <a:gd name="connsiteX790" fmla="*/ 2132145 w 12188817"/>
              <a:gd name="connsiteY790" fmla="*/ 6499947 h 6857997"/>
              <a:gd name="connsiteX791" fmla="*/ 2121227 w 12188817"/>
              <a:gd name="connsiteY791" fmla="*/ 6507411 h 6857997"/>
              <a:gd name="connsiteX792" fmla="*/ 2107798 w 12188817"/>
              <a:gd name="connsiteY792" fmla="*/ 6510551 h 6857997"/>
              <a:gd name="connsiteX793" fmla="*/ 2085473 w 12188817"/>
              <a:gd name="connsiteY793" fmla="*/ 6500322 h 6857997"/>
              <a:gd name="connsiteX794" fmla="*/ 2076892 w 12188817"/>
              <a:gd name="connsiteY794" fmla="*/ 6469565 h 6857997"/>
              <a:gd name="connsiteX795" fmla="*/ 2080904 w 12188817"/>
              <a:gd name="connsiteY795" fmla="*/ 6446733 h 6857997"/>
              <a:gd name="connsiteX796" fmla="*/ 2091508 w 12188817"/>
              <a:gd name="connsiteY796" fmla="*/ 6432943 h 6857997"/>
              <a:gd name="connsiteX797" fmla="*/ 2107239 w 12188817"/>
              <a:gd name="connsiteY797" fmla="*/ 6428509 h 6857997"/>
              <a:gd name="connsiteX798" fmla="*/ 2118541 w 12188817"/>
              <a:gd name="connsiteY798" fmla="*/ 6430951 h 6857997"/>
              <a:gd name="connsiteX799" fmla="*/ 2126634 w 12188817"/>
              <a:gd name="connsiteY799" fmla="*/ 6437683 h 6857997"/>
              <a:gd name="connsiteX800" fmla="*/ 2131726 w 12188817"/>
              <a:gd name="connsiteY800" fmla="*/ 6450624 h 6857997"/>
              <a:gd name="connsiteX801" fmla="*/ 2141702 w 12188817"/>
              <a:gd name="connsiteY801" fmla="*/ 6447276 h 6857997"/>
              <a:gd name="connsiteX802" fmla="*/ 2135005 w 12188817"/>
              <a:gd name="connsiteY802" fmla="*/ 6430044 h 6857997"/>
              <a:gd name="connsiteX803" fmla="*/ 2123634 w 12188817"/>
              <a:gd name="connsiteY803" fmla="*/ 6420347 h 6857997"/>
              <a:gd name="connsiteX804" fmla="*/ 2107518 w 12188817"/>
              <a:gd name="connsiteY804" fmla="*/ 6416929 h 6857997"/>
              <a:gd name="connsiteX805" fmla="*/ 1516099 w 12188817"/>
              <a:gd name="connsiteY805" fmla="*/ 6416929 h 6857997"/>
              <a:gd name="connsiteX806" fmla="*/ 1494472 w 12188817"/>
              <a:gd name="connsiteY806" fmla="*/ 6424812 h 6857997"/>
              <a:gd name="connsiteX807" fmla="*/ 1486449 w 12188817"/>
              <a:gd name="connsiteY807" fmla="*/ 6445113 h 6857997"/>
              <a:gd name="connsiteX808" fmla="*/ 1489240 w 12188817"/>
              <a:gd name="connsiteY808" fmla="*/ 6457496 h 6857997"/>
              <a:gd name="connsiteX809" fmla="*/ 1497053 w 12188817"/>
              <a:gd name="connsiteY809" fmla="*/ 6466530 h 6857997"/>
              <a:gd name="connsiteX810" fmla="*/ 1513936 w 12188817"/>
              <a:gd name="connsiteY810" fmla="*/ 6473609 h 6857997"/>
              <a:gd name="connsiteX811" fmla="*/ 1531272 w 12188817"/>
              <a:gd name="connsiteY811" fmla="*/ 6479711 h 6857997"/>
              <a:gd name="connsiteX812" fmla="*/ 1537272 w 12188817"/>
              <a:gd name="connsiteY812" fmla="*/ 6485246 h 6857997"/>
              <a:gd name="connsiteX813" fmla="*/ 1539260 w 12188817"/>
              <a:gd name="connsiteY813" fmla="*/ 6493147 h 6857997"/>
              <a:gd name="connsiteX814" fmla="*/ 1533784 w 12188817"/>
              <a:gd name="connsiteY814" fmla="*/ 6505713 h 6857997"/>
              <a:gd name="connsiteX815" fmla="*/ 1518401 w 12188817"/>
              <a:gd name="connsiteY815" fmla="*/ 6510551 h 6857997"/>
              <a:gd name="connsiteX816" fmla="*/ 1505983 w 12188817"/>
              <a:gd name="connsiteY816" fmla="*/ 6507690 h 6857997"/>
              <a:gd name="connsiteX817" fmla="*/ 1497507 w 12188817"/>
              <a:gd name="connsiteY817" fmla="*/ 6500121 h 6857997"/>
              <a:gd name="connsiteX818" fmla="*/ 1493705 w 12188817"/>
              <a:gd name="connsiteY818" fmla="*/ 6486971 h 6857997"/>
              <a:gd name="connsiteX819" fmla="*/ 1483240 w 12188817"/>
              <a:gd name="connsiteY819" fmla="*/ 6488087 h 6857997"/>
              <a:gd name="connsiteX820" fmla="*/ 1492833 w 12188817"/>
              <a:gd name="connsiteY820" fmla="*/ 6513411 h 6857997"/>
              <a:gd name="connsiteX821" fmla="*/ 1517633 w 12188817"/>
              <a:gd name="connsiteY821" fmla="*/ 6522759 h 6857997"/>
              <a:gd name="connsiteX822" fmla="*/ 1534691 w 12188817"/>
              <a:gd name="connsiteY822" fmla="*/ 6518996 h 6857997"/>
              <a:gd name="connsiteX823" fmla="*/ 1545887 w 12188817"/>
              <a:gd name="connsiteY823" fmla="*/ 6508020 h 6857997"/>
              <a:gd name="connsiteX824" fmla="*/ 1550004 w 12188817"/>
              <a:gd name="connsiteY824" fmla="*/ 6492028 h 6857997"/>
              <a:gd name="connsiteX825" fmla="*/ 1546089 w 12188817"/>
              <a:gd name="connsiteY825" fmla="*/ 6476800 h 6857997"/>
              <a:gd name="connsiteX826" fmla="*/ 1534503 w 12188817"/>
              <a:gd name="connsiteY826" fmla="*/ 6466500 h 6857997"/>
              <a:gd name="connsiteX827" fmla="*/ 1517071 w 12188817"/>
              <a:gd name="connsiteY827" fmla="*/ 6460543 h 6857997"/>
              <a:gd name="connsiteX828" fmla="*/ 1500752 w 12188817"/>
              <a:gd name="connsiteY828" fmla="*/ 6453621 h 6857997"/>
              <a:gd name="connsiteX829" fmla="*/ 1497123 w 12188817"/>
              <a:gd name="connsiteY829" fmla="*/ 6443995 h 6857997"/>
              <a:gd name="connsiteX830" fmla="*/ 1502076 w 12188817"/>
              <a:gd name="connsiteY830" fmla="*/ 6433078 h 6857997"/>
              <a:gd name="connsiteX831" fmla="*/ 1516448 w 12188817"/>
              <a:gd name="connsiteY831" fmla="*/ 6428858 h 6857997"/>
              <a:gd name="connsiteX832" fmla="*/ 1530854 w 12188817"/>
              <a:gd name="connsiteY832" fmla="*/ 6433672 h 6857997"/>
              <a:gd name="connsiteX833" fmla="*/ 1536818 w 12188817"/>
              <a:gd name="connsiteY833" fmla="*/ 6448462 h 6857997"/>
              <a:gd name="connsiteX834" fmla="*/ 1547492 w 12188817"/>
              <a:gd name="connsiteY834" fmla="*/ 6447485 h 6857997"/>
              <a:gd name="connsiteX835" fmla="*/ 1543341 w 12188817"/>
              <a:gd name="connsiteY835" fmla="*/ 6431230 h 6857997"/>
              <a:gd name="connsiteX836" fmla="*/ 1532458 w 12188817"/>
              <a:gd name="connsiteY836" fmla="*/ 6420626 h 6857997"/>
              <a:gd name="connsiteX837" fmla="*/ 1516099 w 12188817"/>
              <a:gd name="connsiteY837" fmla="*/ 6416929 h 6857997"/>
              <a:gd name="connsiteX838" fmla="*/ 999308 w 12188817"/>
              <a:gd name="connsiteY838" fmla="*/ 6416929 h 6857997"/>
              <a:gd name="connsiteX839" fmla="*/ 979197 w 12188817"/>
              <a:gd name="connsiteY839" fmla="*/ 6422897 h 6857997"/>
              <a:gd name="connsiteX840" fmla="*/ 964916 w 12188817"/>
              <a:gd name="connsiteY840" fmla="*/ 6440559 h 6857997"/>
              <a:gd name="connsiteX841" fmla="*/ 959644 w 12188817"/>
              <a:gd name="connsiteY841" fmla="*/ 6469146 h 6857997"/>
              <a:gd name="connsiteX842" fmla="*/ 964911 w 12188817"/>
              <a:gd name="connsiteY842" fmla="*/ 6498815 h 6857997"/>
              <a:gd name="connsiteX843" fmla="*/ 978445 w 12188817"/>
              <a:gd name="connsiteY843" fmla="*/ 6517070 h 6857997"/>
              <a:gd name="connsiteX844" fmla="*/ 998363 w 12188817"/>
              <a:gd name="connsiteY844" fmla="*/ 6522759 h 6857997"/>
              <a:gd name="connsiteX845" fmla="*/ 1020862 w 12188817"/>
              <a:gd name="connsiteY845" fmla="*/ 6514283 h 6857997"/>
              <a:gd name="connsiteX846" fmla="*/ 1033803 w 12188817"/>
              <a:gd name="connsiteY846" fmla="*/ 6488575 h 6857997"/>
              <a:gd name="connsiteX847" fmla="*/ 1022640 w 12188817"/>
              <a:gd name="connsiteY847" fmla="*/ 6485157 h 6857997"/>
              <a:gd name="connsiteX848" fmla="*/ 1013815 w 12188817"/>
              <a:gd name="connsiteY848" fmla="*/ 6504726 h 6857997"/>
              <a:gd name="connsiteX849" fmla="*/ 998154 w 12188817"/>
              <a:gd name="connsiteY849" fmla="*/ 6511179 h 6857997"/>
              <a:gd name="connsiteX850" fmla="*/ 978480 w 12188817"/>
              <a:gd name="connsiteY850" fmla="*/ 6500671 h 6857997"/>
              <a:gd name="connsiteX851" fmla="*/ 971086 w 12188817"/>
              <a:gd name="connsiteY851" fmla="*/ 6469145 h 6857997"/>
              <a:gd name="connsiteX852" fmla="*/ 974753 w 12188817"/>
              <a:gd name="connsiteY852" fmla="*/ 6446175 h 6857997"/>
              <a:gd name="connsiteX853" fmla="*/ 984568 w 12188817"/>
              <a:gd name="connsiteY853" fmla="*/ 6432804 h 6857997"/>
              <a:gd name="connsiteX854" fmla="*/ 999100 w 12188817"/>
              <a:gd name="connsiteY854" fmla="*/ 6428509 h 6857997"/>
              <a:gd name="connsiteX855" fmla="*/ 1021524 w 12188817"/>
              <a:gd name="connsiteY855" fmla="*/ 6449787 h 6857997"/>
              <a:gd name="connsiteX856" fmla="*/ 1032407 w 12188817"/>
              <a:gd name="connsiteY856" fmla="*/ 6446648 h 6857997"/>
              <a:gd name="connsiteX857" fmla="*/ 1020187 w 12188817"/>
              <a:gd name="connsiteY857" fmla="*/ 6424480 h 6857997"/>
              <a:gd name="connsiteX858" fmla="*/ 999308 w 12188817"/>
              <a:gd name="connsiteY858" fmla="*/ 6416929 h 6857997"/>
              <a:gd name="connsiteX859" fmla="*/ 10831505 w 12188817"/>
              <a:gd name="connsiteY859" fmla="*/ 6415084 h 6857997"/>
              <a:gd name="connsiteX860" fmla="*/ 10873860 w 12188817"/>
              <a:gd name="connsiteY860" fmla="*/ 6415084 h 6857997"/>
              <a:gd name="connsiteX861" fmla="*/ 10904530 w 12188817"/>
              <a:gd name="connsiteY861" fmla="*/ 6430343 h 6857997"/>
              <a:gd name="connsiteX862" fmla="*/ 10873860 w 12188817"/>
              <a:gd name="connsiteY862" fmla="*/ 6445247 h 6857997"/>
              <a:gd name="connsiteX863" fmla="*/ 10831505 w 12188817"/>
              <a:gd name="connsiteY863" fmla="*/ 6445247 h 6857997"/>
              <a:gd name="connsiteX864" fmla="*/ 11108524 w 12188817"/>
              <a:gd name="connsiteY864" fmla="*/ 6410322 h 6857997"/>
              <a:gd name="connsiteX865" fmla="*/ 11152180 w 12188817"/>
              <a:gd name="connsiteY865" fmla="*/ 6454961 h 6857997"/>
              <a:gd name="connsiteX866" fmla="*/ 11108524 w 12188817"/>
              <a:gd name="connsiteY866" fmla="*/ 6499222 h 6857997"/>
              <a:gd name="connsiteX867" fmla="*/ 11064867 w 12188817"/>
              <a:gd name="connsiteY867" fmla="*/ 6453827 h 6857997"/>
              <a:gd name="connsiteX868" fmla="*/ 11108524 w 12188817"/>
              <a:gd name="connsiteY868" fmla="*/ 6410322 h 6857997"/>
              <a:gd name="connsiteX869" fmla="*/ 11212505 w 12188817"/>
              <a:gd name="connsiteY869" fmla="*/ 6391272 h 6857997"/>
              <a:gd name="connsiteX870" fmla="*/ 11212505 w 12188817"/>
              <a:gd name="connsiteY870" fmla="*/ 6518272 h 6857997"/>
              <a:gd name="connsiteX871" fmla="*/ 11246059 w 12188817"/>
              <a:gd name="connsiteY871" fmla="*/ 6518272 h 6857997"/>
              <a:gd name="connsiteX872" fmla="*/ 11246059 w 12188817"/>
              <a:gd name="connsiteY872" fmla="*/ 6422083 h 6857997"/>
              <a:gd name="connsiteX873" fmla="*/ 11315692 w 12188817"/>
              <a:gd name="connsiteY873" fmla="*/ 6518272 h 6857997"/>
              <a:gd name="connsiteX874" fmla="*/ 11355380 w 12188817"/>
              <a:gd name="connsiteY874" fmla="*/ 6518272 h 6857997"/>
              <a:gd name="connsiteX875" fmla="*/ 11355380 w 12188817"/>
              <a:gd name="connsiteY875" fmla="*/ 6391272 h 6857997"/>
              <a:gd name="connsiteX876" fmla="*/ 11322187 w 12188817"/>
              <a:gd name="connsiteY876" fmla="*/ 6391272 h 6857997"/>
              <a:gd name="connsiteX877" fmla="*/ 11322187 w 12188817"/>
              <a:gd name="connsiteY877" fmla="*/ 6482577 h 6857997"/>
              <a:gd name="connsiteX878" fmla="*/ 11255800 w 12188817"/>
              <a:gd name="connsiteY878" fmla="*/ 6391272 h 6857997"/>
              <a:gd name="connsiteX879" fmla="*/ 10968030 w 12188817"/>
              <a:gd name="connsiteY879" fmla="*/ 6391272 h 6857997"/>
              <a:gd name="connsiteX880" fmla="*/ 10968030 w 12188817"/>
              <a:gd name="connsiteY880" fmla="*/ 6518272 h 6857997"/>
              <a:gd name="connsiteX881" fmla="*/ 11002955 w 12188817"/>
              <a:gd name="connsiteY881" fmla="*/ 6518272 h 6857997"/>
              <a:gd name="connsiteX882" fmla="*/ 11002955 w 12188817"/>
              <a:gd name="connsiteY882" fmla="*/ 6391272 h 6857997"/>
              <a:gd name="connsiteX883" fmla="*/ 10798167 w 12188817"/>
              <a:gd name="connsiteY883" fmla="*/ 6391272 h 6857997"/>
              <a:gd name="connsiteX884" fmla="*/ 10798167 w 12188817"/>
              <a:gd name="connsiteY884" fmla="*/ 6518272 h 6857997"/>
              <a:gd name="connsiteX885" fmla="*/ 10832210 w 12188817"/>
              <a:gd name="connsiteY885" fmla="*/ 6518272 h 6857997"/>
              <a:gd name="connsiteX886" fmla="*/ 10832210 w 12188817"/>
              <a:gd name="connsiteY886" fmla="*/ 6468299 h 6857997"/>
              <a:gd name="connsiteX887" fmla="*/ 10871986 w 12188817"/>
              <a:gd name="connsiteY887" fmla="*/ 6468299 h 6857997"/>
              <a:gd name="connsiteX888" fmla="*/ 10907462 w 12188817"/>
              <a:gd name="connsiteY888" fmla="*/ 6518272 h 6857997"/>
              <a:gd name="connsiteX889" fmla="*/ 10945805 w 12188817"/>
              <a:gd name="connsiteY889" fmla="*/ 6518272 h 6857997"/>
              <a:gd name="connsiteX890" fmla="*/ 10905670 w 12188817"/>
              <a:gd name="connsiteY890" fmla="*/ 6465293 h 6857997"/>
              <a:gd name="connsiteX891" fmla="*/ 10938280 w 12188817"/>
              <a:gd name="connsiteY891" fmla="*/ 6429598 h 6857997"/>
              <a:gd name="connsiteX892" fmla="*/ 10881661 w 12188817"/>
              <a:gd name="connsiteY892" fmla="*/ 6391272 h 6857997"/>
              <a:gd name="connsiteX893" fmla="*/ 10728317 w 12188817"/>
              <a:gd name="connsiteY893" fmla="*/ 6391272 h 6857997"/>
              <a:gd name="connsiteX894" fmla="*/ 10728317 w 12188817"/>
              <a:gd name="connsiteY894" fmla="*/ 6518272 h 6857997"/>
              <a:gd name="connsiteX895" fmla="*/ 10763242 w 12188817"/>
              <a:gd name="connsiteY895" fmla="*/ 6518272 h 6857997"/>
              <a:gd name="connsiteX896" fmla="*/ 10763242 w 12188817"/>
              <a:gd name="connsiteY896" fmla="*/ 6391272 h 6857997"/>
              <a:gd name="connsiteX897" fmla="*/ 10604321 w 12188817"/>
              <a:gd name="connsiteY897" fmla="*/ 6391272 h 6857997"/>
              <a:gd name="connsiteX898" fmla="*/ 10547342 w 12188817"/>
              <a:gd name="connsiteY898" fmla="*/ 6429973 h 6857997"/>
              <a:gd name="connsiteX899" fmla="*/ 10601436 w 12188817"/>
              <a:gd name="connsiteY899" fmla="*/ 6466420 h 6857997"/>
              <a:gd name="connsiteX900" fmla="*/ 10641466 w 12188817"/>
              <a:gd name="connsiteY900" fmla="*/ 6466420 h 6857997"/>
              <a:gd name="connsiteX901" fmla="*/ 10665628 w 12188817"/>
              <a:gd name="connsiteY901" fmla="*/ 6481074 h 6857997"/>
              <a:gd name="connsiteX902" fmla="*/ 10639302 w 12188817"/>
              <a:gd name="connsiteY902" fmla="*/ 6495352 h 6857997"/>
              <a:gd name="connsiteX903" fmla="*/ 10553833 w 12188817"/>
              <a:gd name="connsiteY903" fmla="*/ 6495352 h 6857997"/>
              <a:gd name="connsiteX904" fmla="*/ 10553833 w 12188817"/>
              <a:gd name="connsiteY904" fmla="*/ 6518272 h 6857997"/>
              <a:gd name="connsiteX905" fmla="*/ 10644711 w 12188817"/>
              <a:gd name="connsiteY905" fmla="*/ 6518272 h 6857997"/>
              <a:gd name="connsiteX906" fmla="*/ 10701330 w 12188817"/>
              <a:gd name="connsiteY906" fmla="*/ 6480323 h 6857997"/>
              <a:gd name="connsiteX907" fmla="*/ 10649760 w 12188817"/>
              <a:gd name="connsiteY907" fmla="*/ 6444252 h 6857997"/>
              <a:gd name="connsiteX908" fmla="*/ 10604321 w 12188817"/>
              <a:gd name="connsiteY908" fmla="*/ 6444252 h 6857997"/>
              <a:gd name="connsiteX909" fmla="*/ 10583044 w 12188817"/>
              <a:gd name="connsiteY909" fmla="*/ 6430349 h 6857997"/>
              <a:gd name="connsiteX910" fmla="*/ 10609009 w 12188817"/>
              <a:gd name="connsiteY910" fmla="*/ 6413817 h 6857997"/>
              <a:gd name="connsiteX911" fmla="*/ 10693396 w 12188817"/>
              <a:gd name="connsiteY911" fmla="*/ 6413817 h 6857997"/>
              <a:gd name="connsiteX912" fmla="*/ 10693396 w 12188817"/>
              <a:gd name="connsiteY912" fmla="*/ 6391272 h 6857997"/>
              <a:gd name="connsiteX913" fmla="*/ 10490061 w 12188817"/>
              <a:gd name="connsiteY913" fmla="*/ 6391272 h 6857997"/>
              <a:gd name="connsiteX914" fmla="*/ 10490061 w 12188817"/>
              <a:gd name="connsiteY914" fmla="*/ 6482682 h 6857997"/>
              <a:gd name="connsiteX915" fmla="*/ 10423841 w 12188817"/>
              <a:gd name="connsiteY915" fmla="*/ 6391647 h 6857997"/>
              <a:gd name="connsiteX916" fmla="*/ 10380655 w 12188817"/>
              <a:gd name="connsiteY916" fmla="*/ 6391647 h 6857997"/>
              <a:gd name="connsiteX917" fmla="*/ 10380655 w 12188817"/>
              <a:gd name="connsiteY917" fmla="*/ 6518272 h 6857997"/>
              <a:gd name="connsiteX918" fmla="*/ 10414124 w 12188817"/>
              <a:gd name="connsiteY918" fmla="*/ 6518272 h 6857997"/>
              <a:gd name="connsiteX919" fmla="*/ 10414124 w 12188817"/>
              <a:gd name="connsiteY919" fmla="*/ 6422367 h 6857997"/>
              <a:gd name="connsiteX920" fmla="*/ 10483942 w 12188817"/>
              <a:gd name="connsiteY920" fmla="*/ 6518272 h 6857997"/>
              <a:gd name="connsiteX921" fmla="*/ 10523170 w 12188817"/>
              <a:gd name="connsiteY921" fmla="*/ 6518272 h 6857997"/>
              <a:gd name="connsiteX922" fmla="*/ 10523530 w 12188817"/>
              <a:gd name="connsiteY922" fmla="*/ 6391272 h 6857997"/>
              <a:gd name="connsiteX923" fmla="*/ 10293755 w 12188817"/>
              <a:gd name="connsiteY923" fmla="*/ 6391272 h 6857997"/>
              <a:gd name="connsiteX924" fmla="*/ 10217142 w 12188817"/>
              <a:gd name="connsiteY924" fmla="*/ 6457027 h 6857997"/>
              <a:gd name="connsiteX925" fmla="*/ 10242077 w 12188817"/>
              <a:gd name="connsiteY925" fmla="*/ 6507000 h 6857997"/>
              <a:gd name="connsiteX926" fmla="*/ 10293032 w 12188817"/>
              <a:gd name="connsiteY926" fmla="*/ 6518272 h 6857997"/>
              <a:gd name="connsiteX927" fmla="*/ 10350492 w 12188817"/>
              <a:gd name="connsiteY927" fmla="*/ 6518272 h 6857997"/>
              <a:gd name="connsiteX928" fmla="*/ 10350492 w 12188817"/>
              <a:gd name="connsiteY928" fmla="*/ 6496104 h 6857997"/>
              <a:gd name="connsiteX929" fmla="*/ 10294478 w 12188817"/>
              <a:gd name="connsiteY929" fmla="*/ 6496104 h 6857997"/>
              <a:gd name="connsiteX930" fmla="*/ 10255810 w 12188817"/>
              <a:gd name="connsiteY930" fmla="*/ 6464917 h 6857997"/>
              <a:gd name="connsiteX931" fmla="*/ 10350492 w 12188817"/>
              <a:gd name="connsiteY931" fmla="*/ 6464917 h 6857997"/>
              <a:gd name="connsiteX932" fmla="*/ 10350492 w 12188817"/>
              <a:gd name="connsiteY932" fmla="*/ 6442749 h 6857997"/>
              <a:gd name="connsiteX933" fmla="*/ 10255810 w 12188817"/>
              <a:gd name="connsiteY933" fmla="*/ 6442749 h 6857997"/>
              <a:gd name="connsiteX934" fmla="*/ 10294478 w 12188817"/>
              <a:gd name="connsiteY934" fmla="*/ 6413441 h 6857997"/>
              <a:gd name="connsiteX935" fmla="*/ 10350492 w 12188817"/>
              <a:gd name="connsiteY935" fmla="*/ 6413441 h 6857997"/>
              <a:gd name="connsiteX936" fmla="*/ 10350492 w 12188817"/>
              <a:gd name="connsiteY936" fmla="*/ 6391272 h 6857997"/>
              <a:gd name="connsiteX937" fmla="*/ 10104126 w 12188817"/>
              <a:gd name="connsiteY937" fmla="*/ 6391272 h 6857997"/>
              <a:gd name="connsiteX938" fmla="*/ 10047280 w 12188817"/>
              <a:gd name="connsiteY938" fmla="*/ 6429973 h 6857997"/>
              <a:gd name="connsiteX939" fmla="*/ 10101248 w 12188817"/>
              <a:gd name="connsiteY939" fmla="*/ 6466420 h 6857997"/>
              <a:gd name="connsiteX940" fmla="*/ 10141184 w 12188817"/>
              <a:gd name="connsiteY940" fmla="*/ 6466420 h 6857997"/>
              <a:gd name="connsiteX941" fmla="*/ 10165649 w 12188817"/>
              <a:gd name="connsiteY941" fmla="*/ 6481074 h 6857997"/>
              <a:gd name="connsiteX942" fmla="*/ 10139025 w 12188817"/>
              <a:gd name="connsiteY942" fmla="*/ 6495352 h 6857997"/>
              <a:gd name="connsiteX943" fmla="*/ 10053756 w 12188817"/>
              <a:gd name="connsiteY943" fmla="*/ 6495352 h 6857997"/>
              <a:gd name="connsiteX944" fmla="*/ 10053756 w 12188817"/>
              <a:gd name="connsiteY944" fmla="*/ 6518272 h 6857997"/>
              <a:gd name="connsiteX945" fmla="*/ 10144422 w 12188817"/>
              <a:gd name="connsiteY945" fmla="*/ 6518272 h 6857997"/>
              <a:gd name="connsiteX946" fmla="*/ 10201268 w 12188817"/>
              <a:gd name="connsiteY946" fmla="*/ 6480323 h 6857997"/>
              <a:gd name="connsiteX947" fmla="*/ 10149459 w 12188817"/>
              <a:gd name="connsiteY947" fmla="*/ 6444252 h 6857997"/>
              <a:gd name="connsiteX948" fmla="*/ 10104486 w 12188817"/>
              <a:gd name="connsiteY948" fmla="*/ 6444252 h 6857997"/>
              <a:gd name="connsiteX949" fmla="*/ 10082899 w 12188817"/>
              <a:gd name="connsiteY949" fmla="*/ 6430349 h 6857997"/>
              <a:gd name="connsiteX950" fmla="*/ 10109163 w 12188817"/>
              <a:gd name="connsiteY950" fmla="*/ 6413817 h 6857997"/>
              <a:gd name="connsiteX951" fmla="*/ 10193353 w 12188817"/>
              <a:gd name="connsiteY951" fmla="*/ 6413817 h 6857997"/>
              <a:gd name="connsiteX952" fmla="*/ 10193353 w 12188817"/>
              <a:gd name="connsiteY952" fmla="*/ 6391272 h 6857997"/>
              <a:gd name="connsiteX953" fmla="*/ 11099976 w 12188817"/>
              <a:gd name="connsiteY953" fmla="*/ 6389684 h 6857997"/>
              <a:gd name="connsiteX954" fmla="*/ 11026767 w 12188817"/>
              <a:gd name="connsiteY954" fmla="*/ 6453474 h 6857997"/>
              <a:gd name="connsiteX955" fmla="*/ 11107910 w 12188817"/>
              <a:gd name="connsiteY955" fmla="*/ 6519859 h 6857997"/>
              <a:gd name="connsiteX956" fmla="*/ 11188692 w 12188817"/>
              <a:gd name="connsiteY956" fmla="*/ 6454586 h 6857997"/>
              <a:gd name="connsiteX957" fmla="*/ 11115844 w 12188817"/>
              <a:gd name="connsiteY957" fmla="*/ 6389684 h 6857997"/>
              <a:gd name="connsiteX958" fmla="*/ 0 w 12188817"/>
              <a:gd name="connsiteY958" fmla="*/ 0 h 6857997"/>
              <a:gd name="connsiteX959" fmla="*/ 12188817 w 12188817"/>
              <a:gd name="connsiteY959" fmla="*/ 0 h 6857997"/>
              <a:gd name="connsiteX960" fmla="*/ 12188817 w 12188817"/>
              <a:gd name="connsiteY960" fmla="*/ 3067874 h 6857997"/>
              <a:gd name="connsiteX961" fmla="*/ 12188817 w 12188817"/>
              <a:gd name="connsiteY961" fmla="*/ 3141660 h 6857997"/>
              <a:gd name="connsiteX962" fmla="*/ 12188817 w 12188817"/>
              <a:gd name="connsiteY962" fmla="*/ 6237284 h 6857997"/>
              <a:gd name="connsiteX963" fmla="*/ 12188817 w 12188817"/>
              <a:gd name="connsiteY963" fmla="*/ 6282150 h 6857997"/>
              <a:gd name="connsiteX964" fmla="*/ 12188817 w 12188817"/>
              <a:gd name="connsiteY964" fmla="*/ 6857997 h 6857997"/>
              <a:gd name="connsiteX965" fmla="*/ 0 w 12188817"/>
              <a:gd name="connsiteY965"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Lst>
            <a:rect l="l" t="t" r="r" b="b"/>
            <a:pathLst>
              <a:path w="12188817" h="6857997">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4" y="6483831"/>
                </a:moveTo>
                <a:lnTo>
                  <a:pt x="6291674" y="6488436"/>
                </a:lnTo>
                <a:cubicBezTo>
                  <a:pt x="6291674" y="6494528"/>
                  <a:pt x="6290930" y="6499168"/>
                  <a:pt x="6289442" y="6502354"/>
                </a:cubicBezTo>
                <a:cubicBezTo>
                  <a:pt x="6287953" y="6505539"/>
                  <a:pt x="6285709" y="6508086"/>
                  <a:pt x="6282709" y="6509993"/>
                </a:cubicBezTo>
                <a:cubicBezTo>
                  <a:pt x="6279710" y="6511900"/>
                  <a:pt x="6276373" y="6512853"/>
                  <a:pt x="6272698" y="6512853"/>
                </a:cubicBezTo>
                <a:cubicBezTo>
                  <a:pt x="6268838" y="6512853"/>
                  <a:pt x="6265815" y="6511795"/>
                  <a:pt x="6263629" y="6509679"/>
                </a:cubicBezTo>
                <a:cubicBezTo>
                  <a:pt x="6261443" y="6507563"/>
                  <a:pt x="6260350" y="6504737"/>
                  <a:pt x="6260350" y="6501203"/>
                </a:cubicBezTo>
                <a:cubicBezTo>
                  <a:pt x="6260350" y="6498924"/>
                  <a:pt x="6260827" y="6496912"/>
                  <a:pt x="6261780" y="6495168"/>
                </a:cubicBezTo>
                <a:cubicBezTo>
                  <a:pt x="6262734" y="6493424"/>
                  <a:pt x="6264071" y="6492075"/>
                  <a:pt x="6265792" y="6491122"/>
                </a:cubicBezTo>
                <a:cubicBezTo>
                  <a:pt x="6267513" y="6490168"/>
                  <a:pt x="6270536" y="6489320"/>
                  <a:pt x="6274861" y="6488575"/>
                </a:cubicBezTo>
                <a:cubicBezTo>
                  <a:pt x="6282302" y="6487273"/>
                  <a:pt x="6287907" y="6485692"/>
                  <a:pt x="6291674"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1" y="6455577"/>
                </a:moveTo>
                <a:cubicBezTo>
                  <a:pt x="6092407" y="6455577"/>
                  <a:pt x="6096616" y="6457880"/>
                  <a:pt x="6099918" y="6462484"/>
                </a:cubicBezTo>
                <a:cubicBezTo>
                  <a:pt x="6102197" y="6465647"/>
                  <a:pt x="6103569" y="6470437"/>
                  <a:pt x="6104034" y="6476855"/>
                </a:cubicBezTo>
                <a:lnTo>
                  <a:pt x="6070131" y="6476855"/>
                </a:lnTo>
                <a:cubicBezTo>
                  <a:pt x="6070457" y="6470344"/>
                  <a:pt x="6072247" y="6465170"/>
                  <a:pt x="6075502" y="6461333"/>
                </a:cubicBezTo>
                <a:cubicBezTo>
                  <a:pt x="6078757" y="6457496"/>
                  <a:pt x="6082689" y="6455577"/>
                  <a:pt x="6087291" y="6455577"/>
                </a:cubicBezTo>
                <a:close/>
                <a:moveTo>
                  <a:pt x="6018394" y="6455577"/>
                </a:moveTo>
                <a:cubicBezTo>
                  <a:pt x="6023280" y="6455577"/>
                  <a:pt x="6027331" y="6457961"/>
                  <a:pt x="6030544" y="6462728"/>
                </a:cubicBezTo>
                <a:cubicBezTo>
                  <a:pt x="6033753" y="6467495"/>
                  <a:pt x="6035357" y="6475065"/>
                  <a:pt x="6035357" y="6485436"/>
                </a:cubicBezTo>
                <a:cubicBezTo>
                  <a:pt x="6035357" y="6494459"/>
                  <a:pt x="6033753" y="6501203"/>
                  <a:pt x="6030544" y="6505667"/>
                </a:cubicBezTo>
                <a:cubicBezTo>
                  <a:pt x="6027331" y="6510132"/>
                  <a:pt x="6023537" y="6512365"/>
                  <a:pt x="6019162" y="6512365"/>
                </a:cubicBezTo>
                <a:cubicBezTo>
                  <a:pt x="6014741" y="6512365"/>
                  <a:pt x="6010868" y="6510039"/>
                  <a:pt x="6007540" y="6505388"/>
                </a:cubicBezTo>
                <a:cubicBezTo>
                  <a:pt x="6004214" y="6500737"/>
                  <a:pt x="6002550" y="6493622"/>
                  <a:pt x="6002550" y="6484041"/>
                </a:cubicBezTo>
                <a:cubicBezTo>
                  <a:pt x="6002550" y="6474227"/>
                  <a:pt x="6004108" y="6467030"/>
                  <a:pt x="6007226" y="6462449"/>
                </a:cubicBezTo>
                <a:cubicBezTo>
                  <a:pt x="6010344" y="6457868"/>
                  <a:pt x="6014066" y="6455577"/>
                  <a:pt x="6018394" y="6455577"/>
                </a:cubicBezTo>
                <a:close/>
                <a:moveTo>
                  <a:pt x="5829559" y="6455577"/>
                </a:moveTo>
                <a:cubicBezTo>
                  <a:pt x="5834723" y="6455577"/>
                  <a:pt x="5839049" y="6457917"/>
                  <a:pt x="5842534" y="6462597"/>
                </a:cubicBezTo>
                <a:cubicBezTo>
                  <a:pt x="5846022" y="6467277"/>
                  <a:pt x="5847769" y="6474390"/>
                  <a:pt x="5847769" y="6483936"/>
                </a:cubicBezTo>
                <a:cubicBezTo>
                  <a:pt x="5847769" y="6493436"/>
                  <a:pt x="5846035" y="6500548"/>
                  <a:pt x="5842571" y="6505275"/>
                </a:cubicBezTo>
                <a:cubicBezTo>
                  <a:pt x="5839105" y="6510001"/>
                  <a:pt x="5834955" y="6512365"/>
                  <a:pt x="5830117" y="6512365"/>
                </a:cubicBezTo>
                <a:cubicBezTo>
                  <a:pt x="5824956" y="6512365"/>
                  <a:pt x="5820628" y="6510025"/>
                  <a:pt x="5817142" y="6505345"/>
                </a:cubicBezTo>
                <a:cubicBezTo>
                  <a:pt x="5813654" y="6500665"/>
                  <a:pt x="5811909" y="6493529"/>
                  <a:pt x="5811909" y="6483936"/>
                </a:cubicBezTo>
                <a:cubicBezTo>
                  <a:pt x="5811909" y="6474437"/>
                  <a:pt x="5813630" y="6467335"/>
                  <a:pt x="5817070" y="6462632"/>
                </a:cubicBezTo>
                <a:cubicBezTo>
                  <a:pt x="5820513" y="6457929"/>
                  <a:pt x="5824677" y="6455577"/>
                  <a:pt x="5829559"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0" y="6446927"/>
                </a:moveTo>
                <a:lnTo>
                  <a:pt x="6224380" y="6521015"/>
                </a:lnTo>
                <a:lnTo>
                  <a:pt x="6234636" y="6521015"/>
                </a:lnTo>
                <a:lnTo>
                  <a:pt x="6234636" y="6446927"/>
                </a:lnTo>
                <a:close/>
                <a:moveTo>
                  <a:pt x="5967205" y="6446927"/>
                </a:moveTo>
                <a:lnTo>
                  <a:pt x="5967205" y="6521015"/>
                </a:lnTo>
                <a:lnTo>
                  <a:pt x="5977462" y="6521015"/>
                </a:lnTo>
                <a:lnTo>
                  <a:pt x="5977462"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68" y="6445252"/>
                </a:moveTo>
                <a:cubicBezTo>
                  <a:pt x="6270582" y="6445252"/>
                  <a:pt x="6264292" y="6447066"/>
                  <a:pt x="6259897" y="6450694"/>
                </a:cubicBezTo>
                <a:cubicBezTo>
                  <a:pt x="6255502" y="6454322"/>
                  <a:pt x="6252583" y="6460112"/>
                  <a:pt x="6251142" y="6468065"/>
                </a:cubicBezTo>
                <a:lnTo>
                  <a:pt x="6261257" y="6469739"/>
                </a:lnTo>
                <a:cubicBezTo>
                  <a:pt x="6262373" y="6464271"/>
                  <a:pt x="6264118" y="6460543"/>
                  <a:pt x="6266489" y="6458557"/>
                </a:cubicBezTo>
                <a:cubicBezTo>
                  <a:pt x="6268861" y="6456571"/>
                  <a:pt x="6272443" y="6455577"/>
                  <a:pt x="6277233" y="6455577"/>
                </a:cubicBezTo>
                <a:cubicBezTo>
                  <a:pt x="6282535" y="6455577"/>
                  <a:pt x="6286465" y="6457066"/>
                  <a:pt x="6289023" y="6460042"/>
                </a:cubicBezTo>
                <a:cubicBezTo>
                  <a:pt x="6290837" y="6462089"/>
                  <a:pt x="6291744" y="6465647"/>
                  <a:pt x="6291744" y="6470716"/>
                </a:cubicBezTo>
                <a:lnTo>
                  <a:pt x="6291674" y="6473925"/>
                </a:lnTo>
                <a:cubicBezTo>
                  <a:pt x="6287767" y="6475626"/>
                  <a:pt x="6281628" y="6477091"/>
                  <a:pt x="6273256" y="6478320"/>
                </a:cubicBezTo>
                <a:cubicBezTo>
                  <a:pt x="6267024" y="6479204"/>
                  <a:pt x="6262373" y="6480576"/>
                  <a:pt x="6259304" y="6482436"/>
                </a:cubicBezTo>
                <a:cubicBezTo>
                  <a:pt x="6256234" y="6484297"/>
                  <a:pt x="6253816" y="6486878"/>
                  <a:pt x="6252048" y="6490180"/>
                </a:cubicBezTo>
                <a:cubicBezTo>
                  <a:pt x="6250281" y="6493482"/>
                  <a:pt x="6249397" y="6497273"/>
                  <a:pt x="6249397" y="6501551"/>
                </a:cubicBezTo>
                <a:cubicBezTo>
                  <a:pt x="6249397" y="6508016"/>
                  <a:pt x="6251281" y="6513155"/>
                  <a:pt x="6255048" y="6516969"/>
                </a:cubicBezTo>
                <a:cubicBezTo>
                  <a:pt x="6258816" y="6520783"/>
                  <a:pt x="6263862" y="6522690"/>
                  <a:pt x="6270187" y="6522690"/>
                </a:cubicBezTo>
                <a:cubicBezTo>
                  <a:pt x="6274187" y="6522690"/>
                  <a:pt x="6278047" y="6521782"/>
                  <a:pt x="6281768" y="6519968"/>
                </a:cubicBezTo>
                <a:cubicBezTo>
                  <a:pt x="6285488" y="6518154"/>
                  <a:pt x="6289069" y="6515456"/>
                  <a:pt x="6292511" y="6511875"/>
                </a:cubicBezTo>
                <a:cubicBezTo>
                  <a:pt x="6292837" y="6515411"/>
                  <a:pt x="6293534" y="6518457"/>
                  <a:pt x="6294604" y="6521015"/>
                </a:cubicBezTo>
                <a:lnTo>
                  <a:pt x="6305348" y="6521015"/>
                </a:lnTo>
                <a:cubicBezTo>
                  <a:pt x="6304045" y="6518132"/>
                  <a:pt x="6303173" y="6515167"/>
                  <a:pt x="6302731" y="6512120"/>
                </a:cubicBezTo>
                <a:cubicBezTo>
                  <a:pt x="6302290" y="6509074"/>
                  <a:pt x="6302069" y="6501691"/>
                  <a:pt x="6302069" y="6489971"/>
                </a:cubicBezTo>
                <a:lnTo>
                  <a:pt x="6302069" y="6473227"/>
                </a:lnTo>
                <a:cubicBezTo>
                  <a:pt x="6302069" y="6466437"/>
                  <a:pt x="6301592" y="6461275"/>
                  <a:pt x="6300639" y="6457740"/>
                </a:cubicBezTo>
                <a:cubicBezTo>
                  <a:pt x="6299685" y="6454205"/>
                  <a:pt x="6297395" y="6451240"/>
                  <a:pt x="6293767" y="6448845"/>
                </a:cubicBezTo>
                <a:cubicBezTo>
                  <a:pt x="6290139" y="6446450"/>
                  <a:pt x="6285139" y="6445252"/>
                  <a:pt x="6278768" y="6445252"/>
                </a:cubicBezTo>
                <a:close/>
                <a:moveTo>
                  <a:pt x="6157700" y="6445252"/>
                </a:moveTo>
                <a:cubicBezTo>
                  <a:pt x="6153521" y="6445252"/>
                  <a:pt x="6149818" y="6446258"/>
                  <a:pt x="6146592" y="6448270"/>
                </a:cubicBezTo>
                <a:cubicBezTo>
                  <a:pt x="6143365" y="6450282"/>
                  <a:pt x="6140638" y="6453323"/>
                  <a:pt x="6138409" y="6457392"/>
                </a:cubicBezTo>
                <a:lnTo>
                  <a:pt x="6138409" y="6446927"/>
                </a:lnTo>
                <a:lnTo>
                  <a:pt x="6129130" y="6446927"/>
                </a:lnTo>
                <a:lnTo>
                  <a:pt x="6129130" y="6521015"/>
                </a:lnTo>
                <a:lnTo>
                  <a:pt x="6139386" y="6521015"/>
                </a:lnTo>
                <a:lnTo>
                  <a:pt x="6139386" y="6480509"/>
                </a:lnTo>
                <a:cubicBezTo>
                  <a:pt x="6139386" y="6471570"/>
                  <a:pt x="6140851" y="6465261"/>
                  <a:pt x="6143781" y="6461583"/>
                </a:cubicBezTo>
                <a:cubicBezTo>
                  <a:pt x="6146711" y="6457905"/>
                  <a:pt x="6150641" y="6456066"/>
                  <a:pt x="6155571" y="6456066"/>
                </a:cubicBezTo>
                <a:cubicBezTo>
                  <a:pt x="6158175" y="6456066"/>
                  <a:pt x="6160466" y="6456752"/>
                  <a:pt x="6162442" y="6458126"/>
                </a:cubicBezTo>
                <a:cubicBezTo>
                  <a:pt x="6164419" y="6459499"/>
                  <a:pt x="6165872" y="6461443"/>
                  <a:pt x="6166803" y="6463957"/>
                </a:cubicBezTo>
                <a:cubicBezTo>
                  <a:pt x="6167733" y="6466471"/>
                  <a:pt x="6168198" y="6470452"/>
                  <a:pt x="6168198" y="6475900"/>
                </a:cubicBezTo>
                <a:lnTo>
                  <a:pt x="6168198" y="6521015"/>
                </a:lnTo>
                <a:lnTo>
                  <a:pt x="6178453" y="6521015"/>
                </a:lnTo>
                <a:lnTo>
                  <a:pt x="6178453" y="6475460"/>
                </a:lnTo>
                <a:cubicBezTo>
                  <a:pt x="6178453" y="6468623"/>
                  <a:pt x="6178035" y="6463554"/>
                  <a:pt x="6177199" y="6460252"/>
                </a:cubicBezTo>
                <a:cubicBezTo>
                  <a:pt x="6176364" y="6456949"/>
                  <a:pt x="6175099" y="6454264"/>
                  <a:pt x="6173404" y="6452194"/>
                </a:cubicBezTo>
                <a:cubicBezTo>
                  <a:pt x="6171709" y="6450124"/>
                  <a:pt x="6169481" y="6448450"/>
                  <a:pt x="6166718" y="6447171"/>
                </a:cubicBezTo>
                <a:cubicBezTo>
                  <a:pt x="6163956" y="6445892"/>
                  <a:pt x="6160949" y="6445252"/>
                  <a:pt x="6157700" y="6445252"/>
                </a:cubicBezTo>
                <a:close/>
                <a:moveTo>
                  <a:pt x="6087364" y="6445252"/>
                </a:moveTo>
                <a:cubicBezTo>
                  <a:pt x="6079131" y="6445252"/>
                  <a:pt x="6072328" y="6448613"/>
                  <a:pt x="6066956" y="6455333"/>
                </a:cubicBezTo>
                <a:cubicBezTo>
                  <a:pt x="6061584" y="6462054"/>
                  <a:pt x="6058897" y="6471809"/>
                  <a:pt x="6058897" y="6484599"/>
                </a:cubicBezTo>
                <a:cubicBezTo>
                  <a:pt x="6058897" y="6496924"/>
                  <a:pt x="6061560" y="6506353"/>
                  <a:pt x="6066885" y="6512888"/>
                </a:cubicBezTo>
                <a:cubicBezTo>
                  <a:pt x="6072212" y="6519422"/>
                  <a:pt x="6079175" y="6522690"/>
                  <a:pt x="6087781" y="6522690"/>
                </a:cubicBezTo>
                <a:cubicBezTo>
                  <a:pt x="6094617" y="6522690"/>
                  <a:pt x="6100348" y="6520678"/>
                  <a:pt x="6104976" y="6516655"/>
                </a:cubicBezTo>
                <a:cubicBezTo>
                  <a:pt x="6109604" y="6512632"/>
                  <a:pt x="6112801" y="6506667"/>
                  <a:pt x="6114569" y="6498761"/>
                </a:cubicBezTo>
                <a:lnTo>
                  <a:pt x="6103965" y="6497156"/>
                </a:lnTo>
                <a:cubicBezTo>
                  <a:pt x="6100941" y="6507295"/>
                  <a:pt x="6095570" y="6512365"/>
                  <a:pt x="6087849" y="6512365"/>
                </a:cubicBezTo>
                <a:cubicBezTo>
                  <a:pt x="6082919" y="6512365"/>
                  <a:pt x="6078734" y="6510248"/>
                  <a:pt x="6075292" y="6506016"/>
                </a:cubicBezTo>
                <a:cubicBezTo>
                  <a:pt x="6071853" y="6501784"/>
                  <a:pt x="6069920" y="6495505"/>
                  <a:pt x="6069506" y="6487180"/>
                </a:cubicBezTo>
                <a:lnTo>
                  <a:pt x="6114848" y="6487180"/>
                </a:lnTo>
                <a:lnTo>
                  <a:pt x="6114917" y="6483831"/>
                </a:lnTo>
                <a:cubicBezTo>
                  <a:pt x="6114917" y="6471321"/>
                  <a:pt x="6112290" y="6461763"/>
                  <a:pt x="6107034" y="6455159"/>
                </a:cubicBezTo>
                <a:cubicBezTo>
                  <a:pt x="6101779" y="6448555"/>
                  <a:pt x="6095221" y="6445252"/>
                  <a:pt x="6087364" y="6445252"/>
                </a:cubicBezTo>
                <a:close/>
                <a:moveTo>
                  <a:pt x="5900526" y="6445252"/>
                </a:moveTo>
                <a:cubicBezTo>
                  <a:pt x="5896346" y="6445252"/>
                  <a:pt x="5892645" y="6446258"/>
                  <a:pt x="5889417" y="6448270"/>
                </a:cubicBezTo>
                <a:cubicBezTo>
                  <a:pt x="5886191" y="6450282"/>
                  <a:pt x="5883465" y="6453323"/>
                  <a:pt x="5881236" y="6457392"/>
                </a:cubicBezTo>
                <a:lnTo>
                  <a:pt x="5881236" y="6446927"/>
                </a:lnTo>
                <a:lnTo>
                  <a:pt x="5871957" y="6446927"/>
                </a:lnTo>
                <a:lnTo>
                  <a:pt x="5871957" y="6521015"/>
                </a:lnTo>
                <a:lnTo>
                  <a:pt x="5882211" y="6521015"/>
                </a:lnTo>
                <a:lnTo>
                  <a:pt x="5882211" y="6480509"/>
                </a:lnTo>
                <a:cubicBezTo>
                  <a:pt x="5882211" y="6471570"/>
                  <a:pt x="5883676" y="6465261"/>
                  <a:pt x="5886608" y="6461583"/>
                </a:cubicBezTo>
                <a:cubicBezTo>
                  <a:pt x="5889538" y="6457905"/>
                  <a:pt x="5893467" y="6456066"/>
                  <a:pt x="5898396" y="6456066"/>
                </a:cubicBezTo>
                <a:cubicBezTo>
                  <a:pt x="5901002" y="6456066"/>
                  <a:pt x="5903292" y="6456752"/>
                  <a:pt x="5905268" y="6458126"/>
                </a:cubicBezTo>
                <a:cubicBezTo>
                  <a:pt x="5907246" y="6459499"/>
                  <a:pt x="5908697" y="6461443"/>
                  <a:pt x="5909630" y="6463957"/>
                </a:cubicBezTo>
                <a:cubicBezTo>
                  <a:pt x="5910559" y="6466471"/>
                  <a:pt x="5911024" y="6470452"/>
                  <a:pt x="5911024" y="6475900"/>
                </a:cubicBezTo>
                <a:lnTo>
                  <a:pt x="5911024" y="6521015"/>
                </a:lnTo>
                <a:lnTo>
                  <a:pt x="5921278" y="6521015"/>
                </a:lnTo>
                <a:lnTo>
                  <a:pt x="5921278" y="6475460"/>
                </a:lnTo>
                <a:cubicBezTo>
                  <a:pt x="5921278" y="6468623"/>
                  <a:pt x="5920860" y="6463554"/>
                  <a:pt x="5920026" y="6460252"/>
                </a:cubicBezTo>
                <a:cubicBezTo>
                  <a:pt x="5919190" y="6456949"/>
                  <a:pt x="5917925" y="6454264"/>
                  <a:pt x="5916230" y="6452194"/>
                </a:cubicBezTo>
                <a:cubicBezTo>
                  <a:pt x="5914534" y="6450124"/>
                  <a:pt x="5912308" y="6448450"/>
                  <a:pt x="5909545" y="6447171"/>
                </a:cubicBezTo>
                <a:cubicBezTo>
                  <a:pt x="5906783" y="6445892"/>
                  <a:pt x="5903776" y="6445252"/>
                  <a:pt x="5900526" y="6445252"/>
                </a:cubicBezTo>
                <a:close/>
                <a:moveTo>
                  <a:pt x="5829838" y="6445252"/>
                </a:moveTo>
                <a:cubicBezTo>
                  <a:pt x="5821607" y="6445252"/>
                  <a:pt x="5814805" y="6448508"/>
                  <a:pt x="5809433" y="6455019"/>
                </a:cubicBezTo>
                <a:cubicBezTo>
                  <a:pt x="5804061" y="6461531"/>
                  <a:pt x="5801376" y="6471181"/>
                  <a:pt x="5801376" y="6483971"/>
                </a:cubicBezTo>
                <a:cubicBezTo>
                  <a:pt x="5801376" y="6496714"/>
                  <a:pt x="5804085" y="6506353"/>
                  <a:pt x="5809502" y="6512888"/>
                </a:cubicBezTo>
                <a:cubicBezTo>
                  <a:pt x="5814920" y="6519422"/>
                  <a:pt x="5821700" y="6522690"/>
                  <a:pt x="5829838" y="6522690"/>
                </a:cubicBezTo>
                <a:cubicBezTo>
                  <a:pt x="5838116" y="6522690"/>
                  <a:pt x="5844931" y="6519434"/>
                  <a:pt x="5850280" y="6512923"/>
                </a:cubicBezTo>
                <a:cubicBezTo>
                  <a:pt x="5855626" y="6506411"/>
                  <a:pt x="5858301" y="6496505"/>
                  <a:pt x="5858301" y="6483204"/>
                </a:cubicBezTo>
                <a:cubicBezTo>
                  <a:pt x="5858301" y="6470925"/>
                  <a:pt x="5855581" y="6461531"/>
                  <a:pt x="5850139" y="6455019"/>
                </a:cubicBezTo>
                <a:cubicBezTo>
                  <a:pt x="5844697" y="6448508"/>
                  <a:pt x="5837932" y="6445252"/>
                  <a:pt x="5829838"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3" y="6421045"/>
                </a:moveTo>
                <a:lnTo>
                  <a:pt x="6198038" y="6428579"/>
                </a:lnTo>
                <a:lnTo>
                  <a:pt x="6198038" y="6446927"/>
                </a:lnTo>
                <a:lnTo>
                  <a:pt x="6190503" y="6446927"/>
                </a:lnTo>
                <a:lnTo>
                  <a:pt x="6190503" y="6456694"/>
                </a:lnTo>
                <a:lnTo>
                  <a:pt x="6198038" y="6456694"/>
                </a:lnTo>
                <a:lnTo>
                  <a:pt x="6198038" y="6499319"/>
                </a:lnTo>
                <a:cubicBezTo>
                  <a:pt x="6198038" y="6506667"/>
                  <a:pt x="6198445" y="6511574"/>
                  <a:pt x="6199259" y="6514039"/>
                </a:cubicBezTo>
                <a:cubicBezTo>
                  <a:pt x="6200073" y="6516504"/>
                  <a:pt x="6201573" y="6518446"/>
                  <a:pt x="6203758" y="6519864"/>
                </a:cubicBezTo>
                <a:cubicBezTo>
                  <a:pt x="6205944" y="6521283"/>
                  <a:pt x="6208828" y="6521992"/>
                  <a:pt x="6212409" y="6521992"/>
                </a:cubicBezTo>
                <a:cubicBezTo>
                  <a:pt x="6214688" y="6521992"/>
                  <a:pt x="6217246" y="6521620"/>
                  <a:pt x="6220083" y="6520876"/>
                </a:cubicBezTo>
                <a:lnTo>
                  <a:pt x="6218688" y="6509783"/>
                </a:lnTo>
                <a:cubicBezTo>
                  <a:pt x="6216827" y="6510109"/>
                  <a:pt x="6215316" y="6510272"/>
                  <a:pt x="6214153" y="6510272"/>
                </a:cubicBezTo>
                <a:cubicBezTo>
                  <a:pt x="6211735" y="6510272"/>
                  <a:pt x="6210084" y="6509435"/>
                  <a:pt x="6209200" y="6507760"/>
                </a:cubicBezTo>
                <a:cubicBezTo>
                  <a:pt x="6208595" y="6506598"/>
                  <a:pt x="6208293" y="6504016"/>
                  <a:pt x="6208293" y="6500017"/>
                </a:cubicBezTo>
                <a:lnTo>
                  <a:pt x="6208293" y="6456694"/>
                </a:lnTo>
                <a:lnTo>
                  <a:pt x="6218688" y="6456694"/>
                </a:lnTo>
                <a:lnTo>
                  <a:pt x="6218688" y="6446927"/>
                </a:lnTo>
                <a:lnTo>
                  <a:pt x="6208293"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2" y="6418742"/>
                </a:moveTo>
                <a:lnTo>
                  <a:pt x="6319282" y="6521015"/>
                </a:lnTo>
                <a:lnTo>
                  <a:pt x="6329537" y="6521015"/>
                </a:lnTo>
                <a:lnTo>
                  <a:pt x="6329537" y="6418742"/>
                </a:lnTo>
                <a:close/>
                <a:moveTo>
                  <a:pt x="6224380" y="6418742"/>
                </a:moveTo>
                <a:lnTo>
                  <a:pt x="6224380" y="6433183"/>
                </a:lnTo>
                <a:lnTo>
                  <a:pt x="6234636" y="6433183"/>
                </a:lnTo>
                <a:lnTo>
                  <a:pt x="6234636" y="6418742"/>
                </a:lnTo>
                <a:close/>
                <a:moveTo>
                  <a:pt x="6034361" y="6418742"/>
                </a:moveTo>
                <a:lnTo>
                  <a:pt x="6034361" y="6455438"/>
                </a:lnTo>
                <a:cubicBezTo>
                  <a:pt x="6032457" y="6452229"/>
                  <a:pt x="6030052" y="6449729"/>
                  <a:pt x="6027153" y="6447938"/>
                </a:cubicBezTo>
                <a:cubicBezTo>
                  <a:pt x="6024249" y="6446148"/>
                  <a:pt x="6021105" y="6445252"/>
                  <a:pt x="6017716" y="6445252"/>
                </a:cubicBezTo>
                <a:cubicBezTo>
                  <a:pt x="6012977" y="6445252"/>
                  <a:pt x="6008671" y="6446671"/>
                  <a:pt x="6004794" y="6449508"/>
                </a:cubicBezTo>
                <a:cubicBezTo>
                  <a:pt x="6000918" y="6452345"/>
                  <a:pt x="5997817" y="6456694"/>
                  <a:pt x="5995495" y="6462554"/>
                </a:cubicBezTo>
                <a:cubicBezTo>
                  <a:pt x="5993174" y="6468414"/>
                  <a:pt x="5992013" y="6475553"/>
                  <a:pt x="5992013" y="6483971"/>
                </a:cubicBezTo>
                <a:cubicBezTo>
                  <a:pt x="5992013" y="6496249"/>
                  <a:pt x="5994629" y="6505772"/>
                  <a:pt x="5999862" y="6512539"/>
                </a:cubicBezTo>
                <a:cubicBezTo>
                  <a:pt x="6005094" y="6519306"/>
                  <a:pt x="6011292" y="6522690"/>
                  <a:pt x="6018454" y="6522690"/>
                </a:cubicBezTo>
                <a:cubicBezTo>
                  <a:pt x="6021849" y="6522690"/>
                  <a:pt x="6025011" y="6521748"/>
                  <a:pt x="6027944" y="6519864"/>
                </a:cubicBezTo>
                <a:cubicBezTo>
                  <a:pt x="6030873" y="6517981"/>
                  <a:pt x="6033267" y="6515248"/>
                  <a:pt x="6035129" y="6511667"/>
                </a:cubicBezTo>
                <a:lnTo>
                  <a:pt x="6035129" y="6521015"/>
                </a:lnTo>
                <a:lnTo>
                  <a:pt x="6044755" y="6521015"/>
                </a:lnTo>
                <a:lnTo>
                  <a:pt x="6044755"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0" y="6416998"/>
                </a:moveTo>
                <a:cubicBezTo>
                  <a:pt x="5954504" y="6416998"/>
                  <a:pt x="5951367" y="6417766"/>
                  <a:pt x="5948873" y="6419301"/>
                </a:cubicBezTo>
                <a:cubicBezTo>
                  <a:pt x="5946376" y="6420835"/>
                  <a:pt x="5944524" y="6423056"/>
                  <a:pt x="5943312" y="6425963"/>
                </a:cubicBezTo>
                <a:cubicBezTo>
                  <a:pt x="5942098" y="6428870"/>
                  <a:pt x="5941493" y="6433230"/>
                  <a:pt x="5941493" y="6439044"/>
                </a:cubicBezTo>
                <a:lnTo>
                  <a:pt x="5941493" y="6446927"/>
                </a:lnTo>
                <a:lnTo>
                  <a:pt x="5932354" y="6446927"/>
                </a:lnTo>
                <a:lnTo>
                  <a:pt x="5932354" y="6456694"/>
                </a:lnTo>
                <a:lnTo>
                  <a:pt x="5941493" y="6456694"/>
                </a:lnTo>
                <a:lnTo>
                  <a:pt x="5941493" y="6521015"/>
                </a:lnTo>
                <a:lnTo>
                  <a:pt x="5951746" y="6521015"/>
                </a:lnTo>
                <a:lnTo>
                  <a:pt x="5951746" y="6456694"/>
                </a:lnTo>
                <a:lnTo>
                  <a:pt x="5963606" y="6456694"/>
                </a:lnTo>
                <a:lnTo>
                  <a:pt x="5963606" y="6446927"/>
                </a:lnTo>
                <a:lnTo>
                  <a:pt x="5951746" y="6446927"/>
                </a:lnTo>
                <a:lnTo>
                  <a:pt x="5951746" y="6440090"/>
                </a:lnTo>
                <a:cubicBezTo>
                  <a:pt x="5951746" y="6435579"/>
                  <a:pt x="5952412" y="6432521"/>
                  <a:pt x="5953734" y="6430916"/>
                </a:cubicBezTo>
                <a:cubicBezTo>
                  <a:pt x="5955060" y="6429312"/>
                  <a:pt x="5957262" y="6428509"/>
                  <a:pt x="5960327" y="6428509"/>
                </a:cubicBezTo>
                <a:cubicBezTo>
                  <a:pt x="5962235" y="6428509"/>
                  <a:pt x="5964257" y="6428742"/>
                  <a:pt x="5966397" y="6429207"/>
                </a:cubicBezTo>
                <a:lnTo>
                  <a:pt x="5967205" y="6423469"/>
                </a:lnTo>
                <a:lnTo>
                  <a:pt x="5967205" y="6433183"/>
                </a:lnTo>
                <a:lnTo>
                  <a:pt x="5977462" y="6433183"/>
                </a:lnTo>
                <a:lnTo>
                  <a:pt x="5977462" y="6418742"/>
                </a:lnTo>
                <a:lnTo>
                  <a:pt x="5967872" y="6418742"/>
                </a:lnTo>
                <a:lnTo>
                  <a:pt x="5967933" y="6418324"/>
                </a:lnTo>
                <a:cubicBezTo>
                  <a:pt x="5964433" y="6417440"/>
                  <a:pt x="5961216" y="6416998"/>
                  <a:pt x="5958280"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1" y="6418918"/>
                  <a:pt x="5737086" y="6422897"/>
                </a:cubicBezTo>
                <a:cubicBezTo>
                  <a:pt x="5731080" y="6426876"/>
                  <a:pt x="5726321" y="6432763"/>
                  <a:pt x="5722805" y="6440559"/>
                </a:cubicBezTo>
                <a:cubicBezTo>
                  <a:pt x="5719290" y="6448354"/>
                  <a:pt x="5717534" y="6457883"/>
                  <a:pt x="5717534" y="6469146"/>
                </a:cubicBezTo>
                <a:cubicBezTo>
                  <a:pt x="5717534" y="6480548"/>
                  <a:pt x="5719288" y="6490438"/>
                  <a:pt x="5722800" y="6498815"/>
                </a:cubicBezTo>
                <a:cubicBezTo>
                  <a:pt x="5726311" y="6507192"/>
                  <a:pt x="5730823" y="6513277"/>
                  <a:pt x="5736335" y="6517070"/>
                </a:cubicBezTo>
                <a:cubicBezTo>
                  <a:pt x="5741846" y="6520863"/>
                  <a:pt x="5748485" y="6522759"/>
                  <a:pt x="5756253" y="6522759"/>
                </a:cubicBezTo>
                <a:cubicBezTo>
                  <a:pt x="5765089" y="6522759"/>
                  <a:pt x="5772589" y="6519934"/>
                  <a:pt x="5778751" y="6514283"/>
                </a:cubicBezTo>
                <a:cubicBezTo>
                  <a:pt x="5784913" y="6508632"/>
                  <a:pt x="5789228" y="6500063"/>
                  <a:pt x="5791692" y="6488575"/>
                </a:cubicBezTo>
                <a:lnTo>
                  <a:pt x="5780529" y="6485157"/>
                </a:lnTo>
                <a:cubicBezTo>
                  <a:pt x="5779042" y="6493901"/>
                  <a:pt x="5776100" y="6500423"/>
                  <a:pt x="5771703" y="6504726"/>
                </a:cubicBezTo>
                <a:cubicBezTo>
                  <a:pt x="5767310" y="6509028"/>
                  <a:pt x="5762088" y="6511179"/>
                  <a:pt x="5756044" y="6511179"/>
                </a:cubicBezTo>
                <a:cubicBezTo>
                  <a:pt x="5747858" y="6511179"/>
                  <a:pt x="5741300" y="6507676"/>
                  <a:pt x="5736369" y="6500671"/>
                </a:cubicBezTo>
                <a:cubicBezTo>
                  <a:pt x="5731440" y="6493665"/>
                  <a:pt x="5728974" y="6483157"/>
                  <a:pt x="5728974" y="6469145"/>
                </a:cubicBezTo>
                <a:cubicBezTo>
                  <a:pt x="5728974" y="6459883"/>
                  <a:pt x="5730198" y="6452226"/>
                  <a:pt x="5732644" y="6446175"/>
                </a:cubicBezTo>
                <a:cubicBezTo>
                  <a:pt x="5735088" y="6440123"/>
                  <a:pt x="5738360" y="6435666"/>
                  <a:pt x="5742457" y="6432804"/>
                </a:cubicBezTo>
                <a:cubicBezTo>
                  <a:pt x="5746557" y="6429941"/>
                  <a:pt x="5751400" y="6428509"/>
                  <a:pt x="5756988" y="6428509"/>
                </a:cubicBezTo>
                <a:cubicBezTo>
                  <a:pt x="5768213" y="6428509"/>
                  <a:pt x="5775687" y="6435602"/>
                  <a:pt x="5779412" y="6449787"/>
                </a:cubicBezTo>
                <a:lnTo>
                  <a:pt x="5790296" y="6446648"/>
                </a:lnTo>
                <a:cubicBezTo>
                  <a:pt x="5787969" y="6436903"/>
                  <a:pt x="5783896" y="6429514"/>
                  <a:pt x="5778076" y="6424480"/>
                </a:cubicBezTo>
                <a:cubicBezTo>
                  <a:pt x="5772257" y="6419446"/>
                  <a:pt x="5765297"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5" y="6415084"/>
                </a:moveTo>
                <a:lnTo>
                  <a:pt x="10873860" y="6415084"/>
                </a:lnTo>
                <a:cubicBezTo>
                  <a:pt x="10894306" y="6415084"/>
                  <a:pt x="10904530" y="6417923"/>
                  <a:pt x="10904530" y="6430343"/>
                </a:cubicBezTo>
                <a:cubicBezTo>
                  <a:pt x="10904530" y="6442408"/>
                  <a:pt x="10894306" y="6445247"/>
                  <a:pt x="10873860" y="6445247"/>
                </a:cubicBezTo>
                <a:lnTo>
                  <a:pt x="10831505" y="6445247"/>
                </a:lnTo>
                <a:close/>
                <a:moveTo>
                  <a:pt x="11108524" y="6410322"/>
                </a:moveTo>
                <a:cubicBezTo>
                  <a:pt x="11138470" y="6410322"/>
                  <a:pt x="11152180" y="6424698"/>
                  <a:pt x="11152180" y="6454961"/>
                </a:cubicBezTo>
                <a:cubicBezTo>
                  <a:pt x="11152180" y="6484847"/>
                  <a:pt x="11138470" y="6499222"/>
                  <a:pt x="11108524" y="6499222"/>
                </a:cubicBezTo>
                <a:cubicBezTo>
                  <a:pt x="11077856" y="6499222"/>
                  <a:pt x="11064867" y="6484847"/>
                  <a:pt x="11064867" y="6453827"/>
                </a:cubicBezTo>
                <a:cubicBezTo>
                  <a:pt x="11064867" y="6424698"/>
                  <a:pt x="11078938" y="6410322"/>
                  <a:pt x="11108524" y="6410322"/>
                </a:cubicBezTo>
                <a:close/>
                <a:moveTo>
                  <a:pt x="11212505" y="6391272"/>
                </a:moveTo>
                <a:lnTo>
                  <a:pt x="11212505" y="6518272"/>
                </a:lnTo>
                <a:lnTo>
                  <a:pt x="11246059" y="6518272"/>
                </a:lnTo>
                <a:lnTo>
                  <a:pt x="11246059" y="6422083"/>
                </a:lnTo>
                <a:lnTo>
                  <a:pt x="11315692" y="6518272"/>
                </a:lnTo>
                <a:lnTo>
                  <a:pt x="11355380" y="6518272"/>
                </a:lnTo>
                <a:lnTo>
                  <a:pt x="11355380" y="6391272"/>
                </a:lnTo>
                <a:lnTo>
                  <a:pt x="11322187" y="6391272"/>
                </a:lnTo>
                <a:lnTo>
                  <a:pt x="11322187" y="6482577"/>
                </a:lnTo>
                <a:lnTo>
                  <a:pt x="11255800" y="6391272"/>
                </a:lnTo>
                <a:close/>
                <a:moveTo>
                  <a:pt x="10968030" y="6391272"/>
                </a:moveTo>
                <a:lnTo>
                  <a:pt x="10968030" y="6518272"/>
                </a:lnTo>
                <a:lnTo>
                  <a:pt x="11002955" y="6518272"/>
                </a:lnTo>
                <a:lnTo>
                  <a:pt x="11002955" y="6391272"/>
                </a:lnTo>
                <a:close/>
                <a:moveTo>
                  <a:pt x="10798167" y="6391272"/>
                </a:moveTo>
                <a:lnTo>
                  <a:pt x="10798167" y="6518272"/>
                </a:lnTo>
                <a:lnTo>
                  <a:pt x="10832210" y="6518272"/>
                </a:lnTo>
                <a:lnTo>
                  <a:pt x="10832210" y="6468299"/>
                </a:lnTo>
                <a:lnTo>
                  <a:pt x="10871986" y="6468299"/>
                </a:lnTo>
                <a:lnTo>
                  <a:pt x="10907462" y="6518272"/>
                </a:lnTo>
                <a:lnTo>
                  <a:pt x="10945805" y="6518272"/>
                </a:lnTo>
                <a:lnTo>
                  <a:pt x="10905670" y="6465293"/>
                </a:lnTo>
                <a:cubicBezTo>
                  <a:pt x="10926454" y="6461536"/>
                  <a:pt x="10938280" y="6449136"/>
                  <a:pt x="10938280" y="6429598"/>
                </a:cubicBezTo>
                <a:cubicBezTo>
                  <a:pt x="10938280" y="6402920"/>
                  <a:pt x="10920004" y="6391272"/>
                  <a:pt x="10881661" y="6391272"/>
                </a:cubicBezTo>
                <a:close/>
                <a:moveTo>
                  <a:pt x="10728317" y="6391272"/>
                </a:moveTo>
                <a:lnTo>
                  <a:pt x="10728317" y="6518272"/>
                </a:lnTo>
                <a:lnTo>
                  <a:pt x="10763242" y="6518272"/>
                </a:lnTo>
                <a:lnTo>
                  <a:pt x="10763242" y="6391272"/>
                </a:lnTo>
                <a:close/>
                <a:moveTo>
                  <a:pt x="10604321" y="6391272"/>
                </a:moveTo>
                <a:cubicBezTo>
                  <a:pt x="10565734" y="6391272"/>
                  <a:pt x="10547342" y="6402544"/>
                  <a:pt x="10547342" y="6429973"/>
                </a:cubicBezTo>
                <a:cubicBezTo>
                  <a:pt x="10547342" y="6455524"/>
                  <a:pt x="10564291" y="6466420"/>
                  <a:pt x="10601436" y="6466420"/>
                </a:cubicBezTo>
                <a:lnTo>
                  <a:pt x="10641466" y="6466420"/>
                </a:lnTo>
                <a:cubicBezTo>
                  <a:pt x="10658055" y="6466420"/>
                  <a:pt x="10665628" y="6469802"/>
                  <a:pt x="10665628" y="6481074"/>
                </a:cubicBezTo>
                <a:cubicBezTo>
                  <a:pt x="10665628" y="6491970"/>
                  <a:pt x="10657333" y="6495352"/>
                  <a:pt x="10639302" y="6495352"/>
                </a:cubicBezTo>
                <a:lnTo>
                  <a:pt x="10553833" y="6495352"/>
                </a:lnTo>
                <a:lnTo>
                  <a:pt x="10553833" y="6518272"/>
                </a:lnTo>
                <a:lnTo>
                  <a:pt x="10644711" y="6518272"/>
                </a:lnTo>
                <a:cubicBezTo>
                  <a:pt x="10682938" y="6518272"/>
                  <a:pt x="10701330" y="6507000"/>
                  <a:pt x="10701330" y="6480323"/>
                </a:cubicBezTo>
                <a:cubicBezTo>
                  <a:pt x="10701330" y="6453645"/>
                  <a:pt x="10685823" y="6444252"/>
                  <a:pt x="10649760" y="6444252"/>
                </a:cubicBezTo>
                <a:lnTo>
                  <a:pt x="10604321" y="6444252"/>
                </a:lnTo>
                <a:cubicBezTo>
                  <a:pt x="10590257" y="6444252"/>
                  <a:pt x="10583044" y="6439743"/>
                  <a:pt x="10583044" y="6430349"/>
                </a:cubicBezTo>
                <a:cubicBezTo>
                  <a:pt x="10583044" y="6418701"/>
                  <a:pt x="10591339" y="6413817"/>
                  <a:pt x="10609009" y="6413817"/>
                </a:cubicBezTo>
                <a:lnTo>
                  <a:pt x="10693396" y="6413817"/>
                </a:lnTo>
                <a:lnTo>
                  <a:pt x="10693396" y="6391272"/>
                </a:lnTo>
                <a:close/>
                <a:moveTo>
                  <a:pt x="10490061" y="6391272"/>
                </a:moveTo>
                <a:lnTo>
                  <a:pt x="10490061" y="6482682"/>
                </a:lnTo>
                <a:lnTo>
                  <a:pt x="10423841" y="6391647"/>
                </a:lnTo>
                <a:lnTo>
                  <a:pt x="10380655" y="6391647"/>
                </a:lnTo>
                <a:lnTo>
                  <a:pt x="10380655" y="6518272"/>
                </a:lnTo>
                <a:lnTo>
                  <a:pt x="10414124" y="6518272"/>
                </a:lnTo>
                <a:lnTo>
                  <a:pt x="10414124" y="6422367"/>
                </a:lnTo>
                <a:lnTo>
                  <a:pt x="10483942" y="6518272"/>
                </a:lnTo>
                <a:lnTo>
                  <a:pt x="10523170" y="6518272"/>
                </a:lnTo>
                <a:lnTo>
                  <a:pt x="10523530" y="6391272"/>
                </a:lnTo>
                <a:close/>
                <a:moveTo>
                  <a:pt x="10293755" y="6391272"/>
                </a:moveTo>
                <a:cubicBezTo>
                  <a:pt x="10241355" y="6391272"/>
                  <a:pt x="10217142" y="6411938"/>
                  <a:pt x="10217142" y="6457027"/>
                </a:cubicBezTo>
                <a:cubicBezTo>
                  <a:pt x="10217142" y="6479947"/>
                  <a:pt x="10225454" y="6496479"/>
                  <a:pt x="10242077" y="6507000"/>
                </a:cubicBezTo>
                <a:cubicBezTo>
                  <a:pt x="10257978" y="6516769"/>
                  <a:pt x="10273156" y="6518272"/>
                  <a:pt x="10293032" y="6518272"/>
                </a:cubicBezTo>
                <a:lnTo>
                  <a:pt x="10350492" y="6518272"/>
                </a:lnTo>
                <a:lnTo>
                  <a:pt x="10350492" y="6496104"/>
                </a:lnTo>
                <a:lnTo>
                  <a:pt x="10294478" y="6496104"/>
                </a:lnTo>
                <a:cubicBezTo>
                  <a:pt x="10267374" y="6496104"/>
                  <a:pt x="10255810" y="6487837"/>
                  <a:pt x="10255810" y="6464917"/>
                </a:cubicBezTo>
                <a:lnTo>
                  <a:pt x="10350492" y="6464917"/>
                </a:lnTo>
                <a:lnTo>
                  <a:pt x="10350492" y="6442749"/>
                </a:lnTo>
                <a:lnTo>
                  <a:pt x="10255810" y="6442749"/>
                </a:lnTo>
                <a:cubicBezTo>
                  <a:pt x="10257255" y="6422834"/>
                  <a:pt x="10269904" y="6413441"/>
                  <a:pt x="10294478" y="6413441"/>
                </a:cubicBezTo>
                <a:lnTo>
                  <a:pt x="10350492" y="6413441"/>
                </a:lnTo>
                <a:lnTo>
                  <a:pt x="10350492" y="6391272"/>
                </a:lnTo>
                <a:close/>
                <a:moveTo>
                  <a:pt x="10104126" y="6391272"/>
                </a:moveTo>
                <a:cubicBezTo>
                  <a:pt x="10065629" y="6391272"/>
                  <a:pt x="10047280" y="6402544"/>
                  <a:pt x="10047280" y="6429973"/>
                </a:cubicBezTo>
                <a:cubicBezTo>
                  <a:pt x="10047280" y="6455524"/>
                  <a:pt x="10064190" y="6466420"/>
                  <a:pt x="10101248" y="6466420"/>
                </a:cubicBezTo>
                <a:lnTo>
                  <a:pt x="10141184" y="6466420"/>
                </a:lnTo>
                <a:cubicBezTo>
                  <a:pt x="10157734" y="6466420"/>
                  <a:pt x="10165649" y="6469802"/>
                  <a:pt x="10165649" y="6481074"/>
                </a:cubicBezTo>
                <a:cubicBezTo>
                  <a:pt x="10165649" y="6491970"/>
                  <a:pt x="10157014" y="6495352"/>
                  <a:pt x="10139025" y="6495352"/>
                </a:cubicBezTo>
                <a:lnTo>
                  <a:pt x="10053756" y="6495352"/>
                </a:lnTo>
                <a:lnTo>
                  <a:pt x="10053756" y="6518272"/>
                </a:lnTo>
                <a:lnTo>
                  <a:pt x="10144422" y="6518272"/>
                </a:lnTo>
                <a:cubicBezTo>
                  <a:pt x="10182919" y="6518272"/>
                  <a:pt x="10201268" y="6507000"/>
                  <a:pt x="10201268" y="6480323"/>
                </a:cubicBezTo>
                <a:cubicBezTo>
                  <a:pt x="10201268" y="6453645"/>
                  <a:pt x="10185437" y="6444252"/>
                  <a:pt x="10149459" y="6444252"/>
                </a:cubicBezTo>
                <a:lnTo>
                  <a:pt x="10104486" y="6444252"/>
                </a:lnTo>
                <a:cubicBezTo>
                  <a:pt x="10090094" y="6444252"/>
                  <a:pt x="10082899" y="6439743"/>
                  <a:pt x="10082899" y="6430349"/>
                </a:cubicBezTo>
                <a:cubicBezTo>
                  <a:pt x="10082899" y="6418701"/>
                  <a:pt x="10091174" y="6413817"/>
                  <a:pt x="10109163" y="6413817"/>
                </a:cubicBezTo>
                <a:lnTo>
                  <a:pt x="10193353" y="6413817"/>
                </a:lnTo>
                <a:lnTo>
                  <a:pt x="10193353" y="6391272"/>
                </a:lnTo>
                <a:close/>
                <a:moveTo>
                  <a:pt x="11099976" y="6389684"/>
                </a:moveTo>
                <a:cubicBezTo>
                  <a:pt x="11050930" y="6391539"/>
                  <a:pt x="11026767" y="6412307"/>
                  <a:pt x="11026767" y="6453474"/>
                </a:cubicBezTo>
                <a:cubicBezTo>
                  <a:pt x="11026767" y="6498720"/>
                  <a:pt x="11052011" y="6519859"/>
                  <a:pt x="11107910" y="6519859"/>
                </a:cubicBezTo>
                <a:cubicBezTo>
                  <a:pt x="11163087" y="6519859"/>
                  <a:pt x="11188692" y="6498720"/>
                  <a:pt x="11188692" y="6454586"/>
                </a:cubicBezTo>
                <a:cubicBezTo>
                  <a:pt x="11188692" y="6412307"/>
                  <a:pt x="11165611" y="6391539"/>
                  <a:pt x="11115844" y="6389684"/>
                </a:cubicBezTo>
                <a:close/>
                <a:moveTo>
                  <a:pt x="0" y="0"/>
                </a:moveTo>
                <a:lnTo>
                  <a:pt x="12188817" y="0"/>
                </a:lnTo>
                <a:lnTo>
                  <a:pt x="12188817" y="3067874"/>
                </a:lnTo>
                <a:lnTo>
                  <a:pt x="12188817" y="3141660"/>
                </a:lnTo>
                <a:lnTo>
                  <a:pt x="12188817" y="6237284"/>
                </a:lnTo>
                <a:lnTo>
                  <a:pt x="12188817" y="6282150"/>
                </a:lnTo>
                <a:lnTo>
                  <a:pt x="12188817" y="6857997"/>
                </a:lnTo>
                <a:lnTo>
                  <a:pt x="0" y="6857997"/>
                </a:lnTo>
                <a:close/>
              </a:path>
            </a:pathLst>
          </a:custGeom>
          <a:noFill/>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p>
        </p:txBody>
      </p:sp>
      <p:sp>
        <p:nvSpPr>
          <p:cNvPr id="4" name="Textplatzhalter 3"/>
          <p:cNvSpPr>
            <a:spLocks noGrp="1"/>
          </p:cNvSpPr>
          <p:nvPr>
            <p:ph type="body" sz="quarter" idx="10" hasCustomPrompt="1"/>
          </p:nvPr>
        </p:nvSpPr>
        <p:spPr>
          <a:xfrm>
            <a:off x="6211925"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2" name="Foliennummernplatzhalter 1">
            <a:extLst>
              <a:ext uri="{FF2B5EF4-FFF2-40B4-BE49-F238E27FC236}">
                <a16:creationId xmlns:a16="http://schemas.microsoft.com/office/drawing/2014/main" id="{71406AED-DD5D-4B1A-A9D0-79DC92F588B0}"/>
              </a:ext>
            </a:extLst>
          </p:cNvPr>
          <p:cNvSpPr>
            <a:spLocks noGrp="1"/>
          </p:cNvSpPr>
          <p:nvPr>
            <p:ph type="sldNum" sz="quarter" idx="15"/>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1192263449"/>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13" name="Gruppieren 12">
            <a:extLst>
              <a:ext uri="{FF2B5EF4-FFF2-40B4-BE49-F238E27FC236}">
                <a16:creationId xmlns:a16="http://schemas.microsoft.com/office/drawing/2014/main" id="{906009DE-D329-49BF-8615-66D00944F9C7}"/>
              </a:ext>
            </a:extLst>
          </p:cNvPr>
          <p:cNvGrpSpPr/>
          <p:nvPr userDrawn="1"/>
        </p:nvGrpSpPr>
        <p:grpSpPr>
          <a:xfrm>
            <a:off x="731952" y="6335059"/>
            <a:ext cx="10728097" cy="288001"/>
            <a:chOff x="731952" y="6335059"/>
            <a:chExt cx="10728097" cy="288001"/>
          </a:xfrm>
        </p:grpSpPr>
        <p:sp>
          <p:nvSpPr>
            <p:cNvPr id="14" name="Rechteck 13">
              <a:extLst>
                <a:ext uri="{FF2B5EF4-FFF2-40B4-BE49-F238E27FC236}">
                  <a16:creationId xmlns:a16="http://schemas.microsoft.com/office/drawing/2014/main" id="{205F7CF4-E508-4A3F-B067-98D56CDC106E}"/>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a:extLst>
                <a:ext uri="{FF2B5EF4-FFF2-40B4-BE49-F238E27FC236}">
                  <a16:creationId xmlns:a16="http://schemas.microsoft.com/office/drawing/2014/main" id="{C07DCEA7-4DDC-41F8-8103-3A03B48957AD}"/>
                </a:ext>
              </a:extLst>
            </p:cNvPr>
            <p:cNvSpPr/>
            <p:nvPr userDrawn="1"/>
          </p:nvSpPr>
          <p:spPr>
            <a:xfrm>
              <a:off x="9959547" y="6345196"/>
              <a:ext cx="1500502" cy="277864"/>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Freihandform: Form 15">
            <a:extLst>
              <a:ext uri="{FF2B5EF4-FFF2-40B4-BE49-F238E27FC236}">
                <a16:creationId xmlns:a16="http://schemas.microsoft.com/office/drawing/2014/main" id="{7453F4FF-2834-4B03-8C6D-56CD163CBBEE}"/>
              </a:ext>
            </a:extLst>
          </p:cNvPr>
          <p:cNvSpPr>
            <a:spLocks noGrp="1"/>
          </p:cNvSpPr>
          <p:nvPr>
            <p:ph type="pic" sz="quarter" idx="14"/>
          </p:nvPr>
        </p:nvSpPr>
        <p:spPr>
          <a:xfrm>
            <a:off x="9" y="4"/>
            <a:ext cx="12188817" cy="6857997"/>
          </a:xfrm>
          <a:custGeom>
            <a:avLst/>
            <a:gdLst>
              <a:gd name="connsiteX0" fmla="*/ 2164817 w 12188817"/>
              <a:gd name="connsiteY0" fmla="*/ 6506714 h 6857997"/>
              <a:gd name="connsiteX1" fmla="*/ 2164817 w 12188817"/>
              <a:gd name="connsiteY1" fmla="*/ 6521015 h 6857997"/>
              <a:gd name="connsiteX2" fmla="*/ 2170608 w 12188817"/>
              <a:gd name="connsiteY2" fmla="*/ 6521015 h 6857997"/>
              <a:gd name="connsiteX3" fmla="*/ 2168864 w 12188817"/>
              <a:gd name="connsiteY3" fmla="*/ 6530887 h 6857997"/>
              <a:gd name="connsiteX4" fmla="*/ 2164120 w 12188817"/>
              <a:gd name="connsiteY4" fmla="*/ 6535875 h 6857997"/>
              <a:gd name="connsiteX5" fmla="*/ 2166980 w 12188817"/>
              <a:gd name="connsiteY5" fmla="*/ 6541247 h 6857997"/>
              <a:gd name="connsiteX6" fmla="*/ 2174096 w 12188817"/>
              <a:gd name="connsiteY6" fmla="*/ 6534026 h 6857997"/>
              <a:gd name="connsiteX7" fmla="*/ 2176538 w 12188817"/>
              <a:gd name="connsiteY7" fmla="*/ 6521015 h 6857997"/>
              <a:gd name="connsiteX8" fmla="*/ 2176538 w 12188817"/>
              <a:gd name="connsiteY8" fmla="*/ 6506714 h 6857997"/>
              <a:gd name="connsiteX9" fmla="*/ 6291674 w 12188817"/>
              <a:gd name="connsiteY9" fmla="*/ 6483831 h 6857997"/>
              <a:gd name="connsiteX10" fmla="*/ 6291674 w 12188817"/>
              <a:gd name="connsiteY10" fmla="*/ 6488436 h 6857997"/>
              <a:gd name="connsiteX11" fmla="*/ 6289442 w 12188817"/>
              <a:gd name="connsiteY11" fmla="*/ 6502354 h 6857997"/>
              <a:gd name="connsiteX12" fmla="*/ 6282709 w 12188817"/>
              <a:gd name="connsiteY12" fmla="*/ 6509993 h 6857997"/>
              <a:gd name="connsiteX13" fmla="*/ 6272698 w 12188817"/>
              <a:gd name="connsiteY13" fmla="*/ 6512853 h 6857997"/>
              <a:gd name="connsiteX14" fmla="*/ 6263629 w 12188817"/>
              <a:gd name="connsiteY14" fmla="*/ 6509679 h 6857997"/>
              <a:gd name="connsiteX15" fmla="*/ 6260350 w 12188817"/>
              <a:gd name="connsiteY15" fmla="*/ 6501203 h 6857997"/>
              <a:gd name="connsiteX16" fmla="*/ 6261780 w 12188817"/>
              <a:gd name="connsiteY16" fmla="*/ 6495168 h 6857997"/>
              <a:gd name="connsiteX17" fmla="*/ 6265792 w 12188817"/>
              <a:gd name="connsiteY17" fmla="*/ 6491122 h 6857997"/>
              <a:gd name="connsiteX18" fmla="*/ 6274861 w 12188817"/>
              <a:gd name="connsiteY18" fmla="*/ 6488575 h 6857997"/>
              <a:gd name="connsiteX19" fmla="*/ 6291674 w 12188817"/>
              <a:gd name="connsiteY19" fmla="*/ 6483831 h 6857997"/>
              <a:gd name="connsiteX20" fmla="*/ 2657736 w 12188817"/>
              <a:gd name="connsiteY20" fmla="*/ 6483831 h 6857997"/>
              <a:gd name="connsiteX21" fmla="*/ 2657736 w 12188817"/>
              <a:gd name="connsiteY21" fmla="*/ 6488436 h 6857997"/>
              <a:gd name="connsiteX22" fmla="*/ 2655504 w 12188817"/>
              <a:gd name="connsiteY22" fmla="*/ 6502354 h 6857997"/>
              <a:gd name="connsiteX23" fmla="*/ 2648771 w 12188817"/>
              <a:gd name="connsiteY23" fmla="*/ 6509993 h 6857997"/>
              <a:gd name="connsiteX24" fmla="*/ 2638760 w 12188817"/>
              <a:gd name="connsiteY24" fmla="*/ 6512853 h 6857997"/>
              <a:gd name="connsiteX25" fmla="*/ 2629691 w 12188817"/>
              <a:gd name="connsiteY25" fmla="*/ 6509679 h 6857997"/>
              <a:gd name="connsiteX26" fmla="*/ 2626412 w 12188817"/>
              <a:gd name="connsiteY26" fmla="*/ 6501203 h 6857997"/>
              <a:gd name="connsiteX27" fmla="*/ 2627843 w 12188817"/>
              <a:gd name="connsiteY27" fmla="*/ 6495168 h 6857997"/>
              <a:gd name="connsiteX28" fmla="*/ 2631854 w 12188817"/>
              <a:gd name="connsiteY28" fmla="*/ 6491122 h 6857997"/>
              <a:gd name="connsiteX29" fmla="*/ 2640923 w 12188817"/>
              <a:gd name="connsiteY29" fmla="*/ 6488575 h 6857997"/>
              <a:gd name="connsiteX30" fmla="*/ 2657736 w 12188817"/>
              <a:gd name="connsiteY30" fmla="*/ 6483831 h 6857997"/>
              <a:gd name="connsiteX31" fmla="*/ 6087291 w 12188817"/>
              <a:gd name="connsiteY31" fmla="*/ 6455577 h 6857997"/>
              <a:gd name="connsiteX32" fmla="*/ 6099918 w 12188817"/>
              <a:gd name="connsiteY32" fmla="*/ 6462484 h 6857997"/>
              <a:gd name="connsiteX33" fmla="*/ 6104034 w 12188817"/>
              <a:gd name="connsiteY33" fmla="*/ 6476855 h 6857997"/>
              <a:gd name="connsiteX34" fmla="*/ 6070131 w 12188817"/>
              <a:gd name="connsiteY34" fmla="*/ 6476855 h 6857997"/>
              <a:gd name="connsiteX35" fmla="*/ 6075502 w 12188817"/>
              <a:gd name="connsiteY35" fmla="*/ 6461333 h 6857997"/>
              <a:gd name="connsiteX36" fmla="*/ 6087291 w 12188817"/>
              <a:gd name="connsiteY36" fmla="*/ 6455577 h 6857997"/>
              <a:gd name="connsiteX37" fmla="*/ 6018394 w 12188817"/>
              <a:gd name="connsiteY37" fmla="*/ 6455577 h 6857997"/>
              <a:gd name="connsiteX38" fmla="*/ 6030544 w 12188817"/>
              <a:gd name="connsiteY38" fmla="*/ 6462728 h 6857997"/>
              <a:gd name="connsiteX39" fmla="*/ 6035357 w 12188817"/>
              <a:gd name="connsiteY39" fmla="*/ 6485436 h 6857997"/>
              <a:gd name="connsiteX40" fmla="*/ 6030544 w 12188817"/>
              <a:gd name="connsiteY40" fmla="*/ 6505667 h 6857997"/>
              <a:gd name="connsiteX41" fmla="*/ 6019162 w 12188817"/>
              <a:gd name="connsiteY41" fmla="*/ 6512365 h 6857997"/>
              <a:gd name="connsiteX42" fmla="*/ 6007540 w 12188817"/>
              <a:gd name="connsiteY42" fmla="*/ 6505388 h 6857997"/>
              <a:gd name="connsiteX43" fmla="*/ 6002550 w 12188817"/>
              <a:gd name="connsiteY43" fmla="*/ 6484041 h 6857997"/>
              <a:gd name="connsiteX44" fmla="*/ 6007226 w 12188817"/>
              <a:gd name="connsiteY44" fmla="*/ 6462449 h 6857997"/>
              <a:gd name="connsiteX45" fmla="*/ 6018394 w 12188817"/>
              <a:gd name="connsiteY45" fmla="*/ 6455577 h 6857997"/>
              <a:gd name="connsiteX46" fmla="*/ 5829559 w 12188817"/>
              <a:gd name="connsiteY46" fmla="*/ 6455577 h 6857997"/>
              <a:gd name="connsiteX47" fmla="*/ 5842534 w 12188817"/>
              <a:gd name="connsiteY47" fmla="*/ 6462597 h 6857997"/>
              <a:gd name="connsiteX48" fmla="*/ 5847769 w 12188817"/>
              <a:gd name="connsiteY48" fmla="*/ 6483936 h 6857997"/>
              <a:gd name="connsiteX49" fmla="*/ 5842571 w 12188817"/>
              <a:gd name="connsiteY49" fmla="*/ 6505275 h 6857997"/>
              <a:gd name="connsiteX50" fmla="*/ 5830117 w 12188817"/>
              <a:gd name="connsiteY50" fmla="*/ 6512365 h 6857997"/>
              <a:gd name="connsiteX51" fmla="*/ 5817142 w 12188817"/>
              <a:gd name="connsiteY51" fmla="*/ 6505345 h 6857997"/>
              <a:gd name="connsiteX52" fmla="*/ 5811909 w 12188817"/>
              <a:gd name="connsiteY52" fmla="*/ 6483936 h 6857997"/>
              <a:gd name="connsiteX53" fmla="*/ 5817070 w 12188817"/>
              <a:gd name="connsiteY53" fmla="*/ 6462632 h 6857997"/>
              <a:gd name="connsiteX54" fmla="*/ 5829559 w 12188817"/>
              <a:gd name="connsiteY54" fmla="*/ 6455577 h 6857997"/>
              <a:gd name="connsiteX55" fmla="*/ 2774981 w 12188817"/>
              <a:gd name="connsiteY55" fmla="*/ 6455577 h 6857997"/>
              <a:gd name="connsiteX56" fmla="*/ 2787127 w 12188817"/>
              <a:gd name="connsiteY56" fmla="*/ 6462728 h 6857997"/>
              <a:gd name="connsiteX57" fmla="*/ 2791944 w 12188817"/>
              <a:gd name="connsiteY57" fmla="*/ 6485436 h 6857997"/>
              <a:gd name="connsiteX58" fmla="*/ 2787127 w 12188817"/>
              <a:gd name="connsiteY58" fmla="*/ 6505667 h 6857997"/>
              <a:gd name="connsiteX59" fmla="*/ 2775749 w 12188817"/>
              <a:gd name="connsiteY59" fmla="*/ 6512365 h 6857997"/>
              <a:gd name="connsiteX60" fmla="*/ 2764126 w 12188817"/>
              <a:gd name="connsiteY60" fmla="*/ 6505388 h 6857997"/>
              <a:gd name="connsiteX61" fmla="*/ 2759134 w 12188817"/>
              <a:gd name="connsiteY61" fmla="*/ 6484041 h 6857997"/>
              <a:gd name="connsiteX62" fmla="*/ 2763811 w 12188817"/>
              <a:gd name="connsiteY62" fmla="*/ 6462449 h 6857997"/>
              <a:gd name="connsiteX63" fmla="*/ 2774981 w 12188817"/>
              <a:gd name="connsiteY63" fmla="*/ 6455577 h 6857997"/>
              <a:gd name="connsiteX64" fmla="*/ 2510503 w 12188817"/>
              <a:gd name="connsiteY64" fmla="*/ 6455577 h 6857997"/>
              <a:gd name="connsiteX65" fmla="*/ 2523130 w 12188817"/>
              <a:gd name="connsiteY65" fmla="*/ 6462484 h 6857997"/>
              <a:gd name="connsiteX66" fmla="*/ 2527246 w 12188817"/>
              <a:gd name="connsiteY66" fmla="*/ 6476855 h 6857997"/>
              <a:gd name="connsiteX67" fmla="*/ 2493341 w 12188817"/>
              <a:gd name="connsiteY67" fmla="*/ 6476855 h 6857997"/>
              <a:gd name="connsiteX68" fmla="*/ 2498713 w 12188817"/>
              <a:gd name="connsiteY68" fmla="*/ 6461333 h 6857997"/>
              <a:gd name="connsiteX69" fmla="*/ 2510503 w 12188817"/>
              <a:gd name="connsiteY69" fmla="*/ 6455577 h 6857997"/>
              <a:gd name="connsiteX70" fmla="*/ 1871770 w 12188817"/>
              <a:gd name="connsiteY70" fmla="*/ 6455577 h 6857997"/>
              <a:gd name="connsiteX71" fmla="*/ 1884746 w 12188817"/>
              <a:gd name="connsiteY71" fmla="*/ 6462597 h 6857997"/>
              <a:gd name="connsiteX72" fmla="*/ 1889978 w 12188817"/>
              <a:gd name="connsiteY72" fmla="*/ 6483936 h 6857997"/>
              <a:gd name="connsiteX73" fmla="*/ 1884781 w 12188817"/>
              <a:gd name="connsiteY73" fmla="*/ 6505275 h 6857997"/>
              <a:gd name="connsiteX74" fmla="*/ 1872328 w 12188817"/>
              <a:gd name="connsiteY74" fmla="*/ 6512365 h 6857997"/>
              <a:gd name="connsiteX75" fmla="*/ 1859352 w 12188817"/>
              <a:gd name="connsiteY75" fmla="*/ 6505345 h 6857997"/>
              <a:gd name="connsiteX76" fmla="*/ 1854120 w 12188817"/>
              <a:gd name="connsiteY76" fmla="*/ 6483936 h 6857997"/>
              <a:gd name="connsiteX77" fmla="*/ 1859282 w 12188817"/>
              <a:gd name="connsiteY77" fmla="*/ 6462632 h 6857997"/>
              <a:gd name="connsiteX78" fmla="*/ 1871770 w 12188817"/>
              <a:gd name="connsiteY78" fmla="*/ 6455577 h 6857997"/>
              <a:gd name="connsiteX79" fmla="*/ 1586578 w 12188817"/>
              <a:gd name="connsiteY79" fmla="*/ 6455577 h 6857997"/>
              <a:gd name="connsiteX80" fmla="*/ 1599205 w 12188817"/>
              <a:gd name="connsiteY80" fmla="*/ 6462484 h 6857997"/>
              <a:gd name="connsiteX81" fmla="*/ 1603321 w 12188817"/>
              <a:gd name="connsiteY81" fmla="*/ 6476855 h 6857997"/>
              <a:gd name="connsiteX82" fmla="*/ 1569416 w 12188817"/>
              <a:gd name="connsiteY82" fmla="*/ 6476855 h 6857997"/>
              <a:gd name="connsiteX83" fmla="*/ 1574788 w 12188817"/>
              <a:gd name="connsiteY83" fmla="*/ 6461333 h 6857997"/>
              <a:gd name="connsiteX84" fmla="*/ 1586578 w 12188817"/>
              <a:gd name="connsiteY84" fmla="*/ 6455577 h 6857997"/>
              <a:gd name="connsiteX85" fmla="*/ 1317679 w 12188817"/>
              <a:gd name="connsiteY85" fmla="*/ 6455577 h 6857997"/>
              <a:gd name="connsiteX86" fmla="*/ 1329914 w 12188817"/>
              <a:gd name="connsiteY86" fmla="*/ 6462397 h 6857997"/>
              <a:gd name="connsiteX87" fmla="*/ 1334947 w 12188817"/>
              <a:gd name="connsiteY87" fmla="*/ 6483204 h 6857997"/>
              <a:gd name="connsiteX88" fmla="*/ 1330053 w 12188817"/>
              <a:gd name="connsiteY88" fmla="*/ 6504116 h 6857997"/>
              <a:gd name="connsiteX89" fmla="*/ 1318169 w 12188817"/>
              <a:gd name="connsiteY89" fmla="*/ 6510690 h 6857997"/>
              <a:gd name="connsiteX90" fmla="*/ 1306354 w 12188817"/>
              <a:gd name="connsiteY90" fmla="*/ 6503976 h 6857997"/>
              <a:gd name="connsiteX91" fmla="*/ 1301530 w 12188817"/>
              <a:gd name="connsiteY91" fmla="*/ 6482644 h 6857997"/>
              <a:gd name="connsiteX92" fmla="*/ 1306389 w 12188817"/>
              <a:gd name="connsiteY92" fmla="*/ 6462397 h 6857997"/>
              <a:gd name="connsiteX93" fmla="*/ 1317679 w 12188817"/>
              <a:gd name="connsiteY93" fmla="*/ 6455577 h 6857997"/>
              <a:gd name="connsiteX94" fmla="*/ 1071670 w 12188817"/>
              <a:gd name="connsiteY94" fmla="*/ 6455577 h 6857997"/>
              <a:gd name="connsiteX95" fmla="*/ 1084646 w 12188817"/>
              <a:gd name="connsiteY95" fmla="*/ 6462597 h 6857997"/>
              <a:gd name="connsiteX96" fmla="*/ 1089878 w 12188817"/>
              <a:gd name="connsiteY96" fmla="*/ 6483936 h 6857997"/>
              <a:gd name="connsiteX97" fmla="*/ 1084681 w 12188817"/>
              <a:gd name="connsiteY97" fmla="*/ 6505275 h 6857997"/>
              <a:gd name="connsiteX98" fmla="*/ 1072228 w 12188817"/>
              <a:gd name="connsiteY98" fmla="*/ 6512365 h 6857997"/>
              <a:gd name="connsiteX99" fmla="*/ 1059252 w 12188817"/>
              <a:gd name="connsiteY99" fmla="*/ 6505345 h 6857997"/>
              <a:gd name="connsiteX100" fmla="*/ 1054020 w 12188817"/>
              <a:gd name="connsiteY100" fmla="*/ 6483936 h 6857997"/>
              <a:gd name="connsiteX101" fmla="*/ 1059182 w 12188817"/>
              <a:gd name="connsiteY101" fmla="*/ 6462632 h 6857997"/>
              <a:gd name="connsiteX102" fmla="*/ 1071670 w 12188817"/>
              <a:gd name="connsiteY102" fmla="*/ 6455577 h 6857997"/>
              <a:gd name="connsiteX103" fmla="*/ 1139782 w 12188817"/>
              <a:gd name="connsiteY103" fmla="*/ 6455089 h 6857997"/>
              <a:gd name="connsiteX104" fmla="*/ 1151472 w 12188817"/>
              <a:gd name="connsiteY104" fmla="*/ 6462065 h 6857997"/>
              <a:gd name="connsiteX105" fmla="*/ 1156274 w 12188817"/>
              <a:gd name="connsiteY105" fmla="*/ 6483552 h 6857997"/>
              <a:gd name="connsiteX106" fmla="*/ 1151334 w 12188817"/>
              <a:gd name="connsiteY106" fmla="*/ 6505319 h 6857997"/>
              <a:gd name="connsiteX107" fmla="*/ 1139852 w 12188817"/>
              <a:gd name="connsiteY107" fmla="*/ 6512365 h 6857997"/>
              <a:gd name="connsiteX108" fmla="*/ 1128229 w 12188817"/>
              <a:gd name="connsiteY108" fmla="*/ 6505563 h 6857997"/>
              <a:gd name="connsiteX109" fmla="*/ 1123428 w 12188817"/>
              <a:gd name="connsiteY109" fmla="*/ 6484390 h 6857997"/>
              <a:gd name="connsiteX110" fmla="*/ 1128508 w 12188817"/>
              <a:gd name="connsiteY110" fmla="*/ 6462589 h 6857997"/>
              <a:gd name="connsiteX111" fmla="*/ 1139782 w 12188817"/>
              <a:gd name="connsiteY111" fmla="*/ 6455089 h 6857997"/>
              <a:gd name="connsiteX112" fmla="*/ 6224380 w 12188817"/>
              <a:gd name="connsiteY112" fmla="*/ 6446927 h 6857997"/>
              <a:gd name="connsiteX113" fmla="*/ 6224380 w 12188817"/>
              <a:gd name="connsiteY113" fmla="*/ 6521015 h 6857997"/>
              <a:gd name="connsiteX114" fmla="*/ 6234636 w 12188817"/>
              <a:gd name="connsiteY114" fmla="*/ 6521015 h 6857997"/>
              <a:gd name="connsiteX115" fmla="*/ 6234636 w 12188817"/>
              <a:gd name="connsiteY115" fmla="*/ 6446927 h 6857997"/>
              <a:gd name="connsiteX116" fmla="*/ 5967205 w 12188817"/>
              <a:gd name="connsiteY116" fmla="*/ 6446927 h 6857997"/>
              <a:gd name="connsiteX117" fmla="*/ 5967205 w 12188817"/>
              <a:gd name="connsiteY117" fmla="*/ 6521015 h 6857997"/>
              <a:gd name="connsiteX118" fmla="*/ 5977462 w 12188817"/>
              <a:gd name="connsiteY118" fmla="*/ 6521015 h 6857997"/>
              <a:gd name="connsiteX119" fmla="*/ 5977462 w 12188817"/>
              <a:gd name="connsiteY119" fmla="*/ 6446927 h 6857997"/>
              <a:gd name="connsiteX120" fmla="*/ 2380892 w 12188817"/>
              <a:gd name="connsiteY120" fmla="*/ 6446927 h 6857997"/>
              <a:gd name="connsiteX121" fmla="*/ 2380892 w 12188817"/>
              <a:gd name="connsiteY121" fmla="*/ 6521015 h 6857997"/>
              <a:gd name="connsiteX122" fmla="*/ 2391148 w 12188817"/>
              <a:gd name="connsiteY122" fmla="*/ 6521015 h 6857997"/>
              <a:gd name="connsiteX123" fmla="*/ 2391148 w 12188817"/>
              <a:gd name="connsiteY123" fmla="*/ 6446927 h 6857997"/>
              <a:gd name="connsiteX124" fmla="*/ 2287703 w 12188817"/>
              <a:gd name="connsiteY124" fmla="*/ 6446927 h 6857997"/>
              <a:gd name="connsiteX125" fmla="*/ 2306367 w 12188817"/>
              <a:gd name="connsiteY125" fmla="*/ 6521015 h 6857997"/>
              <a:gd name="connsiteX126" fmla="*/ 2317108 w 12188817"/>
              <a:gd name="connsiteY126" fmla="*/ 6521015 h 6857997"/>
              <a:gd name="connsiteX127" fmla="*/ 2329386 w 12188817"/>
              <a:gd name="connsiteY127" fmla="*/ 6464019 h 6857997"/>
              <a:gd name="connsiteX128" fmla="*/ 2331689 w 12188817"/>
              <a:gd name="connsiteY128" fmla="*/ 6476646 h 6857997"/>
              <a:gd name="connsiteX129" fmla="*/ 2341385 w 12188817"/>
              <a:gd name="connsiteY129" fmla="*/ 6521015 h 6857997"/>
              <a:gd name="connsiteX130" fmla="*/ 2352104 w 12188817"/>
              <a:gd name="connsiteY130" fmla="*/ 6521015 h 6857997"/>
              <a:gd name="connsiteX131" fmla="*/ 2371070 w 12188817"/>
              <a:gd name="connsiteY131" fmla="*/ 6446927 h 6857997"/>
              <a:gd name="connsiteX132" fmla="*/ 2361025 w 12188817"/>
              <a:gd name="connsiteY132" fmla="*/ 6446927 h 6857997"/>
              <a:gd name="connsiteX133" fmla="*/ 2350655 w 12188817"/>
              <a:gd name="connsiteY133" fmla="*/ 6489761 h 6857997"/>
              <a:gd name="connsiteX134" fmla="*/ 2347176 w 12188817"/>
              <a:gd name="connsiteY134" fmla="*/ 6504063 h 6857997"/>
              <a:gd name="connsiteX135" fmla="*/ 2344116 w 12188817"/>
              <a:gd name="connsiteY135" fmla="*/ 6489901 h 6857997"/>
              <a:gd name="connsiteX136" fmla="*/ 2335078 w 12188817"/>
              <a:gd name="connsiteY136" fmla="*/ 6446927 h 6857997"/>
              <a:gd name="connsiteX137" fmla="*/ 2324448 w 12188817"/>
              <a:gd name="connsiteY137" fmla="*/ 6446927 h 6857997"/>
              <a:gd name="connsiteX138" fmla="*/ 2314810 w 12188817"/>
              <a:gd name="connsiteY138" fmla="*/ 6490319 h 6857997"/>
              <a:gd name="connsiteX139" fmla="*/ 2311597 w 12188817"/>
              <a:gd name="connsiteY139" fmla="*/ 6505598 h 6857997"/>
              <a:gd name="connsiteX140" fmla="*/ 2308021 w 12188817"/>
              <a:gd name="connsiteY140" fmla="*/ 6489692 h 6857997"/>
              <a:gd name="connsiteX141" fmla="*/ 2298346 w 12188817"/>
              <a:gd name="connsiteY141" fmla="*/ 6446927 h 6857997"/>
              <a:gd name="connsiteX142" fmla="*/ 1818918 w 12188817"/>
              <a:gd name="connsiteY142" fmla="*/ 6446927 h 6857997"/>
              <a:gd name="connsiteX143" fmla="*/ 1818918 w 12188817"/>
              <a:gd name="connsiteY143" fmla="*/ 6521015 h 6857997"/>
              <a:gd name="connsiteX144" fmla="*/ 1829173 w 12188817"/>
              <a:gd name="connsiteY144" fmla="*/ 6521015 h 6857997"/>
              <a:gd name="connsiteX145" fmla="*/ 1829173 w 12188817"/>
              <a:gd name="connsiteY145" fmla="*/ 6446927 h 6857997"/>
              <a:gd name="connsiteX146" fmla="*/ 1752242 w 12188817"/>
              <a:gd name="connsiteY146" fmla="*/ 6446927 h 6857997"/>
              <a:gd name="connsiteX147" fmla="*/ 1752242 w 12188817"/>
              <a:gd name="connsiteY147" fmla="*/ 6521015 h 6857997"/>
              <a:gd name="connsiteX148" fmla="*/ 1762498 w 12188817"/>
              <a:gd name="connsiteY148" fmla="*/ 6521015 h 6857997"/>
              <a:gd name="connsiteX149" fmla="*/ 1762498 w 12188817"/>
              <a:gd name="connsiteY149" fmla="*/ 6446927 h 6857997"/>
              <a:gd name="connsiteX150" fmla="*/ 1266468 w 12188817"/>
              <a:gd name="connsiteY150" fmla="*/ 6446927 h 6857997"/>
              <a:gd name="connsiteX151" fmla="*/ 1266468 w 12188817"/>
              <a:gd name="connsiteY151" fmla="*/ 6521015 h 6857997"/>
              <a:gd name="connsiteX152" fmla="*/ 1276723 w 12188817"/>
              <a:gd name="connsiteY152" fmla="*/ 6521015 h 6857997"/>
              <a:gd name="connsiteX153" fmla="*/ 1276723 w 12188817"/>
              <a:gd name="connsiteY153" fmla="*/ 6446927 h 6857997"/>
              <a:gd name="connsiteX154" fmla="*/ 6278768 w 12188817"/>
              <a:gd name="connsiteY154" fmla="*/ 6445252 h 6857997"/>
              <a:gd name="connsiteX155" fmla="*/ 6259897 w 12188817"/>
              <a:gd name="connsiteY155" fmla="*/ 6450694 h 6857997"/>
              <a:gd name="connsiteX156" fmla="*/ 6251142 w 12188817"/>
              <a:gd name="connsiteY156" fmla="*/ 6468065 h 6857997"/>
              <a:gd name="connsiteX157" fmla="*/ 6261257 w 12188817"/>
              <a:gd name="connsiteY157" fmla="*/ 6469739 h 6857997"/>
              <a:gd name="connsiteX158" fmla="*/ 6266489 w 12188817"/>
              <a:gd name="connsiteY158" fmla="*/ 6458557 h 6857997"/>
              <a:gd name="connsiteX159" fmla="*/ 6277233 w 12188817"/>
              <a:gd name="connsiteY159" fmla="*/ 6455577 h 6857997"/>
              <a:gd name="connsiteX160" fmla="*/ 6289023 w 12188817"/>
              <a:gd name="connsiteY160" fmla="*/ 6460042 h 6857997"/>
              <a:gd name="connsiteX161" fmla="*/ 6291744 w 12188817"/>
              <a:gd name="connsiteY161" fmla="*/ 6470716 h 6857997"/>
              <a:gd name="connsiteX162" fmla="*/ 6291674 w 12188817"/>
              <a:gd name="connsiteY162" fmla="*/ 6473925 h 6857997"/>
              <a:gd name="connsiteX163" fmla="*/ 6273256 w 12188817"/>
              <a:gd name="connsiteY163" fmla="*/ 6478320 h 6857997"/>
              <a:gd name="connsiteX164" fmla="*/ 6259304 w 12188817"/>
              <a:gd name="connsiteY164" fmla="*/ 6482436 h 6857997"/>
              <a:gd name="connsiteX165" fmla="*/ 6252048 w 12188817"/>
              <a:gd name="connsiteY165" fmla="*/ 6490180 h 6857997"/>
              <a:gd name="connsiteX166" fmla="*/ 6249397 w 12188817"/>
              <a:gd name="connsiteY166" fmla="*/ 6501551 h 6857997"/>
              <a:gd name="connsiteX167" fmla="*/ 6255048 w 12188817"/>
              <a:gd name="connsiteY167" fmla="*/ 6516969 h 6857997"/>
              <a:gd name="connsiteX168" fmla="*/ 6270187 w 12188817"/>
              <a:gd name="connsiteY168" fmla="*/ 6522690 h 6857997"/>
              <a:gd name="connsiteX169" fmla="*/ 6281768 w 12188817"/>
              <a:gd name="connsiteY169" fmla="*/ 6519968 h 6857997"/>
              <a:gd name="connsiteX170" fmla="*/ 6292511 w 12188817"/>
              <a:gd name="connsiteY170" fmla="*/ 6511875 h 6857997"/>
              <a:gd name="connsiteX171" fmla="*/ 6294604 w 12188817"/>
              <a:gd name="connsiteY171" fmla="*/ 6521015 h 6857997"/>
              <a:gd name="connsiteX172" fmla="*/ 6305348 w 12188817"/>
              <a:gd name="connsiteY172" fmla="*/ 6521015 h 6857997"/>
              <a:gd name="connsiteX173" fmla="*/ 6302731 w 12188817"/>
              <a:gd name="connsiteY173" fmla="*/ 6512120 h 6857997"/>
              <a:gd name="connsiteX174" fmla="*/ 6302069 w 12188817"/>
              <a:gd name="connsiteY174" fmla="*/ 6489971 h 6857997"/>
              <a:gd name="connsiteX175" fmla="*/ 6302069 w 12188817"/>
              <a:gd name="connsiteY175" fmla="*/ 6473227 h 6857997"/>
              <a:gd name="connsiteX176" fmla="*/ 6300639 w 12188817"/>
              <a:gd name="connsiteY176" fmla="*/ 6457740 h 6857997"/>
              <a:gd name="connsiteX177" fmla="*/ 6293767 w 12188817"/>
              <a:gd name="connsiteY177" fmla="*/ 6448845 h 6857997"/>
              <a:gd name="connsiteX178" fmla="*/ 6278768 w 12188817"/>
              <a:gd name="connsiteY178" fmla="*/ 6445252 h 6857997"/>
              <a:gd name="connsiteX179" fmla="*/ 6157700 w 12188817"/>
              <a:gd name="connsiteY179" fmla="*/ 6445252 h 6857997"/>
              <a:gd name="connsiteX180" fmla="*/ 6146592 w 12188817"/>
              <a:gd name="connsiteY180" fmla="*/ 6448270 h 6857997"/>
              <a:gd name="connsiteX181" fmla="*/ 6138409 w 12188817"/>
              <a:gd name="connsiteY181" fmla="*/ 6457392 h 6857997"/>
              <a:gd name="connsiteX182" fmla="*/ 6138409 w 12188817"/>
              <a:gd name="connsiteY182" fmla="*/ 6446927 h 6857997"/>
              <a:gd name="connsiteX183" fmla="*/ 6129130 w 12188817"/>
              <a:gd name="connsiteY183" fmla="*/ 6446927 h 6857997"/>
              <a:gd name="connsiteX184" fmla="*/ 6129130 w 12188817"/>
              <a:gd name="connsiteY184" fmla="*/ 6521015 h 6857997"/>
              <a:gd name="connsiteX185" fmla="*/ 6139386 w 12188817"/>
              <a:gd name="connsiteY185" fmla="*/ 6521015 h 6857997"/>
              <a:gd name="connsiteX186" fmla="*/ 6139386 w 12188817"/>
              <a:gd name="connsiteY186" fmla="*/ 6480509 h 6857997"/>
              <a:gd name="connsiteX187" fmla="*/ 6143781 w 12188817"/>
              <a:gd name="connsiteY187" fmla="*/ 6461583 h 6857997"/>
              <a:gd name="connsiteX188" fmla="*/ 6155571 w 12188817"/>
              <a:gd name="connsiteY188" fmla="*/ 6456066 h 6857997"/>
              <a:gd name="connsiteX189" fmla="*/ 6162442 w 12188817"/>
              <a:gd name="connsiteY189" fmla="*/ 6458126 h 6857997"/>
              <a:gd name="connsiteX190" fmla="*/ 6166803 w 12188817"/>
              <a:gd name="connsiteY190" fmla="*/ 6463957 h 6857997"/>
              <a:gd name="connsiteX191" fmla="*/ 6168198 w 12188817"/>
              <a:gd name="connsiteY191" fmla="*/ 6475900 h 6857997"/>
              <a:gd name="connsiteX192" fmla="*/ 6168198 w 12188817"/>
              <a:gd name="connsiteY192" fmla="*/ 6521015 h 6857997"/>
              <a:gd name="connsiteX193" fmla="*/ 6178453 w 12188817"/>
              <a:gd name="connsiteY193" fmla="*/ 6521015 h 6857997"/>
              <a:gd name="connsiteX194" fmla="*/ 6178453 w 12188817"/>
              <a:gd name="connsiteY194" fmla="*/ 6475460 h 6857997"/>
              <a:gd name="connsiteX195" fmla="*/ 6177199 w 12188817"/>
              <a:gd name="connsiteY195" fmla="*/ 6460252 h 6857997"/>
              <a:gd name="connsiteX196" fmla="*/ 6173404 w 12188817"/>
              <a:gd name="connsiteY196" fmla="*/ 6452194 h 6857997"/>
              <a:gd name="connsiteX197" fmla="*/ 6166718 w 12188817"/>
              <a:gd name="connsiteY197" fmla="*/ 6447171 h 6857997"/>
              <a:gd name="connsiteX198" fmla="*/ 6157700 w 12188817"/>
              <a:gd name="connsiteY198" fmla="*/ 6445252 h 6857997"/>
              <a:gd name="connsiteX199" fmla="*/ 6087364 w 12188817"/>
              <a:gd name="connsiteY199" fmla="*/ 6445252 h 6857997"/>
              <a:gd name="connsiteX200" fmla="*/ 6066956 w 12188817"/>
              <a:gd name="connsiteY200" fmla="*/ 6455333 h 6857997"/>
              <a:gd name="connsiteX201" fmla="*/ 6058897 w 12188817"/>
              <a:gd name="connsiteY201" fmla="*/ 6484599 h 6857997"/>
              <a:gd name="connsiteX202" fmla="*/ 6066885 w 12188817"/>
              <a:gd name="connsiteY202" fmla="*/ 6512888 h 6857997"/>
              <a:gd name="connsiteX203" fmla="*/ 6087781 w 12188817"/>
              <a:gd name="connsiteY203" fmla="*/ 6522690 h 6857997"/>
              <a:gd name="connsiteX204" fmla="*/ 6104976 w 12188817"/>
              <a:gd name="connsiteY204" fmla="*/ 6516655 h 6857997"/>
              <a:gd name="connsiteX205" fmla="*/ 6114569 w 12188817"/>
              <a:gd name="connsiteY205" fmla="*/ 6498761 h 6857997"/>
              <a:gd name="connsiteX206" fmla="*/ 6103965 w 12188817"/>
              <a:gd name="connsiteY206" fmla="*/ 6497156 h 6857997"/>
              <a:gd name="connsiteX207" fmla="*/ 6087849 w 12188817"/>
              <a:gd name="connsiteY207" fmla="*/ 6512365 h 6857997"/>
              <a:gd name="connsiteX208" fmla="*/ 6075292 w 12188817"/>
              <a:gd name="connsiteY208" fmla="*/ 6506016 h 6857997"/>
              <a:gd name="connsiteX209" fmla="*/ 6069506 w 12188817"/>
              <a:gd name="connsiteY209" fmla="*/ 6487180 h 6857997"/>
              <a:gd name="connsiteX210" fmla="*/ 6114848 w 12188817"/>
              <a:gd name="connsiteY210" fmla="*/ 6487180 h 6857997"/>
              <a:gd name="connsiteX211" fmla="*/ 6114917 w 12188817"/>
              <a:gd name="connsiteY211" fmla="*/ 6483831 h 6857997"/>
              <a:gd name="connsiteX212" fmla="*/ 6107034 w 12188817"/>
              <a:gd name="connsiteY212" fmla="*/ 6455159 h 6857997"/>
              <a:gd name="connsiteX213" fmla="*/ 6087364 w 12188817"/>
              <a:gd name="connsiteY213" fmla="*/ 6445252 h 6857997"/>
              <a:gd name="connsiteX214" fmla="*/ 5900526 w 12188817"/>
              <a:gd name="connsiteY214" fmla="*/ 6445252 h 6857997"/>
              <a:gd name="connsiteX215" fmla="*/ 5889417 w 12188817"/>
              <a:gd name="connsiteY215" fmla="*/ 6448270 h 6857997"/>
              <a:gd name="connsiteX216" fmla="*/ 5881236 w 12188817"/>
              <a:gd name="connsiteY216" fmla="*/ 6457392 h 6857997"/>
              <a:gd name="connsiteX217" fmla="*/ 5881236 w 12188817"/>
              <a:gd name="connsiteY217" fmla="*/ 6446927 h 6857997"/>
              <a:gd name="connsiteX218" fmla="*/ 5871957 w 12188817"/>
              <a:gd name="connsiteY218" fmla="*/ 6446927 h 6857997"/>
              <a:gd name="connsiteX219" fmla="*/ 5871957 w 12188817"/>
              <a:gd name="connsiteY219" fmla="*/ 6521015 h 6857997"/>
              <a:gd name="connsiteX220" fmla="*/ 5882211 w 12188817"/>
              <a:gd name="connsiteY220" fmla="*/ 6521015 h 6857997"/>
              <a:gd name="connsiteX221" fmla="*/ 5882211 w 12188817"/>
              <a:gd name="connsiteY221" fmla="*/ 6480509 h 6857997"/>
              <a:gd name="connsiteX222" fmla="*/ 5886608 w 12188817"/>
              <a:gd name="connsiteY222" fmla="*/ 6461583 h 6857997"/>
              <a:gd name="connsiteX223" fmla="*/ 5898396 w 12188817"/>
              <a:gd name="connsiteY223" fmla="*/ 6456066 h 6857997"/>
              <a:gd name="connsiteX224" fmla="*/ 5905268 w 12188817"/>
              <a:gd name="connsiteY224" fmla="*/ 6458126 h 6857997"/>
              <a:gd name="connsiteX225" fmla="*/ 5909630 w 12188817"/>
              <a:gd name="connsiteY225" fmla="*/ 6463957 h 6857997"/>
              <a:gd name="connsiteX226" fmla="*/ 5911024 w 12188817"/>
              <a:gd name="connsiteY226" fmla="*/ 6475900 h 6857997"/>
              <a:gd name="connsiteX227" fmla="*/ 5911024 w 12188817"/>
              <a:gd name="connsiteY227" fmla="*/ 6521015 h 6857997"/>
              <a:gd name="connsiteX228" fmla="*/ 5921278 w 12188817"/>
              <a:gd name="connsiteY228" fmla="*/ 6521015 h 6857997"/>
              <a:gd name="connsiteX229" fmla="*/ 5921278 w 12188817"/>
              <a:gd name="connsiteY229" fmla="*/ 6475460 h 6857997"/>
              <a:gd name="connsiteX230" fmla="*/ 5920026 w 12188817"/>
              <a:gd name="connsiteY230" fmla="*/ 6460252 h 6857997"/>
              <a:gd name="connsiteX231" fmla="*/ 5916230 w 12188817"/>
              <a:gd name="connsiteY231" fmla="*/ 6452194 h 6857997"/>
              <a:gd name="connsiteX232" fmla="*/ 5909545 w 12188817"/>
              <a:gd name="connsiteY232" fmla="*/ 6447171 h 6857997"/>
              <a:gd name="connsiteX233" fmla="*/ 5900526 w 12188817"/>
              <a:gd name="connsiteY233" fmla="*/ 6445252 h 6857997"/>
              <a:gd name="connsiteX234" fmla="*/ 5829838 w 12188817"/>
              <a:gd name="connsiteY234" fmla="*/ 6445252 h 6857997"/>
              <a:gd name="connsiteX235" fmla="*/ 5809433 w 12188817"/>
              <a:gd name="connsiteY235" fmla="*/ 6455019 h 6857997"/>
              <a:gd name="connsiteX236" fmla="*/ 5801376 w 12188817"/>
              <a:gd name="connsiteY236" fmla="*/ 6483971 h 6857997"/>
              <a:gd name="connsiteX237" fmla="*/ 5809502 w 12188817"/>
              <a:gd name="connsiteY237" fmla="*/ 6512888 h 6857997"/>
              <a:gd name="connsiteX238" fmla="*/ 5829838 w 12188817"/>
              <a:gd name="connsiteY238" fmla="*/ 6522690 h 6857997"/>
              <a:gd name="connsiteX239" fmla="*/ 5850280 w 12188817"/>
              <a:gd name="connsiteY239" fmla="*/ 6512923 h 6857997"/>
              <a:gd name="connsiteX240" fmla="*/ 5858301 w 12188817"/>
              <a:gd name="connsiteY240" fmla="*/ 6483204 h 6857997"/>
              <a:gd name="connsiteX241" fmla="*/ 5850139 w 12188817"/>
              <a:gd name="connsiteY241" fmla="*/ 6455019 h 6857997"/>
              <a:gd name="connsiteX242" fmla="*/ 5829838 w 12188817"/>
              <a:gd name="connsiteY242" fmla="*/ 6445252 h 6857997"/>
              <a:gd name="connsiteX243" fmla="*/ 2714262 w 12188817"/>
              <a:gd name="connsiteY243" fmla="*/ 6445252 h 6857997"/>
              <a:gd name="connsiteX244" fmla="*/ 2703154 w 12188817"/>
              <a:gd name="connsiteY244" fmla="*/ 6448270 h 6857997"/>
              <a:gd name="connsiteX245" fmla="*/ 2694971 w 12188817"/>
              <a:gd name="connsiteY245" fmla="*/ 6457392 h 6857997"/>
              <a:gd name="connsiteX246" fmla="*/ 2694971 w 12188817"/>
              <a:gd name="connsiteY246" fmla="*/ 6446927 h 6857997"/>
              <a:gd name="connsiteX247" fmla="*/ 2685692 w 12188817"/>
              <a:gd name="connsiteY247" fmla="*/ 6446927 h 6857997"/>
              <a:gd name="connsiteX248" fmla="*/ 2685692 w 12188817"/>
              <a:gd name="connsiteY248" fmla="*/ 6521015 h 6857997"/>
              <a:gd name="connsiteX249" fmla="*/ 2695948 w 12188817"/>
              <a:gd name="connsiteY249" fmla="*/ 6521015 h 6857997"/>
              <a:gd name="connsiteX250" fmla="*/ 2695948 w 12188817"/>
              <a:gd name="connsiteY250" fmla="*/ 6480509 h 6857997"/>
              <a:gd name="connsiteX251" fmla="*/ 2700343 w 12188817"/>
              <a:gd name="connsiteY251" fmla="*/ 6461583 h 6857997"/>
              <a:gd name="connsiteX252" fmla="*/ 2712133 w 12188817"/>
              <a:gd name="connsiteY252" fmla="*/ 6456066 h 6857997"/>
              <a:gd name="connsiteX253" fmla="*/ 2719004 w 12188817"/>
              <a:gd name="connsiteY253" fmla="*/ 6458126 h 6857997"/>
              <a:gd name="connsiteX254" fmla="*/ 2723365 w 12188817"/>
              <a:gd name="connsiteY254" fmla="*/ 6463957 h 6857997"/>
              <a:gd name="connsiteX255" fmla="*/ 2724760 w 12188817"/>
              <a:gd name="connsiteY255" fmla="*/ 6475900 h 6857997"/>
              <a:gd name="connsiteX256" fmla="*/ 2724760 w 12188817"/>
              <a:gd name="connsiteY256" fmla="*/ 6521015 h 6857997"/>
              <a:gd name="connsiteX257" fmla="*/ 2735015 w 12188817"/>
              <a:gd name="connsiteY257" fmla="*/ 6521015 h 6857997"/>
              <a:gd name="connsiteX258" fmla="*/ 2735015 w 12188817"/>
              <a:gd name="connsiteY258" fmla="*/ 6475460 h 6857997"/>
              <a:gd name="connsiteX259" fmla="*/ 2733761 w 12188817"/>
              <a:gd name="connsiteY259" fmla="*/ 6460252 h 6857997"/>
              <a:gd name="connsiteX260" fmla="*/ 2729966 w 12188817"/>
              <a:gd name="connsiteY260" fmla="*/ 6452194 h 6857997"/>
              <a:gd name="connsiteX261" fmla="*/ 2723280 w 12188817"/>
              <a:gd name="connsiteY261" fmla="*/ 6447171 h 6857997"/>
              <a:gd name="connsiteX262" fmla="*/ 2714262 w 12188817"/>
              <a:gd name="connsiteY262" fmla="*/ 6445252 h 6857997"/>
              <a:gd name="connsiteX263" fmla="*/ 2644830 w 12188817"/>
              <a:gd name="connsiteY263" fmla="*/ 6445252 h 6857997"/>
              <a:gd name="connsiteX264" fmla="*/ 2625959 w 12188817"/>
              <a:gd name="connsiteY264" fmla="*/ 6450694 h 6857997"/>
              <a:gd name="connsiteX265" fmla="*/ 2617204 w 12188817"/>
              <a:gd name="connsiteY265" fmla="*/ 6468065 h 6857997"/>
              <a:gd name="connsiteX266" fmla="*/ 2627319 w 12188817"/>
              <a:gd name="connsiteY266" fmla="*/ 6469739 h 6857997"/>
              <a:gd name="connsiteX267" fmla="*/ 2632552 w 12188817"/>
              <a:gd name="connsiteY267" fmla="*/ 6458557 h 6857997"/>
              <a:gd name="connsiteX268" fmla="*/ 2643295 w 12188817"/>
              <a:gd name="connsiteY268" fmla="*/ 6455577 h 6857997"/>
              <a:gd name="connsiteX269" fmla="*/ 2655085 w 12188817"/>
              <a:gd name="connsiteY269" fmla="*/ 6460042 h 6857997"/>
              <a:gd name="connsiteX270" fmla="*/ 2657806 w 12188817"/>
              <a:gd name="connsiteY270" fmla="*/ 6470716 h 6857997"/>
              <a:gd name="connsiteX271" fmla="*/ 2657736 w 12188817"/>
              <a:gd name="connsiteY271" fmla="*/ 6473925 h 6857997"/>
              <a:gd name="connsiteX272" fmla="*/ 2639319 w 12188817"/>
              <a:gd name="connsiteY272" fmla="*/ 6478320 h 6857997"/>
              <a:gd name="connsiteX273" fmla="*/ 2625366 w 12188817"/>
              <a:gd name="connsiteY273" fmla="*/ 6482436 h 6857997"/>
              <a:gd name="connsiteX274" fmla="*/ 2618110 w 12188817"/>
              <a:gd name="connsiteY274" fmla="*/ 6490180 h 6857997"/>
              <a:gd name="connsiteX275" fmla="*/ 2615460 w 12188817"/>
              <a:gd name="connsiteY275" fmla="*/ 6501551 h 6857997"/>
              <a:gd name="connsiteX276" fmla="*/ 2621110 w 12188817"/>
              <a:gd name="connsiteY276" fmla="*/ 6516969 h 6857997"/>
              <a:gd name="connsiteX277" fmla="*/ 2636249 w 12188817"/>
              <a:gd name="connsiteY277" fmla="*/ 6522690 h 6857997"/>
              <a:gd name="connsiteX278" fmla="*/ 2647830 w 12188817"/>
              <a:gd name="connsiteY278" fmla="*/ 6519968 h 6857997"/>
              <a:gd name="connsiteX279" fmla="*/ 2658573 w 12188817"/>
              <a:gd name="connsiteY279" fmla="*/ 6511875 h 6857997"/>
              <a:gd name="connsiteX280" fmla="*/ 2660666 w 12188817"/>
              <a:gd name="connsiteY280" fmla="*/ 6521015 h 6857997"/>
              <a:gd name="connsiteX281" fmla="*/ 2671410 w 12188817"/>
              <a:gd name="connsiteY281" fmla="*/ 6521015 h 6857997"/>
              <a:gd name="connsiteX282" fmla="*/ 2668793 w 12188817"/>
              <a:gd name="connsiteY282" fmla="*/ 6512120 h 6857997"/>
              <a:gd name="connsiteX283" fmla="*/ 2668131 w 12188817"/>
              <a:gd name="connsiteY283" fmla="*/ 6489971 h 6857997"/>
              <a:gd name="connsiteX284" fmla="*/ 2668131 w 12188817"/>
              <a:gd name="connsiteY284" fmla="*/ 6473227 h 6857997"/>
              <a:gd name="connsiteX285" fmla="*/ 2666701 w 12188817"/>
              <a:gd name="connsiteY285" fmla="*/ 6457740 h 6857997"/>
              <a:gd name="connsiteX286" fmla="*/ 2659829 w 12188817"/>
              <a:gd name="connsiteY286" fmla="*/ 6448845 h 6857997"/>
              <a:gd name="connsiteX287" fmla="*/ 2644830 w 12188817"/>
              <a:gd name="connsiteY287" fmla="*/ 6445252 h 6857997"/>
              <a:gd name="connsiteX288" fmla="*/ 2574806 w 12188817"/>
              <a:gd name="connsiteY288" fmla="*/ 6445252 h 6857997"/>
              <a:gd name="connsiteX289" fmla="*/ 2568144 w 12188817"/>
              <a:gd name="connsiteY289" fmla="*/ 6447799 h 6857997"/>
              <a:gd name="connsiteX290" fmla="*/ 2561621 w 12188817"/>
              <a:gd name="connsiteY290" fmla="*/ 6458159 h 6857997"/>
              <a:gd name="connsiteX291" fmla="*/ 2561621 w 12188817"/>
              <a:gd name="connsiteY291" fmla="*/ 6446927 h 6857997"/>
              <a:gd name="connsiteX292" fmla="*/ 2552342 w 12188817"/>
              <a:gd name="connsiteY292" fmla="*/ 6446927 h 6857997"/>
              <a:gd name="connsiteX293" fmla="*/ 2552342 w 12188817"/>
              <a:gd name="connsiteY293" fmla="*/ 6521015 h 6857997"/>
              <a:gd name="connsiteX294" fmla="*/ 2562598 w 12188817"/>
              <a:gd name="connsiteY294" fmla="*/ 6521015 h 6857997"/>
              <a:gd name="connsiteX295" fmla="*/ 2562598 w 12188817"/>
              <a:gd name="connsiteY295" fmla="*/ 6482227 h 6857997"/>
              <a:gd name="connsiteX296" fmla="*/ 2564551 w 12188817"/>
              <a:gd name="connsiteY296" fmla="*/ 6466949 h 6857997"/>
              <a:gd name="connsiteX297" fmla="*/ 2568388 w 12188817"/>
              <a:gd name="connsiteY297" fmla="*/ 6460531 h 6857997"/>
              <a:gd name="connsiteX298" fmla="*/ 2574388 w 12188817"/>
              <a:gd name="connsiteY298" fmla="*/ 6458228 h 6857997"/>
              <a:gd name="connsiteX299" fmla="*/ 2581852 w 12188817"/>
              <a:gd name="connsiteY299" fmla="*/ 6460949 h 6857997"/>
              <a:gd name="connsiteX300" fmla="*/ 2585340 w 12188817"/>
              <a:gd name="connsiteY300" fmla="*/ 6449299 h 6857997"/>
              <a:gd name="connsiteX301" fmla="*/ 2574806 w 12188817"/>
              <a:gd name="connsiteY301" fmla="*/ 6445252 h 6857997"/>
              <a:gd name="connsiteX302" fmla="*/ 2510573 w 12188817"/>
              <a:gd name="connsiteY302" fmla="*/ 6445252 h 6857997"/>
              <a:gd name="connsiteX303" fmla="*/ 2490167 w 12188817"/>
              <a:gd name="connsiteY303" fmla="*/ 6455333 h 6857997"/>
              <a:gd name="connsiteX304" fmla="*/ 2482110 w 12188817"/>
              <a:gd name="connsiteY304" fmla="*/ 6484599 h 6857997"/>
              <a:gd name="connsiteX305" fmla="*/ 2490097 w 12188817"/>
              <a:gd name="connsiteY305" fmla="*/ 6512888 h 6857997"/>
              <a:gd name="connsiteX306" fmla="*/ 2510992 w 12188817"/>
              <a:gd name="connsiteY306" fmla="*/ 6522690 h 6857997"/>
              <a:gd name="connsiteX307" fmla="*/ 2528188 w 12188817"/>
              <a:gd name="connsiteY307" fmla="*/ 6516655 h 6857997"/>
              <a:gd name="connsiteX308" fmla="*/ 2537781 w 12188817"/>
              <a:gd name="connsiteY308" fmla="*/ 6498761 h 6857997"/>
              <a:gd name="connsiteX309" fmla="*/ 2527176 w 12188817"/>
              <a:gd name="connsiteY309" fmla="*/ 6497156 h 6857997"/>
              <a:gd name="connsiteX310" fmla="*/ 2511061 w 12188817"/>
              <a:gd name="connsiteY310" fmla="*/ 6512365 h 6857997"/>
              <a:gd name="connsiteX311" fmla="*/ 2498504 w 12188817"/>
              <a:gd name="connsiteY311" fmla="*/ 6506016 h 6857997"/>
              <a:gd name="connsiteX312" fmla="*/ 2492714 w 12188817"/>
              <a:gd name="connsiteY312" fmla="*/ 6487180 h 6857997"/>
              <a:gd name="connsiteX313" fmla="*/ 2538060 w 12188817"/>
              <a:gd name="connsiteY313" fmla="*/ 6487180 h 6857997"/>
              <a:gd name="connsiteX314" fmla="*/ 2538129 w 12188817"/>
              <a:gd name="connsiteY314" fmla="*/ 6483831 h 6857997"/>
              <a:gd name="connsiteX315" fmla="*/ 2530246 w 12188817"/>
              <a:gd name="connsiteY315" fmla="*/ 6455159 h 6857997"/>
              <a:gd name="connsiteX316" fmla="*/ 2510573 w 12188817"/>
              <a:gd name="connsiteY316" fmla="*/ 6445252 h 6857997"/>
              <a:gd name="connsiteX317" fmla="*/ 1942737 w 12188817"/>
              <a:gd name="connsiteY317" fmla="*/ 6445252 h 6857997"/>
              <a:gd name="connsiteX318" fmla="*/ 1931629 w 12188817"/>
              <a:gd name="connsiteY318" fmla="*/ 6448270 h 6857997"/>
              <a:gd name="connsiteX319" fmla="*/ 1923446 w 12188817"/>
              <a:gd name="connsiteY319" fmla="*/ 6457392 h 6857997"/>
              <a:gd name="connsiteX320" fmla="*/ 1923446 w 12188817"/>
              <a:gd name="connsiteY320" fmla="*/ 6446927 h 6857997"/>
              <a:gd name="connsiteX321" fmla="*/ 1914167 w 12188817"/>
              <a:gd name="connsiteY321" fmla="*/ 6446927 h 6857997"/>
              <a:gd name="connsiteX322" fmla="*/ 1914167 w 12188817"/>
              <a:gd name="connsiteY322" fmla="*/ 6521015 h 6857997"/>
              <a:gd name="connsiteX323" fmla="*/ 1924423 w 12188817"/>
              <a:gd name="connsiteY323" fmla="*/ 6521015 h 6857997"/>
              <a:gd name="connsiteX324" fmla="*/ 1924423 w 12188817"/>
              <a:gd name="connsiteY324" fmla="*/ 6480509 h 6857997"/>
              <a:gd name="connsiteX325" fmla="*/ 1928818 w 12188817"/>
              <a:gd name="connsiteY325" fmla="*/ 6461583 h 6857997"/>
              <a:gd name="connsiteX326" fmla="*/ 1940608 w 12188817"/>
              <a:gd name="connsiteY326" fmla="*/ 6456066 h 6857997"/>
              <a:gd name="connsiteX327" fmla="*/ 1947479 w 12188817"/>
              <a:gd name="connsiteY327" fmla="*/ 6458126 h 6857997"/>
              <a:gd name="connsiteX328" fmla="*/ 1951840 w 12188817"/>
              <a:gd name="connsiteY328" fmla="*/ 6463957 h 6857997"/>
              <a:gd name="connsiteX329" fmla="*/ 1953235 w 12188817"/>
              <a:gd name="connsiteY329" fmla="*/ 6475900 h 6857997"/>
              <a:gd name="connsiteX330" fmla="*/ 1953235 w 12188817"/>
              <a:gd name="connsiteY330" fmla="*/ 6521015 h 6857997"/>
              <a:gd name="connsiteX331" fmla="*/ 1963490 w 12188817"/>
              <a:gd name="connsiteY331" fmla="*/ 6521015 h 6857997"/>
              <a:gd name="connsiteX332" fmla="*/ 1963490 w 12188817"/>
              <a:gd name="connsiteY332" fmla="*/ 6475460 h 6857997"/>
              <a:gd name="connsiteX333" fmla="*/ 1962236 w 12188817"/>
              <a:gd name="connsiteY333" fmla="*/ 6460252 h 6857997"/>
              <a:gd name="connsiteX334" fmla="*/ 1958441 w 12188817"/>
              <a:gd name="connsiteY334" fmla="*/ 6452194 h 6857997"/>
              <a:gd name="connsiteX335" fmla="*/ 1951755 w 12188817"/>
              <a:gd name="connsiteY335" fmla="*/ 6447171 h 6857997"/>
              <a:gd name="connsiteX336" fmla="*/ 1942737 w 12188817"/>
              <a:gd name="connsiteY336" fmla="*/ 6445252 h 6857997"/>
              <a:gd name="connsiteX337" fmla="*/ 1872049 w 12188817"/>
              <a:gd name="connsiteY337" fmla="*/ 6445252 h 6857997"/>
              <a:gd name="connsiteX338" fmla="*/ 1851643 w 12188817"/>
              <a:gd name="connsiteY338" fmla="*/ 6455019 h 6857997"/>
              <a:gd name="connsiteX339" fmla="*/ 1843586 w 12188817"/>
              <a:gd name="connsiteY339" fmla="*/ 6483971 h 6857997"/>
              <a:gd name="connsiteX340" fmla="*/ 1851713 w 12188817"/>
              <a:gd name="connsiteY340" fmla="*/ 6512888 h 6857997"/>
              <a:gd name="connsiteX341" fmla="*/ 1872049 w 12188817"/>
              <a:gd name="connsiteY341" fmla="*/ 6522690 h 6857997"/>
              <a:gd name="connsiteX342" fmla="*/ 1892490 w 12188817"/>
              <a:gd name="connsiteY342" fmla="*/ 6512923 h 6857997"/>
              <a:gd name="connsiteX343" fmla="*/ 1900512 w 12188817"/>
              <a:gd name="connsiteY343" fmla="*/ 6483204 h 6857997"/>
              <a:gd name="connsiteX344" fmla="*/ 1892350 w 12188817"/>
              <a:gd name="connsiteY344" fmla="*/ 6455019 h 6857997"/>
              <a:gd name="connsiteX345" fmla="*/ 1872049 w 12188817"/>
              <a:gd name="connsiteY345" fmla="*/ 6445252 h 6857997"/>
              <a:gd name="connsiteX346" fmla="*/ 1803281 w 12188817"/>
              <a:gd name="connsiteY346" fmla="*/ 6445252 h 6857997"/>
              <a:gd name="connsiteX347" fmla="*/ 1796619 w 12188817"/>
              <a:gd name="connsiteY347" fmla="*/ 6447799 h 6857997"/>
              <a:gd name="connsiteX348" fmla="*/ 1790096 w 12188817"/>
              <a:gd name="connsiteY348" fmla="*/ 6458159 h 6857997"/>
              <a:gd name="connsiteX349" fmla="*/ 1790096 w 12188817"/>
              <a:gd name="connsiteY349" fmla="*/ 6446927 h 6857997"/>
              <a:gd name="connsiteX350" fmla="*/ 1780818 w 12188817"/>
              <a:gd name="connsiteY350" fmla="*/ 6446927 h 6857997"/>
              <a:gd name="connsiteX351" fmla="*/ 1780818 w 12188817"/>
              <a:gd name="connsiteY351" fmla="*/ 6521015 h 6857997"/>
              <a:gd name="connsiteX352" fmla="*/ 1791073 w 12188817"/>
              <a:gd name="connsiteY352" fmla="*/ 6521015 h 6857997"/>
              <a:gd name="connsiteX353" fmla="*/ 1791073 w 12188817"/>
              <a:gd name="connsiteY353" fmla="*/ 6482227 h 6857997"/>
              <a:gd name="connsiteX354" fmla="*/ 1793026 w 12188817"/>
              <a:gd name="connsiteY354" fmla="*/ 6466949 h 6857997"/>
              <a:gd name="connsiteX355" fmla="*/ 1796863 w 12188817"/>
              <a:gd name="connsiteY355" fmla="*/ 6460531 h 6857997"/>
              <a:gd name="connsiteX356" fmla="*/ 1802863 w 12188817"/>
              <a:gd name="connsiteY356" fmla="*/ 6458228 h 6857997"/>
              <a:gd name="connsiteX357" fmla="*/ 1810327 w 12188817"/>
              <a:gd name="connsiteY357" fmla="*/ 6460949 h 6857997"/>
              <a:gd name="connsiteX358" fmla="*/ 1813815 w 12188817"/>
              <a:gd name="connsiteY358" fmla="*/ 6449299 h 6857997"/>
              <a:gd name="connsiteX359" fmla="*/ 1803281 w 12188817"/>
              <a:gd name="connsiteY359" fmla="*/ 6445252 h 6857997"/>
              <a:gd name="connsiteX360" fmla="*/ 1715742 w 12188817"/>
              <a:gd name="connsiteY360" fmla="*/ 6445252 h 6857997"/>
              <a:gd name="connsiteX361" fmla="*/ 1698930 w 12188817"/>
              <a:gd name="connsiteY361" fmla="*/ 6451182 h 6857997"/>
              <a:gd name="connsiteX362" fmla="*/ 1692860 w 12188817"/>
              <a:gd name="connsiteY362" fmla="*/ 6466600 h 6857997"/>
              <a:gd name="connsiteX363" fmla="*/ 1695092 w 12188817"/>
              <a:gd name="connsiteY363" fmla="*/ 6476437 h 6857997"/>
              <a:gd name="connsiteX364" fmla="*/ 1701371 w 12188817"/>
              <a:gd name="connsiteY364" fmla="*/ 6483343 h 6857997"/>
              <a:gd name="connsiteX365" fmla="*/ 1717417 w 12188817"/>
              <a:gd name="connsiteY365" fmla="*/ 6489622 h 6857997"/>
              <a:gd name="connsiteX366" fmla="*/ 1727881 w 12188817"/>
              <a:gd name="connsiteY366" fmla="*/ 6493808 h 6857997"/>
              <a:gd name="connsiteX367" fmla="*/ 1731021 w 12188817"/>
              <a:gd name="connsiteY367" fmla="*/ 6500644 h 6857997"/>
              <a:gd name="connsiteX368" fmla="*/ 1727367 w 12188817"/>
              <a:gd name="connsiteY368" fmla="*/ 6509051 h 6857997"/>
              <a:gd name="connsiteX369" fmla="*/ 1717031 w 12188817"/>
              <a:gd name="connsiteY369" fmla="*/ 6512365 h 6857997"/>
              <a:gd name="connsiteX370" fmla="*/ 1706313 w 12188817"/>
              <a:gd name="connsiteY370" fmla="*/ 6508545 h 6857997"/>
              <a:gd name="connsiteX371" fmla="*/ 1701371 w 12188817"/>
              <a:gd name="connsiteY371" fmla="*/ 6496877 h 6857997"/>
              <a:gd name="connsiteX372" fmla="*/ 1691116 w 12188817"/>
              <a:gd name="connsiteY372" fmla="*/ 6498831 h 6857997"/>
              <a:gd name="connsiteX373" fmla="*/ 1716440 w 12188817"/>
              <a:gd name="connsiteY373" fmla="*/ 6522690 h 6857997"/>
              <a:gd name="connsiteX374" fmla="*/ 1734823 w 12188817"/>
              <a:gd name="connsiteY374" fmla="*/ 6516120 h 6857997"/>
              <a:gd name="connsiteX375" fmla="*/ 1741555 w 12188817"/>
              <a:gd name="connsiteY375" fmla="*/ 6498929 h 6857997"/>
              <a:gd name="connsiteX376" fmla="*/ 1739470 w 12188817"/>
              <a:gd name="connsiteY376" fmla="*/ 6489040 h 6857997"/>
              <a:gd name="connsiteX377" fmla="*/ 1733631 w 12188817"/>
              <a:gd name="connsiteY377" fmla="*/ 6482471 h 6857997"/>
              <a:gd name="connsiteX378" fmla="*/ 1717094 w 12188817"/>
              <a:gd name="connsiteY378" fmla="*/ 6476004 h 6857997"/>
              <a:gd name="connsiteX379" fmla="*/ 1705911 w 12188817"/>
              <a:gd name="connsiteY379" fmla="*/ 6471558 h 6857997"/>
              <a:gd name="connsiteX380" fmla="*/ 1702766 w 12188817"/>
              <a:gd name="connsiteY380" fmla="*/ 6465096 h 6857997"/>
              <a:gd name="connsiteX381" fmla="*/ 1706045 w 12188817"/>
              <a:gd name="connsiteY381" fmla="*/ 6458252 h 6857997"/>
              <a:gd name="connsiteX382" fmla="*/ 1716021 w 12188817"/>
              <a:gd name="connsiteY382" fmla="*/ 6455577 h 6857997"/>
              <a:gd name="connsiteX383" fmla="*/ 1729207 w 12188817"/>
              <a:gd name="connsiteY383" fmla="*/ 6467716 h 6857997"/>
              <a:gd name="connsiteX384" fmla="*/ 1739252 w 12188817"/>
              <a:gd name="connsiteY384" fmla="*/ 6466042 h 6857997"/>
              <a:gd name="connsiteX385" fmla="*/ 1735485 w 12188817"/>
              <a:gd name="connsiteY385" fmla="*/ 6454252 h 6857997"/>
              <a:gd name="connsiteX386" fmla="*/ 1727637 w 12188817"/>
              <a:gd name="connsiteY386" fmla="*/ 6447694 h 6857997"/>
              <a:gd name="connsiteX387" fmla="*/ 1715742 w 12188817"/>
              <a:gd name="connsiteY387" fmla="*/ 6445252 h 6857997"/>
              <a:gd name="connsiteX388" fmla="*/ 1656986 w 12188817"/>
              <a:gd name="connsiteY388" fmla="*/ 6445252 h 6857997"/>
              <a:gd name="connsiteX389" fmla="*/ 1645879 w 12188817"/>
              <a:gd name="connsiteY389" fmla="*/ 6448270 h 6857997"/>
              <a:gd name="connsiteX390" fmla="*/ 1637696 w 12188817"/>
              <a:gd name="connsiteY390" fmla="*/ 6457392 h 6857997"/>
              <a:gd name="connsiteX391" fmla="*/ 1637696 w 12188817"/>
              <a:gd name="connsiteY391" fmla="*/ 6446927 h 6857997"/>
              <a:gd name="connsiteX392" fmla="*/ 1628418 w 12188817"/>
              <a:gd name="connsiteY392" fmla="*/ 6446927 h 6857997"/>
              <a:gd name="connsiteX393" fmla="*/ 1628418 w 12188817"/>
              <a:gd name="connsiteY393" fmla="*/ 6521015 h 6857997"/>
              <a:gd name="connsiteX394" fmla="*/ 1638673 w 12188817"/>
              <a:gd name="connsiteY394" fmla="*/ 6521015 h 6857997"/>
              <a:gd name="connsiteX395" fmla="*/ 1638673 w 12188817"/>
              <a:gd name="connsiteY395" fmla="*/ 6480509 h 6857997"/>
              <a:gd name="connsiteX396" fmla="*/ 1643068 w 12188817"/>
              <a:gd name="connsiteY396" fmla="*/ 6461583 h 6857997"/>
              <a:gd name="connsiteX397" fmla="*/ 1654858 w 12188817"/>
              <a:gd name="connsiteY397" fmla="*/ 6456066 h 6857997"/>
              <a:gd name="connsiteX398" fmla="*/ 1661729 w 12188817"/>
              <a:gd name="connsiteY398" fmla="*/ 6458126 h 6857997"/>
              <a:gd name="connsiteX399" fmla="*/ 1666089 w 12188817"/>
              <a:gd name="connsiteY399" fmla="*/ 6463957 h 6857997"/>
              <a:gd name="connsiteX400" fmla="*/ 1667485 w 12188817"/>
              <a:gd name="connsiteY400" fmla="*/ 6475900 h 6857997"/>
              <a:gd name="connsiteX401" fmla="*/ 1667485 w 12188817"/>
              <a:gd name="connsiteY401" fmla="*/ 6521015 h 6857997"/>
              <a:gd name="connsiteX402" fmla="*/ 1677740 w 12188817"/>
              <a:gd name="connsiteY402" fmla="*/ 6521015 h 6857997"/>
              <a:gd name="connsiteX403" fmla="*/ 1677740 w 12188817"/>
              <a:gd name="connsiteY403" fmla="*/ 6475460 h 6857997"/>
              <a:gd name="connsiteX404" fmla="*/ 1676487 w 12188817"/>
              <a:gd name="connsiteY404" fmla="*/ 6460252 h 6857997"/>
              <a:gd name="connsiteX405" fmla="*/ 1672691 w 12188817"/>
              <a:gd name="connsiteY405" fmla="*/ 6452194 h 6857997"/>
              <a:gd name="connsiteX406" fmla="*/ 1666005 w 12188817"/>
              <a:gd name="connsiteY406" fmla="*/ 6447171 h 6857997"/>
              <a:gd name="connsiteX407" fmla="*/ 1656986 w 12188817"/>
              <a:gd name="connsiteY407" fmla="*/ 6445252 h 6857997"/>
              <a:gd name="connsiteX408" fmla="*/ 1586648 w 12188817"/>
              <a:gd name="connsiteY408" fmla="*/ 6445252 h 6857997"/>
              <a:gd name="connsiteX409" fmla="*/ 1566242 w 12188817"/>
              <a:gd name="connsiteY409" fmla="*/ 6455333 h 6857997"/>
              <a:gd name="connsiteX410" fmla="*/ 1558184 w 12188817"/>
              <a:gd name="connsiteY410" fmla="*/ 6484599 h 6857997"/>
              <a:gd name="connsiteX411" fmla="*/ 1566172 w 12188817"/>
              <a:gd name="connsiteY411" fmla="*/ 6512888 h 6857997"/>
              <a:gd name="connsiteX412" fmla="*/ 1587067 w 12188817"/>
              <a:gd name="connsiteY412" fmla="*/ 6522690 h 6857997"/>
              <a:gd name="connsiteX413" fmla="*/ 1604263 w 12188817"/>
              <a:gd name="connsiteY413" fmla="*/ 6516655 h 6857997"/>
              <a:gd name="connsiteX414" fmla="*/ 1613856 w 12188817"/>
              <a:gd name="connsiteY414" fmla="*/ 6498761 h 6857997"/>
              <a:gd name="connsiteX415" fmla="*/ 1603252 w 12188817"/>
              <a:gd name="connsiteY415" fmla="*/ 6497156 h 6857997"/>
              <a:gd name="connsiteX416" fmla="*/ 1587136 w 12188817"/>
              <a:gd name="connsiteY416" fmla="*/ 6512365 h 6857997"/>
              <a:gd name="connsiteX417" fmla="*/ 1574579 w 12188817"/>
              <a:gd name="connsiteY417" fmla="*/ 6506016 h 6857997"/>
              <a:gd name="connsiteX418" fmla="*/ 1568788 w 12188817"/>
              <a:gd name="connsiteY418" fmla="*/ 6487180 h 6857997"/>
              <a:gd name="connsiteX419" fmla="*/ 1614135 w 12188817"/>
              <a:gd name="connsiteY419" fmla="*/ 6487180 h 6857997"/>
              <a:gd name="connsiteX420" fmla="*/ 1614204 w 12188817"/>
              <a:gd name="connsiteY420" fmla="*/ 6483831 h 6857997"/>
              <a:gd name="connsiteX421" fmla="*/ 1606321 w 12188817"/>
              <a:gd name="connsiteY421" fmla="*/ 6455159 h 6857997"/>
              <a:gd name="connsiteX422" fmla="*/ 1586648 w 12188817"/>
              <a:gd name="connsiteY422" fmla="*/ 6445252 h 6857997"/>
              <a:gd name="connsiteX423" fmla="*/ 1317367 w 12188817"/>
              <a:gd name="connsiteY423" fmla="*/ 6445252 h 6857997"/>
              <a:gd name="connsiteX424" fmla="*/ 1304147 w 12188817"/>
              <a:gd name="connsiteY424" fmla="*/ 6449438 h 6857997"/>
              <a:gd name="connsiteX425" fmla="*/ 1294624 w 12188817"/>
              <a:gd name="connsiteY425" fmla="*/ 6462554 h 6857997"/>
              <a:gd name="connsiteX426" fmla="*/ 1290996 w 12188817"/>
              <a:gd name="connsiteY426" fmla="*/ 6483413 h 6857997"/>
              <a:gd name="connsiteX427" fmla="*/ 1299228 w 12188817"/>
              <a:gd name="connsiteY427" fmla="*/ 6511807 h 6857997"/>
              <a:gd name="connsiteX428" fmla="*/ 1317297 w 12188817"/>
              <a:gd name="connsiteY428" fmla="*/ 6521015 h 6857997"/>
              <a:gd name="connsiteX429" fmla="*/ 1326575 w 12188817"/>
              <a:gd name="connsiteY429" fmla="*/ 6518590 h 6857997"/>
              <a:gd name="connsiteX430" fmla="*/ 1334110 w 12188817"/>
              <a:gd name="connsiteY430" fmla="*/ 6511384 h 6857997"/>
              <a:gd name="connsiteX431" fmla="*/ 1333203 w 12188817"/>
              <a:gd name="connsiteY431" fmla="*/ 6527850 h 6857997"/>
              <a:gd name="connsiteX432" fmla="*/ 1327727 w 12188817"/>
              <a:gd name="connsiteY432" fmla="*/ 6537514 h 6857997"/>
              <a:gd name="connsiteX433" fmla="*/ 1316948 w 12188817"/>
              <a:gd name="connsiteY433" fmla="*/ 6540758 h 6857997"/>
              <a:gd name="connsiteX434" fmla="*/ 1307251 w 12188817"/>
              <a:gd name="connsiteY434" fmla="*/ 6537846 h 6857997"/>
              <a:gd name="connsiteX435" fmla="*/ 1303065 w 12188817"/>
              <a:gd name="connsiteY435" fmla="*/ 6528968 h 6857997"/>
              <a:gd name="connsiteX436" fmla="*/ 1293019 w 12188817"/>
              <a:gd name="connsiteY436" fmla="*/ 6527154 h 6857997"/>
              <a:gd name="connsiteX437" fmla="*/ 1299159 w 12188817"/>
              <a:gd name="connsiteY437" fmla="*/ 6544735 h 6857997"/>
              <a:gd name="connsiteX438" fmla="*/ 1317297 w 12188817"/>
              <a:gd name="connsiteY438" fmla="*/ 6551083 h 6857997"/>
              <a:gd name="connsiteX439" fmla="*/ 1332575 w 12188817"/>
              <a:gd name="connsiteY439" fmla="*/ 6546863 h 6857997"/>
              <a:gd name="connsiteX440" fmla="*/ 1341714 w 12188817"/>
              <a:gd name="connsiteY440" fmla="*/ 6535352 h 6857997"/>
              <a:gd name="connsiteX441" fmla="*/ 1344505 w 12188817"/>
              <a:gd name="connsiteY441" fmla="*/ 6510969 h 6857997"/>
              <a:gd name="connsiteX442" fmla="*/ 1344505 w 12188817"/>
              <a:gd name="connsiteY442" fmla="*/ 6446927 h 6857997"/>
              <a:gd name="connsiteX443" fmla="*/ 1335017 w 12188817"/>
              <a:gd name="connsiteY443" fmla="*/ 6446927 h 6857997"/>
              <a:gd name="connsiteX444" fmla="*/ 1335017 w 12188817"/>
              <a:gd name="connsiteY444" fmla="*/ 6455787 h 6857997"/>
              <a:gd name="connsiteX445" fmla="*/ 1327168 w 12188817"/>
              <a:gd name="connsiteY445" fmla="*/ 6447886 h 6857997"/>
              <a:gd name="connsiteX446" fmla="*/ 1317367 w 12188817"/>
              <a:gd name="connsiteY446" fmla="*/ 6445252 h 6857997"/>
              <a:gd name="connsiteX447" fmla="*/ 1250831 w 12188817"/>
              <a:gd name="connsiteY447" fmla="*/ 6445252 h 6857997"/>
              <a:gd name="connsiteX448" fmla="*/ 1244169 w 12188817"/>
              <a:gd name="connsiteY448" fmla="*/ 6447799 h 6857997"/>
              <a:gd name="connsiteX449" fmla="*/ 1237646 w 12188817"/>
              <a:gd name="connsiteY449" fmla="*/ 6458159 h 6857997"/>
              <a:gd name="connsiteX450" fmla="*/ 1237646 w 12188817"/>
              <a:gd name="connsiteY450" fmla="*/ 6446927 h 6857997"/>
              <a:gd name="connsiteX451" fmla="*/ 1230693 w 12188817"/>
              <a:gd name="connsiteY451" fmla="*/ 6446927 h 6857997"/>
              <a:gd name="connsiteX452" fmla="*/ 1228368 w 12188817"/>
              <a:gd name="connsiteY452" fmla="*/ 6446927 h 6857997"/>
              <a:gd name="connsiteX453" fmla="*/ 1220369 w 12188817"/>
              <a:gd name="connsiteY453" fmla="*/ 6446927 h 6857997"/>
              <a:gd name="connsiteX454" fmla="*/ 1207392 w 12188817"/>
              <a:gd name="connsiteY454" fmla="*/ 6490086 h 6857997"/>
              <a:gd name="connsiteX455" fmla="*/ 1203206 w 12188817"/>
              <a:gd name="connsiteY455" fmla="*/ 6506960 h 6857997"/>
              <a:gd name="connsiteX456" fmla="*/ 1198811 w 12188817"/>
              <a:gd name="connsiteY456" fmla="*/ 6489808 h 6857997"/>
              <a:gd name="connsiteX457" fmla="*/ 1186114 w 12188817"/>
              <a:gd name="connsiteY457" fmla="*/ 6446927 h 6857997"/>
              <a:gd name="connsiteX458" fmla="*/ 1175022 w 12188817"/>
              <a:gd name="connsiteY458" fmla="*/ 6446927 h 6857997"/>
              <a:gd name="connsiteX459" fmla="*/ 1198132 w 12188817"/>
              <a:gd name="connsiteY459" fmla="*/ 6521125 h 6857997"/>
              <a:gd name="connsiteX460" fmla="*/ 1194080 w 12188817"/>
              <a:gd name="connsiteY460" fmla="*/ 6533431 h 6857997"/>
              <a:gd name="connsiteX461" fmla="*/ 1190554 w 12188817"/>
              <a:gd name="connsiteY461" fmla="*/ 6537549 h 6857997"/>
              <a:gd name="connsiteX462" fmla="*/ 1185143 w 12188817"/>
              <a:gd name="connsiteY462" fmla="*/ 6538875 h 6857997"/>
              <a:gd name="connsiteX463" fmla="*/ 1179277 w 12188817"/>
              <a:gd name="connsiteY463" fmla="*/ 6537758 h 6857997"/>
              <a:gd name="connsiteX464" fmla="*/ 1180394 w 12188817"/>
              <a:gd name="connsiteY464" fmla="*/ 6549548 h 6857997"/>
              <a:gd name="connsiteX465" fmla="*/ 1187032 w 12188817"/>
              <a:gd name="connsiteY465" fmla="*/ 6551083 h 6857997"/>
              <a:gd name="connsiteX466" fmla="*/ 1194543 w 12188817"/>
              <a:gd name="connsiteY466" fmla="*/ 6548921 h 6857997"/>
              <a:gd name="connsiteX467" fmla="*/ 1200483 w 12188817"/>
              <a:gd name="connsiteY467" fmla="*/ 6541840 h 6857997"/>
              <a:gd name="connsiteX468" fmla="*/ 1207645 w 12188817"/>
              <a:gd name="connsiteY468" fmla="*/ 6522271 h 6857997"/>
              <a:gd name="connsiteX469" fmla="*/ 1228368 w 12188817"/>
              <a:gd name="connsiteY469" fmla="*/ 6454529 h 6857997"/>
              <a:gd name="connsiteX470" fmla="*/ 1228368 w 12188817"/>
              <a:gd name="connsiteY470" fmla="*/ 6521015 h 6857997"/>
              <a:gd name="connsiteX471" fmla="*/ 1238623 w 12188817"/>
              <a:gd name="connsiteY471" fmla="*/ 6521015 h 6857997"/>
              <a:gd name="connsiteX472" fmla="*/ 1238623 w 12188817"/>
              <a:gd name="connsiteY472" fmla="*/ 6482227 h 6857997"/>
              <a:gd name="connsiteX473" fmla="*/ 1240576 w 12188817"/>
              <a:gd name="connsiteY473" fmla="*/ 6466949 h 6857997"/>
              <a:gd name="connsiteX474" fmla="*/ 1244413 w 12188817"/>
              <a:gd name="connsiteY474" fmla="*/ 6460531 h 6857997"/>
              <a:gd name="connsiteX475" fmla="*/ 1250413 w 12188817"/>
              <a:gd name="connsiteY475" fmla="*/ 6458228 h 6857997"/>
              <a:gd name="connsiteX476" fmla="*/ 1257877 w 12188817"/>
              <a:gd name="connsiteY476" fmla="*/ 6460949 h 6857997"/>
              <a:gd name="connsiteX477" fmla="*/ 1261365 w 12188817"/>
              <a:gd name="connsiteY477" fmla="*/ 6449299 h 6857997"/>
              <a:gd name="connsiteX478" fmla="*/ 1250831 w 12188817"/>
              <a:gd name="connsiteY478" fmla="*/ 6445252 h 6857997"/>
              <a:gd name="connsiteX479" fmla="*/ 1141038 w 12188817"/>
              <a:gd name="connsiteY479" fmla="*/ 6445252 h 6857997"/>
              <a:gd name="connsiteX480" fmla="*/ 1131286 w 12188817"/>
              <a:gd name="connsiteY480" fmla="*/ 6447903 h 6857997"/>
              <a:gd name="connsiteX481" fmla="*/ 1123555 w 12188817"/>
              <a:gd name="connsiteY481" fmla="*/ 6456554 h 6857997"/>
              <a:gd name="connsiteX482" fmla="*/ 1123555 w 12188817"/>
              <a:gd name="connsiteY482" fmla="*/ 6446927 h 6857997"/>
              <a:gd name="connsiteX483" fmla="*/ 1114068 w 12188817"/>
              <a:gd name="connsiteY483" fmla="*/ 6446927 h 6857997"/>
              <a:gd name="connsiteX484" fmla="*/ 1114068 w 12188817"/>
              <a:gd name="connsiteY484" fmla="*/ 6549409 h 6857997"/>
              <a:gd name="connsiteX485" fmla="*/ 1124323 w 12188817"/>
              <a:gd name="connsiteY485" fmla="*/ 6549409 h 6857997"/>
              <a:gd name="connsiteX486" fmla="*/ 1124323 w 12188817"/>
              <a:gd name="connsiteY486" fmla="*/ 6513341 h 6857997"/>
              <a:gd name="connsiteX487" fmla="*/ 1131439 w 12188817"/>
              <a:gd name="connsiteY487" fmla="*/ 6520248 h 6857997"/>
              <a:gd name="connsiteX488" fmla="*/ 1140298 w 12188817"/>
              <a:gd name="connsiteY488" fmla="*/ 6522690 h 6857997"/>
              <a:gd name="connsiteX489" fmla="*/ 1158890 w 12188817"/>
              <a:gd name="connsiteY489" fmla="*/ 6512469 h 6857997"/>
              <a:gd name="connsiteX490" fmla="*/ 1166808 w 12188817"/>
              <a:gd name="connsiteY490" fmla="*/ 6483343 h 6857997"/>
              <a:gd name="connsiteX491" fmla="*/ 1163291 w 12188817"/>
              <a:gd name="connsiteY491" fmla="*/ 6462449 h 6857997"/>
              <a:gd name="connsiteX492" fmla="*/ 1153993 w 12188817"/>
              <a:gd name="connsiteY492" fmla="*/ 6449508 h 6857997"/>
              <a:gd name="connsiteX493" fmla="*/ 1141038 w 12188817"/>
              <a:gd name="connsiteY493" fmla="*/ 6445252 h 6857997"/>
              <a:gd name="connsiteX494" fmla="*/ 1071949 w 12188817"/>
              <a:gd name="connsiteY494" fmla="*/ 6445252 h 6857997"/>
              <a:gd name="connsiteX495" fmla="*/ 1051543 w 12188817"/>
              <a:gd name="connsiteY495" fmla="*/ 6455019 h 6857997"/>
              <a:gd name="connsiteX496" fmla="*/ 1043486 w 12188817"/>
              <a:gd name="connsiteY496" fmla="*/ 6483971 h 6857997"/>
              <a:gd name="connsiteX497" fmla="*/ 1051613 w 12188817"/>
              <a:gd name="connsiteY497" fmla="*/ 6512888 h 6857997"/>
              <a:gd name="connsiteX498" fmla="*/ 1071949 w 12188817"/>
              <a:gd name="connsiteY498" fmla="*/ 6522690 h 6857997"/>
              <a:gd name="connsiteX499" fmla="*/ 1092390 w 12188817"/>
              <a:gd name="connsiteY499" fmla="*/ 6512923 h 6857997"/>
              <a:gd name="connsiteX500" fmla="*/ 1100412 w 12188817"/>
              <a:gd name="connsiteY500" fmla="*/ 6483204 h 6857997"/>
              <a:gd name="connsiteX501" fmla="*/ 1092250 w 12188817"/>
              <a:gd name="connsiteY501" fmla="*/ 6455019 h 6857997"/>
              <a:gd name="connsiteX502" fmla="*/ 1071949 w 12188817"/>
              <a:gd name="connsiteY502" fmla="*/ 6445252 h 6857997"/>
              <a:gd name="connsiteX503" fmla="*/ 883892 w 12188817"/>
              <a:gd name="connsiteY503" fmla="*/ 6440020 h 6857997"/>
              <a:gd name="connsiteX504" fmla="*/ 867086 w 12188817"/>
              <a:gd name="connsiteY504" fmla="*/ 6447642 h 6857997"/>
              <a:gd name="connsiteX505" fmla="*/ 860692 w 12188817"/>
              <a:gd name="connsiteY505" fmla="*/ 6469809 h 6857997"/>
              <a:gd name="connsiteX506" fmla="*/ 867156 w 12188817"/>
              <a:gd name="connsiteY506" fmla="*/ 6492115 h 6857997"/>
              <a:gd name="connsiteX507" fmla="*/ 883401 w 12188817"/>
              <a:gd name="connsiteY507" fmla="*/ 6499877 h 6857997"/>
              <a:gd name="connsiteX508" fmla="*/ 896713 w 12188817"/>
              <a:gd name="connsiteY508" fmla="*/ 6494819 h 6857997"/>
              <a:gd name="connsiteX509" fmla="*/ 904155 w 12188817"/>
              <a:gd name="connsiteY509" fmla="*/ 6480762 h 6857997"/>
              <a:gd name="connsiteX510" fmla="*/ 897178 w 12188817"/>
              <a:gd name="connsiteY510" fmla="*/ 6478250 h 6857997"/>
              <a:gd name="connsiteX511" fmla="*/ 891863 w 12188817"/>
              <a:gd name="connsiteY511" fmla="*/ 6488192 h 6857997"/>
              <a:gd name="connsiteX512" fmla="*/ 882842 w 12188817"/>
              <a:gd name="connsiteY512" fmla="*/ 6491715 h 6857997"/>
              <a:gd name="connsiteX513" fmla="*/ 872562 w 12188817"/>
              <a:gd name="connsiteY513" fmla="*/ 6486326 h 6857997"/>
              <a:gd name="connsiteX514" fmla="*/ 868436 w 12188817"/>
              <a:gd name="connsiteY514" fmla="*/ 6470300 h 6857997"/>
              <a:gd name="connsiteX515" fmla="*/ 872772 w 12188817"/>
              <a:gd name="connsiteY515" fmla="*/ 6453502 h 6857997"/>
              <a:gd name="connsiteX516" fmla="*/ 883613 w 12188817"/>
              <a:gd name="connsiteY516" fmla="*/ 6447834 h 6857997"/>
              <a:gd name="connsiteX517" fmla="*/ 891341 w 12188817"/>
              <a:gd name="connsiteY517" fmla="*/ 6450520 h 6857997"/>
              <a:gd name="connsiteX518" fmla="*/ 896481 w 12188817"/>
              <a:gd name="connsiteY518" fmla="*/ 6458507 h 6857997"/>
              <a:gd name="connsiteX519" fmla="*/ 903317 w 12188817"/>
              <a:gd name="connsiteY519" fmla="*/ 6456484 h 6857997"/>
              <a:gd name="connsiteX520" fmla="*/ 896260 w 12188817"/>
              <a:gd name="connsiteY520" fmla="*/ 6444346 h 6857997"/>
              <a:gd name="connsiteX521" fmla="*/ 883892 w 12188817"/>
              <a:gd name="connsiteY521" fmla="*/ 6440020 h 6857997"/>
              <a:gd name="connsiteX522" fmla="*/ 2030135 w 12188817"/>
              <a:gd name="connsiteY522" fmla="*/ 6429486 h 6857997"/>
              <a:gd name="connsiteX523" fmla="*/ 2036063 w 12188817"/>
              <a:gd name="connsiteY523" fmla="*/ 6450694 h 6857997"/>
              <a:gd name="connsiteX524" fmla="*/ 2044779 w 12188817"/>
              <a:gd name="connsiteY524" fmla="*/ 6479018 h 6857997"/>
              <a:gd name="connsiteX525" fmla="*/ 2016211 w 12188817"/>
              <a:gd name="connsiteY525" fmla="*/ 6479018 h 6857997"/>
              <a:gd name="connsiteX526" fmla="*/ 2025540 w 12188817"/>
              <a:gd name="connsiteY526" fmla="*/ 6449020 h 6857997"/>
              <a:gd name="connsiteX527" fmla="*/ 2030135 w 12188817"/>
              <a:gd name="connsiteY527" fmla="*/ 6429486 h 6857997"/>
              <a:gd name="connsiteX528" fmla="*/ 883226 w 12188817"/>
              <a:gd name="connsiteY528" fmla="*/ 6425649 h 6857997"/>
              <a:gd name="connsiteX529" fmla="*/ 907922 w 12188817"/>
              <a:gd name="connsiteY529" fmla="*/ 6437738 h 6857997"/>
              <a:gd name="connsiteX530" fmla="*/ 919223 w 12188817"/>
              <a:gd name="connsiteY530" fmla="*/ 6469670 h 6857997"/>
              <a:gd name="connsiteX531" fmla="*/ 909317 w 12188817"/>
              <a:gd name="connsiteY531" fmla="*/ 6499925 h 6857997"/>
              <a:gd name="connsiteX532" fmla="*/ 883226 w 12188817"/>
              <a:gd name="connsiteY532" fmla="*/ 6513620 h 6857997"/>
              <a:gd name="connsiteX533" fmla="*/ 858530 w 12188817"/>
              <a:gd name="connsiteY533" fmla="*/ 6501603 h 6857997"/>
              <a:gd name="connsiteX534" fmla="*/ 847228 w 12188817"/>
              <a:gd name="connsiteY534" fmla="*/ 6469670 h 6857997"/>
              <a:gd name="connsiteX535" fmla="*/ 857134 w 12188817"/>
              <a:gd name="connsiteY535" fmla="*/ 6439344 h 6857997"/>
              <a:gd name="connsiteX536" fmla="*/ 883226 w 12188817"/>
              <a:gd name="connsiteY536" fmla="*/ 6425649 h 6857997"/>
              <a:gd name="connsiteX537" fmla="*/ 6208293 w 12188817"/>
              <a:gd name="connsiteY537" fmla="*/ 6421045 h 6857997"/>
              <a:gd name="connsiteX538" fmla="*/ 6198038 w 12188817"/>
              <a:gd name="connsiteY538" fmla="*/ 6428579 h 6857997"/>
              <a:gd name="connsiteX539" fmla="*/ 6198038 w 12188817"/>
              <a:gd name="connsiteY539" fmla="*/ 6446927 h 6857997"/>
              <a:gd name="connsiteX540" fmla="*/ 6190503 w 12188817"/>
              <a:gd name="connsiteY540" fmla="*/ 6446927 h 6857997"/>
              <a:gd name="connsiteX541" fmla="*/ 6190503 w 12188817"/>
              <a:gd name="connsiteY541" fmla="*/ 6456694 h 6857997"/>
              <a:gd name="connsiteX542" fmla="*/ 6198038 w 12188817"/>
              <a:gd name="connsiteY542" fmla="*/ 6456694 h 6857997"/>
              <a:gd name="connsiteX543" fmla="*/ 6198038 w 12188817"/>
              <a:gd name="connsiteY543" fmla="*/ 6499319 h 6857997"/>
              <a:gd name="connsiteX544" fmla="*/ 6199259 w 12188817"/>
              <a:gd name="connsiteY544" fmla="*/ 6514039 h 6857997"/>
              <a:gd name="connsiteX545" fmla="*/ 6203758 w 12188817"/>
              <a:gd name="connsiteY545" fmla="*/ 6519864 h 6857997"/>
              <a:gd name="connsiteX546" fmla="*/ 6212409 w 12188817"/>
              <a:gd name="connsiteY546" fmla="*/ 6521992 h 6857997"/>
              <a:gd name="connsiteX547" fmla="*/ 6220083 w 12188817"/>
              <a:gd name="connsiteY547" fmla="*/ 6520876 h 6857997"/>
              <a:gd name="connsiteX548" fmla="*/ 6218688 w 12188817"/>
              <a:gd name="connsiteY548" fmla="*/ 6509783 h 6857997"/>
              <a:gd name="connsiteX549" fmla="*/ 6214153 w 12188817"/>
              <a:gd name="connsiteY549" fmla="*/ 6510272 h 6857997"/>
              <a:gd name="connsiteX550" fmla="*/ 6209200 w 12188817"/>
              <a:gd name="connsiteY550" fmla="*/ 6507760 h 6857997"/>
              <a:gd name="connsiteX551" fmla="*/ 6208293 w 12188817"/>
              <a:gd name="connsiteY551" fmla="*/ 6500017 h 6857997"/>
              <a:gd name="connsiteX552" fmla="*/ 6208293 w 12188817"/>
              <a:gd name="connsiteY552" fmla="*/ 6456694 h 6857997"/>
              <a:gd name="connsiteX553" fmla="*/ 6218688 w 12188817"/>
              <a:gd name="connsiteY553" fmla="*/ 6456694 h 6857997"/>
              <a:gd name="connsiteX554" fmla="*/ 6218688 w 12188817"/>
              <a:gd name="connsiteY554" fmla="*/ 6446927 h 6857997"/>
              <a:gd name="connsiteX555" fmla="*/ 6208293 w 12188817"/>
              <a:gd name="connsiteY555" fmla="*/ 6446927 h 6857997"/>
              <a:gd name="connsiteX556" fmla="*/ 2421955 w 12188817"/>
              <a:gd name="connsiteY556" fmla="*/ 6421045 h 6857997"/>
              <a:gd name="connsiteX557" fmla="*/ 2411700 w 12188817"/>
              <a:gd name="connsiteY557" fmla="*/ 6428579 h 6857997"/>
              <a:gd name="connsiteX558" fmla="*/ 2411700 w 12188817"/>
              <a:gd name="connsiteY558" fmla="*/ 6446927 h 6857997"/>
              <a:gd name="connsiteX559" fmla="*/ 2404165 w 12188817"/>
              <a:gd name="connsiteY559" fmla="*/ 6446927 h 6857997"/>
              <a:gd name="connsiteX560" fmla="*/ 2404165 w 12188817"/>
              <a:gd name="connsiteY560" fmla="*/ 6456694 h 6857997"/>
              <a:gd name="connsiteX561" fmla="*/ 2411700 w 12188817"/>
              <a:gd name="connsiteY561" fmla="*/ 6456694 h 6857997"/>
              <a:gd name="connsiteX562" fmla="*/ 2411700 w 12188817"/>
              <a:gd name="connsiteY562" fmla="*/ 6499319 h 6857997"/>
              <a:gd name="connsiteX563" fmla="*/ 2412921 w 12188817"/>
              <a:gd name="connsiteY563" fmla="*/ 6514039 h 6857997"/>
              <a:gd name="connsiteX564" fmla="*/ 2417421 w 12188817"/>
              <a:gd name="connsiteY564" fmla="*/ 6519864 h 6857997"/>
              <a:gd name="connsiteX565" fmla="*/ 2426071 w 12188817"/>
              <a:gd name="connsiteY565" fmla="*/ 6521992 h 6857997"/>
              <a:gd name="connsiteX566" fmla="*/ 2432786 w 12188817"/>
              <a:gd name="connsiteY566" fmla="*/ 6521015 h 6857997"/>
              <a:gd name="connsiteX567" fmla="*/ 2486528 w 12188817"/>
              <a:gd name="connsiteY567" fmla="*/ 6521015 h 6857997"/>
              <a:gd name="connsiteX568" fmla="*/ 2486528 w 12188817"/>
              <a:gd name="connsiteY568" fmla="*/ 6510202 h 6857997"/>
              <a:gd name="connsiteX569" fmla="*/ 2458405 w 12188817"/>
              <a:gd name="connsiteY569" fmla="*/ 6510202 h 6857997"/>
              <a:gd name="connsiteX570" fmla="*/ 2445424 w 12188817"/>
              <a:gd name="connsiteY570" fmla="*/ 6510830 h 6857997"/>
              <a:gd name="connsiteX571" fmla="*/ 2451786 w 12188817"/>
              <a:gd name="connsiteY571" fmla="*/ 6502249 h 6857997"/>
              <a:gd name="connsiteX572" fmla="*/ 2484784 w 12188817"/>
              <a:gd name="connsiteY572" fmla="*/ 6455229 h 6857997"/>
              <a:gd name="connsiteX573" fmla="*/ 2484784 w 12188817"/>
              <a:gd name="connsiteY573" fmla="*/ 6446927 h 6857997"/>
              <a:gd name="connsiteX574" fmla="*/ 2435043 w 12188817"/>
              <a:gd name="connsiteY574" fmla="*/ 6446927 h 6857997"/>
              <a:gd name="connsiteX575" fmla="*/ 2435043 w 12188817"/>
              <a:gd name="connsiteY575" fmla="*/ 6457112 h 6857997"/>
              <a:gd name="connsiteX576" fmla="*/ 2459828 w 12188817"/>
              <a:gd name="connsiteY576" fmla="*/ 6457112 h 6857997"/>
              <a:gd name="connsiteX577" fmla="*/ 2471487 w 12188817"/>
              <a:gd name="connsiteY577" fmla="*/ 6456694 h 6857997"/>
              <a:gd name="connsiteX578" fmla="*/ 2432740 w 12188817"/>
              <a:gd name="connsiteY578" fmla="*/ 6510830 h 6857997"/>
              <a:gd name="connsiteX579" fmla="*/ 2432740 w 12188817"/>
              <a:gd name="connsiteY579" fmla="*/ 6512889 h 6857997"/>
              <a:gd name="connsiteX580" fmla="*/ 2432350 w 12188817"/>
              <a:gd name="connsiteY580" fmla="*/ 6509783 h 6857997"/>
              <a:gd name="connsiteX581" fmla="*/ 2427815 w 12188817"/>
              <a:gd name="connsiteY581" fmla="*/ 6510272 h 6857997"/>
              <a:gd name="connsiteX582" fmla="*/ 2422862 w 12188817"/>
              <a:gd name="connsiteY582" fmla="*/ 6507760 h 6857997"/>
              <a:gd name="connsiteX583" fmla="*/ 2421955 w 12188817"/>
              <a:gd name="connsiteY583" fmla="*/ 6500017 h 6857997"/>
              <a:gd name="connsiteX584" fmla="*/ 2421955 w 12188817"/>
              <a:gd name="connsiteY584" fmla="*/ 6456694 h 6857997"/>
              <a:gd name="connsiteX585" fmla="*/ 2432350 w 12188817"/>
              <a:gd name="connsiteY585" fmla="*/ 6456694 h 6857997"/>
              <a:gd name="connsiteX586" fmla="*/ 2432350 w 12188817"/>
              <a:gd name="connsiteY586" fmla="*/ 6446927 h 6857997"/>
              <a:gd name="connsiteX587" fmla="*/ 2421955 w 12188817"/>
              <a:gd name="connsiteY587" fmla="*/ 6446927 h 6857997"/>
              <a:gd name="connsiteX588" fmla="*/ 1440880 w 12188817"/>
              <a:gd name="connsiteY588" fmla="*/ 6421045 h 6857997"/>
              <a:gd name="connsiteX589" fmla="*/ 1430625 w 12188817"/>
              <a:gd name="connsiteY589" fmla="*/ 6428579 h 6857997"/>
              <a:gd name="connsiteX590" fmla="*/ 1430625 w 12188817"/>
              <a:gd name="connsiteY590" fmla="*/ 6446927 h 6857997"/>
              <a:gd name="connsiteX591" fmla="*/ 1423090 w 12188817"/>
              <a:gd name="connsiteY591" fmla="*/ 6446927 h 6857997"/>
              <a:gd name="connsiteX592" fmla="*/ 1423090 w 12188817"/>
              <a:gd name="connsiteY592" fmla="*/ 6456694 h 6857997"/>
              <a:gd name="connsiteX593" fmla="*/ 1430625 w 12188817"/>
              <a:gd name="connsiteY593" fmla="*/ 6456694 h 6857997"/>
              <a:gd name="connsiteX594" fmla="*/ 1430625 w 12188817"/>
              <a:gd name="connsiteY594" fmla="*/ 6499319 h 6857997"/>
              <a:gd name="connsiteX595" fmla="*/ 1431846 w 12188817"/>
              <a:gd name="connsiteY595" fmla="*/ 6514039 h 6857997"/>
              <a:gd name="connsiteX596" fmla="*/ 1436345 w 12188817"/>
              <a:gd name="connsiteY596" fmla="*/ 6519864 h 6857997"/>
              <a:gd name="connsiteX597" fmla="*/ 1444996 w 12188817"/>
              <a:gd name="connsiteY597" fmla="*/ 6521992 h 6857997"/>
              <a:gd name="connsiteX598" fmla="*/ 1452670 w 12188817"/>
              <a:gd name="connsiteY598" fmla="*/ 6520876 h 6857997"/>
              <a:gd name="connsiteX599" fmla="*/ 1451275 w 12188817"/>
              <a:gd name="connsiteY599" fmla="*/ 6509783 h 6857997"/>
              <a:gd name="connsiteX600" fmla="*/ 1446740 w 12188817"/>
              <a:gd name="connsiteY600" fmla="*/ 6510272 h 6857997"/>
              <a:gd name="connsiteX601" fmla="*/ 1441787 w 12188817"/>
              <a:gd name="connsiteY601" fmla="*/ 6507760 h 6857997"/>
              <a:gd name="connsiteX602" fmla="*/ 1440880 w 12188817"/>
              <a:gd name="connsiteY602" fmla="*/ 6500017 h 6857997"/>
              <a:gd name="connsiteX603" fmla="*/ 1440880 w 12188817"/>
              <a:gd name="connsiteY603" fmla="*/ 6456694 h 6857997"/>
              <a:gd name="connsiteX604" fmla="*/ 1451275 w 12188817"/>
              <a:gd name="connsiteY604" fmla="*/ 6456694 h 6857997"/>
              <a:gd name="connsiteX605" fmla="*/ 1451275 w 12188817"/>
              <a:gd name="connsiteY605" fmla="*/ 6446927 h 6857997"/>
              <a:gd name="connsiteX606" fmla="*/ 1440880 w 12188817"/>
              <a:gd name="connsiteY606" fmla="*/ 6446927 h 6857997"/>
              <a:gd name="connsiteX607" fmla="*/ 6319282 w 12188817"/>
              <a:gd name="connsiteY607" fmla="*/ 6418742 h 6857997"/>
              <a:gd name="connsiteX608" fmla="*/ 6319282 w 12188817"/>
              <a:gd name="connsiteY608" fmla="*/ 6521015 h 6857997"/>
              <a:gd name="connsiteX609" fmla="*/ 6329537 w 12188817"/>
              <a:gd name="connsiteY609" fmla="*/ 6521015 h 6857997"/>
              <a:gd name="connsiteX610" fmla="*/ 6329537 w 12188817"/>
              <a:gd name="connsiteY610" fmla="*/ 6418742 h 6857997"/>
              <a:gd name="connsiteX611" fmla="*/ 6224380 w 12188817"/>
              <a:gd name="connsiteY611" fmla="*/ 6418742 h 6857997"/>
              <a:gd name="connsiteX612" fmla="*/ 6224380 w 12188817"/>
              <a:gd name="connsiteY612" fmla="*/ 6433183 h 6857997"/>
              <a:gd name="connsiteX613" fmla="*/ 6234636 w 12188817"/>
              <a:gd name="connsiteY613" fmla="*/ 6433183 h 6857997"/>
              <a:gd name="connsiteX614" fmla="*/ 6234636 w 12188817"/>
              <a:gd name="connsiteY614" fmla="*/ 6418742 h 6857997"/>
              <a:gd name="connsiteX615" fmla="*/ 6034361 w 12188817"/>
              <a:gd name="connsiteY615" fmla="*/ 6418742 h 6857997"/>
              <a:gd name="connsiteX616" fmla="*/ 6034361 w 12188817"/>
              <a:gd name="connsiteY616" fmla="*/ 6455438 h 6857997"/>
              <a:gd name="connsiteX617" fmla="*/ 6027153 w 12188817"/>
              <a:gd name="connsiteY617" fmla="*/ 6447938 h 6857997"/>
              <a:gd name="connsiteX618" fmla="*/ 6017716 w 12188817"/>
              <a:gd name="connsiteY618" fmla="*/ 6445252 h 6857997"/>
              <a:gd name="connsiteX619" fmla="*/ 6004794 w 12188817"/>
              <a:gd name="connsiteY619" fmla="*/ 6449508 h 6857997"/>
              <a:gd name="connsiteX620" fmla="*/ 5995495 w 12188817"/>
              <a:gd name="connsiteY620" fmla="*/ 6462554 h 6857997"/>
              <a:gd name="connsiteX621" fmla="*/ 5992013 w 12188817"/>
              <a:gd name="connsiteY621" fmla="*/ 6483971 h 6857997"/>
              <a:gd name="connsiteX622" fmla="*/ 5999862 w 12188817"/>
              <a:gd name="connsiteY622" fmla="*/ 6512539 h 6857997"/>
              <a:gd name="connsiteX623" fmla="*/ 6018454 w 12188817"/>
              <a:gd name="connsiteY623" fmla="*/ 6522690 h 6857997"/>
              <a:gd name="connsiteX624" fmla="*/ 6027944 w 12188817"/>
              <a:gd name="connsiteY624" fmla="*/ 6519864 h 6857997"/>
              <a:gd name="connsiteX625" fmla="*/ 6035129 w 12188817"/>
              <a:gd name="connsiteY625" fmla="*/ 6511667 h 6857997"/>
              <a:gd name="connsiteX626" fmla="*/ 6035129 w 12188817"/>
              <a:gd name="connsiteY626" fmla="*/ 6521015 h 6857997"/>
              <a:gd name="connsiteX627" fmla="*/ 6044755 w 12188817"/>
              <a:gd name="connsiteY627" fmla="*/ 6521015 h 6857997"/>
              <a:gd name="connsiteX628" fmla="*/ 6044755 w 12188817"/>
              <a:gd name="connsiteY628" fmla="*/ 6418742 h 6857997"/>
              <a:gd name="connsiteX629" fmla="*/ 2790947 w 12188817"/>
              <a:gd name="connsiteY629" fmla="*/ 6418742 h 6857997"/>
              <a:gd name="connsiteX630" fmla="*/ 2790947 w 12188817"/>
              <a:gd name="connsiteY630" fmla="*/ 6455438 h 6857997"/>
              <a:gd name="connsiteX631" fmla="*/ 2783737 w 12188817"/>
              <a:gd name="connsiteY631" fmla="*/ 6447938 h 6857997"/>
              <a:gd name="connsiteX632" fmla="*/ 2774300 w 12188817"/>
              <a:gd name="connsiteY632" fmla="*/ 6445252 h 6857997"/>
              <a:gd name="connsiteX633" fmla="*/ 2761380 w 12188817"/>
              <a:gd name="connsiteY633" fmla="*/ 6449508 h 6857997"/>
              <a:gd name="connsiteX634" fmla="*/ 2752082 w 12188817"/>
              <a:gd name="connsiteY634" fmla="*/ 6462554 h 6857997"/>
              <a:gd name="connsiteX635" fmla="*/ 2748600 w 12188817"/>
              <a:gd name="connsiteY635" fmla="*/ 6483971 h 6857997"/>
              <a:gd name="connsiteX636" fmla="*/ 2756449 w 12188817"/>
              <a:gd name="connsiteY636" fmla="*/ 6512539 h 6857997"/>
              <a:gd name="connsiteX637" fmla="*/ 2775041 w 12188817"/>
              <a:gd name="connsiteY637" fmla="*/ 6522690 h 6857997"/>
              <a:gd name="connsiteX638" fmla="*/ 2784528 w 12188817"/>
              <a:gd name="connsiteY638" fmla="*/ 6519864 h 6857997"/>
              <a:gd name="connsiteX639" fmla="*/ 2791714 w 12188817"/>
              <a:gd name="connsiteY639" fmla="*/ 6511667 h 6857997"/>
              <a:gd name="connsiteX640" fmla="*/ 2791714 w 12188817"/>
              <a:gd name="connsiteY640" fmla="*/ 6521015 h 6857997"/>
              <a:gd name="connsiteX641" fmla="*/ 2801341 w 12188817"/>
              <a:gd name="connsiteY641" fmla="*/ 6521015 h 6857997"/>
              <a:gd name="connsiteX642" fmla="*/ 2801341 w 12188817"/>
              <a:gd name="connsiteY642" fmla="*/ 6418742 h 6857997"/>
              <a:gd name="connsiteX643" fmla="*/ 2590094 w 12188817"/>
              <a:gd name="connsiteY643" fmla="*/ 6418742 h 6857997"/>
              <a:gd name="connsiteX644" fmla="*/ 2590094 w 12188817"/>
              <a:gd name="connsiteY644" fmla="*/ 6521015 h 6857997"/>
              <a:gd name="connsiteX645" fmla="*/ 2600349 w 12188817"/>
              <a:gd name="connsiteY645" fmla="*/ 6521015 h 6857997"/>
              <a:gd name="connsiteX646" fmla="*/ 2600349 w 12188817"/>
              <a:gd name="connsiteY646" fmla="*/ 6418742 h 6857997"/>
              <a:gd name="connsiteX647" fmla="*/ 2380892 w 12188817"/>
              <a:gd name="connsiteY647" fmla="*/ 6418742 h 6857997"/>
              <a:gd name="connsiteX648" fmla="*/ 2380892 w 12188817"/>
              <a:gd name="connsiteY648" fmla="*/ 6433183 h 6857997"/>
              <a:gd name="connsiteX649" fmla="*/ 2391148 w 12188817"/>
              <a:gd name="connsiteY649" fmla="*/ 6433183 h 6857997"/>
              <a:gd name="connsiteX650" fmla="*/ 2391148 w 12188817"/>
              <a:gd name="connsiteY650" fmla="*/ 6418742 h 6857997"/>
              <a:gd name="connsiteX651" fmla="*/ 2024493 w 12188817"/>
              <a:gd name="connsiteY651" fmla="*/ 6418742 h 6857997"/>
              <a:gd name="connsiteX652" fmla="*/ 1992149 w 12188817"/>
              <a:gd name="connsiteY652" fmla="*/ 6521015 h 6857997"/>
              <a:gd name="connsiteX653" fmla="*/ 2003850 w 12188817"/>
              <a:gd name="connsiteY653" fmla="*/ 6521015 h 6857997"/>
              <a:gd name="connsiteX654" fmla="*/ 2012966 w 12188817"/>
              <a:gd name="connsiteY654" fmla="*/ 6490040 h 6857997"/>
              <a:gd name="connsiteX655" fmla="*/ 2048249 w 12188817"/>
              <a:gd name="connsiteY655" fmla="*/ 6490040 h 6857997"/>
              <a:gd name="connsiteX656" fmla="*/ 2058004 w 12188817"/>
              <a:gd name="connsiteY656" fmla="*/ 6521015 h 6857997"/>
              <a:gd name="connsiteX657" fmla="*/ 2070702 w 12188817"/>
              <a:gd name="connsiteY657" fmla="*/ 6521015 h 6857997"/>
              <a:gd name="connsiteX658" fmla="*/ 2036357 w 12188817"/>
              <a:gd name="connsiteY658" fmla="*/ 6418742 h 6857997"/>
              <a:gd name="connsiteX659" fmla="*/ 1818918 w 12188817"/>
              <a:gd name="connsiteY659" fmla="*/ 6418742 h 6857997"/>
              <a:gd name="connsiteX660" fmla="*/ 1818918 w 12188817"/>
              <a:gd name="connsiteY660" fmla="*/ 6433183 h 6857997"/>
              <a:gd name="connsiteX661" fmla="*/ 1829173 w 12188817"/>
              <a:gd name="connsiteY661" fmla="*/ 6433183 h 6857997"/>
              <a:gd name="connsiteX662" fmla="*/ 1829173 w 12188817"/>
              <a:gd name="connsiteY662" fmla="*/ 6418742 h 6857997"/>
              <a:gd name="connsiteX663" fmla="*/ 1752242 w 12188817"/>
              <a:gd name="connsiteY663" fmla="*/ 6418742 h 6857997"/>
              <a:gd name="connsiteX664" fmla="*/ 1752242 w 12188817"/>
              <a:gd name="connsiteY664" fmla="*/ 6433183 h 6857997"/>
              <a:gd name="connsiteX665" fmla="*/ 1762498 w 12188817"/>
              <a:gd name="connsiteY665" fmla="*/ 6433183 h 6857997"/>
              <a:gd name="connsiteX666" fmla="*/ 1762498 w 12188817"/>
              <a:gd name="connsiteY666" fmla="*/ 6418742 h 6857997"/>
              <a:gd name="connsiteX667" fmla="*/ 1361717 w 12188817"/>
              <a:gd name="connsiteY667" fmla="*/ 6418742 h 6857997"/>
              <a:gd name="connsiteX668" fmla="*/ 1361717 w 12188817"/>
              <a:gd name="connsiteY668" fmla="*/ 6521015 h 6857997"/>
              <a:gd name="connsiteX669" fmla="*/ 1371973 w 12188817"/>
              <a:gd name="connsiteY669" fmla="*/ 6521015 h 6857997"/>
              <a:gd name="connsiteX670" fmla="*/ 1371973 w 12188817"/>
              <a:gd name="connsiteY670" fmla="*/ 6480483 h 6857997"/>
              <a:gd name="connsiteX671" fmla="*/ 1376682 w 12188817"/>
              <a:gd name="connsiteY671" fmla="*/ 6461437 h 6857997"/>
              <a:gd name="connsiteX672" fmla="*/ 1388088 w 12188817"/>
              <a:gd name="connsiteY672" fmla="*/ 6456066 h 6857997"/>
              <a:gd name="connsiteX673" fmla="*/ 1397506 w 12188817"/>
              <a:gd name="connsiteY673" fmla="*/ 6460252 h 6857997"/>
              <a:gd name="connsiteX674" fmla="*/ 1400924 w 12188817"/>
              <a:gd name="connsiteY674" fmla="*/ 6474065 h 6857997"/>
              <a:gd name="connsiteX675" fmla="*/ 1400924 w 12188817"/>
              <a:gd name="connsiteY675" fmla="*/ 6521015 h 6857997"/>
              <a:gd name="connsiteX676" fmla="*/ 1411180 w 12188817"/>
              <a:gd name="connsiteY676" fmla="*/ 6521015 h 6857997"/>
              <a:gd name="connsiteX677" fmla="*/ 1411180 w 12188817"/>
              <a:gd name="connsiteY677" fmla="*/ 6474065 h 6857997"/>
              <a:gd name="connsiteX678" fmla="*/ 1405564 w 12188817"/>
              <a:gd name="connsiteY678" fmla="*/ 6451426 h 6857997"/>
              <a:gd name="connsiteX679" fmla="*/ 1390251 w 12188817"/>
              <a:gd name="connsiteY679" fmla="*/ 6445252 h 6857997"/>
              <a:gd name="connsiteX680" fmla="*/ 1380170 w 12188817"/>
              <a:gd name="connsiteY680" fmla="*/ 6447799 h 6857997"/>
              <a:gd name="connsiteX681" fmla="*/ 1371973 w 12188817"/>
              <a:gd name="connsiteY681" fmla="*/ 6455438 h 6857997"/>
              <a:gd name="connsiteX682" fmla="*/ 1371973 w 12188817"/>
              <a:gd name="connsiteY682" fmla="*/ 6418742 h 6857997"/>
              <a:gd name="connsiteX683" fmla="*/ 1266468 w 12188817"/>
              <a:gd name="connsiteY683" fmla="*/ 6418742 h 6857997"/>
              <a:gd name="connsiteX684" fmla="*/ 1266468 w 12188817"/>
              <a:gd name="connsiteY684" fmla="*/ 6433183 h 6857997"/>
              <a:gd name="connsiteX685" fmla="*/ 1276723 w 12188817"/>
              <a:gd name="connsiteY685" fmla="*/ 6433183 h 6857997"/>
              <a:gd name="connsiteX686" fmla="*/ 1276723 w 12188817"/>
              <a:gd name="connsiteY686" fmla="*/ 6418742 h 6857997"/>
              <a:gd name="connsiteX687" fmla="*/ 5958280 w 12188817"/>
              <a:gd name="connsiteY687" fmla="*/ 6416998 h 6857997"/>
              <a:gd name="connsiteX688" fmla="*/ 5948873 w 12188817"/>
              <a:gd name="connsiteY688" fmla="*/ 6419301 h 6857997"/>
              <a:gd name="connsiteX689" fmla="*/ 5943312 w 12188817"/>
              <a:gd name="connsiteY689" fmla="*/ 6425963 h 6857997"/>
              <a:gd name="connsiteX690" fmla="*/ 5941493 w 12188817"/>
              <a:gd name="connsiteY690" fmla="*/ 6439044 h 6857997"/>
              <a:gd name="connsiteX691" fmla="*/ 5941493 w 12188817"/>
              <a:gd name="connsiteY691" fmla="*/ 6446927 h 6857997"/>
              <a:gd name="connsiteX692" fmla="*/ 5932354 w 12188817"/>
              <a:gd name="connsiteY692" fmla="*/ 6446927 h 6857997"/>
              <a:gd name="connsiteX693" fmla="*/ 5932354 w 12188817"/>
              <a:gd name="connsiteY693" fmla="*/ 6456694 h 6857997"/>
              <a:gd name="connsiteX694" fmla="*/ 5941493 w 12188817"/>
              <a:gd name="connsiteY694" fmla="*/ 6456694 h 6857997"/>
              <a:gd name="connsiteX695" fmla="*/ 5941493 w 12188817"/>
              <a:gd name="connsiteY695" fmla="*/ 6521015 h 6857997"/>
              <a:gd name="connsiteX696" fmla="*/ 5951746 w 12188817"/>
              <a:gd name="connsiteY696" fmla="*/ 6521015 h 6857997"/>
              <a:gd name="connsiteX697" fmla="*/ 5951746 w 12188817"/>
              <a:gd name="connsiteY697" fmla="*/ 6456694 h 6857997"/>
              <a:gd name="connsiteX698" fmla="*/ 5963606 w 12188817"/>
              <a:gd name="connsiteY698" fmla="*/ 6456694 h 6857997"/>
              <a:gd name="connsiteX699" fmla="*/ 5963606 w 12188817"/>
              <a:gd name="connsiteY699" fmla="*/ 6446927 h 6857997"/>
              <a:gd name="connsiteX700" fmla="*/ 5951746 w 12188817"/>
              <a:gd name="connsiteY700" fmla="*/ 6446927 h 6857997"/>
              <a:gd name="connsiteX701" fmla="*/ 5951746 w 12188817"/>
              <a:gd name="connsiteY701" fmla="*/ 6440090 h 6857997"/>
              <a:gd name="connsiteX702" fmla="*/ 5953734 w 12188817"/>
              <a:gd name="connsiteY702" fmla="*/ 6430916 h 6857997"/>
              <a:gd name="connsiteX703" fmla="*/ 5960327 w 12188817"/>
              <a:gd name="connsiteY703" fmla="*/ 6428509 h 6857997"/>
              <a:gd name="connsiteX704" fmla="*/ 5966397 w 12188817"/>
              <a:gd name="connsiteY704" fmla="*/ 6429207 h 6857997"/>
              <a:gd name="connsiteX705" fmla="*/ 5967205 w 12188817"/>
              <a:gd name="connsiteY705" fmla="*/ 6423469 h 6857997"/>
              <a:gd name="connsiteX706" fmla="*/ 5967205 w 12188817"/>
              <a:gd name="connsiteY706" fmla="*/ 6433183 h 6857997"/>
              <a:gd name="connsiteX707" fmla="*/ 5977462 w 12188817"/>
              <a:gd name="connsiteY707" fmla="*/ 6433183 h 6857997"/>
              <a:gd name="connsiteX708" fmla="*/ 5977462 w 12188817"/>
              <a:gd name="connsiteY708" fmla="*/ 6418742 h 6857997"/>
              <a:gd name="connsiteX709" fmla="*/ 5967872 w 12188817"/>
              <a:gd name="connsiteY709" fmla="*/ 6418742 h 6857997"/>
              <a:gd name="connsiteX710" fmla="*/ 5967933 w 12188817"/>
              <a:gd name="connsiteY710" fmla="*/ 6418324 h 6857997"/>
              <a:gd name="connsiteX711" fmla="*/ 5958280 w 12188817"/>
              <a:gd name="connsiteY711" fmla="*/ 6416998 h 6857997"/>
              <a:gd name="connsiteX712" fmla="*/ 883226 w 12188817"/>
              <a:gd name="connsiteY712" fmla="*/ 6416998 h 6857997"/>
              <a:gd name="connsiteX713" fmla="*/ 862262 w 12188817"/>
              <a:gd name="connsiteY713" fmla="*/ 6423591 h 6857997"/>
              <a:gd name="connsiteX714" fmla="*/ 846181 w 12188817"/>
              <a:gd name="connsiteY714" fmla="*/ 6442532 h 6857997"/>
              <a:gd name="connsiteX715" fmla="*/ 840042 w 12188817"/>
              <a:gd name="connsiteY715" fmla="*/ 6469670 h 6857997"/>
              <a:gd name="connsiteX716" fmla="*/ 852460 w 12188817"/>
              <a:gd name="connsiteY716" fmla="*/ 6506539 h 6857997"/>
              <a:gd name="connsiteX717" fmla="*/ 883226 w 12188817"/>
              <a:gd name="connsiteY717" fmla="*/ 6522271 h 6857997"/>
              <a:gd name="connsiteX718" fmla="*/ 904190 w 12188817"/>
              <a:gd name="connsiteY718" fmla="*/ 6515678 h 6857997"/>
              <a:gd name="connsiteX719" fmla="*/ 920270 w 12188817"/>
              <a:gd name="connsiteY719" fmla="*/ 6496738 h 6857997"/>
              <a:gd name="connsiteX720" fmla="*/ 926409 w 12188817"/>
              <a:gd name="connsiteY720" fmla="*/ 6469670 h 6857997"/>
              <a:gd name="connsiteX721" fmla="*/ 913991 w 12188817"/>
              <a:gd name="connsiteY721" fmla="*/ 6432765 h 6857997"/>
              <a:gd name="connsiteX722" fmla="*/ 883226 w 12188817"/>
              <a:gd name="connsiteY722" fmla="*/ 6416998 h 6857997"/>
              <a:gd name="connsiteX723" fmla="*/ 5757199 w 12188817"/>
              <a:gd name="connsiteY723" fmla="*/ 6416929 h 6857997"/>
              <a:gd name="connsiteX724" fmla="*/ 5737086 w 12188817"/>
              <a:gd name="connsiteY724" fmla="*/ 6422897 h 6857997"/>
              <a:gd name="connsiteX725" fmla="*/ 5722805 w 12188817"/>
              <a:gd name="connsiteY725" fmla="*/ 6440559 h 6857997"/>
              <a:gd name="connsiteX726" fmla="*/ 5717534 w 12188817"/>
              <a:gd name="connsiteY726" fmla="*/ 6469146 h 6857997"/>
              <a:gd name="connsiteX727" fmla="*/ 5722800 w 12188817"/>
              <a:gd name="connsiteY727" fmla="*/ 6498815 h 6857997"/>
              <a:gd name="connsiteX728" fmla="*/ 5736335 w 12188817"/>
              <a:gd name="connsiteY728" fmla="*/ 6517070 h 6857997"/>
              <a:gd name="connsiteX729" fmla="*/ 5756253 w 12188817"/>
              <a:gd name="connsiteY729" fmla="*/ 6522759 h 6857997"/>
              <a:gd name="connsiteX730" fmla="*/ 5778751 w 12188817"/>
              <a:gd name="connsiteY730" fmla="*/ 6514283 h 6857997"/>
              <a:gd name="connsiteX731" fmla="*/ 5791692 w 12188817"/>
              <a:gd name="connsiteY731" fmla="*/ 6488575 h 6857997"/>
              <a:gd name="connsiteX732" fmla="*/ 5780529 w 12188817"/>
              <a:gd name="connsiteY732" fmla="*/ 6485157 h 6857997"/>
              <a:gd name="connsiteX733" fmla="*/ 5771703 w 12188817"/>
              <a:gd name="connsiteY733" fmla="*/ 6504726 h 6857997"/>
              <a:gd name="connsiteX734" fmla="*/ 5756044 w 12188817"/>
              <a:gd name="connsiteY734" fmla="*/ 6511179 h 6857997"/>
              <a:gd name="connsiteX735" fmla="*/ 5736369 w 12188817"/>
              <a:gd name="connsiteY735" fmla="*/ 6500671 h 6857997"/>
              <a:gd name="connsiteX736" fmla="*/ 5728974 w 12188817"/>
              <a:gd name="connsiteY736" fmla="*/ 6469145 h 6857997"/>
              <a:gd name="connsiteX737" fmla="*/ 5732644 w 12188817"/>
              <a:gd name="connsiteY737" fmla="*/ 6446175 h 6857997"/>
              <a:gd name="connsiteX738" fmla="*/ 5742457 w 12188817"/>
              <a:gd name="connsiteY738" fmla="*/ 6432804 h 6857997"/>
              <a:gd name="connsiteX739" fmla="*/ 5756988 w 12188817"/>
              <a:gd name="connsiteY739" fmla="*/ 6428509 h 6857997"/>
              <a:gd name="connsiteX740" fmla="*/ 5779412 w 12188817"/>
              <a:gd name="connsiteY740" fmla="*/ 6449787 h 6857997"/>
              <a:gd name="connsiteX741" fmla="*/ 5790296 w 12188817"/>
              <a:gd name="connsiteY741" fmla="*/ 6446648 h 6857997"/>
              <a:gd name="connsiteX742" fmla="*/ 5778076 w 12188817"/>
              <a:gd name="connsiteY742" fmla="*/ 6424480 h 6857997"/>
              <a:gd name="connsiteX743" fmla="*/ 5757199 w 12188817"/>
              <a:gd name="connsiteY743" fmla="*/ 6416929 h 6857997"/>
              <a:gd name="connsiteX744" fmla="*/ 2249524 w 12188817"/>
              <a:gd name="connsiteY744" fmla="*/ 6416929 h 6857997"/>
              <a:gd name="connsiteX745" fmla="*/ 2227897 w 12188817"/>
              <a:gd name="connsiteY745" fmla="*/ 6424812 h 6857997"/>
              <a:gd name="connsiteX746" fmla="*/ 2219874 w 12188817"/>
              <a:gd name="connsiteY746" fmla="*/ 6445113 h 6857997"/>
              <a:gd name="connsiteX747" fmla="*/ 2222665 w 12188817"/>
              <a:gd name="connsiteY747" fmla="*/ 6457496 h 6857997"/>
              <a:gd name="connsiteX748" fmla="*/ 2230478 w 12188817"/>
              <a:gd name="connsiteY748" fmla="*/ 6466530 h 6857997"/>
              <a:gd name="connsiteX749" fmla="*/ 2247361 w 12188817"/>
              <a:gd name="connsiteY749" fmla="*/ 6473609 h 6857997"/>
              <a:gd name="connsiteX750" fmla="*/ 2264697 w 12188817"/>
              <a:gd name="connsiteY750" fmla="*/ 6479711 h 6857997"/>
              <a:gd name="connsiteX751" fmla="*/ 2270697 w 12188817"/>
              <a:gd name="connsiteY751" fmla="*/ 6485246 h 6857997"/>
              <a:gd name="connsiteX752" fmla="*/ 2272685 w 12188817"/>
              <a:gd name="connsiteY752" fmla="*/ 6493147 h 6857997"/>
              <a:gd name="connsiteX753" fmla="*/ 2267209 w 12188817"/>
              <a:gd name="connsiteY753" fmla="*/ 6505713 h 6857997"/>
              <a:gd name="connsiteX754" fmla="*/ 2251826 w 12188817"/>
              <a:gd name="connsiteY754" fmla="*/ 6510551 h 6857997"/>
              <a:gd name="connsiteX755" fmla="*/ 2239408 w 12188817"/>
              <a:gd name="connsiteY755" fmla="*/ 6507690 h 6857997"/>
              <a:gd name="connsiteX756" fmla="*/ 2230932 w 12188817"/>
              <a:gd name="connsiteY756" fmla="*/ 6500121 h 6857997"/>
              <a:gd name="connsiteX757" fmla="*/ 2227130 w 12188817"/>
              <a:gd name="connsiteY757" fmla="*/ 6486971 h 6857997"/>
              <a:gd name="connsiteX758" fmla="*/ 2216665 w 12188817"/>
              <a:gd name="connsiteY758" fmla="*/ 6488087 h 6857997"/>
              <a:gd name="connsiteX759" fmla="*/ 2226258 w 12188817"/>
              <a:gd name="connsiteY759" fmla="*/ 6513411 h 6857997"/>
              <a:gd name="connsiteX760" fmla="*/ 2251059 w 12188817"/>
              <a:gd name="connsiteY760" fmla="*/ 6522759 h 6857997"/>
              <a:gd name="connsiteX761" fmla="*/ 2268116 w 12188817"/>
              <a:gd name="connsiteY761" fmla="*/ 6518996 h 6857997"/>
              <a:gd name="connsiteX762" fmla="*/ 2279313 w 12188817"/>
              <a:gd name="connsiteY762" fmla="*/ 6508020 h 6857997"/>
              <a:gd name="connsiteX763" fmla="*/ 2283429 w 12188817"/>
              <a:gd name="connsiteY763" fmla="*/ 6492028 h 6857997"/>
              <a:gd name="connsiteX764" fmla="*/ 2279514 w 12188817"/>
              <a:gd name="connsiteY764" fmla="*/ 6476800 h 6857997"/>
              <a:gd name="connsiteX765" fmla="*/ 2267928 w 12188817"/>
              <a:gd name="connsiteY765" fmla="*/ 6466500 h 6857997"/>
              <a:gd name="connsiteX766" fmla="*/ 2250496 w 12188817"/>
              <a:gd name="connsiteY766" fmla="*/ 6460543 h 6857997"/>
              <a:gd name="connsiteX767" fmla="*/ 2234177 w 12188817"/>
              <a:gd name="connsiteY767" fmla="*/ 6453621 h 6857997"/>
              <a:gd name="connsiteX768" fmla="*/ 2230548 w 12188817"/>
              <a:gd name="connsiteY768" fmla="*/ 6443995 h 6857997"/>
              <a:gd name="connsiteX769" fmla="*/ 2235501 w 12188817"/>
              <a:gd name="connsiteY769" fmla="*/ 6433078 h 6857997"/>
              <a:gd name="connsiteX770" fmla="*/ 2249873 w 12188817"/>
              <a:gd name="connsiteY770" fmla="*/ 6428858 h 6857997"/>
              <a:gd name="connsiteX771" fmla="*/ 2264279 w 12188817"/>
              <a:gd name="connsiteY771" fmla="*/ 6433672 h 6857997"/>
              <a:gd name="connsiteX772" fmla="*/ 2270243 w 12188817"/>
              <a:gd name="connsiteY772" fmla="*/ 6448462 h 6857997"/>
              <a:gd name="connsiteX773" fmla="*/ 2280917 w 12188817"/>
              <a:gd name="connsiteY773" fmla="*/ 6447485 h 6857997"/>
              <a:gd name="connsiteX774" fmla="*/ 2276766 w 12188817"/>
              <a:gd name="connsiteY774" fmla="*/ 6431230 h 6857997"/>
              <a:gd name="connsiteX775" fmla="*/ 2265883 w 12188817"/>
              <a:gd name="connsiteY775" fmla="*/ 6420626 h 6857997"/>
              <a:gd name="connsiteX776" fmla="*/ 2249524 w 12188817"/>
              <a:gd name="connsiteY776" fmla="*/ 6416929 h 6857997"/>
              <a:gd name="connsiteX777" fmla="*/ 2107518 w 12188817"/>
              <a:gd name="connsiteY777" fmla="*/ 6416929 h 6857997"/>
              <a:gd name="connsiteX778" fmla="*/ 2085892 w 12188817"/>
              <a:gd name="connsiteY778" fmla="*/ 6422827 h 6857997"/>
              <a:gd name="connsiteX779" fmla="*/ 2071102 w 12188817"/>
              <a:gd name="connsiteY779" fmla="*/ 6441152 h 6857997"/>
              <a:gd name="connsiteX780" fmla="*/ 2065451 w 12188817"/>
              <a:gd name="connsiteY780" fmla="*/ 6470332 h 6857997"/>
              <a:gd name="connsiteX781" fmla="*/ 2071067 w 12188817"/>
              <a:gd name="connsiteY781" fmla="*/ 6498675 h 6857997"/>
              <a:gd name="connsiteX782" fmla="*/ 2086310 w 12188817"/>
              <a:gd name="connsiteY782" fmla="*/ 6516616 h 6857997"/>
              <a:gd name="connsiteX783" fmla="*/ 2108216 w 12188817"/>
              <a:gd name="connsiteY783" fmla="*/ 6522759 h 6857997"/>
              <a:gd name="connsiteX784" fmla="*/ 2126145 w 12188817"/>
              <a:gd name="connsiteY784" fmla="*/ 6518748 h 6857997"/>
              <a:gd name="connsiteX785" fmla="*/ 2143028 w 12188817"/>
              <a:gd name="connsiteY785" fmla="*/ 6506784 h 6857997"/>
              <a:gd name="connsiteX786" fmla="*/ 2143028 w 12188817"/>
              <a:gd name="connsiteY786" fmla="*/ 6468763 h 6857997"/>
              <a:gd name="connsiteX787" fmla="*/ 2107518 w 12188817"/>
              <a:gd name="connsiteY787" fmla="*/ 6468832 h 6857997"/>
              <a:gd name="connsiteX788" fmla="*/ 2107518 w 12188817"/>
              <a:gd name="connsiteY788" fmla="*/ 6480901 h 6857997"/>
              <a:gd name="connsiteX789" fmla="*/ 2132145 w 12188817"/>
              <a:gd name="connsiteY789" fmla="*/ 6480901 h 6857997"/>
              <a:gd name="connsiteX790" fmla="*/ 2132145 w 12188817"/>
              <a:gd name="connsiteY790" fmla="*/ 6499947 h 6857997"/>
              <a:gd name="connsiteX791" fmla="*/ 2121227 w 12188817"/>
              <a:gd name="connsiteY791" fmla="*/ 6507411 h 6857997"/>
              <a:gd name="connsiteX792" fmla="*/ 2107798 w 12188817"/>
              <a:gd name="connsiteY792" fmla="*/ 6510551 h 6857997"/>
              <a:gd name="connsiteX793" fmla="*/ 2085473 w 12188817"/>
              <a:gd name="connsiteY793" fmla="*/ 6500322 h 6857997"/>
              <a:gd name="connsiteX794" fmla="*/ 2076892 w 12188817"/>
              <a:gd name="connsiteY794" fmla="*/ 6469565 h 6857997"/>
              <a:gd name="connsiteX795" fmla="*/ 2080904 w 12188817"/>
              <a:gd name="connsiteY795" fmla="*/ 6446733 h 6857997"/>
              <a:gd name="connsiteX796" fmla="*/ 2091508 w 12188817"/>
              <a:gd name="connsiteY796" fmla="*/ 6432943 h 6857997"/>
              <a:gd name="connsiteX797" fmla="*/ 2107239 w 12188817"/>
              <a:gd name="connsiteY797" fmla="*/ 6428509 h 6857997"/>
              <a:gd name="connsiteX798" fmla="*/ 2118541 w 12188817"/>
              <a:gd name="connsiteY798" fmla="*/ 6430951 h 6857997"/>
              <a:gd name="connsiteX799" fmla="*/ 2126634 w 12188817"/>
              <a:gd name="connsiteY799" fmla="*/ 6437683 h 6857997"/>
              <a:gd name="connsiteX800" fmla="*/ 2131726 w 12188817"/>
              <a:gd name="connsiteY800" fmla="*/ 6450624 h 6857997"/>
              <a:gd name="connsiteX801" fmla="*/ 2141702 w 12188817"/>
              <a:gd name="connsiteY801" fmla="*/ 6447276 h 6857997"/>
              <a:gd name="connsiteX802" fmla="*/ 2135005 w 12188817"/>
              <a:gd name="connsiteY802" fmla="*/ 6430044 h 6857997"/>
              <a:gd name="connsiteX803" fmla="*/ 2123634 w 12188817"/>
              <a:gd name="connsiteY803" fmla="*/ 6420347 h 6857997"/>
              <a:gd name="connsiteX804" fmla="*/ 2107518 w 12188817"/>
              <a:gd name="connsiteY804" fmla="*/ 6416929 h 6857997"/>
              <a:gd name="connsiteX805" fmla="*/ 1516099 w 12188817"/>
              <a:gd name="connsiteY805" fmla="*/ 6416929 h 6857997"/>
              <a:gd name="connsiteX806" fmla="*/ 1494472 w 12188817"/>
              <a:gd name="connsiteY806" fmla="*/ 6424812 h 6857997"/>
              <a:gd name="connsiteX807" fmla="*/ 1486449 w 12188817"/>
              <a:gd name="connsiteY807" fmla="*/ 6445113 h 6857997"/>
              <a:gd name="connsiteX808" fmla="*/ 1489240 w 12188817"/>
              <a:gd name="connsiteY808" fmla="*/ 6457496 h 6857997"/>
              <a:gd name="connsiteX809" fmla="*/ 1497053 w 12188817"/>
              <a:gd name="connsiteY809" fmla="*/ 6466530 h 6857997"/>
              <a:gd name="connsiteX810" fmla="*/ 1513936 w 12188817"/>
              <a:gd name="connsiteY810" fmla="*/ 6473609 h 6857997"/>
              <a:gd name="connsiteX811" fmla="*/ 1531272 w 12188817"/>
              <a:gd name="connsiteY811" fmla="*/ 6479711 h 6857997"/>
              <a:gd name="connsiteX812" fmla="*/ 1537272 w 12188817"/>
              <a:gd name="connsiteY812" fmla="*/ 6485246 h 6857997"/>
              <a:gd name="connsiteX813" fmla="*/ 1539260 w 12188817"/>
              <a:gd name="connsiteY813" fmla="*/ 6493147 h 6857997"/>
              <a:gd name="connsiteX814" fmla="*/ 1533784 w 12188817"/>
              <a:gd name="connsiteY814" fmla="*/ 6505713 h 6857997"/>
              <a:gd name="connsiteX815" fmla="*/ 1518401 w 12188817"/>
              <a:gd name="connsiteY815" fmla="*/ 6510551 h 6857997"/>
              <a:gd name="connsiteX816" fmla="*/ 1505983 w 12188817"/>
              <a:gd name="connsiteY816" fmla="*/ 6507690 h 6857997"/>
              <a:gd name="connsiteX817" fmla="*/ 1497507 w 12188817"/>
              <a:gd name="connsiteY817" fmla="*/ 6500121 h 6857997"/>
              <a:gd name="connsiteX818" fmla="*/ 1493705 w 12188817"/>
              <a:gd name="connsiteY818" fmla="*/ 6486971 h 6857997"/>
              <a:gd name="connsiteX819" fmla="*/ 1483240 w 12188817"/>
              <a:gd name="connsiteY819" fmla="*/ 6488087 h 6857997"/>
              <a:gd name="connsiteX820" fmla="*/ 1492833 w 12188817"/>
              <a:gd name="connsiteY820" fmla="*/ 6513411 h 6857997"/>
              <a:gd name="connsiteX821" fmla="*/ 1517633 w 12188817"/>
              <a:gd name="connsiteY821" fmla="*/ 6522759 h 6857997"/>
              <a:gd name="connsiteX822" fmla="*/ 1534691 w 12188817"/>
              <a:gd name="connsiteY822" fmla="*/ 6518996 h 6857997"/>
              <a:gd name="connsiteX823" fmla="*/ 1545887 w 12188817"/>
              <a:gd name="connsiteY823" fmla="*/ 6508020 h 6857997"/>
              <a:gd name="connsiteX824" fmla="*/ 1550004 w 12188817"/>
              <a:gd name="connsiteY824" fmla="*/ 6492028 h 6857997"/>
              <a:gd name="connsiteX825" fmla="*/ 1546089 w 12188817"/>
              <a:gd name="connsiteY825" fmla="*/ 6476800 h 6857997"/>
              <a:gd name="connsiteX826" fmla="*/ 1534503 w 12188817"/>
              <a:gd name="connsiteY826" fmla="*/ 6466500 h 6857997"/>
              <a:gd name="connsiteX827" fmla="*/ 1517071 w 12188817"/>
              <a:gd name="connsiteY827" fmla="*/ 6460543 h 6857997"/>
              <a:gd name="connsiteX828" fmla="*/ 1500752 w 12188817"/>
              <a:gd name="connsiteY828" fmla="*/ 6453621 h 6857997"/>
              <a:gd name="connsiteX829" fmla="*/ 1497123 w 12188817"/>
              <a:gd name="connsiteY829" fmla="*/ 6443995 h 6857997"/>
              <a:gd name="connsiteX830" fmla="*/ 1502076 w 12188817"/>
              <a:gd name="connsiteY830" fmla="*/ 6433078 h 6857997"/>
              <a:gd name="connsiteX831" fmla="*/ 1516448 w 12188817"/>
              <a:gd name="connsiteY831" fmla="*/ 6428858 h 6857997"/>
              <a:gd name="connsiteX832" fmla="*/ 1530854 w 12188817"/>
              <a:gd name="connsiteY832" fmla="*/ 6433672 h 6857997"/>
              <a:gd name="connsiteX833" fmla="*/ 1536818 w 12188817"/>
              <a:gd name="connsiteY833" fmla="*/ 6448462 h 6857997"/>
              <a:gd name="connsiteX834" fmla="*/ 1547492 w 12188817"/>
              <a:gd name="connsiteY834" fmla="*/ 6447485 h 6857997"/>
              <a:gd name="connsiteX835" fmla="*/ 1543341 w 12188817"/>
              <a:gd name="connsiteY835" fmla="*/ 6431230 h 6857997"/>
              <a:gd name="connsiteX836" fmla="*/ 1532458 w 12188817"/>
              <a:gd name="connsiteY836" fmla="*/ 6420626 h 6857997"/>
              <a:gd name="connsiteX837" fmla="*/ 1516099 w 12188817"/>
              <a:gd name="connsiteY837" fmla="*/ 6416929 h 6857997"/>
              <a:gd name="connsiteX838" fmla="*/ 999308 w 12188817"/>
              <a:gd name="connsiteY838" fmla="*/ 6416929 h 6857997"/>
              <a:gd name="connsiteX839" fmla="*/ 979197 w 12188817"/>
              <a:gd name="connsiteY839" fmla="*/ 6422897 h 6857997"/>
              <a:gd name="connsiteX840" fmla="*/ 964916 w 12188817"/>
              <a:gd name="connsiteY840" fmla="*/ 6440559 h 6857997"/>
              <a:gd name="connsiteX841" fmla="*/ 959644 w 12188817"/>
              <a:gd name="connsiteY841" fmla="*/ 6469146 h 6857997"/>
              <a:gd name="connsiteX842" fmla="*/ 964911 w 12188817"/>
              <a:gd name="connsiteY842" fmla="*/ 6498815 h 6857997"/>
              <a:gd name="connsiteX843" fmla="*/ 978445 w 12188817"/>
              <a:gd name="connsiteY843" fmla="*/ 6517070 h 6857997"/>
              <a:gd name="connsiteX844" fmla="*/ 998363 w 12188817"/>
              <a:gd name="connsiteY844" fmla="*/ 6522759 h 6857997"/>
              <a:gd name="connsiteX845" fmla="*/ 1020862 w 12188817"/>
              <a:gd name="connsiteY845" fmla="*/ 6514283 h 6857997"/>
              <a:gd name="connsiteX846" fmla="*/ 1033803 w 12188817"/>
              <a:gd name="connsiteY846" fmla="*/ 6488575 h 6857997"/>
              <a:gd name="connsiteX847" fmla="*/ 1022640 w 12188817"/>
              <a:gd name="connsiteY847" fmla="*/ 6485157 h 6857997"/>
              <a:gd name="connsiteX848" fmla="*/ 1013815 w 12188817"/>
              <a:gd name="connsiteY848" fmla="*/ 6504726 h 6857997"/>
              <a:gd name="connsiteX849" fmla="*/ 998154 w 12188817"/>
              <a:gd name="connsiteY849" fmla="*/ 6511179 h 6857997"/>
              <a:gd name="connsiteX850" fmla="*/ 978480 w 12188817"/>
              <a:gd name="connsiteY850" fmla="*/ 6500671 h 6857997"/>
              <a:gd name="connsiteX851" fmla="*/ 971086 w 12188817"/>
              <a:gd name="connsiteY851" fmla="*/ 6469145 h 6857997"/>
              <a:gd name="connsiteX852" fmla="*/ 974753 w 12188817"/>
              <a:gd name="connsiteY852" fmla="*/ 6446175 h 6857997"/>
              <a:gd name="connsiteX853" fmla="*/ 984568 w 12188817"/>
              <a:gd name="connsiteY853" fmla="*/ 6432804 h 6857997"/>
              <a:gd name="connsiteX854" fmla="*/ 999100 w 12188817"/>
              <a:gd name="connsiteY854" fmla="*/ 6428509 h 6857997"/>
              <a:gd name="connsiteX855" fmla="*/ 1021524 w 12188817"/>
              <a:gd name="connsiteY855" fmla="*/ 6449787 h 6857997"/>
              <a:gd name="connsiteX856" fmla="*/ 1032407 w 12188817"/>
              <a:gd name="connsiteY856" fmla="*/ 6446648 h 6857997"/>
              <a:gd name="connsiteX857" fmla="*/ 1020187 w 12188817"/>
              <a:gd name="connsiteY857" fmla="*/ 6424480 h 6857997"/>
              <a:gd name="connsiteX858" fmla="*/ 999308 w 12188817"/>
              <a:gd name="connsiteY858" fmla="*/ 6416929 h 6857997"/>
              <a:gd name="connsiteX859" fmla="*/ 10831505 w 12188817"/>
              <a:gd name="connsiteY859" fmla="*/ 6415084 h 6857997"/>
              <a:gd name="connsiteX860" fmla="*/ 10873860 w 12188817"/>
              <a:gd name="connsiteY860" fmla="*/ 6415084 h 6857997"/>
              <a:gd name="connsiteX861" fmla="*/ 10904530 w 12188817"/>
              <a:gd name="connsiteY861" fmla="*/ 6430343 h 6857997"/>
              <a:gd name="connsiteX862" fmla="*/ 10873860 w 12188817"/>
              <a:gd name="connsiteY862" fmla="*/ 6445247 h 6857997"/>
              <a:gd name="connsiteX863" fmla="*/ 10831505 w 12188817"/>
              <a:gd name="connsiteY863" fmla="*/ 6445247 h 6857997"/>
              <a:gd name="connsiteX864" fmla="*/ 11108524 w 12188817"/>
              <a:gd name="connsiteY864" fmla="*/ 6410322 h 6857997"/>
              <a:gd name="connsiteX865" fmla="*/ 11152180 w 12188817"/>
              <a:gd name="connsiteY865" fmla="*/ 6454961 h 6857997"/>
              <a:gd name="connsiteX866" fmla="*/ 11108524 w 12188817"/>
              <a:gd name="connsiteY866" fmla="*/ 6499222 h 6857997"/>
              <a:gd name="connsiteX867" fmla="*/ 11064867 w 12188817"/>
              <a:gd name="connsiteY867" fmla="*/ 6453827 h 6857997"/>
              <a:gd name="connsiteX868" fmla="*/ 11108524 w 12188817"/>
              <a:gd name="connsiteY868" fmla="*/ 6410322 h 6857997"/>
              <a:gd name="connsiteX869" fmla="*/ 11212505 w 12188817"/>
              <a:gd name="connsiteY869" fmla="*/ 6391272 h 6857997"/>
              <a:gd name="connsiteX870" fmla="*/ 11212505 w 12188817"/>
              <a:gd name="connsiteY870" fmla="*/ 6518272 h 6857997"/>
              <a:gd name="connsiteX871" fmla="*/ 11246059 w 12188817"/>
              <a:gd name="connsiteY871" fmla="*/ 6518272 h 6857997"/>
              <a:gd name="connsiteX872" fmla="*/ 11246059 w 12188817"/>
              <a:gd name="connsiteY872" fmla="*/ 6422083 h 6857997"/>
              <a:gd name="connsiteX873" fmla="*/ 11315692 w 12188817"/>
              <a:gd name="connsiteY873" fmla="*/ 6518272 h 6857997"/>
              <a:gd name="connsiteX874" fmla="*/ 11355380 w 12188817"/>
              <a:gd name="connsiteY874" fmla="*/ 6518272 h 6857997"/>
              <a:gd name="connsiteX875" fmla="*/ 11355380 w 12188817"/>
              <a:gd name="connsiteY875" fmla="*/ 6391272 h 6857997"/>
              <a:gd name="connsiteX876" fmla="*/ 11322187 w 12188817"/>
              <a:gd name="connsiteY876" fmla="*/ 6391272 h 6857997"/>
              <a:gd name="connsiteX877" fmla="*/ 11322187 w 12188817"/>
              <a:gd name="connsiteY877" fmla="*/ 6482577 h 6857997"/>
              <a:gd name="connsiteX878" fmla="*/ 11255800 w 12188817"/>
              <a:gd name="connsiteY878" fmla="*/ 6391272 h 6857997"/>
              <a:gd name="connsiteX879" fmla="*/ 10968030 w 12188817"/>
              <a:gd name="connsiteY879" fmla="*/ 6391272 h 6857997"/>
              <a:gd name="connsiteX880" fmla="*/ 10968030 w 12188817"/>
              <a:gd name="connsiteY880" fmla="*/ 6518272 h 6857997"/>
              <a:gd name="connsiteX881" fmla="*/ 11002955 w 12188817"/>
              <a:gd name="connsiteY881" fmla="*/ 6518272 h 6857997"/>
              <a:gd name="connsiteX882" fmla="*/ 11002955 w 12188817"/>
              <a:gd name="connsiteY882" fmla="*/ 6391272 h 6857997"/>
              <a:gd name="connsiteX883" fmla="*/ 10798167 w 12188817"/>
              <a:gd name="connsiteY883" fmla="*/ 6391272 h 6857997"/>
              <a:gd name="connsiteX884" fmla="*/ 10798167 w 12188817"/>
              <a:gd name="connsiteY884" fmla="*/ 6518272 h 6857997"/>
              <a:gd name="connsiteX885" fmla="*/ 10832210 w 12188817"/>
              <a:gd name="connsiteY885" fmla="*/ 6518272 h 6857997"/>
              <a:gd name="connsiteX886" fmla="*/ 10832210 w 12188817"/>
              <a:gd name="connsiteY886" fmla="*/ 6468299 h 6857997"/>
              <a:gd name="connsiteX887" fmla="*/ 10871986 w 12188817"/>
              <a:gd name="connsiteY887" fmla="*/ 6468299 h 6857997"/>
              <a:gd name="connsiteX888" fmla="*/ 10907462 w 12188817"/>
              <a:gd name="connsiteY888" fmla="*/ 6518272 h 6857997"/>
              <a:gd name="connsiteX889" fmla="*/ 10945805 w 12188817"/>
              <a:gd name="connsiteY889" fmla="*/ 6518272 h 6857997"/>
              <a:gd name="connsiteX890" fmla="*/ 10905670 w 12188817"/>
              <a:gd name="connsiteY890" fmla="*/ 6465293 h 6857997"/>
              <a:gd name="connsiteX891" fmla="*/ 10938280 w 12188817"/>
              <a:gd name="connsiteY891" fmla="*/ 6429598 h 6857997"/>
              <a:gd name="connsiteX892" fmla="*/ 10881661 w 12188817"/>
              <a:gd name="connsiteY892" fmla="*/ 6391272 h 6857997"/>
              <a:gd name="connsiteX893" fmla="*/ 10728317 w 12188817"/>
              <a:gd name="connsiteY893" fmla="*/ 6391272 h 6857997"/>
              <a:gd name="connsiteX894" fmla="*/ 10728317 w 12188817"/>
              <a:gd name="connsiteY894" fmla="*/ 6518272 h 6857997"/>
              <a:gd name="connsiteX895" fmla="*/ 10763242 w 12188817"/>
              <a:gd name="connsiteY895" fmla="*/ 6518272 h 6857997"/>
              <a:gd name="connsiteX896" fmla="*/ 10763242 w 12188817"/>
              <a:gd name="connsiteY896" fmla="*/ 6391272 h 6857997"/>
              <a:gd name="connsiteX897" fmla="*/ 10604321 w 12188817"/>
              <a:gd name="connsiteY897" fmla="*/ 6391272 h 6857997"/>
              <a:gd name="connsiteX898" fmla="*/ 10547342 w 12188817"/>
              <a:gd name="connsiteY898" fmla="*/ 6429973 h 6857997"/>
              <a:gd name="connsiteX899" fmla="*/ 10601436 w 12188817"/>
              <a:gd name="connsiteY899" fmla="*/ 6466420 h 6857997"/>
              <a:gd name="connsiteX900" fmla="*/ 10641466 w 12188817"/>
              <a:gd name="connsiteY900" fmla="*/ 6466420 h 6857997"/>
              <a:gd name="connsiteX901" fmla="*/ 10665628 w 12188817"/>
              <a:gd name="connsiteY901" fmla="*/ 6481074 h 6857997"/>
              <a:gd name="connsiteX902" fmla="*/ 10639302 w 12188817"/>
              <a:gd name="connsiteY902" fmla="*/ 6495352 h 6857997"/>
              <a:gd name="connsiteX903" fmla="*/ 10553833 w 12188817"/>
              <a:gd name="connsiteY903" fmla="*/ 6495352 h 6857997"/>
              <a:gd name="connsiteX904" fmla="*/ 10553833 w 12188817"/>
              <a:gd name="connsiteY904" fmla="*/ 6518272 h 6857997"/>
              <a:gd name="connsiteX905" fmla="*/ 10644711 w 12188817"/>
              <a:gd name="connsiteY905" fmla="*/ 6518272 h 6857997"/>
              <a:gd name="connsiteX906" fmla="*/ 10701330 w 12188817"/>
              <a:gd name="connsiteY906" fmla="*/ 6480323 h 6857997"/>
              <a:gd name="connsiteX907" fmla="*/ 10649760 w 12188817"/>
              <a:gd name="connsiteY907" fmla="*/ 6444252 h 6857997"/>
              <a:gd name="connsiteX908" fmla="*/ 10604321 w 12188817"/>
              <a:gd name="connsiteY908" fmla="*/ 6444252 h 6857997"/>
              <a:gd name="connsiteX909" fmla="*/ 10583044 w 12188817"/>
              <a:gd name="connsiteY909" fmla="*/ 6430349 h 6857997"/>
              <a:gd name="connsiteX910" fmla="*/ 10609009 w 12188817"/>
              <a:gd name="connsiteY910" fmla="*/ 6413817 h 6857997"/>
              <a:gd name="connsiteX911" fmla="*/ 10693396 w 12188817"/>
              <a:gd name="connsiteY911" fmla="*/ 6413817 h 6857997"/>
              <a:gd name="connsiteX912" fmla="*/ 10693396 w 12188817"/>
              <a:gd name="connsiteY912" fmla="*/ 6391272 h 6857997"/>
              <a:gd name="connsiteX913" fmla="*/ 10490061 w 12188817"/>
              <a:gd name="connsiteY913" fmla="*/ 6391272 h 6857997"/>
              <a:gd name="connsiteX914" fmla="*/ 10490061 w 12188817"/>
              <a:gd name="connsiteY914" fmla="*/ 6482682 h 6857997"/>
              <a:gd name="connsiteX915" fmla="*/ 10423841 w 12188817"/>
              <a:gd name="connsiteY915" fmla="*/ 6391647 h 6857997"/>
              <a:gd name="connsiteX916" fmla="*/ 10380655 w 12188817"/>
              <a:gd name="connsiteY916" fmla="*/ 6391647 h 6857997"/>
              <a:gd name="connsiteX917" fmla="*/ 10380655 w 12188817"/>
              <a:gd name="connsiteY917" fmla="*/ 6518272 h 6857997"/>
              <a:gd name="connsiteX918" fmla="*/ 10414124 w 12188817"/>
              <a:gd name="connsiteY918" fmla="*/ 6518272 h 6857997"/>
              <a:gd name="connsiteX919" fmla="*/ 10414124 w 12188817"/>
              <a:gd name="connsiteY919" fmla="*/ 6422367 h 6857997"/>
              <a:gd name="connsiteX920" fmla="*/ 10483942 w 12188817"/>
              <a:gd name="connsiteY920" fmla="*/ 6518272 h 6857997"/>
              <a:gd name="connsiteX921" fmla="*/ 10523170 w 12188817"/>
              <a:gd name="connsiteY921" fmla="*/ 6518272 h 6857997"/>
              <a:gd name="connsiteX922" fmla="*/ 10523530 w 12188817"/>
              <a:gd name="connsiteY922" fmla="*/ 6391272 h 6857997"/>
              <a:gd name="connsiteX923" fmla="*/ 10293755 w 12188817"/>
              <a:gd name="connsiteY923" fmla="*/ 6391272 h 6857997"/>
              <a:gd name="connsiteX924" fmla="*/ 10217142 w 12188817"/>
              <a:gd name="connsiteY924" fmla="*/ 6457027 h 6857997"/>
              <a:gd name="connsiteX925" fmla="*/ 10242077 w 12188817"/>
              <a:gd name="connsiteY925" fmla="*/ 6507000 h 6857997"/>
              <a:gd name="connsiteX926" fmla="*/ 10293032 w 12188817"/>
              <a:gd name="connsiteY926" fmla="*/ 6518272 h 6857997"/>
              <a:gd name="connsiteX927" fmla="*/ 10350492 w 12188817"/>
              <a:gd name="connsiteY927" fmla="*/ 6518272 h 6857997"/>
              <a:gd name="connsiteX928" fmla="*/ 10350492 w 12188817"/>
              <a:gd name="connsiteY928" fmla="*/ 6496104 h 6857997"/>
              <a:gd name="connsiteX929" fmla="*/ 10294478 w 12188817"/>
              <a:gd name="connsiteY929" fmla="*/ 6496104 h 6857997"/>
              <a:gd name="connsiteX930" fmla="*/ 10255810 w 12188817"/>
              <a:gd name="connsiteY930" fmla="*/ 6464917 h 6857997"/>
              <a:gd name="connsiteX931" fmla="*/ 10350492 w 12188817"/>
              <a:gd name="connsiteY931" fmla="*/ 6464917 h 6857997"/>
              <a:gd name="connsiteX932" fmla="*/ 10350492 w 12188817"/>
              <a:gd name="connsiteY932" fmla="*/ 6442749 h 6857997"/>
              <a:gd name="connsiteX933" fmla="*/ 10255810 w 12188817"/>
              <a:gd name="connsiteY933" fmla="*/ 6442749 h 6857997"/>
              <a:gd name="connsiteX934" fmla="*/ 10294478 w 12188817"/>
              <a:gd name="connsiteY934" fmla="*/ 6413441 h 6857997"/>
              <a:gd name="connsiteX935" fmla="*/ 10350492 w 12188817"/>
              <a:gd name="connsiteY935" fmla="*/ 6413441 h 6857997"/>
              <a:gd name="connsiteX936" fmla="*/ 10350492 w 12188817"/>
              <a:gd name="connsiteY936" fmla="*/ 6391272 h 6857997"/>
              <a:gd name="connsiteX937" fmla="*/ 10104126 w 12188817"/>
              <a:gd name="connsiteY937" fmla="*/ 6391272 h 6857997"/>
              <a:gd name="connsiteX938" fmla="*/ 10047280 w 12188817"/>
              <a:gd name="connsiteY938" fmla="*/ 6429973 h 6857997"/>
              <a:gd name="connsiteX939" fmla="*/ 10101248 w 12188817"/>
              <a:gd name="connsiteY939" fmla="*/ 6466420 h 6857997"/>
              <a:gd name="connsiteX940" fmla="*/ 10141184 w 12188817"/>
              <a:gd name="connsiteY940" fmla="*/ 6466420 h 6857997"/>
              <a:gd name="connsiteX941" fmla="*/ 10165649 w 12188817"/>
              <a:gd name="connsiteY941" fmla="*/ 6481074 h 6857997"/>
              <a:gd name="connsiteX942" fmla="*/ 10139025 w 12188817"/>
              <a:gd name="connsiteY942" fmla="*/ 6495352 h 6857997"/>
              <a:gd name="connsiteX943" fmla="*/ 10053756 w 12188817"/>
              <a:gd name="connsiteY943" fmla="*/ 6495352 h 6857997"/>
              <a:gd name="connsiteX944" fmla="*/ 10053756 w 12188817"/>
              <a:gd name="connsiteY944" fmla="*/ 6518272 h 6857997"/>
              <a:gd name="connsiteX945" fmla="*/ 10144422 w 12188817"/>
              <a:gd name="connsiteY945" fmla="*/ 6518272 h 6857997"/>
              <a:gd name="connsiteX946" fmla="*/ 10201268 w 12188817"/>
              <a:gd name="connsiteY946" fmla="*/ 6480323 h 6857997"/>
              <a:gd name="connsiteX947" fmla="*/ 10149459 w 12188817"/>
              <a:gd name="connsiteY947" fmla="*/ 6444252 h 6857997"/>
              <a:gd name="connsiteX948" fmla="*/ 10104486 w 12188817"/>
              <a:gd name="connsiteY948" fmla="*/ 6444252 h 6857997"/>
              <a:gd name="connsiteX949" fmla="*/ 10082899 w 12188817"/>
              <a:gd name="connsiteY949" fmla="*/ 6430349 h 6857997"/>
              <a:gd name="connsiteX950" fmla="*/ 10109163 w 12188817"/>
              <a:gd name="connsiteY950" fmla="*/ 6413817 h 6857997"/>
              <a:gd name="connsiteX951" fmla="*/ 10193353 w 12188817"/>
              <a:gd name="connsiteY951" fmla="*/ 6413817 h 6857997"/>
              <a:gd name="connsiteX952" fmla="*/ 10193353 w 12188817"/>
              <a:gd name="connsiteY952" fmla="*/ 6391272 h 6857997"/>
              <a:gd name="connsiteX953" fmla="*/ 11099976 w 12188817"/>
              <a:gd name="connsiteY953" fmla="*/ 6389684 h 6857997"/>
              <a:gd name="connsiteX954" fmla="*/ 11026767 w 12188817"/>
              <a:gd name="connsiteY954" fmla="*/ 6453474 h 6857997"/>
              <a:gd name="connsiteX955" fmla="*/ 11107910 w 12188817"/>
              <a:gd name="connsiteY955" fmla="*/ 6519859 h 6857997"/>
              <a:gd name="connsiteX956" fmla="*/ 11188692 w 12188817"/>
              <a:gd name="connsiteY956" fmla="*/ 6454586 h 6857997"/>
              <a:gd name="connsiteX957" fmla="*/ 11115844 w 12188817"/>
              <a:gd name="connsiteY957" fmla="*/ 6389684 h 6857997"/>
              <a:gd name="connsiteX958" fmla="*/ 0 w 12188817"/>
              <a:gd name="connsiteY958" fmla="*/ 0 h 6857997"/>
              <a:gd name="connsiteX959" fmla="*/ 12188817 w 12188817"/>
              <a:gd name="connsiteY959" fmla="*/ 0 h 6857997"/>
              <a:gd name="connsiteX960" fmla="*/ 12188817 w 12188817"/>
              <a:gd name="connsiteY960" fmla="*/ 3067874 h 6857997"/>
              <a:gd name="connsiteX961" fmla="*/ 12188817 w 12188817"/>
              <a:gd name="connsiteY961" fmla="*/ 3141660 h 6857997"/>
              <a:gd name="connsiteX962" fmla="*/ 12188817 w 12188817"/>
              <a:gd name="connsiteY962" fmla="*/ 6237284 h 6857997"/>
              <a:gd name="connsiteX963" fmla="*/ 12188817 w 12188817"/>
              <a:gd name="connsiteY963" fmla="*/ 6282150 h 6857997"/>
              <a:gd name="connsiteX964" fmla="*/ 12188817 w 12188817"/>
              <a:gd name="connsiteY964" fmla="*/ 6857997 h 6857997"/>
              <a:gd name="connsiteX965" fmla="*/ 0 w 12188817"/>
              <a:gd name="connsiteY965"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Lst>
            <a:rect l="l" t="t" r="r" b="b"/>
            <a:pathLst>
              <a:path w="12188817" h="6857997">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4" y="6483831"/>
                </a:moveTo>
                <a:lnTo>
                  <a:pt x="6291674" y="6488436"/>
                </a:lnTo>
                <a:cubicBezTo>
                  <a:pt x="6291674" y="6494528"/>
                  <a:pt x="6290930" y="6499168"/>
                  <a:pt x="6289442" y="6502354"/>
                </a:cubicBezTo>
                <a:cubicBezTo>
                  <a:pt x="6287953" y="6505539"/>
                  <a:pt x="6285709" y="6508086"/>
                  <a:pt x="6282709" y="6509993"/>
                </a:cubicBezTo>
                <a:cubicBezTo>
                  <a:pt x="6279710" y="6511900"/>
                  <a:pt x="6276373" y="6512853"/>
                  <a:pt x="6272698" y="6512853"/>
                </a:cubicBezTo>
                <a:cubicBezTo>
                  <a:pt x="6268838" y="6512853"/>
                  <a:pt x="6265815" y="6511795"/>
                  <a:pt x="6263629" y="6509679"/>
                </a:cubicBezTo>
                <a:cubicBezTo>
                  <a:pt x="6261443" y="6507563"/>
                  <a:pt x="6260350" y="6504737"/>
                  <a:pt x="6260350" y="6501203"/>
                </a:cubicBezTo>
                <a:cubicBezTo>
                  <a:pt x="6260350" y="6498924"/>
                  <a:pt x="6260827" y="6496912"/>
                  <a:pt x="6261780" y="6495168"/>
                </a:cubicBezTo>
                <a:cubicBezTo>
                  <a:pt x="6262734" y="6493424"/>
                  <a:pt x="6264071" y="6492075"/>
                  <a:pt x="6265792" y="6491122"/>
                </a:cubicBezTo>
                <a:cubicBezTo>
                  <a:pt x="6267513" y="6490168"/>
                  <a:pt x="6270536" y="6489320"/>
                  <a:pt x="6274861" y="6488575"/>
                </a:cubicBezTo>
                <a:cubicBezTo>
                  <a:pt x="6282302" y="6487273"/>
                  <a:pt x="6287907" y="6485692"/>
                  <a:pt x="6291674"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1" y="6455577"/>
                </a:moveTo>
                <a:cubicBezTo>
                  <a:pt x="6092407" y="6455577"/>
                  <a:pt x="6096616" y="6457880"/>
                  <a:pt x="6099918" y="6462484"/>
                </a:cubicBezTo>
                <a:cubicBezTo>
                  <a:pt x="6102197" y="6465647"/>
                  <a:pt x="6103569" y="6470437"/>
                  <a:pt x="6104034" y="6476855"/>
                </a:cubicBezTo>
                <a:lnTo>
                  <a:pt x="6070131" y="6476855"/>
                </a:lnTo>
                <a:cubicBezTo>
                  <a:pt x="6070457" y="6470344"/>
                  <a:pt x="6072247" y="6465170"/>
                  <a:pt x="6075502" y="6461333"/>
                </a:cubicBezTo>
                <a:cubicBezTo>
                  <a:pt x="6078757" y="6457496"/>
                  <a:pt x="6082689" y="6455577"/>
                  <a:pt x="6087291" y="6455577"/>
                </a:cubicBezTo>
                <a:close/>
                <a:moveTo>
                  <a:pt x="6018394" y="6455577"/>
                </a:moveTo>
                <a:cubicBezTo>
                  <a:pt x="6023280" y="6455577"/>
                  <a:pt x="6027331" y="6457961"/>
                  <a:pt x="6030544" y="6462728"/>
                </a:cubicBezTo>
                <a:cubicBezTo>
                  <a:pt x="6033753" y="6467495"/>
                  <a:pt x="6035357" y="6475065"/>
                  <a:pt x="6035357" y="6485436"/>
                </a:cubicBezTo>
                <a:cubicBezTo>
                  <a:pt x="6035357" y="6494459"/>
                  <a:pt x="6033753" y="6501203"/>
                  <a:pt x="6030544" y="6505667"/>
                </a:cubicBezTo>
                <a:cubicBezTo>
                  <a:pt x="6027331" y="6510132"/>
                  <a:pt x="6023537" y="6512365"/>
                  <a:pt x="6019162" y="6512365"/>
                </a:cubicBezTo>
                <a:cubicBezTo>
                  <a:pt x="6014741" y="6512365"/>
                  <a:pt x="6010868" y="6510039"/>
                  <a:pt x="6007540" y="6505388"/>
                </a:cubicBezTo>
                <a:cubicBezTo>
                  <a:pt x="6004214" y="6500737"/>
                  <a:pt x="6002550" y="6493622"/>
                  <a:pt x="6002550" y="6484041"/>
                </a:cubicBezTo>
                <a:cubicBezTo>
                  <a:pt x="6002550" y="6474227"/>
                  <a:pt x="6004108" y="6467030"/>
                  <a:pt x="6007226" y="6462449"/>
                </a:cubicBezTo>
                <a:cubicBezTo>
                  <a:pt x="6010344" y="6457868"/>
                  <a:pt x="6014066" y="6455577"/>
                  <a:pt x="6018394" y="6455577"/>
                </a:cubicBezTo>
                <a:close/>
                <a:moveTo>
                  <a:pt x="5829559" y="6455577"/>
                </a:moveTo>
                <a:cubicBezTo>
                  <a:pt x="5834723" y="6455577"/>
                  <a:pt x="5839049" y="6457917"/>
                  <a:pt x="5842534" y="6462597"/>
                </a:cubicBezTo>
                <a:cubicBezTo>
                  <a:pt x="5846022" y="6467277"/>
                  <a:pt x="5847769" y="6474390"/>
                  <a:pt x="5847769" y="6483936"/>
                </a:cubicBezTo>
                <a:cubicBezTo>
                  <a:pt x="5847769" y="6493436"/>
                  <a:pt x="5846035" y="6500548"/>
                  <a:pt x="5842571" y="6505275"/>
                </a:cubicBezTo>
                <a:cubicBezTo>
                  <a:pt x="5839105" y="6510001"/>
                  <a:pt x="5834955" y="6512365"/>
                  <a:pt x="5830117" y="6512365"/>
                </a:cubicBezTo>
                <a:cubicBezTo>
                  <a:pt x="5824956" y="6512365"/>
                  <a:pt x="5820628" y="6510025"/>
                  <a:pt x="5817142" y="6505345"/>
                </a:cubicBezTo>
                <a:cubicBezTo>
                  <a:pt x="5813654" y="6500665"/>
                  <a:pt x="5811909" y="6493529"/>
                  <a:pt x="5811909" y="6483936"/>
                </a:cubicBezTo>
                <a:cubicBezTo>
                  <a:pt x="5811909" y="6474437"/>
                  <a:pt x="5813630" y="6467335"/>
                  <a:pt x="5817070" y="6462632"/>
                </a:cubicBezTo>
                <a:cubicBezTo>
                  <a:pt x="5820513" y="6457929"/>
                  <a:pt x="5824677" y="6455577"/>
                  <a:pt x="5829559"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0" y="6446927"/>
                </a:moveTo>
                <a:lnTo>
                  <a:pt x="6224380" y="6521015"/>
                </a:lnTo>
                <a:lnTo>
                  <a:pt x="6234636" y="6521015"/>
                </a:lnTo>
                <a:lnTo>
                  <a:pt x="6234636" y="6446927"/>
                </a:lnTo>
                <a:close/>
                <a:moveTo>
                  <a:pt x="5967205" y="6446927"/>
                </a:moveTo>
                <a:lnTo>
                  <a:pt x="5967205" y="6521015"/>
                </a:lnTo>
                <a:lnTo>
                  <a:pt x="5977462" y="6521015"/>
                </a:lnTo>
                <a:lnTo>
                  <a:pt x="5977462"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68" y="6445252"/>
                </a:moveTo>
                <a:cubicBezTo>
                  <a:pt x="6270582" y="6445252"/>
                  <a:pt x="6264292" y="6447066"/>
                  <a:pt x="6259897" y="6450694"/>
                </a:cubicBezTo>
                <a:cubicBezTo>
                  <a:pt x="6255502" y="6454322"/>
                  <a:pt x="6252583" y="6460112"/>
                  <a:pt x="6251142" y="6468065"/>
                </a:cubicBezTo>
                <a:lnTo>
                  <a:pt x="6261257" y="6469739"/>
                </a:lnTo>
                <a:cubicBezTo>
                  <a:pt x="6262373" y="6464271"/>
                  <a:pt x="6264118" y="6460543"/>
                  <a:pt x="6266489" y="6458557"/>
                </a:cubicBezTo>
                <a:cubicBezTo>
                  <a:pt x="6268861" y="6456571"/>
                  <a:pt x="6272443" y="6455577"/>
                  <a:pt x="6277233" y="6455577"/>
                </a:cubicBezTo>
                <a:cubicBezTo>
                  <a:pt x="6282535" y="6455577"/>
                  <a:pt x="6286465" y="6457066"/>
                  <a:pt x="6289023" y="6460042"/>
                </a:cubicBezTo>
                <a:cubicBezTo>
                  <a:pt x="6290837" y="6462089"/>
                  <a:pt x="6291744" y="6465647"/>
                  <a:pt x="6291744" y="6470716"/>
                </a:cubicBezTo>
                <a:lnTo>
                  <a:pt x="6291674" y="6473925"/>
                </a:lnTo>
                <a:cubicBezTo>
                  <a:pt x="6287767" y="6475626"/>
                  <a:pt x="6281628" y="6477091"/>
                  <a:pt x="6273256" y="6478320"/>
                </a:cubicBezTo>
                <a:cubicBezTo>
                  <a:pt x="6267024" y="6479204"/>
                  <a:pt x="6262373" y="6480576"/>
                  <a:pt x="6259304" y="6482436"/>
                </a:cubicBezTo>
                <a:cubicBezTo>
                  <a:pt x="6256234" y="6484297"/>
                  <a:pt x="6253816" y="6486878"/>
                  <a:pt x="6252048" y="6490180"/>
                </a:cubicBezTo>
                <a:cubicBezTo>
                  <a:pt x="6250281" y="6493482"/>
                  <a:pt x="6249397" y="6497273"/>
                  <a:pt x="6249397" y="6501551"/>
                </a:cubicBezTo>
                <a:cubicBezTo>
                  <a:pt x="6249397" y="6508016"/>
                  <a:pt x="6251281" y="6513155"/>
                  <a:pt x="6255048" y="6516969"/>
                </a:cubicBezTo>
                <a:cubicBezTo>
                  <a:pt x="6258816" y="6520783"/>
                  <a:pt x="6263862" y="6522690"/>
                  <a:pt x="6270187" y="6522690"/>
                </a:cubicBezTo>
                <a:cubicBezTo>
                  <a:pt x="6274187" y="6522690"/>
                  <a:pt x="6278047" y="6521782"/>
                  <a:pt x="6281768" y="6519968"/>
                </a:cubicBezTo>
                <a:cubicBezTo>
                  <a:pt x="6285488" y="6518154"/>
                  <a:pt x="6289069" y="6515456"/>
                  <a:pt x="6292511" y="6511875"/>
                </a:cubicBezTo>
                <a:cubicBezTo>
                  <a:pt x="6292837" y="6515411"/>
                  <a:pt x="6293534" y="6518457"/>
                  <a:pt x="6294604" y="6521015"/>
                </a:cubicBezTo>
                <a:lnTo>
                  <a:pt x="6305348" y="6521015"/>
                </a:lnTo>
                <a:cubicBezTo>
                  <a:pt x="6304045" y="6518132"/>
                  <a:pt x="6303173" y="6515167"/>
                  <a:pt x="6302731" y="6512120"/>
                </a:cubicBezTo>
                <a:cubicBezTo>
                  <a:pt x="6302290" y="6509074"/>
                  <a:pt x="6302069" y="6501691"/>
                  <a:pt x="6302069" y="6489971"/>
                </a:cubicBezTo>
                <a:lnTo>
                  <a:pt x="6302069" y="6473227"/>
                </a:lnTo>
                <a:cubicBezTo>
                  <a:pt x="6302069" y="6466437"/>
                  <a:pt x="6301592" y="6461275"/>
                  <a:pt x="6300639" y="6457740"/>
                </a:cubicBezTo>
                <a:cubicBezTo>
                  <a:pt x="6299685" y="6454205"/>
                  <a:pt x="6297395" y="6451240"/>
                  <a:pt x="6293767" y="6448845"/>
                </a:cubicBezTo>
                <a:cubicBezTo>
                  <a:pt x="6290139" y="6446450"/>
                  <a:pt x="6285139" y="6445252"/>
                  <a:pt x="6278768" y="6445252"/>
                </a:cubicBezTo>
                <a:close/>
                <a:moveTo>
                  <a:pt x="6157700" y="6445252"/>
                </a:moveTo>
                <a:cubicBezTo>
                  <a:pt x="6153521" y="6445252"/>
                  <a:pt x="6149818" y="6446258"/>
                  <a:pt x="6146592" y="6448270"/>
                </a:cubicBezTo>
                <a:cubicBezTo>
                  <a:pt x="6143365" y="6450282"/>
                  <a:pt x="6140638" y="6453323"/>
                  <a:pt x="6138409" y="6457392"/>
                </a:cubicBezTo>
                <a:lnTo>
                  <a:pt x="6138409" y="6446927"/>
                </a:lnTo>
                <a:lnTo>
                  <a:pt x="6129130" y="6446927"/>
                </a:lnTo>
                <a:lnTo>
                  <a:pt x="6129130" y="6521015"/>
                </a:lnTo>
                <a:lnTo>
                  <a:pt x="6139386" y="6521015"/>
                </a:lnTo>
                <a:lnTo>
                  <a:pt x="6139386" y="6480509"/>
                </a:lnTo>
                <a:cubicBezTo>
                  <a:pt x="6139386" y="6471570"/>
                  <a:pt x="6140851" y="6465261"/>
                  <a:pt x="6143781" y="6461583"/>
                </a:cubicBezTo>
                <a:cubicBezTo>
                  <a:pt x="6146711" y="6457905"/>
                  <a:pt x="6150641" y="6456066"/>
                  <a:pt x="6155571" y="6456066"/>
                </a:cubicBezTo>
                <a:cubicBezTo>
                  <a:pt x="6158175" y="6456066"/>
                  <a:pt x="6160466" y="6456752"/>
                  <a:pt x="6162442" y="6458126"/>
                </a:cubicBezTo>
                <a:cubicBezTo>
                  <a:pt x="6164419" y="6459499"/>
                  <a:pt x="6165872" y="6461443"/>
                  <a:pt x="6166803" y="6463957"/>
                </a:cubicBezTo>
                <a:cubicBezTo>
                  <a:pt x="6167733" y="6466471"/>
                  <a:pt x="6168198" y="6470452"/>
                  <a:pt x="6168198" y="6475900"/>
                </a:cubicBezTo>
                <a:lnTo>
                  <a:pt x="6168198" y="6521015"/>
                </a:lnTo>
                <a:lnTo>
                  <a:pt x="6178453" y="6521015"/>
                </a:lnTo>
                <a:lnTo>
                  <a:pt x="6178453" y="6475460"/>
                </a:lnTo>
                <a:cubicBezTo>
                  <a:pt x="6178453" y="6468623"/>
                  <a:pt x="6178035" y="6463554"/>
                  <a:pt x="6177199" y="6460252"/>
                </a:cubicBezTo>
                <a:cubicBezTo>
                  <a:pt x="6176364" y="6456949"/>
                  <a:pt x="6175099" y="6454264"/>
                  <a:pt x="6173404" y="6452194"/>
                </a:cubicBezTo>
                <a:cubicBezTo>
                  <a:pt x="6171709" y="6450124"/>
                  <a:pt x="6169481" y="6448450"/>
                  <a:pt x="6166718" y="6447171"/>
                </a:cubicBezTo>
                <a:cubicBezTo>
                  <a:pt x="6163956" y="6445892"/>
                  <a:pt x="6160949" y="6445252"/>
                  <a:pt x="6157700" y="6445252"/>
                </a:cubicBezTo>
                <a:close/>
                <a:moveTo>
                  <a:pt x="6087364" y="6445252"/>
                </a:moveTo>
                <a:cubicBezTo>
                  <a:pt x="6079131" y="6445252"/>
                  <a:pt x="6072328" y="6448613"/>
                  <a:pt x="6066956" y="6455333"/>
                </a:cubicBezTo>
                <a:cubicBezTo>
                  <a:pt x="6061584" y="6462054"/>
                  <a:pt x="6058897" y="6471809"/>
                  <a:pt x="6058897" y="6484599"/>
                </a:cubicBezTo>
                <a:cubicBezTo>
                  <a:pt x="6058897" y="6496924"/>
                  <a:pt x="6061560" y="6506353"/>
                  <a:pt x="6066885" y="6512888"/>
                </a:cubicBezTo>
                <a:cubicBezTo>
                  <a:pt x="6072212" y="6519422"/>
                  <a:pt x="6079175" y="6522690"/>
                  <a:pt x="6087781" y="6522690"/>
                </a:cubicBezTo>
                <a:cubicBezTo>
                  <a:pt x="6094617" y="6522690"/>
                  <a:pt x="6100348" y="6520678"/>
                  <a:pt x="6104976" y="6516655"/>
                </a:cubicBezTo>
                <a:cubicBezTo>
                  <a:pt x="6109604" y="6512632"/>
                  <a:pt x="6112801" y="6506667"/>
                  <a:pt x="6114569" y="6498761"/>
                </a:cubicBezTo>
                <a:lnTo>
                  <a:pt x="6103965" y="6497156"/>
                </a:lnTo>
                <a:cubicBezTo>
                  <a:pt x="6100941" y="6507295"/>
                  <a:pt x="6095570" y="6512365"/>
                  <a:pt x="6087849" y="6512365"/>
                </a:cubicBezTo>
                <a:cubicBezTo>
                  <a:pt x="6082919" y="6512365"/>
                  <a:pt x="6078734" y="6510248"/>
                  <a:pt x="6075292" y="6506016"/>
                </a:cubicBezTo>
                <a:cubicBezTo>
                  <a:pt x="6071853" y="6501784"/>
                  <a:pt x="6069920" y="6495505"/>
                  <a:pt x="6069506" y="6487180"/>
                </a:cubicBezTo>
                <a:lnTo>
                  <a:pt x="6114848" y="6487180"/>
                </a:lnTo>
                <a:lnTo>
                  <a:pt x="6114917" y="6483831"/>
                </a:lnTo>
                <a:cubicBezTo>
                  <a:pt x="6114917" y="6471321"/>
                  <a:pt x="6112290" y="6461763"/>
                  <a:pt x="6107034" y="6455159"/>
                </a:cubicBezTo>
                <a:cubicBezTo>
                  <a:pt x="6101779" y="6448555"/>
                  <a:pt x="6095221" y="6445252"/>
                  <a:pt x="6087364" y="6445252"/>
                </a:cubicBezTo>
                <a:close/>
                <a:moveTo>
                  <a:pt x="5900526" y="6445252"/>
                </a:moveTo>
                <a:cubicBezTo>
                  <a:pt x="5896346" y="6445252"/>
                  <a:pt x="5892645" y="6446258"/>
                  <a:pt x="5889417" y="6448270"/>
                </a:cubicBezTo>
                <a:cubicBezTo>
                  <a:pt x="5886191" y="6450282"/>
                  <a:pt x="5883465" y="6453323"/>
                  <a:pt x="5881236" y="6457392"/>
                </a:cubicBezTo>
                <a:lnTo>
                  <a:pt x="5881236" y="6446927"/>
                </a:lnTo>
                <a:lnTo>
                  <a:pt x="5871957" y="6446927"/>
                </a:lnTo>
                <a:lnTo>
                  <a:pt x="5871957" y="6521015"/>
                </a:lnTo>
                <a:lnTo>
                  <a:pt x="5882211" y="6521015"/>
                </a:lnTo>
                <a:lnTo>
                  <a:pt x="5882211" y="6480509"/>
                </a:lnTo>
                <a:cubicBezTo>
                  <a:pt x="5882211" y="6471570"/>
                  <a:pt x="5883676" y="6465261"/>
                  <a:pt x="5886608" y="6461583"/>
                </a:cubicBezTo>
                <a:cubicBezTo>
                  <a:pt x="5889538" y="6457905"/>
                  <a:pt x="5893467" y="6456066"/>
                  <a:pt x="5898396" y="6456066"/>
                </a:cubicBezTo>
                <a:cubicBezTo>
                  <a:pt x="5901002" y="6456066"/>
                  <a:pt x="5903292" y="6456752"/>
                  <a:pt x="5905268" y="6458126"/>
                </a:cubicBezTo>
                <a:cubicBezTo>
                  <a:pt x="5907246" y="6459499"/>
                  <a:pt x="5908697" y="6461443"/>
                  <a:pt x="5909630" y="6463957"/>
                </a:cubicBezTo>
                <a:cubicBezTo>
                  <a:pt x="5910559" y="6466471"/>
                  <a:pt x="5911024" y="6470452"/>
                  <a:pt x="5911024" y="6475900"/>
                </a:cubicBezTo>
                <a:lnTo>
                  <a:pt x="5911024" y="6521015"/>
                </a:lnTo>
                <a:lnTo>
                  <a:pt x="5921278" y="6521015"/>
                </a:lnTo>
                <a:lnTo>
                  <a:pt x="5921278" y="6475460"/>
                </a:lnTo>
                <a:cubicBezTo>
                  <a:pt x="5921278" y="6468623"/>
                  <a:pt x="5920860" y="6463554"/>
                  <a:pt x="5920026" y="6460252"/>
                </a:cubicBezTo>
                <a:cubicBezTo>
                  <a:pt x="5919190" y="6456949"/>
                  <a:pt x="5917925" y="6454264"/>
                  <a:pt x="5916230" y="6452194"/>
                </a:cubicBezTo>
                <a:cubicBezTo>
                  <a:pt x="5914534" y="6450124"/>
                  <a:pt x="5912308" y="6448450"/>
                  <a:pt x="5909545" y="6447171"/>
                </a:cubicBezTo>
                <a:cubicBezTo>
                  <a:pt x="5906783" y="6445892"/>
                  <a:pt x="5903776" y="6445252"/>
                  <a:pt x="5900526" y="6445252"/>
                </a:cubicBezTo>
                <a:close/>
                <a:moveTo>
                  <a:pt x="5829838" y="6445252"/>
                </a:moveTo>
                <a:cubicBezTo>
                  <a:pt x="5821607" y="6445252"/>
                  <a:pt x="5814805" y="6448508"/>
                  <a:pt x="5809433" y="6455019"/>
                </a:cubicBezTo>
                <a:cubicBezTo>
                  <a:pt x="5804061" y="6461531"/>
                  <a:pt x="5801376" y="6471181"/>
                  <a:pt x="5801376" y="6483971"/>
                </a:cubicBezTo>
                <a:cubicBezTo>
                  <a:pt x="5801376" y="6496714"/>
                  <a:pt x="5804085" y="6506353"/>
                  <a:pt x="5809502" y="6512888"/>
                </a:cubicBezTo>
                <a:cubicBezTo>
                  <a:pt x="5814920" y="6519422"/>
                  <a:pt x="5821700" y="6522690"/>
                  <a:pt x="5829838" y="6522690"/>
                </a:cubicBezTo>
                <a:cubicBezTo>
                  <a:pt x="5838116" y="6522690"/>
                  <a:pt x="5844931" y="6519434"/>
                  <a:pt x="5850280" y="6512923"/>
                </a:cubicBezTo>
                <a:cubicBezTo>
                  <a:pt x="5855626" y="6506411"/>
                  <a:pt x="5858301" y="6496505"/>
                  <a:pt x="5858301" y="6483204"/>
                </a:cubicBezTo>
                <a:cubicBezTo>
                  <a:pt x="5858301" y="6470925"/>
                  <a:pt x="5855581" y="6461531"/>
                  <a:pt x="5850139" y="6455019"/>
                </a:cubicBezTo>
                <a:cubicBezTo>
                  <a:pt x="5844697" y="6448508"/>
                  <a:pt x="5837932" y="6445252"/>
                  <a:pt x="5829838"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3" y="6421045"/>
                </a:moveTo>
                <a:lnTo>
                  <a:pt x="6198038" y="6428579"/>
                </a:lnTo>
                <a:lnTo>
                  <a:pt x="6198038" y="6446927"/>
                </a:lnTo>
                <a:lnTo>
                  <a:pt x="6190503" y="6446927"/>
                </a:lnTo>
                <a:lnTo>
                  <a:pt x="6190503" y="6456694"/>
                </a:lnTo>
                <a:lnTo>
                  <a:pt x="6198038" y="6456694"/>
                </a:lnTo>
                <a:lnTo>
                  <a:pt x="6198038" y="6499319"/>
                </a:lnTo>
                <a:cubicBezTo>
                  <a:pt x="6198038" y="6506667"/>
                  <a:pt x="6198445" y="6511574"/>
                  <a:pt x="6199259" y="6514039"/>
                </a:cubicBezTo>
                <a:cubicBezTo>
                  <a:pt x="6200073" y="6516504"/>
                  <a:pt x="6201573" y="6518446"/>
                  <a:pt x="6203758" y="6519864"/>
                </a:cubicBezTo>
                <a:cubicBezTo>
                  <a:pt x="6205944" y="6521283"/>
                  <a:pt x="6208828" y="6521992"/>
                  <a:pt x="6212409" y="6521992"/>
                </a:cubicBezTo>
                <a:cubicBezTo>
                  <a:pt x="6214688" y="6521992"/>
                  <a:pt x="6217246" y="6521620"/>
                  <a:pt x="6220083" y="6520876"/>
                </a:cubicBezTo>
                <a:lnTo>
                  <a:pt x="6218688" y="6509783"/>
                </a:lnTo>
                <a:cubicBezTo>
                  <a:pt x="6216827" y="6510109"/>
                  <a:pt x="6215316" y="6510272"/>
                  <a:pt x="6214153" y="6510272"/>
                </a:cubicBezTo>
                <a:cubicBezTo>
                  <a:pt x="6211735" y="6510272"/>
                  <a:pt x="6210084" y="6509435"/>
                  <a:pt x="6209200" y="6507760"/>
                </a:cubicBezTo>
                <a:cubicBezTo>
                  <a:pt x="6208595" y="6506598"/>
                  <a:pt x="6208293" y="6504016"/>
                  <a:pt x="6208293" y="6500017"/>
                </a:cubicBezTo>
                <a:lnTo>
                  <a:pt x="6208293" y="6456694"/>
                </a:lnTo>
                <a:lnTo>
                  <a:pt x="6218688" y="6456694"/>
                </a:lnTo>
                <a:lnTo>
                  <a:pt x="6218688" y="6446927"/>
                </a:lnTo>
                <a:lnTo>
                  <a:pt x="6208293"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2" y="6418742"/>
                </a:moveTo>
                <a:lnTo>
                  <a:pt x="6319282" y="6521015"/>
                </a:lnTo>
                <a:lnTo>
                  <a:pt x="6329537" y="6521015"/>
                </a:lnTo>
                <a:lnTo>
                  <a:pt x="6329537" y="6418742"/>
                </a:lnTo>
                <a:close/>
                <a:moveTo>
                  <a:pt x="6224380" y="6418742"/>
                </a:moveTo>
                <a:lnTo>
                  <a:pt x="6224380" y="6433183"/>
                </a:lnTo>
                <a:lnTo>
                  <a:pt x="6234636" y="6433183"/>
                </a:lnTo>
                <a:lnTo>
                  <a:pt x="6234636" y="6418742"/>
                </a:lnTo>
                <a:close/>
                <a:moveTo>
                  <a:pt x="6034361" y="6418742"/>
                </a:moveTo>
                <a:lnTo>
                  <a:pt x="6034361" y="6455438"/>
                </a:lnTo>
                <a:cubicBezTo>
                  <a:pt x="6032457" y="6452229"/>
                  <a:pt x="6030052" y="6449729"/>
                  <a:pt x="6027153" y="6447938"/>
                </a:cubicBezTo>
                <a:cubicBezTo>
                  <a:pt x="6024249" y="6446148"/>
                  <a:pt x="6021105" y="6445252"/>
                  <a:pt x="6017716" y="6445252"/>
                </a:cubicBezTo>
                <a:cubicBezTo>
                  <a:pt x="6012977" y="6445252"/>
                  <a:pt x="6008671" y="6446671"/>
                  <a:pt x="6004794" y="6449508"/>
                </a:cubicBezTo>
                <a:cubicBezTo>
                  <a:pt x="6000918" y="6452345"/>
                  <a:pt x="5997817" y="6456694"/>
                  <a:pt x="5995495" y="6462554"/>
                </a:cubicBezTo>
                <a:cubicBezTo>
                  <a:pt x="5993174" y="6468414"/>
                  <a:pt x="5992013" y="6475553"/>
                  <a:pt x="5992013" y="6483971"/>
                </a:cubicBezTo>
                <a:cubicBezTo>
                  <a:pt x="5992013" y="6496249"/>
                  <a:pt x="5994629" y="6505772"/>
                  <a:pt x="5999862" y="6512539"/>
                </a:cubicBezTo>
                <a:cubicBezTo>
                  <a:pt x="6005094" y="6519306"/>
                  <a:pt x="6011292" y="6522690"/>
                  <a:pt x="6018454" y="6522690"/>
                </a:cubicBezTo>
                <a:cubicBezTo>
                  <a:pt x="6021849" y="6522690"/>
                  <a:pt x="6025011" y="6521748"/>
                  <a:pt x="6027944" y="6519864"/>
                </a:cubicBezTo>
                <a:cubicBezTo>
                  <a:pt x="6030873" y="6517981"/>
                  <a:pt x="6033267" y="6515248"/>
                  <a:pt x="6035129" y="6511667"/>
                </a:cubicBezTo>
                <a:lnTo>
                  <a:pt x="6035129" y="6521015"/>
                </a:lnTo>
                <a:lnTo>
                  <a:pt x="6044755" y="6521015"/>
                </a:lnTo>
                <a:lnTo>
                  <a:pt x="6044755"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0" y="6416998"/>
                </a:moveTo>
                <a:cubicBezTo>
                  <a:pt x="5954504" y="6416998"/>
                  <a:pt x="5951367" y="6417766"/>
                  <a:pt x="5948873" y="6419301"/>
                </a:cubicBezTo>
                <a:cubicBezTo>
                  <a:pt x="5946376" y="6420835"/>
                  <a:pt x="5944524" y="6423056"/>
                  <a:pt x="5943312" y="6425963"/>
                </a:cubicBezTo>
                <a:cubicBezTo>
                  <a:pt x="5942098" y="6428870"/>
                  <a:pt x="5941493" y="6433230"/>
                  <a:pt x="5941493" y="6439044"/>
                </a:cubicBezTo>
                <a:lnTo>
                  <a:pt x="5941493" y="6446927"/>
                </a:lnTo>
                <a:lnTo>
                  <a:pt x="5932354" y="6446927"/>
                </a:lnTo>
                <a:lnTo>
                  <a:pt x="5932354" y="6456694"/>
                </a:lnTo>
                <a:lnTo>
                  <a:pt x="5941493" y="6456694"/>
                </a:lnTo>
                <a:lnTo>
                  <a:pt x="5941493" y="6521015"/>
                </a:lnTo>
                <a:lnTo>
                  <a:pt x="5951746" y="6521015"/>
                </a:lnTo>
                <a:lnTo>
                  <a:pt x="5951746" y="6456694"/>
                </a:lnTo>
                <a:lnTo>
                  <a:pt x="5963606" y="6456694"/>
                </a:lnTo>
                <a:lnTo>
                  <a:pt x="5963606" y="6446927"/>
                </a:lnTo>
                <a:lnTo>
                  <a:pt x="5951746" y="6446927"/>
                </a:lnTo>
                <a:lnTo>
                  <a:pt x="5951746" y="6440090"/>
                </a:lnTo>
                <a:cubicBezTo>
                  <a:pt x="5951746" y="6435579"/>
                  <a:pt x="5952412" y="6432521"/>
                  <a:pt x="5953734" y="6430916"/>
                </a:cubicBezTo>
                <a:cubicBezTo>
                  <a:pt x="5955060" y="6429312"/>
                  <a:pt x="5957262" y="6428509"/>
                  <a:pt x="5960327" y="6428509"/>
                </a:cubicBezTo>
                <a:cubicBezTo>
                  <a:pt x="5962235" y="6428509"/>
                  <a:pt x="5964257" y="6428742"/>
                  <a:pt x="5966397" y="6429207"/>
                </a:cubicBezTo>
                <a:lnTo>
                  <a:pt x="5967205" y="6423469"/>
                </a:lnTo>
                <a:lnTo>
                  <a:pt x="5967205" y="6433183"/>
                </a:lnTo>
                <a:lnTo>
                  <a:pt x="5977462" y="6433183"/>
                </a:lnTo>
                <a:lnTo>
                  <a:pt x="5977462" y="6418742"/>
                </a:lnTo>
                <a:lnTo>
                  <a:pt x="5967872" y="6418742"/>
                </a:lnTo>
                <a:lnTo>
                  <a:pt x="5967933" y="6418324"/>
                </a:lnTo>
                <a:cubicBezTo>
                  <a:pt x="5964433" y="6417440"/>
                  <a:pt x="5961216" y="6416998"/>
                  <a:pt x="5958280"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1" y="6418918"/>
                  <a:pt x="5737086" y="6422897"/>
                </a:cubicBezTo>
                <a:cubicBezTo>
                  <a:pt x="5731080" y="6426876"/>
                  <a:pt x="5726321" y="6432763"/>
                  <a:pt x="5722805" y="6440559"/>
                </a:cubicBezTo>
                <a:cubicBezTo>
                  <a:pt x="5719290" y="6448354"/>
                  <a:pt x="5717534" y="6457883"/>
                  <a:pt x="5717534" y="6469146"/>
                </a:cubicBezTo>
                <a:cubicBezTo>
                  <a:pt x="5717534" y="6480548"/>
                  <a:pt x="5719288" y="6490438"/>
                  <a:pt x="5722800" y="6498815"/>
                </a:cubicBezTo>
                <a:cubicBezTo>
                  <a:pt x="5726311" y="6507192"/>
                  <a:pt x="5730823" y="6513277"/>
                  <a:pt x="5736335" y="6517070"/>
                </a:cubicBezTo>
                <a:cubicBezTo>
                  <a:pt x="5741846" y="6520863"/>
                  <a:pt x="5748485" y="6522759"/>
                  <a:pt x="5756253" y="6522759"/>
                </a:cubicBezTo>
                <a:cubicBezTo>
                  <a:pt x="5765089" y="6522759"/>
                  <a:pt x="5772589" y="6519934"/>
                  <a:pt x="5778751" y="6514283"/>
                </a:cubicBezTo>
                <a:cubicBezTo>
                  <a:pt x="5784913" y="6508632"/>
                  <a:pt x="5789228" y="6500063"/>
                  <a:pt x="5791692" y="6488575"/>
                </a:cubicBezTo>
                <a:lnTo>
                  <a:pt x="5780529" y="6485157"/>
                </a:lnTo>
                <a:cubicBezTo>
                  <a:pt x="5779042" y="6493901"/>
                  <a:pt x="5776100" y="6500423"/>
                  <a:pt x="5771703" y="6504726"/>
                </a:cubicBezTo>
                <a:cubicBezTo>
                  <a:pt x="5767310" y="6509028"/>
                  <a:pt x="5762088" y="6511179"/>
                  <a:pt x="5756044" y="6511179"/>
                </a:cubicBezTo>
                <a:cubicBezTo>
                  <a:pt x="5747858" y="6511179"/>
                  <a:pt x="5741300" y="6507676"/>
                  <a:pt x="5736369" y="6500671"/>
                </a:cubicBezTo>
                <a:cubicBezTo>
                  <a:pt x="5731440" y="6493665"/>
                  <a:pt x="5728974" y="6483157"/>
                  <a:pt x="5728974" y="6469145"/>
                </a:cubicBezTo>
                <a:cubicBezTo>
                  <a:pt x="5728974" y="6459883"/>
                  <a:pt x="5730198" y="6452226"/>
                  <a:pt x="5732644" y="6446175"/>
                </a:cubicBezTo>
                <a:cubicBezTo>
                  <a:pt x="5735088" y="6440123"/>
                  <a:pt x="5738360" y="6435666"/>
                  <a:pt x="5742457" y="6432804"/>
                </a:cubicBezTo>
                <a:cubicBezTo>
                  <a:pt x="5746557" y="6429941"/>
                  <a:pt x="5751400" y="6428509"/>
                  <a:pt x="5756988" y="6428509"/>
                </a:cubicBezTo>
                <a:cubicBezTo>
                  <a:pt x="5768213" y="6428509"/>
                  <a:pt x="5775687" y="6435602"/>
                  <a:pt x="5779412" y="6449787"/>
                </a:cubicBezTo>
                <a:lnTo>
                  <a:pt x="5790296" y="6446648"/>
                </a:lnTo>
                <a:cubicBezTo>
                  <a:pt x="5787969" y="6436903"/>
                  <a:pt x="5783896" y="6429514"/>
                  <a:pt x="5778076" y="6424480"/>
                </a:cubicBezTo>
                <a:cubicBezTo>
                  <a:pt x="5772257" y="6419446"/>
                  <a:pt x="5765297"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5" y="6415084"/>
                </a:moveTo>
                <a:lnTo>
                  <a:pt x="10873860" y="6415084"/>
                </a:lnTo>
                <a:cubicBezTo>
                  <a:pt x="10894306" y="6415084"/>
                  <a:pt x="10904530" y="6417923"/>
                  <a:pt x="10904530" y="6430343"/>
                </a:cubicBezTo>
                <a:cubicBezTo>
                  <a:pt x="10904530" y="6442408"/>
                  <a:pt x="10894306" y="6445247"/>
                  <a:pt x="10873860" y="6445247"/>
                </a:cubicBezTo>
                <a:lnTo>
                  <a:pt x="10831505" y="6445247"/>
                </a:lnTo>
                <a:close/>
                <a:moveTo>
                  <a:pt x="11108524" y="6410322"/>
                </a:moveTo>
                <a:cubicBezTo>
                  <a:pt x="11138470" y="6410322"/>
                  <a:pt x="11152180" y="6424698"/>
                  <a:pt x="11152180" y="6454961"/>
                </a:cubicBezTo>
                <a:cubicBezTo>
                  <a:pt x="11152180" y="6484847"/>
                  <a:pt x="11138470" y="6499222"/>
                  <a:pt x="11108524" y="6499222"/>
                </a:cubicBezTo>
                <a:cubicBezTo>
                  <a:pt x="11077856" y="6499222"/>
                  <a:pt x="11064867" y="6484847"/>
                  <a:pt x="11064867" y="6453827"/>
                </a:cubicBezTo>
                <a:cubicBezTo>
                  <a:pt x="11064867" y="6424698"/>
                  <a:pt x="11078938" y="6410322"/>
                  <a:pt x="11108524" y="6410322"/>
                </a:cubicBezTo>
                <a:close/>
                <a:moveTo>
                  <a:pt x="11212505" y="6391272"/>
                </a:moveTo>
                <a:lnTo>
                  <a:pt x="11212505" y="6518272"/>
                </a:lnTo>
                <a:lnTo>
                  <a:pt x="11246059" y="6518272"/>
                </a:lnTo>
                <a:lnTo>
                  <a:pt x="11246059" y="6422083"/>
                </a:lnTo>
                <a:lnTo>
                  <a:pt x="11315692" y="6518272"/>
                </a:lnTo>
                <a:lnTo>
                  <a:pt x="11355380" y="6518272"/>
                </a:lnTo>
                <a:lnTo>
                  <a:pt x="11355380" y="6391272"/>
                </a:lnTo>
                <a:lnTo>
                  <a:pt x="11322187" y="6391272"/>
                </a:lnTo>
                <a:lnTo>
                  <a:pt x="11322187" y="6482577"/>
                </a:lnTo>
                <a:lnTo>
                  <a:pt x="11255800" y="6391272"/>
                </a:lnTo>
                <a:close/>
                <a:moveTo>
                  <a:pt x="10968030" y="6391272"/>
                </a:moveTo>
                <a:lnTo>
                  <a:pt x="10968030" y="6518272"/>
                </a:lnTo>
                <a:lnTo>
                  <a:pt x="11002955" y="6518272"/>
                </a:lnTo>
                <a:lnTo>
                  <a:pt x="11002955" y="6391272"/>
                </a:lnTo>
                <a:close/>
                <a:moveTo>
                  <a:pt x="10798167" y="6391272"/>
                </a:moveTo>
                <a:lnTo>
                  <a:pt x="10798167" y="6518272"/>
                </a:lnTo>
                <a:lnTo>
                  <a:pt x="10832210" y="6518272"/>
                </a:lnTo>
                <a:lnTo>
                  <a:pt x="10832210" y="6468299"/>
                </a:lnTo>
                <a:lnTo>
                  <a:pt x="10871986" y="6468299"/>
                </a:lnTo>
                <a:lnTo>
                  <a:pt x="10907462" y="6518272"/>
                </a:lnTo>
                <a:lnTo>
                  <a:pt x="10945805" y="6518272"/>
                </a:lnTo>
                <a:lnTo>
                  <a:pt x="10905670" y="6465293"/>
                </a:lnTo>
                <a:cubicBezTo>
                  <a:pt x="10926454" y="6461536"/>
                  <a:pt x="10938280" y="6449136"/>
                  <a:pt x="10938280" y="6429598"/>
                </a:cubicBezTo>
                <a:cubicBezTo>
                  <a:pt x="10938280" y="6402920"/>
                  <a:pt x="10920004" y="6391272"/>
                  <a:pt x="10881661" y="6391272"/>
                </a:cubicBezTo>
                <a:close/>
                <a:moveTo>
                  <a:pt x="10728317" y="6391272"/>
                </a:moveTo>
                <a:lnTo>
                  <a:pt x="10728317" y="6518272"/>
                </a:lnTo>
                <a:lnTo>
                  <a:pt x="10763242" y="6518272"/>
                </a:lnTo>
                <a:lnTo>
                  <a:pt x="10763242" y="6391272"/>
                </a:lnTo>
                <a:close/>
                <a:moveTo>
                  <a:pt x="10604321" y="6391272"/>
                </a:moveTo>
                <a:cubicBezTo>
                  <a:pt x="10565734" y="6391272"/>
                  <a:pt x="10547342" y="6402544"/>
                  <a:pt x="10547342" y="6429973"/>
                </a:cubicBezTo>
                <a:cubicBezTo>
                  <a:pt x="10547342" y="6455524"/>
                  <a:pt x="10564291" y="6466420"/>
                  <a:pt x="10601436" y="6466420"/>
                </a:cubicBezTo>
                <a:lnTo>
                  <a:pt x="10641466" y="6466420"/>
                </a:lnTo>
                <a:cubicBezTo>
                  <a:pt x="10658055" y="6466420"/>
                  <a:pt x="10665628" y="6469802"/>
                  <a:pt x="10665628" y="6481074"/>
                </a:cubicBezTo>
                <a:cubicBezTo>
                  <a:pt x="10665628" y="6491970"/>
                  <a:pt x="10657333" y="6495352"/>
                  <a:pt x="10639302" y="6495352"/>
                </a:cubicBezTo>
                <a:lnTo>
                  <a:pt x="10553833" y="6495352"/>
                </a:lnTo>
                <a:lnTo>
                  <a:pt x="10553833" y="6518272"/>
                </a:lnTo>
                <a:lnTo>
                  <a:pt x="10644711" y="6518272"/>
                </a:lnTo>
                <a:cubicBezTo>
                  <a:pt x="10682938" y="6518272"/>
                  <a:pt x="10701330" y="6507000"/>
                  <a:pt x="10701330" y="6480323"/>
                </a:cubicBezTo>
                <a:cubicBezTo>
                  <a:pt x="10701330" y="6453645"/>
                  <a:pt x="10685823" y="6444252"/>
                  <a:pt x="10649760" y="6444252"/>
                </a:cubicBezTo>
                <a:lnTo>
                  <a:pt x="10604321" y="6444252"/>
                </a:lnTo>
                <a:cubicBezTo>
                  <a:pt x="10590257" y="6444252"/>
                  <a:pt x="10583044" y="6439743"/>
                  <a:pt x="10583044" y="6430349"/>
                </a:cubicBezTo>
                <a:cubicBezTo>
                  <a:pt x="10583044" y="6418701"/>
                  <a:pt x="10591339" y="6413817"/>
                  <a:pt x="10609009" y="6413817"/>
                </a:cubicBezTo>
                <a:lnTo>
                  <a:pt x="10693396" y="6413817"/>
                </a:lnTo>
                <a:lnTo>
                  <a:pt x="10693396" y="6391272"/>
                </a:lnTo>
                <a:close/>
                <a:moveTo>
                  <a:pt x="10490061" y="6391272"/>
                </a:moveTo>
                <a:lnTo>
                  <a:pt x="10490061" y="6482682"/>
                </a:lnTo>
                <a:lnTo>
                  <a:pt x="10423841" y="6391647"/>
                </a:lnTo>
                <a:lnTo>
                  <a:pt x="10380655" y="6391647"/>
                </a:lnTo>
                <a:lnTo>
                  <a:pt x="10380655" y="6518272"/>
                </a:lnTo>
                <a:lnTo>
                  <a:pt x="10414124" y="6518272"/>
                </a:lnTo>
                <a:lnTo>
                  <a:pt x="10414124" y="6422367"/>
                </a:lnTo>
                <a:lnTo>
                  <a:pt x="10483942" y="6518272"/>
                </a:lnTo>
                <a:lnTo>
                  <a:pt x="10523170" y="6518272"/>
                </a:lnTo>
                <a:lnTo>
                  <a:pt x="10523530" y="6391272"/>
                </a:lnTo>
                <a:close/>
                <a:moveTo>
                  <a:pt x="10293755" y="6391272"/>
                </a:moveTo>
                <a:cubicBezTo>
                  <a:pt x="10241355" y="6391272"/>
                  <a:pt x="10217142" y="6411938"/>
                  <a:pt x="10217142" y="6457027"/>
                </a:cubicBezTo>
                <a:cubicBezTo>
                  <a:pt x="10217142" y="6479947"/>
                  <a:pt x="10225454" y="6496479"/>
                  <a:pt x="10242077" y="6507000"/>
                </a:cubicBezTo>
                <a:cubicBezTo>
                  <a:pt x="10257978" y="6516769"/>
                  <a:pt x="10273156" y="6518272"/>
                  <a:pt x="10293032" y="6518272"/>
                </a:cubicBezTo>
                <a:lnTo>
                  <a:pt x="10350492" y="6518272"/>
                </a:lnTo>
                <a:lnTo>
                  <a:pt x="10350492" y="6496104"/>
                </a:lnTo>
                <a:lnTo>
                  <a:pt x="10294478" y="6496104"/>
                </a:lnTo>
                <a:cubicBezTo>
                  <a:pt x="10267374" y="6496104"/>
                  <a:pt x="10255810" y="6487837"/>
                  <a:pt x="10255810" y="6464917"/>
                </a:cubicBezTo>
                <a:lnTo>
                  <a:pt x="10350492" y="6464917"/>
                </a:lnTo>
                <a:lnTo>
                  <a:pt x="10350492" y="6442749"/>
                </a:lnTo>
                <a:lnTo>
                  <a:pt x="10255810" y="6442749"/>
                </a:lnTo>
                <a:cubicBezTo>
                  <a:pt x="10257255" y="6422834"/>
                  <a:pt x="10269904" y="6413441"/>
                  <a:pt x="10294478" y="6413441"/>
                </a:cubicBezTo>
                <a:lnTo>
                  <a:pt x="10350492" y="6413441"/>
                </a:lnTo>
                <a:lnTo>
                  <a:pt x="10350492" y="6391272"/>
                </a:lnTo>
                <a:close/>
                <a:moveTo>
                  <a:pt x="10104126" y="6391272"/>
                </a:moveTo>
                <a:cubicBezTo>
                  <a:pt x="10065629" y="6391272"/>
                  <a:pt x="10047280" y="6402544"/>
                  <a:pt x="10047280" y="6429973"/>
                </a:cubicBezTo>
                <a:cubicBezTo>
                  <a:pt x="10047280" y="6455524"/>
                  <a:pt x="10064190" y="6466420"/>
                  <a:pt x="10101248" y="6466420"/>
                </a:cubicBezTo>
                <a:lnTo>
                  <a:pt x="10141184" y="6466420"/>
                </a:lnTo>
                <a:cubicBezTo>
                  <a:pt x="10157734" y="6466420"/>
                  <a:pt x="10165649" y="6469802"/>
                  <a:pt x="10165649" y="6481074"/>
                </a:cubicBezTo>
                <a:cubicBezTo>
                  <a:pt x="10165649" y="6491970"/>
                  <a:pt x="10157014" y="6495352"/>
                  <a:pt x="10139025" y="6495352"/>
                </a:cubicBezTo>
                <a:lnTo>
                  <a:pt x="10053756" y="6495352"/>
                </a:lnTo>
                <a:lnTo>
                  <a:pt x="10053756" y="6518272"/>
                </a:lnTo>
                <a:lnTo>
                  <a:pt x="10144422" y="6518272"/>
                </a:lnTo>
                <a:cubicBezTo>
                  <a:pt x="10182919" y="6518272"/>
                  <a:pt x="10201268" y="6507000"/>
                  <a:pt x="10201268" y="6480323"/>
                </a:cubicBezTo>
                <a:cubicBezTo>
                  <a:pt x="10201268" y="6453645"/>
                  <a:pt x="10185437" y="6444252"/>
                  <a:pt x="10149459" y="6444252"/>
                </a:cubicBezTo>
                <a:lnTo>
                  <a:pt x="10104486" y="6444252"/>
                </a:lnTo>
                <a:cubicBezTo>
                  <a:pt x="10090094" y="6444252"/>
                  <a:pt x="10082899" y="6439743"/>
                  <a:pt x="10082899" y="6430349"/>
                </a:cubicBezTo>
                <a:cubicBezTo>
                  <a:pt x="10082899" y="6418701"/>
                  <a:pt x="10091174" y="6413817"/>
                  <a:pt x="10109163" y="6413817"/>
                </a:cubicBezTo>
                <a:lnTo>
                  <a:pt x="10193353" y="6413817"/>
                </a:lnTo>
                <a:lnTo>
                  <a:pt x="10193353" y="6391272"/>
                </a:lnTo>
                <a:close/>
                <a:moveTo>
                  <a:pt x="11099976" y="6389684"/>
                </a:moveTo>
                <a:cubicBezTo>
                  <a:pt x="11050930" y="6391539"/>
                  <a:pt x="11026767" y="6412307"/>
                  <a:pt x="11026767" y="6453474"/>
                </a:cubicBezTo>
                <a:cubicBezTo>
                  <a:pt x="11026767" y="6498720"/>
                  <a:pt x="11052011" y="6519859"/>
                  <a:pt x="11107910" y="6519859"/>
                </a:cubicBezTo>
                <a:cubicBezTo>
                  <a:pt x="11163087" y="6519859"/>
                  <a:pt x="11188692" y="6498720"/>
                  <a:pt x="11188692" y="6454586"/>
                </a:cubicBezTo>
                <a:cubicBezTo>
                  <a:pt x="11188692" y="6412307"/>
                  <a:pt x="11165611" y="6391539"/>
                  <a:pt x="11115844" y="6389684"/>
                </a:cubicBezTo>
                <a:close/>
                <a:moveTo>
                  <a:pt x="0" y="0"/>
                </a:moveTo>
                <a:lnTo>
                  <a:pt x="12188817" y="0"/>
                </a:lnTo>
                <a:lnTo>
                  <a:pt x="12188817" y="3067874"/>
                </a:lnTo>
                <a:lnTo>
                  <a:pt x="12188817" y="3141660"/>
                </a:lnTo>
                <a:lnTo>
                  <a:pt x="12188817" y="6237284"/>
                </a:lnTo>
                <a:lnTo>
                  <a:pt x="12188817" y="6282150"/>
                </a:lnTo>
                <a:lnTo>
                  <a:pt x="12188817" y="6857997"/>
                </a:lnTo>
                <a:lnTo>
                  <a:pt x="0" y="6857997"/>
                </a:lnTo>
                <a:close/>
              </a:path>
            </a:pathLst>
          </a:custGeom>
          <a:noFill/>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p>
        </p:txBody>
      </p:sp>
      <p:sp>
        <p:nvSpPr>
          <p:cNvPr id="4" name="Textplatzhalter 3"/>
          <p:cNvSpPr>
            <a:spLocks noGrp="1"/>
          </p:cNvSpPr>
          <p:nvPr>
            <p:ph type="body" sz="quarter" idx="10" hasCustomPrompt="1"/>
          </p:nvPr>
        </p:nvSpPr>
        <p:spPr>
          <a:xfrm>
            <a:off x="848931"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2" name="Foliennummernplatzhalter 1">
            <a:extLst>
              <a:ext uri="{FF2B5EF4-FFF2-40B4-BE49-F238E27FC236}">
                <a16:creationId xmlns:a16="http://schemas.microsoft.com/office/drawing/2014/main" id="{074B8285-B2DD-4B12-9624-03011ED58FE8}"/>
              </a:ext>
            </a:extLst>
          </p:cNvPr>
          <p:cNvSpPr>
            <a:spLocks noGrp="1"/>
          </p:cNvSpPr>
          <p:nvPr>
            <p:ph type="sldNum" sz="quarter" idx="15"/>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4067086470"/>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reen, Title, Text">
    <p:bg>
      <p:bgPr>
        <a:solidFill>
          <a:srgbClr val="66CC33"/>
        </a:solidFill>
        <a:effectLst/>
      </p:bgPr>
    </p:bg>
    <p:spTree>
      <p:nvGrpSpPr>
        <p:cNvPr id="1" name=""/>
        <p:cNvGrpSpPr/>
        <p:nvPr/>
      </p:nvGrpSpPr>
      <p:grpSpPr>
        <a:xfrm>
          <a:off x="0" y="0"/>
          <a:ext cx="0" cy="0"/>
          <a:chOff x="0" y="0"/>
          <a:chExt cx="0" cy="0"/>
        </a:xfrm>
      </p:grpSpPr>
      <p:sp>
        <p:nvSpPr>
          <p:cNvPr id="10"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3" name="Textplatzhalter 3"/>
          <p:cNvSpPr>
            <a:spLocks noGrp="1"/>
          </p:cNvSpPr>
          <p:nvPr>
            <p:ph type="body" sz="quarter" idx="10" hasCustomPrompt="1"/>
          </p:nvPr>
        </p:nvSpPr>
        <p:spPr>
          <a:xfrm>
            <a:off x="839098" y="907362"/>
            <a:ext cx="10512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baseline="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Foliennummernplatzhalter 1">
            <a:extLst>
              <a:ext uri="{FF2B5EF4-FFF2-40B4-BE49-F238E27FC236}">
                <a16:creationId xmlns:a16="http://schemas.microsoft.com/office/drawing/2014/main" id="{1599DEA1-D78E-4950-992C-1DDD17CD680B}"/>
              </a:ext>
            </a:extLst>
          </p:cNvPr>
          <p:cNvSpPr>
            <a:spLocks noGrp="1"/>
          </p:cNvSpPr>
          <p:nvPr>
            <p:ph type="sldNum" sz="quarter" idx="11"/>
          </p:nvPr>
        </p:nvSpPr>
        <p:spPr/>
        <p:txBody>
          <a:bodyPr/>
          <a:lstStyle/>
          <a:p>
            <a:fld id="{B82950B1-C7CF-425D-9A48-9AE722F4F236}" type="slidenum">
              <a:rPr lang="de-CH" smtClean="0"/>
              <a:pPr/>
              <a:t>‹#›</a:t>
            </a:fld>
            <a:endParaRPr lang="de-CH"/>
          </a:p>
        </p:txBody>
      </p:sp>
      <p:pic>
        <p:nvPicPr>
          <p:cNvPr id="7" name="Grafik 6">
            <a:extLst>
              <a:ext uri="{FF2B5EF4-FFF2-40B4-BE49-F238E27FC236}">
                <a16:creationId xmlns:a16="http://schemas.microsoft.com/office/drawing/2014/main" id="{48AEF186-48B7-4345-8906-0A9637CF5FC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11568" y="6356356"/>
            <a:ext cx="1381125" cy="200025"/>
          </a:xfrm>
          <a:prstGeom prst="rect">
            <a:avLst/>
          </a:prstGeom>
        </p:spPr>
      </p:pic>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9AFD47E-91FA-4BA4-9B8B-6A8D06C2C645}"/>
              </a:ext>
            </a:extLst>
          </p:cNvPr>
          <p:cNvSpPr>
            <a:spLocks noGrp="1"/>
          </p:cNvSpPr>
          <p:nvPr>
            <p:ph type="sldNum" sz="quarter" idx="10"/>
          </p:nvPr>
        </p:nvSpPr>
        <p:spPr/>
        <p:txBody>
          <a:bodyPr/>
          <a:lstStyle/>
          <a:p>
            <a:fld id="{B82950B1-C7CF-425D-9A48-9AE722F4F236}" type="slidenum">
              <a:rPr lang="de-CH" smtClean="0"/>
              <a:pPr/>
              <a:t>‹#›</a:t>
            </a:fld>
            <a:endParaRPr lang="de-CH"/>
          </a:p>
        </p:txBody>
      </p:sp>
    </p:spTree>
    <p:extLst>
      <p:ext uri="{BB962C8B-B14F-4D97-AF65-F5344CB8AC3E}">
        <p14:creationId xmlns:p14="http://schemas.microsoft.com/office/powerpoint/2010/main" val="391672774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76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US">
                <a:solidFill>
                  <a:schemeClr val="bg1"/>
                </a:solidFill>
              </a:rPr>
              <a:t>www.sensirion.com</a:t>
            </a:r>
          </a:p>
        </p:txBody>
      </p:sp>
      <p:pic>
        <p:nvPicPr>
          <p:cNvPr id="5" name="Grafik 4">
            <a:extLst>
              <a:ext uri="{FF2B5EF4-FFF2-40B4-BE49-F238E27FC236}">
                <a16:creationId xmlns:a16="http://schemas.microsoft.com/office/drawing/2014/main" id="{38B9B796-E102-405E-BFDF-F363253AEE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1615" y="2556187"/>
            <a:ext cx="7347585" cy="1064133"/>
          </a:xfrm>
          <a:prstGeom prst="rect">
            <a:avLst/>
          </a:prstGeom>
        </p:spPr>
      </p:pic>
    </p:spTree>
    <p:extLst>
      <p:ext uri="{BB962C8B-B14F-4D97-AF65-F5344CB8AC3E}">
        <p14:creationId xmlns:p14="http://schemas.microsoft.com/office/powerpoint/2010/main" val="218556390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2" name="Picture 3" descr="C:\Dokumente und Einstellungen\TLoher\Eigene Dateien\titelfolie_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71438"/>
            <a:ext cx="12240684" cy="697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C:\Dokumente und Einstellungen\TLoher\Eigene Dateien\Sensirion_white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8467" y="120650"/>
            <a:ext cx="9611784" cy="509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2951" y="6326188"/>
            <a:ext cx="1894416"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round/>
                <a:headEnd/>
                <a:tailEnd/>
              </a14:hiddenLine>
            </a:ext>
          </a:extLst>
        </p:spPr>
      </p:pic>
    </p:spTree>
    <p:extLst>
      <p:ext uri="{BB962C8B-B14F-4D97-AF65-F5344CB8AC3E}">
        <p14:creationId xmlns:p14="http://schemas.microsoft.com/office/powerpoint/2010/main" val="39616526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a:t>Confidential</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hasCustomPrompt="1"/>
          </p:nvPr>
        </p:nvSpPr>
        <p:spPr>
          <a:xfrm>
            <a:off x="670985" y="2636838"/>
            <a:ext cx="10850033" cy="720154"/>
          </a:xfrm>
        </p:spPr>
        <p:txBody>
          <a:bodyPr/>
          <a:lstStyle>
            <a:lvl1pPr>
              <a:spcBef>
                <a:spcPts val="300"/>
              </a:spcBef>
              <a:tabLst/>
              <a:defRPr sz="2100" baseline="0">
                <a:solidFill>
                  <a:schemeClr val="tx1"/>
                </a:solidFill>
              </a:defRPr>
            </a:lvl1pPr>
          </a:lstStyle>
          <a:p>
            <a:pPr lvl="0"/>
            <a:r>
              <a:rPr lang="en-US" noProof="0"/>
              <a:t>Surname Name</a:t>
            </a:r>
            <a:br>
              <a:rPr lang="en-US" noProof="0"/>
            </a:br>
            <a:r>
              <a:rPr lang="en-US" noProof="0"/>
              <a:t>Function</a:t>
            </a:r>
          </a:p>
        </p:txBody>
      </p:sp>
      <p:sp>
        <p:nvSpPr>
          <p:cNvPr id="6" name="Textplatzhalter 6"/>
          <p:cNvSpPr>
            <a:spLocks noGrp="1"/>
          </p:cNvSpPr>
          <p:nvPr>
            <p:ph type="body" sz="quarter" idx="12" hasCustomPrompt="1"/>
          </p:nvPr>
        </p:nvSpPr>
        <p:spPr>
          <a:xfrm>
            <a:off x="670984" y="3539108"/>
            <a:ext cx="10850033" cy="576138"/>
          </a:xfrm>
        </p:spPr>
        <p:txBody>
          <a:bodyPr/>
          <a:lstStyle>
            <a:lvl1pPr>
              <a:spcBef>
                <a:spcPts val="300"/>
              </a:spcBef>
              <a:tabLst/>
              <a:defRPr sz="2100">
                <a:solidFill>
                  <a:schemeClr val="tx1"/>
                </a:solidFill>
              </a:defRPr>
            </a:lvl1pPr>
          </a:lstStyle>
          <a:p>
            <a:pPr lvl="0"/>
            <a:r>
              <a:rPr lang="en-US" noProof="0"/>
              <a:t>Date, Location</a:t>
            </a:r>
          </a:p>
        </p:txBody>
      </p:sp>
      <p:sp>
        <p:nvSpPr>
          <p:cNvPr id="8" name="Titel 12"/>
          <p:cNvSpPr txBox="1">
            <a:spLocks/>
          </p:cNvSpPr>
          <p:nvPr userDrawn="1"/>
        </p:nvSpPr>
        <p:spPr bwMode="auto">
          <a:xfrm>
            <a:off x="670984" y="1268414"/>
            <a:ext cx="10843683"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3100">
                <a:solidFill>
                  <a:schemeClr val="tx2"/>
                </a:solidFill>
                <a:latin typeface="+mj-lt"/>
                <a:ea typeface="+mj-ea"/>
                <a:cs typeface="+mj-cs"/>
              </a:defRPr>
            </a:lvl1pPr>
            <a:lvl2pPr algn="l" rtl="0" eaLnBrk="1" fontAlgn="base" hangingPunct="1">
              <a:spcBef>
                <a:spcPct val="0"/>
              </a:spcBef>
              <a:spcAft>
                <a:spcPct val="0"/>
              </a:spcAft>
              <a:defRPr sz="3100">
                <a:solidFill>
                  <a:srgbClr val="66CC33"/>
                </a:solidFill>
                <a:latin typeface="Arial Narrow" pitchFamily="34" charset="0"/>
              </a:defRPr>
            </a:lvl2pPr>
            <a:lvl3pPr algn="l" rtl="0" eaLnBrk="1" fontAlgn="base" hangingPunct="1">
              <a:spcBef>
                <a:spcPct val="0"/>
              </a:spcBef>
              <a:spcAft>
                <a:spcPct val="0"/>
              </a:spcAft>
              <a:defRPr sz="3100">
                <a:solidFill>
                  <a:srgbClr val="66CC33"/>
                </a:solidFill>
                <a:latin typeface="Arial Narrow" pitchFamily="34" charset="0"/>
              </a:defRPr>
            </a:lvl3pPr>
            <a:lvl4pPr algn="l" rtl="0" eaLnBrk="1" fontAlgn="base" hangingPunct="1">
              <a:spcBef>
                <a:spcPct val="0"/>
              </a:spcBef>
              <a:spcAft>
                <a:spcPct val="0"/>
              </a:spcAft>
              <a:defRPr sz="3100">
                <a:solidFill>
                  <a:srgbClr val="66CC33"/>
                </a:solidFill>
                <a:latin typeface="Arial Narrow" pitchFamily="34" charset="0"/>
              </a:defRPr>
            </a:lvl4pPr>
            <a:lvl5pPr algn="l" rtl="0" eaLnBrk="1" fontAlgn="base" hangingPunct="1">
              <a:spcBef>
                <a:spcPct val="0"/>
              </a:spcBef>
              <a:spcAft>
                <a:spcPct val="0"/>
              </a:spcAft>
              <a:defRPr sz="3100">
                <a:solidFill>
                  <a:srgbClr val="66CC33"/>
                </a:solidFill>
                <a:latin typeface="Arial Narrow" pitchFamily="34" charset="0"/>
              </a:defRPr>
            </a:lvl5pPr>
            <a:lvl6pPr marL="457200" algn="l" rtl="0" eaLnBrk="1" fontAlgn="base" hangingPunct="1">
              <a:spcBef>
                <a:spcPct val="0"/>
              </a:spcBef>
              <a:spcAft>
                <a:spcPct val="0"/>
              </a:spcAft>
              <a:defRPr sz="3100">
                <a:solidFill>
                  <a:srgbClr val="66CC33"/>
                </a:solidFill>
                <a:latin typeface="Arial Narrow" pitchFamily="34" charset="0"/>
              </a:defRPr>
            </a:lvl6pPr>
            <a:lvl7pPr marL="914400" algn="l" rtl="0" eaLnBrk="1" fontAlgn="base" hangingPunct="1">
              <a:spcBef>
                <a:spcPct val="0"/>
              </a:spcBef>
              <a:spcAft>
                <a:spcPct val="0"/>
              </a:spcAft>
              <a:defRPr sz="3100">
                <a:solidFill>
                  <a:srgbClr val="66CC33"/>
                </a:solidFill>
                <a:latin typeface="Arial Narrow" pitchFamily="34" charset="0"/>
              </a:defRPr>
            </a:lvl7pPr>
            <a:lvl8pPr marL="1371600" algn="l" rtl="0" eaLnBrk="1" fontAlgn="base" hangingPunct="1">
              <a:spcBef>
                <a:spcPct val="0"/>
              </a:spcBef>
              <a:spcAft>
                <a:spcPct val="0"/>
              </a:spcAft>
              <a:defRPr sz="3100">
                <a:solidFill>
                  <a:srgbClr val="66CC33"/>
                </a:solidFill>
                <a:latin typeface="Arial Narrow" pitchFamily="34" charset="0"/>
              </a:defRPr>
            </a:lvl8pPr>
            <a:lvl9pPr marL="1828800" algn="l" rtl="0" eaLnBrk="1" fontAlgn="base" hangingPunct="1">
              <a:spcBef>
                <a:spcPct val="0"/>
              </a:spcBef>
              <a:spcAft>
                <a:spcPct val="0"/>
              </a:spcAft>
              <a:defRPr sz="3100">
                <a:solidFill>
                  <a:srgbClr val="66CC33"/>
                </a:solidFill>
                <a:latin typeface="Arial Narrow" pitchFamily="34" charset="0"/>
              </a:defRPr>
            </a:lvl9pPr>
          </a:lstStyle>
          <a:p>
            <a:r>
              <a:rPr lang="en-US" sz="4400" noProof="0"/>
              <a:t>Sensirion – The Sensor Company</a:t>
            </a:r>
          </a:p>
        </p:txBody>
      </p:sp>
    </p:spTree>
    <p:extLst>
      <p:ext uri="{BB962C8B-B14F-4D97-AF65-F5344CB8AC3E}">
        <p14:creationId xmlns:p14="http://schemas.microsoft.com/office/powerpoint/2010/main" val="40286521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Übersicht / Kapitel">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a:t>Confidential</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p:nvPr>
        </p:nvSpPr>
        <p:spPr>
          <a:xfrm>
            <a:off x="670985" y="2636838"/>
            <a:ext cx="10850033" cy="3529012"/>
          </a:xfrm>
        </p:spPr>
        <p:txBody>
          <a:bodyPr/>
          <a:lstStyle>
            <a:lvl1pPr marL="457200" indent="-457200">
              <a:spcBef>
                <a:spcPts val="1100"/>
              </a:spcBef>
              <a:buClr>
                <a:schemeClr val="bg2"/>
              </a:buClr>
              <a:buFont typeface="+mj-lt"/>
              <a:buAutoNum type="arabicParenR"/>
              <a:defRPr sz="2100">
                <a:solidFill>
                  <a:schemeClr val="tx1"/>
                </a:solidFill>
              </a:defRPr>
            </a:lvl1pPr>
          </a:lstStyle>
          <a:p>
            <a:pPr lvl="0"/>
            <a:r>
              <a:rPr lang="en-US" noProof="0"/>
              <a:t>Click to edit Master text styles</a:t>
            </a:r>
          </a:p>
        </p:txBody>
      </p:sp>
      <p:sp>
        <p:nvSpPr>
          <p:cNvPr id="6" name="Titel 1"/>
          <p:cNvSpPr>
            <a:spLocks noGrp="1"/>
          </p:cNvSpPr>
          <p:nvPr>
            <p:ph type="title"/>
          </p:nvPr>
        </p:nvSpPr>
        <p:spPr>
          <a:xfrm>
            <a:off x="670984" y="296864"/>
            <a:ext cx="10843683" cy="1727980"/>
          </a:xfrm>
        </p:spPr>
        <p:txBody>
          <a:bodyPr wrap="square" anchor="b" anchorCtr="0"/>
          <a:lstStyle>
            <a:lvl1pPr>
              <a:defRPr sz="4400" b="0"/>
            </a:lvl1pPr>
          </a:lstStyle>
          <a:p>
            <a:r>
              <a:rPr lang="en-US" noProof="0"/>
              <a:t>Click to edit Master title style</a:t>
            </a:r>
          </a:p>
        </p:txBody>
      </p:sp>
    </p:spTree>
    <p:extLst>
      <p:ext uri="{BB962C8B-B14F-4D97-AF65-F5344CB8AC3E}">
        <p14:creationId xmlns:p14="http://schemas.microsoft.com/office/powerpoint/2010/main" val="3550248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a:t>
            </a:r>
          </a:p>
        </p:txBody>
      </p:sp>
      <p:sp>
        <p:nvSpPr>
          <p:cNvPr id="7" name="Textplatzhalter 2"/>
          <p:cNvSpPr>
            <a:spLocks noGrp="1"/>
          </p:cNvSpPr>
          <p:nvPr>
            <p:ph idx="1" hasCustomPrompt="1"/>
          </p:nvPr>
        </p:nvSpPr>
        <p:spPr>
          <a:xfrm>
            <a:off x="839788" y="908049"/>
            <a:ext cx="10547998" cy="5328000"/>
          </a:xfrm>
          <a:prstGeom prst="rect">
            <a:avLst/>
          </a:prstGeom>
        </p:spPr>
        <p:txBody>
          <a:bodyPr vert="horz" lIns="0" tIns="0" rIns="91440" bIns="0" rtlCol="0">
            <a:noAutofit/>
          </a:bodyPr>
          <a:lstStyle/>
          <a:p>
            <a:pPr lvl="0"/>
            <a:r>
              <a:rPr lang="en-US" noProof="0" dirty="0"/>
              <a:t>Add text (make this text bold if it should be a subtitle)</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Tree>
    <p:extLst>
      <p:ext uri="{BB962C8B-B14F-4D97-AF65-F5344CB8AC3E}">
        <p14:creationId xmlns:p14="http://schemas.microsoft.com/office/powerpoint/2010/main" val="209496035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el / Untertitel /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1268414"/>
            <a:ext cx="10850033" cy="432395"/>
          </a:xfrm>
        </p:spPr>
        <p:txBody>
          <a:bodyPr/>
          <a:lstStyle/>
          <a:p>
            <a:pPr lvl="0"/>
            <a:r>
              <a:rPr lang="en-US" noProof="0"/>
              <a:t>Click to edit Master text styles</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9" name="Inhaltsplatzhalter 5"/>
          <p:cNvSpPr>
            <a:spLocks noGrp="1"/>
          </p:cNvSpPr>
          <p:nvPr>
            <p:ph sz="quarter" idx="12"/>
          </p:nvPr>
        </p:nvSpPr>
        <p:spPr>
          <a:xfrm>
            <a:off x="670985" y="1772816"/>
            <a:ext cx="10850033" cy="4393034"/>
          </a:xfrm>
        </p:spPr>
        <p:txBody>
          <a:bodyPr/>
          <a:lstStyle>
            <a:lvl1pPr>
              <a:defRPr sz="20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142468533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el /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1268413"/>
            <a:ext cx="10850033" cy="4897437"/>
          </a:xfrm>
        </p:spPr>
        <p:txBody>
          <a:bodyPr/>
          <a:lstStyle>
            <a:lvl1pPr>
              <a:defRPr sz="2000">
                <a:solidFill>
                  <a:schemeClr val="tx1"/>
                </a:solidFill>
              </a:defRPr>
            </a:lvl1pPr>
          </a:lstStyle>
          <a:p>
            <a:pPr lvl="0"/>
            <a:r>
              <a:rPr lang="en-US" noProof="0"/>
              <a:t>Click to edit Master text styles</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Tree>
    <p:extLst>
      <p:ext uri="{BB962C8B-B14F-4D97-AF65-F5344CB8AC3E}">
        <p14:creationId xmlns:p14="http://schemas.microsoft.com/office/powerpoint/2010/main" val="4819250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el / Unter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1268413"/>
            <a:ext cx="10850033" cy="48974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Tree>
    <p:extLst>
      <p:ext uri="{BB962C8B-B14F-4D97-AF65-F5344CB8AC3E}">
        <p14:creationId xmlns:p14="http://schemas.microsoft.com/office/powerpoint/2010/main" val="369122581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mit Bild (horizonta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3608388"/>
            <a:ext cx="10850033" cy="25574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4" name="Bildplatzhalter 3"/>
          <p:cNvSpPr>
            <a:spLocks noGrp="1"/>
          </p:cNvSpPr>
          <p:nvPr>
            <p:ph type="pic" sz="quarter" idx="12"/>
          </p:nvPr>
        </p:nvSpPr>
        <p:spPr>
          <a:xfrm>
            <a:off x="670985" y="1268413"/>
            <a:ext cx="10850033" cy="1981200"/>
          </a:xfrm>
        </p:spPr>
        <p:txBody>
          <a:bodyPr/>
          <a:lstStyle/>
          <a:p>
            <a:r>
              <a:rPr lang="en-US" noProof="0"/>
              <a:t>Click icon to add picture</a:t>
            </a:r>
          </a:p>
        </p:txBody>
      </p:sp>
    </p:spTree>
    <p:extLst>
      <p:ext uri="{BB962C8B-B14F-4D97-AF65-F5344CB8AC3E}">
        <p14:creationId xmlns:p14="http://schemas.microsoft.com/office/powerpoint/2010/main" val="247213496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xt mit Bild (vertika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6" y="1268413"/>
            <a:ext cx="5329004" cy="48974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p:txBody>
          <a:bodyPr/>
          <a:lstStyle/>
          <a:p>
            <a:r>
              <a:rPr lang="en-US" noProof="0"/>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4" name="Bildplatzhalter 3"/>
          <p:cNvSpPr>
            <a:spLocks noGrp="1"/>
          </p:cNvSpPr>
          <p:nvPr>
            <p:ph type="pic" sz="quarter" idx="12"/>
          </p:nvPr>
        </p:nvSpPr>
        <p:spPr>
          <a:xfrm>
            <a:off x="6096001" y="1268412"/>
            <a:ext cx="5425017" cy="4897437"/>
          </a:xfrm>
        </p:spPr>
        <p:txBody>
          <a:bodyPr/>
          <a:lstStyle/>
          <a:p>
            <a:r>
              <a:rPr lang="en-US" noProof="0"/>
              <a:t>Click icon to add picture</a:t>
            </a:r>
          </a:p>
        </p:txBody>
      </p:sp>
    </p:spTree>
    <p:extLst>
      <p:ext uri="{BB962C8B-B14F-4D97-AF65-F5344CB8AC3E}">
        <p14:creationId xmlns:p14="http://schemas.microsoft.com/office/powerpoint/2010/main" val="25410874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Fußzeilenplatzhalter 2"/>
          <p:cNvSpPr>
            <a:spLocks noGrp="1"/>
          </p:cNvSpPr>
          <p:nvPr>
            <p:ph type="ftr" sz="quarter" idx="10"/>
          </p:nvPr>
        </p:nvSpPr>
        <p:spPr/>
        <p:txBody>
          <a:bodyPr/>
          <a:lstStyle/>
          <a:p>
            <a:r>
              <a:rPr lang="en-US" noProof="0"/>
              <a:t>Confidential</a:t>
            </a:r>
          </a:p>
        </p:txBody>
      </p:sp>
      <p:sp>
        <p:nvSpPr>
          <p:cNvPr id="4"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Tree>
    <p:extLst>
      <p:ext uri="{BB962C8B-B14F-4D97-AF65-F5344CB8AC3E}">
        <p14:creationId xmlns:p14="http://schemas.microsoft.com/office/powerpoint/2010/main" val="40423210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p>
            <a:r>
              <a:rPr lang="en-US" noProof="0"/>
              <a:t>Confidential</a:t>
            </a:r>
          </a:p>
        </p:txBody>
      </p:sp>
    </p:spTree>
    <p:extLst>
      <p:ext uri="{BB962C8B-B14F-4D97-AF65-F5344CB8AC3E}">
        <p14:creationId xmlns:p14="http://schemas.microsoft.com/office/powerpoint/2010/main" val="123558379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Schluss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0984" y="296864"/>
            <a:ext cx="10843683" cy="1727980"/>
          </a:xfrm>
        </p:spPr>
        <p:txBody>
          <a:bodyPr wrap="square" anchor="b" anchorCtr="0"/>
          <a:lstStyle>
            <a:lvl1pPr>
              <a:defRPr sz="4400"/>
            </a:lvl1pPr>
          </a:lstStyle>
          <a:p>
            <a:r>
              <a:rPr lang="en-US" sz="4400" noProof="0"/>
              <a:t>Thank you for your attention</a:t>
            </a:r>
            <a:endParaRPr lang="en-US" noProof="0"/>
          </a:p>
        </p:txBody>
      </p:sp>
      <p:sp>
        <p:nvSpPr>
          <p:cNvPr id="3" name="Fußzeilenplatzhalter 2"/>
          <p:cNvSpPr>
            <a:spLocks noGrp="1"/>
          </p:cNvSpPr>
          <p:nvPr>
            <p:ph type="ftr" sz="quarter" idx="10"/>
          </p:nvPr>
        </p:nvSpPr>
        <p:spPr/>
        <p:txBody>
          <a:bodyPr/>
          <a:lstStyle/>
          <a:p>
            <a:r>
              <a:rPr lang="en-US" noProof="0"/>
              <a:t>Confidential</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hasCustomPrompt="1"/>
          </p:nvPr>
        </p:nvSpPr>
        <p:spPr>
          <a:xfrm>
            <a:off x="670985" y="2636838"/>
            <a:ext cx="10850033" cy="3529012"/>
          </a:xfrm>
        </p:spPr>
        <p:txBody>
          <a:bodyPr/>
          <a:lstStyle>
            <a:lvl1pPr marL="0" marR="0" indent="0" algn="l" defTabSz="914400" rtl="0" eaLnBrk="1" fontAlgn="base" latinLnBrk="0" hangingPunct="1">
              <a:lnSpc>
                <a:spcPct val="100000"/>
              </a:lnSpc>
              <a:spcBef>
                <a:spcPts val="300"/>
              </a:spcBef>
              <a:spcAft>
                <a:spcPct val="0"/>
              </a:spcAft>
              <a:buClrTx/>
              <a:buSzTx/>
              <a:buFontTx/>
              <a:buNone/>
              <a:tabLst/>
              <a:defRPr sz="2100">
                <a:solidFill>
                  <a:schemeClr val="tx1"/>
                </a:solidFill>
              </a:defRPr>
            </a:lvl1pPr>
          </a:lstStyle>
          <a:p>
            <a:pPr marL="0" indent="0">
              <a:spcBef>
                <a:spcPts val="300"/>
              </a:spcBef>
              <a:spcAft>
                <a:spcPct val="0"/>
              </a:spcAft>
            </a:pPr>
            <a:r>
              <a:rPr lang="en-US" sz="2100" noProof="0"/>
              <a:t>For more information, please visit our website on www.sensirion.com</a:t>
            </a:r>
          </a:p>
        </p:txBody>
      </p:sp>
    </p:spTree>
    <p:extLst>
      <p:ext uri="{BB962C8B-B14F-4D97-AF65-F5344CB8AC3E}">
        <p14:creationId xmlns:p14="http://schemas.microsoft.com/office/powerpoint/2010/main" val="212027384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a:xfrm>
            <a:off x="670984" y="1268414"/>
            <a:ext cx="10843683" cy="4884737"/>
          </a:xfrm>
        </p:spPr>
        <p:txBody>
          <a:bodyPr/>
          <a:lstStyle>
            <a:lvl1pPr>
              <a:defRPr b="0"/>
            </a:lvl1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23785585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baseline="0">
                <a:solidFill>
                  <a:schemeClr val="tx1"/>
                </a:solidFill>
              </a:defRPr>
            </a:lvl1pPr>
          </a:lstStyle>
          <a:p>
            <a:r>
              <a:rPr lang="en-US" dirty="0"/>
              <a:t>Add Title / </a:t>
            </a:r>
            <a:r>
              <a:rPr lang="en-US" dirty="0" err="1"/>
              <a:t>Titel</a:t>
            </a:r>
            <a:r>
              <a:rPr lang="en-US" dirty="0"/>
              <a:t> </a:t>
            </a:r>
            <a:r>
              <a:rPr lang="en-US" dirty="0" err="1"/>
              <a:t>hinzufügen</a:t>
            </a:r>
            <a:endParaRPr lang="en-US" dirty="0"/>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10509842" cy="306000"/>
          </a:xfrm>
        </p:spPr>
        <p:txBody>
          <a:bodyPr/>
          <a:lstStyle>
            <a:lvl1pPr>
              <a:spcBef>
                <a:spcPts val="0"/>
              </a:spcBef>
              <a:defRPr baseline="0"/>
            </a:lvl1pPr>
          </a:lstStyle>
          <a:p>
            <a:pPr lvl="0"/>
            <a:r>
              <a:rPr lang="en-US" dirty="0"/>
              <a:t>First Name Last Name, Job Function / </a:t>
            </a:r>
            <a:r>
              <a:rPr lang="en-US" dirty="0" err="1"/>
              <a:t>Vorname</a:t>
            </a:r>
            <a:r>
              <a:rPr lang="en-US" dirty="0"/>
              <a:t> </a:t>
            </a:r>
            <a:r>
              <a:rPr lang="en-US" dirty="0" err="1"/>
              <a:t>Nachname</a:t>
            </a:r>
            <a:r>
              <a:rPr lang="en-US" dirty="0"/>
              <a:t>, </a:t>
            </a:r>
            <a:r>
              <a:rPr lang="en-US" dirty="0" err="1"/>
              <a:t>Funktion</a:t>
            </a:r>
            <a:endParaRPr lang="en-US" dirty="0"/>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10512426" cy="306000"/>
          </a:xfrm>
        </p:spPr>
        <p:txBody>
          <a:bodyPr/>
          <a:lstStyle>
            <a:lvl1pPr>
              <a:spcBef>
                <a:spcPts val="0"/>
              </a:spcBef>
              <a:defRPr baseline="0"/>
            </a:lvl1pPr>
          </a:lstStyle>
          <a:p>
            <a:pPr lvl="0"/>
            <a:r>
              <a:rPr lang="en-US" dirty="0"/>
              <a:t>City Country, Month Year / </a:t>
            </a:r>
            <a:r>
              <a:rPr lang="en-US" dirty="0" err="1"/>
              <a:t>Stadt</a:t>
            </a:r>
            <a:r>
              <a:rPr lang="en-US" dirty="0"/>
              <a:t> Land, </a:t>
            </a:r>
            <a:r>
              <a:rPr lang="en-US" dirty="0" err="1"/>
              <a:t>Monat</a:t>
            </a:r>
            <a:r>
              <a:rPr lang="en-US" dirty="0"/>
              <a:t> </a:t>
            </a:r>
            <a:r>
              <a:rPr lang="en-US" dirty="0" err="1"/>
              <a:t>Jahr</a:t>
            </a:r>
            <a:endParaRPr lang="en-US" dirty="0"/>
          </a:p>
        </p:txBody>
      </p:sp>
      <p:pic>
        <p:nvPicPr>
          <p:cNvPr id="10" name="Grafik 9">
            <a:extLst>
              <a:ext uri="{FF2B5EF4-FFF2-40B4-BE49-F238E27FC236}">
                <a16:creationId xmlns:a16="http://schemas.microsoft.com/office/drawing/2014/main" id="{C3302D84-6649-4B9E-AC4B-E5A9B25475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4047" y="6365691"/>
            <a:ext cx="1905952" cy="276035"/>
          </a:xfrm>
          <a:prstGeom prst="rect">
            <a:avLst/>
          </a:prstGeom>
        </p:spPr>
      </p:pic>
    </p:spTree>
    <p:extLst>
      <p:ext uri="{BB962C8B-B14F-4D97-AF65-F5344CB8AC3E}">
        <p14:creationId xmlns:p14="http://schemas.microsoft.com/office/powerpoint/2010/main" val="31716554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5" name="Textplatzhalter 3"/>
          <p:cNvSpPr>
            <a:spLocks noGrp="1"/>
          </p:cNvSpPr>
          <p:nvPr>
            <p:ph type="body" sz="quarter" idx="10" hasCustomPrompt="1"/>
          </p:nvPr>
        </p:nvSpPr>
        <p:spPr>
          <a:xfrm>
            <a:off x="848931" y="917195"/>
            <a:ext cx="10539793" cy="5320093"/>
          </a:xfrm>
        </p:spPr>
        <p:txBody>
          <a:bodyPr/>
          <a:lstStyle>
            <a:lvl1pPr marL="0" indent="0">
              <a:buFontTx/>
              <a:buNone/>
              <a:defRPr b="0"/>
            </a:lvl1pPr>
            <a:lvl2pPr marL="216000" indent="-216000">
              <a:buSzPct val="100000"/>
              <a:defRPr/>
            </a:lvl2pPr>
            <a:lvl3pPr marL="720000" indent="-216000">
              <a:spcBef>
                <a:spcPts val="900"/>
              </a:spcBef>
              <a:buSzPct val="90000"/>
              <a:defRPr baseline="0"/>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Tree>
    <p:extLst>
      <p:ext uri="{BB962C8B-B14F-4D97-AF65-F5344CB8AC3E}">
        <p14:creationId xmlns:p14="http://schemas.microsoft.com/office/powerpoint/2010/main" val="354022912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 / </a:t>
            </a:r>
            <a:r>
              <a:rPr lang="en-US" noProof="0" dirty="0" err="1"/>
              <a:t>Titel</a:t>
            </a:r>
            <a:r>
              <a:rPr lang="en-US" noProof="0" dirty="0"/>
              <a:t> </a:t>
            </a:r>
            <a:r>
              <a:rPr lang="en-US" noProof="0" dirty="0" err="1"/>
              <a:t>hinzufügen</a:t>
            </a:r>
            <a:r>
              <a:rPr lang="en-US" noProof="0" dirty="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dirty="0"/>
              <a:t>Add text (make this text bold if it should be a subtitle) / </a:t>
            </a:r>
            <a:r>
              <a:rPr lang="de-CH" noProof="0" dirty="0"/>
              <a:t>Text hinzufügen (bei einem Untertitel kann der Text fett gemacht werden)</a:t>
            </a:r>
          </a:p>
          <a:p>
            <a:pPr lvl="0"/>
            <a:endParaRPr lang="en-US" noProof="0" dirty="0"/>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3" name="Foliennummernplatzhalter 2">
            <a:extLst>
              <a:ext uri="{FF2B5EF4-FFF2-40B4-BE49-F238E27FC236}">
                <a16:creationId xmlns:a16="http://schemas.microsoft.com/office/drawing/2014/main" id="{685CC3A7-3D0E-4371-92B7-70F6D38A1DFA}"/>
              </a:ext>
            </a:extLst>
          </p:cNvPr>
          <p:cNvSpPr>
            <a:spLocks noGrp="1"/>
          </p:cNvSpPr>
          <p:nvPr>
            <p:ph type="sldNum" sz="quarter" idx="10"/>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160960905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Text, Picture Lef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839788"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aseline="0"/>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dirty="0"/>
              <a:t>Add </a:t>
            </a:r>
            <a:r>
              <a:rPr lang="de-CH" noProof="0" dirty="0" err="1"/>
              <a:t>picture</a:t>
            </a:r>
            <a:r>
              <a:rPr lang="de-CH" noProof="0" dirty="0"/>
              <a:t> via </a:t>
            </a:r>
            <a:r>
              <a:rPr lang="de-CH" noProof="0" dirty="0" err="1"/>
              <a:t>icon</a:t>
            </a:r>
            <a:r>
              <a:rPr lang="de-CH" noProof="0" dirty="0"/>
              <a:t> / Bild hinzufügen via Symbol</a:t>
            </a:r>
          </a:p>
          <a:p>
            <a:endParaRPr lang="en-US" dirty="0"/>
          </a:p>
        </p:txBody>
      </p:sp>
      <p:sp>
        <p:nvSpPr>
          <p:cNvPr id="6" name="Text Placeholder 5"/>
          <p:cNvSpPr>
            <a:spLocks noGrp="1"/>
          </p:cNvSpPr>
          <p:nvPr>
            <p:ph type="body" sz="quarter" idx="11" hasCustomPrompt="1"/>
          </p:nvPr>
        </p:nvSpPr>
        <p:spPr>
          <a:xfrm>
            <a:off x="6212541"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dirty="0"/>
              <a:t>Add text (make this text bold if it should be a subtitle) / </a:t>
            </a:r>
            <a:r>
              <a:rPr lang="de-CH" noProof="0" dirty="0"/>
              <a:t>Text hinzufügen (bei einem Untertitel kann der Text fett gemacht werden)</a:t>
            </a:r>
          </a:p>
          <a:p>
            <a:pPr lvl="0"/>
            <a:endParaRPr lang="en-US" noProof="0" dirty="0"/>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3" name="Title 2"/>
          <p:cNvSpPr>
            <a:spLocks noGrp="1"/>
          </p:cNvSpPr>
          <p:nvPr>
            <p:ph type="title" hasCustomPrompt="1"/>
          </p:nvPr>
        </p:nvSpPr>
        <p:spPr/>
        <p:txBody>
          <a:bodyPr/>
          <a:lstStyle/>
          <a:p>
            <a:r>
              <a:rPr lang="en-US" noProof="0" dirty="0"/>
              <a:t>Add Title / </a:t>
            </a:r>
            <a:r>
              <a:rPr lang="en-US" noProof="0" dirty="0" err="1"/>
              <a:t>Titel</a:t>
            </a:r>
            <a:r>
              <a:rPr lang="en-US" noProof="0" dirty="0"/>
              <a:t> </a:t>
            </a:r>
            <a:r>
              <a:rPr lang="en-US" noProof="0" dirty="0" err="1"/>
              <a:t>hinzufügen</a:t>
            </a:r>
            <a:r>
              <a:rPr lang="en-US" noProof="0" dirty="0"/>
              <a:t> </a:t>
            </a:r>
            <a:endParaRPr lang="en-US" dirty="0"/>
          </a:p>
        </p:txBody>
      </p:sp>
      <p:sp>
        <p:nvSpPr>
          <p:cNvPr id="2" name="Foliennummernplatzhalter 1">
            <a:extLst>
              <a:ext uri="{FF2B5EF4-FFF2-40B4-BE49-F238E27FC236}">
                <a16:creationId xmlns:a16="http://schemas.microsoft.com/office/drawing/2014/main" id="{7710B39A-FB8D-4117-8471-CF25246F782B}"/>
              </a:ext>
            </a:extLst>
          </p:cNvPr>
          <p:cNvSpPr>
            <a:spLocks noGrp="1"/>
          </p:cNvSpPr>
          <p:nvPr>
            <p:ph type="sldNum" sz="quarter" idx="12"/>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252021428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dirty="0"/>
              <a:t>Add text (make this text bold if it should be a subtitle) / </a:t>
            </a:r>
            <a:r>
              <a:rPr lang="de-CH" noProof="0" dirty="0"/>
              <a:t>Text hinzufügen (bei einem Untertitel kann der Text fett gemacht werden)</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dirty="0"/>
              <a:t>Add </a:t>
            </a:r>
            <a:r>
              <a:rPr lang="de-CH" noProof="0" dirty="0" err="1"/>
              <a:t>picture</a:t>
            </a:r>
            <a:r>
              <a:rPr lang="de-CH" noProof="0" dirty="0"/>
              <a:t> via </a:t>
            </a:r>
            <a:r>
              <a:rPr lang="de-CH" noProof="0" dirty="0" err="1"/>
              <a:t>icon</a:t>
            </a:r>
            <a:r>
              <a:rPr lang="de-CH" noProof="0" dirty="0"/>
              <a:t> / Bild hinzufügen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 / </a:t>
            </a:r>
            <a:r>
              <a:rPr lang="en-US" noProof="0" dirty="0" err="1"/>
              <a:t>Titel</a:t>
            </a:r>
            <a:r>
              <a:rPr lang="en-US" noProof="0" dirty="0"/>
              <a:t> </a:t>
            </a:r>
            <a:r>
              <a:rPr lang="en-US" noProof="0" dirty="0" err="1"/>
              <a:t>hinzufügen</a:t>
            </a:r>
            <a:r>
              <a:rPr lang="en-US" noProof="0" dirty="0"/>
              <a:t> </a:t>
            </a:r>
          </a:p>
        </p:txBody>
      </p:sp>
      <p:sp>
        <p:nvSpPr>
          <p:cNvPr id="2" name="Foliennummernplatzhalter 1">
            <a:extLst>
              <a:ext uri="{FF2B5EF4-FFF2-40B4-BE49-F238E27FC236}">
                <a16:creationId xmlns:a16="http://schemas.microsoft.com/office/drawing/2014/main" id="{28F68E1B-252D-4464-9287-24642A2EF977}"/>
              </a:ext>
            </a:extLst>
          </p:cNvPr>
          <p:cNvSpPr>
            <a:spLocks noGrp="1"/>
          </p:cNvSpPr>
          <p:nvPr>
            <p:ph type="sldNum" sz="quarter" idx="12"/>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2230424692"/>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 / </a:t>
            </a:r>
            <a:r>
              <a:rPr lang="en-US" noProof="0" dirty="0" err="1"/>
              <a:t>Titel</a:t>
            </a:r>
            <a:r>
              <a:rPr lang="en-US" noProof="0" dirty="0"/>
              <a:t> </a:t>
            </a:r>
            <a:r>
              <a:rPr lang="en-US" noProof="0" dirty="0" err="1"/>
              <a:t>hinzufügen</a:t>
            </a:r>
            <a:r>
              <a:rPr lang="en-US" noProof="0" dirty="0"/>
              <a:t> </a:t>
            </a:r>
          </a:p>
        </p:txBody>
      </p:sp>
      <p:sp>
        <p:nvSpPr>
          <p:cNvPr id="2" name="Foliennummernplatzhalter 1">
            <a:extLst>
              <a:ext uri="{FF2B5EF4-FFF2-40B4-BE49-F238E27FC236}">
                <a16:creationId xmlns:a16="http://schemas.microsoft.com/office/drawing/2014/main" id="{6DEAD031-EE7C-4798-A89A-83F471FC31AC}"/>
              </a:ext>
            </a:extLst>
          </p:cNvPr>
          <p:cNvSpPr>
            <a:spLocks noGrp="1"/>
          </p:cNvSpPr>
          <p:nvPr>
            <p:ph type="sldNum" sz="quarter" idx="10"/>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33381545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93" name="Gruppieren 92">
            <a:extLst>
              <a:ext uri="{FF2B5EF4-FFF2-40B4-BE49-F238E27FC236}">
                <a16:creationId xmlns:a16="http://schemas.microsoft.com/office/drawing/2014/main" id="{D2D03C95-7237-41B3-B3C3-68EDD984A661}"/>
              </a:ext>
            </a:extLst>
          </p:cNvPr>
          <p:cNvGrpSpPr/>
          <p:nvPr userDrawn="1"/>
        </p:nvGrpSpPr>
        <p:grpSpPr>
          <a:xfrm>
            <a:off x="731952" y="3106800"/>
            <a:ext cx="11457648" cy="3516259"/>
            <a:chOff x="731952" y="3106800"/>
            <a:chExt cx="11457648" cy="3516259"/>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7" y="6345195"/>
              <a:ext cx="1500502" cy="229341"/>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6" name="Bildplatzhalter 35">
            <a:extLst>
              <a:ext uri="{FF2B5EF4-FFF2-40B4-BE49-F238E27FC236}">
                <a16:creationId xmlns:a16="http://schemas.microsoft.com/office/drawing/2014/main" id="{CA556C45-C7B9-47FE-BE2A-3541CDEB0B19}"/>
              </a:ext>
            </a:extLst>
          </p:cNvPr>
          <p:cNvSpPr>
            <a:spLocks noGrp="1"/>
          </p:cNvSpPr>
          <p:nvPr>
            <p:ph type="pic" sz="quarter" idx="14"/>
          </p:nvPr>
        </p:nvSpPr>
        <p:spPr>
          <a:xfrm>
            <a:off x="9" y="4"/>
            <a:ext cx="12188817" cy="6857997"/>
          </a:xfrm>
          <a:custGeom>
            <a:avLst/>
            <a:gdLst>
              <a:gd name="connsiteX0" fmla="*/ 2164817 w 12188817"/>
              <a:gd name="connsiteY0" fmla="*/ 6506714 h 6857997"/>
              <a:gd name="connsiteX1" fmla="*/ 2164817 w 12188817"/>
              <a:gd name="connsiteY1" fmla="*/ 6521015 h 6857997"/>
              <a:gd name="connsiteX2" fmla="*/ 2170608 w 12188817"/>
              <a:gd name="connsiteY2" fmla="*/ 6521015 h 6857997"/>
              <a:gd name="connsiteX3" fmla="*/ 2168864 w 12188817"/>
              <a:gd name="connsiteY3" fmla="*/ 6530887 h 6857997"/>
              <a:gd name="connsiteX4" fmla="*/ 2164120 w 12188817"/>
              <a:gd name="connsiteY4" fmla="*/ 6535875 h 6857997"/>
              <a:gd name="connsiteX5" fmla="*/ 2166980 w 12188817"/>
              <a:gd name="connsiteY5" fmla="*/ 6541247 h 6857997"/>
              <a:gd name="connsiteX6" fmla="*/ 2174096 w 12188817"/>
              <a:gd name="connsiteY6" fmla="*/ 6534026 h 6857997"/>
              <a:gd name="connsiteX7" fmla="*/ 2176538 w 12188817"/>
              <a:gd name="connsiteY7" fmla="*/ 6521015 h 6857997"/>
              <a:gd name="connsiteX8" fmla="*/ 2176538 w 12188817"/>
              <a:gd name="connsiteY8" fmla="*/ 6506714 h 6857997"/>
              <a:gd name="connsiteX9" fmla="*/ 6291674 w 12188817"/>
              <a:gd name="connsiteY9" fmla="*/ 6483831 h 6857997"/>
              <a:gd name="connsiteX10" fmla="*/ 6291674 w 12188817"/>
              <a:gd name="connsiteY10" fmla="*/ 6488436 h 6857997"/>
              <a:gd name="connsiteX11" fmla="*/ 6289442 w 12188817"/>
              <a:gd name="connsiteY11" fmla="*/ 6502354 h 6857997"/>
              <a:gd name="connsiteX12" fmla="*/ 6282709 w 12188817"/>
              <a:gd name="connsiteY12" fmla="*/ 6509993 h 6857997"/>
              <a:gd name="connsiteX13" fmla="*/ 6272698 w 12188817"/>
              <a:gd name="connsiteY13" fmla="*/ 6512853 h 6857997"/>
              <a:gd name="connsiteX14" fmla="*/ 6263629 w 12188817"/>
              <a:gd name="connsiteY14" fmla="*/ 6509679 h 6857997"/>
              <a:gd name="connsiteX15" fmla="*/ 6260350 w 12188817"/>
              <a:gd name="connsiteY15" fmla="*/ 6501203 h 6857997"/>
              <a:gd name="connsiteX16" fmla="*/ 6261780 w 12188817"/>
              <a:gd name="connsiteY16" fmla="*/ 6495168 h 6857997"/>
              <a:gd name="connsiteX17" fmla="*/ 6265792 w 12188817"/>
              <a:gd name="connsiteY17" fmla="*/ 6491122 h 6857997"/>
              <a:gd name="connsiteX18" fmla="*/ 6274861 w 12188817"/>
              <a:gd name="connsiteY18" fmla="*/ 6488575 h 6857997"/>
              <a:gd name="connsiteX19" fmla="*/ 6291674 w 12188817"/>
              <a:gd name="connsiteY19" fmla="*/ 6483831 h 6857997"/>
              <a:gd name="connsiteX20" fmla="*/ 2657736 w 12188817"/>
              <a:gd name="connsiteY20" fmla="*/ 6483831 h 6857997"/>
              <a:gd name="connsiteX21" fmla="*/ 2657736 w 12188817"/>
              <a:gd name="connsiteY21" fmla="*/ 6488436 h 6857997"/>
              <a:gd name="connsiteX22" fmla="*/ 2655504 w 12188817"/>
              <a:gd name="connsiteY22" fmla="*/ 6502354 h 6857997"/>
              <a:gd name="connsiteX23" fmla="*/ 2648771 w 12188817"/>
              <a:gd name="connsiteY23" fmla="*/ 6509993 h 6857997"/>
              <a:gd name="connsiteX24" fmla="*/ 2638760 w 12188817"/>
              <a:gd name="connsiteY24" fmla="*/ 6512853 h 6857997"/>
              <a:gd name="connsiteX25" fmla="*/ 2629691 w 12188817"/>
              <a:gd name="connsiteY25" fmla="*/ 6509679 h 6857997"/>
              <a:gd name="connsiteX26" fmla="*/ 2626412 w 12188817"/>
              <a:gd name="connsiteY26" fmla="*/ 6501203 h 6857997"/>
              <a:gd name="connsiteX27" fmla="*/ 2627843 w 12188817"/>
              <a:gd name="connsiteY27" fmla="*/ 6495168 h 6857997"/>
              <a:gd name="connsiteX28" fmla="*/ 2631854 w 12188817"/>
              <a:gd name="connsiteY28" fmla="*/ 6491122 h 6857997"/>
              <a:gd name="connsiteX29" fmla="*/ 2640923 w 12188817"/>
              <a:gd name="connsiteY29" fmla="*/ 6488575 h 6857997"/>
              <a:gd name="connsiteX30" fmla="*/ 2657736 w 12188817"/>
              <a:gd name="connsiteY30" fmla="*/ 6483831 h 6857997"/>
              <a:gd name="connsiteX31" fmla="*/ 6087291 w 12188817"/>
              <a:gd name="connsiteY31" fmla="*/ 6455577 h 6857997"/>
              <a:gd name="connsiteX32" fmla="*/ 6099918 w 12188817"/>
              <a:gd name="connsiteY32" fmla="*/ 6462484 h 6857997"/>
              <a:gd name="connsiteX33" fmla="*/ 6104034 w 12188817"/>
              <a:gd name="connsiteY33" fmla="*/ 6476855 h 6857997"/>
              <a:gd name="connsiteX34" fmla="*/ 6070131 w 12188817"/>
              <a:gd name="connsiteY34" fmla="*/ 6476855 h 6857997"/>
              <a:gd name="connsiteX35" fmla="*/ 6075502 w 12188817"/>
              <a:gd name="connsiteY35" fmla="*/ 6461333 h 6857997"/>
              <a:gd name="connsiteX36" fmla="*/ 6087291 w 12188817"/>
              <a:gd name="connsiteY36" fmla="*/ 6455577 h 6857997"/>
              <a:gd name="connsiteX37" fmla="*/ 6018394 w 12188817"/>
              <a:gd name="connsiteY37" fmla="*/ 6455577 h 6857997"/>
              <a:gd name="connsiteX38" fmla="*/ 6030544 w 12188817"/>
              <a:gd name="connsiteY38" fmla="*/ 6462728 h 6857997"/>
              <a:gd name="connsiteX39" fmla="*/ 6035357 w 12188817"/>
              <a:gd name="connsiteY39" fmla="*/ 6485436 h 6857997"/>
              <a:gd name="connsiteX40" fmla="*/ 6030544 w 12188817"/>
              <a:gd name="connsiteY40" fmla="*/ 6505667 h 6857997"/>
              <a:gd name="connsiteX41" fmla="*/ 6019162 w 12188817"/>
              <a:gd name="connsiteY41" fmla="*/ 6512365 h 6857997"/>
              <a:gd name="connsiteX42" fmla="*/ 6007540 w 12188817"/>
              <a:gd name="connsiteY42" fmla="*/ 6505388 h 6857997"/>
              <a:gd name="connsiteX43" fmla="*/ 6002550 w 12188817"/>
              <a:gd name="connsiteY43" fmla="*/ 6484041 h 6857997"/>
              <a:gd name="connsiteX44" fmla="*/ 6007226 w 12188817"/>
              <a:gd name="connsiteY44" fmla="*/ 6462449 h 6857997"/>
              <a:gd name="connsiteX45" fmla="*/ 6018394 w 12188817"/>
              <a:gd name="connsiteY45" fmla="*/ 6455577 h 6857997"/>
              <a:gd name="connsiteX46" fmla="*/ 5829559 w 12188817"/>
              <a:gd name="connsiteY46" fmla="*/ 6455577 h 6857997"/>
              <a:gd name="connsiteX47" fmla="*/ 5842534 w 12188817"/>
              <a:gd name="connsiteY47" fmla="*/ 6462597 h 6857997"/>
              <a:gd name="connsiteX48" fmla="*/ 5847769 w 12188817"/>
              <a:gd name="connsiteY48" fmla="*/ 6483936 h 6857997"/>
              <a:gd name="connsiteX49" fmla="*/ 5842571 w 12188817"/>
              <a:gd name="connsiteY49" fmla="*/ 6505275 h 6857997"/>
              <a:gd name="connsiteX50" fmla="*/ 5830117 w 12188817"/>
              <a:gd name="connsiteY50" fmla="*/ 6512365 h 6857997"/>
              <a:gd name="connsiteX51" fmla="*/ 5817141 w 12188817"/>
              <a:gd name="connsiteY51" fmla="*/ 6505345 h 6857997"/>
              <a:gd name="connsiteX52" fmla="*/ 5811909 w 12188817"/>
              <a:gd name="connsiteY52" fmla="*/ 6483936 h 6857997"/>
              <a:gd name="connsiteX53" fmla="*/ 5817070 w 12188817"/>
              <a:gd name="connsiteY53" fmla="*/ 6462632 h 6857997"/>
              <a:gd name="connsiteX54" fmla="*/ 5829559 w 12188817"/>
              <a:gd name="connsiteY54" fmla="*/ 6455577 h 6857997"/>
              <a:gd name="connsiteX55" fmla="*/ 2774981 w 12188817"/>
              <a:gd name="connsiteY55" fmla="*/ 6455577 h 6857997"/>
              <a:gd name="connsiteX56" fmla="*/ 2787127 w 12188817"/>
              <a:gd name="connsiteY56" fmla="*/ 6462728 h 6857997"/>
              <a:gd name="connsiteX57" fmla="*/ 2791944 w 12188817"/>
              <a:gd name="connsiteY57" fmla="*/ 6485436 h 6857997"/>
              <a:gd name="connsiteX58" fmla="*/ 2787127 w 12188817"/>
              <a:gd name="connsiteY58" fmla="*/ 6505667 h 6857997"/>
              <a:gd name="connsiteX59" fmla="*/ 2775749 w 12188817"/>
              <a:gd name="connsiteY59" fmla="*/ 6512365 h 6857997"/>
              <a:gd name="connsiteX60" fmla="*/ 2764126 w 12188817"/>
              <a:gd name="connsiteY60" fmla="*/ 6505388 h 6857997"/>
              <a:gd name="connsiteX61" fmla="*/ 2759134 w 12188817"/>
              <a:gd name="connsiteY61" fmla="*/ 6484041 h 6857997"/>
              <a:gd name="connsiteX62" fmla="*/ 2763811 w 12188817"/>
              <a:gd name="connsiteY62" fmla="*/ 6462449 h 6857997"/>
              <a:gd name="connsiteX63" fmla="*/ 2774981 w 12188817"/>
              <a:gd name="connsiteY63" fmla="*/ 6455577 h 6857997"/>
              <a:gd name="connsiteX64" fmla="*/ 2510503 w 12188817"/>
              <a:gd name="connsiteY64" fmla="*/ 6455577 h 6857997"/>
              <a:gd name="connsiteX65" fmla="*/ 2523130 w 12188817"/>
              <a:gd name="connsiteY65" fmla="*/ 6462484 h 6857997"/>
              <a:gd name="connsiteX66" fmla="*/ 2527246 w 12188817"/>
              <a:gd name="connsiteY66" fmla="*/ 6476855 h 6857997"/>
              <a:gd name="connsiteX67" fmla="*/ 2493341 w 12188817"/>
              <a:gd name="connsiteY67" fmla="*/ 6476855 h 6857997"/>
              <a:gd name="connsiteX68" fmla="*/ 2498713 w 12188817"/>
              <a:gd name="connsiteY68" fmla="*/ 6461333 h 6857997"/>
              <a:gd name="connsiteX69" fmla="*/ 2510503 w 12188817"/>
              <a:gd name="connsiteY69" fmla="*/ 6455577 h 6857997"/>
              <a:gd name="connsiteX70" fmla="*/ 1871770 w 12188817"/>
              <a:gd name="connsiteY70" fmla="*/ 6455577 h 6857997"/>
              <a:gd name="connsiteX71" fmla="*/ 1884746 w 12188817"/>
              <a:gd name="connsiteY71" fmla="*/ 6462597 h 6857997"/>
              <a:gd name="connsiteX72" fmla="*/ 1889978 w 12188817"/>
              <a:gd name="connsiteY72" fmla="*/ 6483936 h 6857997"/>
              <a:gd name="connsiteX73" fmla="*/ 1884781 w 12188817"/>
              <a:gd name="connsiteY73" fmla="*/ 6505275 h 6857997"/>
              <a:gd name="connsiteX74" fmla="*/ 1872328 w 12188817"/>
              <a:gd name="connsiteY74" fmla="*/ 6512365 h 6857997"/>
              <a:gd name="connsiteX75" fmla="*/ 1859352 w 12188817"/>
              <a:gd name="connsiteY75" fmla="*/ 6505345 h 6857997"/>
              <a:gd name="connsiteX76" fmla="*/ 1854120 w 12188817"/>
              <a:gd name="connsiteY76" fmla="*/ 6483936 h 6857997"/>
              <a:gd name="connsiteX77" fmla="*/ 1859282 w 12188817"/>
              <a:gd name="connsiteY77" fmla="*/ 6462632 h 6857997"/>
              <a:gd name="connsiteX78" fmla="*/ 1871770 w 12188817"/>
              <a:gd name="connsiteY78" fmla="*/ 6455577 h 6857997"/>
              <a:gd name="connsiteX79" fmla="*/ 1586578 w 12188817"/>
              <a:gd name="connsiteY79" fmla="*/ 6455577 h 6857997"/>
              <a:gd name="connsiteX80" fmla="*/ 1599205 w 12188817"/>
              <a:gd name="connsiteY80" fmla="*/ 6462484 h 6857997"/>
              <a:gd name="connsiteX81" fmla="*/ 1603321 w 12188817"/>
              <a:gd name="connsiteY81" fmla="*/ 6476855 h 6857997"/>
              <a:gd name="connsiteX82" fmla="*/ 1569416 w 12188817"/>
              <a:gd name="connsiteY82" fmla="*/ 6476855 h 6857997"/>
              <a:gd name="connsiteX83" fmla="*/ 1574788 w 12188817"/>
              <a:gd name="connsiteY83" fmla="*/ 6461333 h 6857997"/>
              <a:gd name="connsiteX84" fmla="*/ 1586578 w 12188817"/>
              <a:gd name="connsiteY84" fmla="*/ 6455577 h 6857997"/>
              <a:gd name="connsiteX85" fmla="*/ 1317679 w 12188817"/>
              <a:gd name="connsiteY85" fmla="*/ 6455577 h 6857997"/>
              <a:gd name="connsiteX86" fmla="*/ 1329914 w 12188817"/>
              <a:gd name="connsiteY86" fmla="*/ 6462397 h 6857997"/>
              <a:gd name="connsiteX87" fmla="*/ 1334947 w 12188817"/>
              <a:gd name="connsiteY87" fmla="*/ 6483204 h 6857997"/>
              <a:gd name="connsiteX88" fmla="*/ 1330053 w 12188817"/>
              <a:gd name="connsiteY88" fmla="*/ 6504116 h 6857997"/>
              <a:gd name="connsiteX89" fmla="*/ 1318169 w 12188817"/>
              <a:gd name="connsiteY89" fmla="*/ 6510690 h 6857997"/>
              <a:gd name="connsiteX90" fmla="*/ 1306354 w 12188817"/>
              <a:gd name="connsiteY90" fmla="*/ 6503976 h 6857997"/>
              <a:gd name="connsiteX91" fmla="*/ 1301530 w 12188817"/>
              <a:gd name="connsiteY91" fmla="*/ 6482644 h 6857997"/>
              <a:gd name="connsiteX92" fmla="*/ 1306389 w 12188817"/>
              <a:gd name="connsiteY92" fmla="*/ 6462397 h 6857997"/>
              <a:gd name="connsiteX93" fmla="*/ 1317679 w 12188817"/>
              <a:gd name="connsiteY93" fmla="*/ 6455577 h 6857997"/>
              <a:gd name="connsiteX94" fmla="*/ 1071670 w 12188817"/>
              <a:gd name="connsiteY94" fmla="*/ 6455577 h 6857997"/>
              <a:gd name="connsiteX95" fmla="*/ 1084646 w 12188817"/>
              <a:gd name="connsiteY95" fmla="*/ 6462597 h 6857997"/>
              <a:gd name="connsiteX96" fmla="*/ 1089878 w 12188817"/>
              <a:gd name="connsiteY96" fmla="*/ 6483936 h 6857997"/>
              <a:gd name="connsiteX97" fmla="*/ 1084681 w 12188817"/>
              <a:gd name="connsiteY97" fmla="*/ 6505275 h 6857997"/>
              <a:gd name="connsiteX98" fmla="*/ 1072228 w 12188817"/>
              <a:gd name="connsiteY98" fmla="*/ 6512365 h 6857997"/>
              <a:gd name="connsiteX99" fmla="*/ 1059252 w 12188817"/>
              <a:gd name="connsiteY99" fmla="*/ 6505345 h 6857997"/>
              <a:gd name="connsiteX100" fmla="*/ 1054020 w 12188817"/>
              <a:gd name="connsiteY100" fmla="*/ 6483936 h 6857997"/>
              <a:gd name="connsiteX101" fmla="*/ 1059182 w 12188817"/>
              <a:gd name="connsiteY101" fmla="*/ 6462632 h 6857997"/>
              <a:gd name="connsiteX102" fmla="*/ 1071670 w 12188817"/>
              <a:gd name="connsiteY102" fmla="*/ 6455577 h 6857997"/>
              <a:gd name="connsiteX103" fmla="*/ 1139782 w 12188817"/>
              <a:gd name="connsiteY103" fmla="*/ 6455089 h 6857997"/>
              <a:gd name="connsiteX104" fmla="*/ 1151472 w 12188817"/>
              <a:gd name="connsiteY104" fmla="*/ 6462065 h 6857997"/>
              <a:gd name="connsiteX105" fmla="*/ 1156274 w 12188817"/>
              <a:gd name="connsiteY105" fmla="*/ 6483552 h 6857997"/>
              <a:gd name="connsiteX106" fmla="*/ 1151334 w 12188817"/>
              <a:gd name="connsiteY106" fmla="*/ 6505319 h 6857997"/>
              <a:gd name="connsiteX107" fmla="*/ 1139852 w 12188817"/>
              <a:gd name="connsiteY107" fmla="*/ 6512365 h 6857997"/>
              <a:gd name="connsiteX108" fmla="*/ 1128229 w 12188817"/>
              <a:gd name="connsiteY108" fmla="*/ 6505563 h 6857997"/>
              <a:gd name="connsiteX109" fmla="*/ 1123428 w 12188817"/>
              <a:gd name="connsiteY109" fmla="*/ 6484390 h 6857997"/>
              <a:gd name="connsiteX110" fmla="*/ 1128508 w 12188817"/>
              <a:gd name="connsiteY110" fmla="*/ 6462589 h 6857997"/>
              <a:gd name="connsiteX111" fmla="*/ 1139782 w 12188817"/>
              <a:gd name="connsiteY111" fmla="*/ 6455089 h 6857997"/>
              <a:gd name="connsiteX112" fmla="*/ 6224380 w 12188817"/>
              <a:gd name="connsiteY112" fmla="*/ 6446927 h 6857997"/>
              <a:gd name="connsiteX113" fmla="*/ 6224380 w 12188817"/>
              <a:gd name="connsiteY113" fmla="*/ 6521015 h 6857997"/>
              <a:gd name="connsiteX114" fmla="*/ 6234636 w 12188817"/>
              <a:gd name="connsiteY114" fmla="*/ 6521015 h 6857997"/>
              <a:gd name="connsiteX115" fmla="*/ 6234636 w 12188817"/>
              <a:gd name="connsiteY115" fmla="*/ 6446927 h 6857997"/>
              <a:gd name="connsiteX116" fmla="*/ 5967205 w 12188817"/>
              <a:gd name="connsiteY116" fmla="*/ 6446927 h 6857997"/>
              <a:gd name="connsiteX117" fmla="*/ 5967205 w 12188817"/>
              <a:gd name="connsiteY117" fmla="*/ 6521015 h 6857997"/>
              <a:gd name="connsiteX118" fmla="*/ 5977462 w 12188817"/>
              <a:gd name="connsiteY118" fmla="*/ 6521015 h 6857997"/>
              <a:gd name="connsiteX119" fmla="*/ 5977462 w 12188817"/>
              <a:gd name="connsiteY119" fmla="*/ 6446927 h 6857997"/>
              <a:gd name="connsiteX120" fmla="*/ 2380892 w 12188817"/>
              <a:gd name="connsiteY120" fmla="*/ 6446927 h 6857997"/>
              <a:gd name="connsiteX121" fmla="*/ 2380892 w 12188817"/>
              <a:gd name="connsiteY121" fmla="*/ 6521015 h 6857997"/>
              <a:gd name="connsiteX122" fmla="*/ 2391148 w 12188817"/>
              <a:gd name="connsiteY122" fmla="*/ 6521015 h 6857997"/>
              <a:gd name="connsiteX123" fmla="*/ 2391148 w 12188817"/>
              <a:gd name="connsiteY123" fmla="*/ 6446927 h 6857997"/>
              <a:gd name="connsiteX124" fmla="*/ 2287703 w 12188817"/>
              <a:gd name="connsiteY124" fmla="*/ 6446927 h 6857997"/>
              <a:gd name="connsiteX125" fmla="*/ 2306367 w 12188817"/>
              <a:gd name="connsiteY125" fmla="*/ 6521015 h 6857997"/>
              <a:gd name="connsiteX126" fmla="*/ 2317108 w 12188817"/>
              <a:gd name="connsiteY126" fmla="*/ 6521015 h 6857997"/>
              <a:gd name="connsiteX127" fmla="*/ 2329386 w 12188817"/>
              <a:gd name="connsiteY127" fmla="*/ 6464019 h 6857997"/>
              <a:gd name="connsiteX128" fmla="*/ 2331689 w 12188817"/>
              <a:gd name="connsiteY128" fmla="*/ 6476646 h 6857997"/>
              <a:gd name="connsiteX129" fmla="*/ 2341385 w 12188817"/>
              <a:gd name="connsiteY129" fmla="*/ 6521015 h 6857997"/>
              <a:gd name="connsiteX130" fmla="*/ 2352104 w 12188817"/>
              <a:gd name="connsiteY130" fmla="*/ 6521015 h 6857997"/>
              <a:gd name="connsiteX131" fmla="*/ 2371070 w 12188817"/>
              <a:gd name="connsiteY131" fmla="*/ 6446927 h 6857997"/>
              <a:gd name="connsiteX132" fmla="*/ 2361025 w 12188817"/>
              <a:gd name="connsiteY132" fmla="*/ 6446927 h 6857997"/>
              <a:gd name="connsiteX133" fmla="*/ 2350655 w 12188817"/>
              <a:gd name="connsiteY133" fmla="*/ 6489761 h 6857997"/>
              <a:gd name="connsiteX134" fmla="*/ 2347176 w 12188817"/>
              <a:gd name="connsiteY134" fmla="*/ 6504063 h 6857997"/>
              <a:gd name="connsiteX135" fmla="*/ 2344116 w 12188817"/>
              <a:gd name="connsiteY135" fmla="*/ 6489901 h 6857997"/>
              <a:gd name="connsiteX136" fmla="*/ 2335078 w 12188817"/>
              <a:gd name="connsiteY136" fmla="*/ 6446927 h 6857997"/>
              <a:gd name="connsiteX137" fmla="*/ 2324448 w 12188817"/>
              <a:gd name="connsiteY137" fmla="*/ 6446927 h 6857997"/>
              <a:gd name="connsiteX138" fmla="*/ 2314810 w 12188817"/>
              <a:gd name="connsiteY138" fmla="*/ 6490319 h 6857997"/>
              <a:gd name="connsiteX139" fmla="*/ 2311597 w 12188817"/>
              <a:gd name="connsiteY139" fmla="*/ 6505598 h 6857997"/>
              <a:gd name="connsiteX140" fmla="*/ 2308021 w 12188817"/>
              <a:gd name="connsiteY140" fmla="*/ 6489692 h 6857997"/>
              <a:gd name="connsiteX141" fmla="*/ 2298346 w 12188817"/>
              <a:gd name="connsiteY141" fmla="*/ 6446927 h 6857997"/>
              <a:gd name="connsiteX142" fmla="*/ 1818918 w 12188817"/>
              <a:gd name="connsiteY142" fmla="*/ 6446927 h 6857997"/>
              <a:gd name="connsiteX143" fmla="*/ 1818918 w 12188817"/>
              <a:gd name="connsiteY143" fmla="*/ 6521015 h 6857997"/>
              <a:gd name="connsiteX144" fmla="*/ 1829173 w 12188817"/>
              <a:gd name="connsiteY144" fmla="*/ 6521015 h 6857997"/>
              <a:gd name="connsiteX145" fmla="*/ 1829173 w 12188817"/>
              <a:gd name="connsiteY145" fmla="*/ 6446927 h 6857997"/>
              <a:gd name="connsiteX146" fmla="*/ 1752242 w 12188817"/>
              <a:gd name="connsiteY146" fmla="*/ 6446927 h 6857997"/>
              <a:gd name="connsiteX147" fmla="*/ 1752242 w 12188817"/>
              <a:gd name="connsiteY147" fmla="*/ 6521015 h 6857997"/>
              <a:gd name="connsiteX148" fmla="*/ 1762498 w 12188817"/>
              <a:gd name="connsiteY148" fmla="*/ 6521015 h 6857997"/>
              <a:gd name="connsiteX149" fmla="*/ 1762498 w 12188817"/>
              <a:gd name="connsiteY149" fmla="*/ 6446927 h 6857997"/>
              <a:gd name="connsiteX150" fmla="*/ 1266468 w 12188817"/>
              <a:gd name="connsiteY150" fmla="*/ 6446927 h 6857997"/>
              <a:gd name="connsiteX151" fmla="*/ 1266468 w 12188817"/>
              <a:gd name="connsiteY151" fmla="*/ 6521015 h 6857997"/>
              <a:gd name="connsiteX152" fmla="*/ 1276723 w 12188817"/>
              <a:gd name="connsiteY152" fmla="*/ 6521015 h 6857997"/>
              <a:gd name="connsiteX153" fmla="*/ 1276723 w 12188817"/>
              <a:gd name="connsiteY153" fmla="*/ 6446927 h 6857997"/>
              <a:gd name="connsiteX154" fmla="*/ 6278768 w 12188817"/>
              <a:gd name="connsiteY154" fmla="*/ 6445252 h 6857997"/>
              <a:gd name="connsiteX155" fmla="*/ 6259897 w 12188817"/>
              <a:gd name="connsiteY155" fmla="*/ 6450694 h 6857997"/>
              <a:gd name="connsiteX156" fmla="*/ 6251142 w 12188817"/>
              <a:gd name="connsiteY156" fmla="*/ 6468065 h 6857997"/>
              <a:gd name="connsiteX157" fmla="*/ 6261257 w 12188817"/>
              <a:gd name="connsiteY157" fmla="*/ 6469739 h 6857997"/>
              <a:gd name="connsiteX158" fmla="*/ 6266489 w 12188817"/>
              <a:gd name="connsiteY158" fmla="*/ 6458557 h 6857997"/>
              <a:gd name="connsiteX159" fmla="*/ 6277233 w 12188817"/>
              <a:gd name="connsiteY159" fmla="*/ 6455577 h 6857997"/>
              <a:gd name="connsiteX160" fmla="*/ 6289023 w 12188817"/>
              <a:gd name="connsiteY160" fmla="*/ 6460042 h 6857997"/>
              <a:gd name="connsiteX161" fmla="*/ 6291744 w 12188817"/>
              <a:gd name="connsiteY161" fmla="*/ 6470716 h 6857997"/>
              <a:gd name="connsiteX162" fmla="*/ 6291674 w 12188817"/>
              <a:gd name="connsiteY162" fmla="*/ 6473925 h 6857997"/>
              <a:gd name="connsiteX163" fmla="*/ 6273256 w 12188817"/>
              <a:gd name="connsiteY163" fmla="*/ 6478320 h 6857997"/>
              <a:gd name="connsiteX164" fmla="*/ 6259304 w 12188817"/>
              <a:gd name="connsiteY164" fmla="*/ 6482436 h 6857997"/>
              <a:gd name="connsiteX165" fmla="*/ 6252048 w 12188817"/>
              <a:gd name="connsiteY165" fmla="*/ 6490180 h 6857997"/>
              <a:gd name="connsiteX166" fmla="*/ 6249397 w 12188817"/>
              <a:gd name="connsiteY166" fmla="*/ 6501551 h 6857997"/>
              <a:gd name="connsiteX167" fmla="*/ 6255048 w 12188817"/>
              <a:gd name="connsiteY167" fmla="*/ 6516969 h 6857997"/>
              <a:gd name="connsiteX168" fmla="*/ 6270187 w 12188817"/>
              <a:gd name="connsiteY168" fmla="*/ 6522690 h 6857997"/>
              <a:gd name="connsiteX169" fmla="*/ 6281768 w 12188817"/>
              <a:gd name="connsiteY169" fmla="*/ 6519968 h 6857997"/>
              <a:gd name="connsiteX170" fmla="*/ 6292511 w 12188817"/>
              <a:gd name="connsiteY170" fmla="*/ 6511875 h 6857997"/>
              <a:gd name="connsiteX171" fmla="*/ 6294604 w 12188817"/>
              <a:gd name="connsiteY171" fmla="*/ 6521015 h 6857997"/>
              <a:gd name="connsiteX172" fmla="*/ 6305348 w 12188817"/>
              <a:gd name="connsiteY172" fmla="*/ 6521015 h 6857997"/>
              <a:gd name="connsiteX173" fmla="*/ 6302731 w 12188817"/>
              <a:gd name="connsiteY173" fmla="*/ 6512120 h 6857997"/>
              <a:gd name="connsiteX174" fmla="*/ 6302069 w 12188817"/>
              <a:gd name="connsiteY174" fmla="*/ 6489971 h 6857997"/>
              <a:gd name="connsiteX175" fmla="*/ 6302069 w 12188817"/>
              <a:gd name="connsiteY175" fmla="*/ 6473227 h 6857997"/>
              <a:gd name="connsiteX176" fmla="*/ 6300639 w 12188817"/>
              <a:gd name="connsiteY176" fmla="*/ 6457740 h 6857997"/>
              <a:gd name="connsiteX177" fmla="*/ 6293767 w 12188817"/>
              <a:gd name="connsiteY177" fmla="*/ 6448845 h 6857997"/>
              <a:gd name="connsiteX178" fmla="*/ 6278768 w 12188817"/>
              <a:gd name="connsiteY178" fmla="*/ 6445252 h 6857997"/>
              <a:gd name="connsiteX179" fmla="*/ 6157700 w 12188817"/>
              <a:gd name="connsiteY179" fmla="*/ 6445252 h 6857997"/>
              <a:gd name="connsiteX180" fmla="*/ 6146592 w 12188817"/>
              <a:gd name="connsiteY180" fmla="*/ 6448270 h 6857997"/>
              <a:gd name="connsiteX181" fmla="*/ 6138409 w 12188817"/>
              <a:gd name="connsiteY181" fmla="*/ 6457392 h 6857997"/>
              <a:gd name="connsiteX182" fmla="*/ 6138409 w 12188817"/>
              <a:gd name="connsiteY182" fmla="*/ 6446927 h 6857997"/>
              <a:gd name="connsiteX183" fmla="*/ 6129130 w 12188817"/>
              <a:gd name="connsiteY183" fmla="*/ 6446927 h 6857997"/>
              <a:gd name="connsiteX184" fmla="*/ 6129130 w 12188817"/>
              <a:gd name="connsiteY184" fmla="*/ 6521015 h 6857997"/>
              <a:gd name="connsiteX185" fmla="*/ 6139386 w 12188817"/>
              <a:gd name="connsiteY185" fmla="*/ 6521015 h 6857997"/>
              <a:gd name="connsiteX186" fmla="*/ 6139386 w 12188817"/>
              <a:gd name="connsiteY186" fmla="*/ 6480509 h 6857997"/>
              <a:gd name="connsiteX187" fmla="*/ 6143781 w 12188817"/>
              <a:gd name="connsiteY187" fmla="*/ 6461583 h 6857997"/>
              <a:gd name="connsiteX188" fmla="*/ 6155571 w 12188817"/>
              <a:gd name="connsiteY188" fmla="*/ 6456066 h 6857997"/>
              <a:gd name="connsiteX189" fmla="*/ 6162442 w 12188817"/>
              <a:gd name="connsiteY189" fmla="*/ 6458126 h 6857997"/>
              <a:gd name="connsiteX190" fmla="*/ 6166803 w 12188817"/>
              <a:gd name="connsiteY190" fmla="*/ 6463957 h 6857997"/>
              <a:gd name="connsiteX191" fmla="*/ 6168198 w 12188817"/>
              <a:gd name="connsiteY191" fmla="*/ 6475900 h 6857997"/>
              <a:gd name="connsiteX192" fmla="*/ 6168198 w 12188817"/>
              <a:gd name="connsiteY192" fmla="*/ 6521015 h 6857997"/>
              <a:gd name="connsiteX193" fmla="*/ 6178453 w 12188817"/>
              <a:gd name="connsiteY193" fmla="*/ 6521015 h 6857997"/>
              <a:gd name="connsiteX194" fmla="*/ 6178453 w 12188817"/>
              <a:gd name="connsiteY194" fmla="*/ 6475460 h 6857997"/>
              <a:gd name="connsiteX195" fmla="*/ 6177199 w 12188817"/>
              <a:gd name="connsiteY195" fmla="*/ 6460252 h 6857997"/>
              <a:gd name="connsiteX196" fmla="*/ 6173404 w 12188817"/>
              <a:gd name="connsiteY196" fmla="*/ 6452194 h 6857997"/>
              <a:gd name="connsiteX197" fmla="*/ 6166718 w 12188817"/>
              <a:gd name="connsiteY197" fmla="*/ 6447171 h 6857997"/>
              <a:gd name="connsiteX198" fmla="*/ 6157700 w 12188817"/>
              <a:gd name="connsiteY198" fmla="*/ 6445252 h 6857997"/>
              <a:gd name="connsiteX199" fmla="*/ 6087364 w 12188817"/>
              <a:gd name="connsiteY199" fmla="*/ 6445252 h 6857997"/>
              <a:gd name="connsiteX200" fmla="*/ 6066956 w 12188817"/>
              <a:gd name="connsiteY200" fmla="*/ 6455333 h 6857997"/>
              <a:gd name="connsiteX201" fmla="*/ 6058897 w 12188817"/>
              <a:gd name="connsiteY201" fmla="*/ 6484599 h 6857997"/>
              <a:gd name="connsiteX202" fmla="*/ 6066885 w 12188817"/>
              <a:gd name="connsiteY202" fmla="*/ 6512888 h 6857997"/>
              <a:gd name="connsiteX203" fmla="*/ 6087781 w 12188817"/>
              <a:gd name="connsiteY203" fmla="*/ 6522690 h 6857997"/>
              <a:gd name="connsiteX204" fmla="*/ 6104976 w 12188817"/>
              <a:gd name="connsiteY204" fmla="*/ 6516655 h 6857997"/>
              <a:gd name="connsiteX205" fmla="*/ 6114569 w 12188817"/>
              <a:gd name="connsiteY205" fmla="*/ 6498761 h 6857997"/>
              <a:gd name="connsiteX206" fmla="*/ 6103965 w 12188817"/>
              <a:gd name="connsiteY206" fmla="*/ 6497156 h 6857997"/>
              <a:gd name="connsiteX207" fmla="*/ 6087849 w 12188817"/>
              <a:gd name="connsiteY207" fmla="*/ 6512365 h 6857997"/>
              <a:gd name="connsiteX208" fmla="*/ 6075292 w 12188817"/>
              <a:gd name="connsiteY208" fmla="*/ 6506016 h 6857997"/>
              <a:gd name="connsiteX209" fmla="*/ 6069506 w 12188817"/>
              <a:gd name="connsiteY209" fmla="*/ 6487180 h 6857997"/>
              <a:gd name="connsiteX210" fmla="*/ 6114848 w 12188817"/>
              <a:gd name="connsiteY210" fmla="*/ 6487180 h 6857997"/>
              <a:gd name="connsiteX211" fmla="*/ 6114917 w 12188817"/>
              <a:gd name="connsiteY211" fmla="*/ 6483831 h 6857997"/>
              <a:gd name="connsiteX212" fmla="*/ 6107034 w 12188817"/>
              <a:gd name="connsiteY212" fmla="*/ 6455159 h 6857997"/>
              <a:gd name="connsiteX213" fmla="*/ 6087364 w 12188817"/>
              <a:gd name="connsiteY213" fmla="*/ 6445252 h 6857997"/>
              <a:gd name="connsiteX214" fmla="*/ 5900526 w 12188817"/>
              <a:gd name="connsiteY214" fmla="*/ 6445252 h 6857997"/>
              <a:gd name="connsiteX215" fmla="*/ 5889417 w 12188817"/>
              <a:gd name="connsiteY215" fmla="*/ 6448270 h 6857997"/>
              <a:gd name="connsiteX216" fmla="*/ 5881235 w 12188817"/>
              <a:gd name="connsiteY216" fmla="*/ 6457392 h 6857997"/>
              <a:gd name="connsiteX217" fmla="*/ 5881235 w 12188817"/>
              <a:gd name="connsiteY217" fmla="*/ 6446927 h 6857997"/>
              <a:gd name="connsiteX218" fmla="*/ 5871957 w 12188817"/>
              <a:gd name="connsiteY218" fmla="*/ 6446927 h 6857997"/>
              <a:gd name="connsiteX219" fmla="*/ 5871957 w 12188817"/>
              <a:gd name="connsiteY219" fmla="*/ 6521015 h 6857997"/>
              <a:gd name="connsiteX220" fmla="*/ 5882211 w 12188817"/>
              <a:gd name="connsiteY220" fmla="*/ 6521015 h 6857997"/>
              <a:gd name="connsiteX221" fmla="*/ 5882211 w 12188817"/>
              <a:gd name="connsiteY221" fmla="*/ 6480509 h 6857997"/>
              <a:gd name="connsiteX222" fmla="*/ 5886607 w 12188817"/>
              <a:gd name="connsiteY222" fmla="*/ 6461583 h 6857997"/>
              <a:gd name="connsiteX223" fmla="*/ 5898396 w 12188817"/>
              <a:gd name="connsiteY223" fmla="*/ 6456066 h 6857997"/>
              <a:gd name="connsiteX224" fmla="*/ 5905268 w 12188817"/>
              <a:gd name="connsiteY224" fmla="*/ 6458126 h 6857997"/>
              <a:gd name="connsiteX225" fmla="*/ 5909630 w 12188817"/>
              <a:gd name="connsiteY225" fmla="*/ 6463957 h 6857997"/>
              <a:gd name="connsiteX226" fmla="*/ 5911024 w 12188817"/>
              <a:gd name="connsiteY226" fmla="*/ 6475900 h 6857997"/>
              <a:gd name="connsiteX227" fmla="*/ 5911024 w 12188817"/>
              <a:gd name="connsiteY227" fmla="*/ 6521015 h 6857997"/>
              <a:gd name="connsiteX228" fmla="*/ 5921278 w 12188817"/>
              <a:gd name="connsiteY228" fmla="*/ 6521015 h 6857997"/>
              <a:gd name="connsiteX229" fmla="*/ 5921278 w 12188817"/>
              <a:gd name="connsiteY229" fmla="*/ 6475460 h 6857997"/>
              <a:gd name="connsiteX230" fmla="*/ 5920026 w 12188817"/>
              <a:gd name="connsiteY230" fmla="*/ 6460252 h 6857997"/>
              <a:gd name="connsiteX231" fmla="*/ 5916230 w 12188817"/>
              <a:gd name="connsiteY231" fmla="*/ 6452194 h 6857997"/>
              <a:gd name="connsiteX232" fmla="*/ 5909545 w 12188817"/>
              <a:gd name="connsiteY232" fmla="*/ 6447171 h 6857997"/>
              <a:gd name="connsiteX233" fmla="*/ 5900526 w 12188817"/>
              <a:gd name="connsiteY233" fmla="*/ 6445252 h 6857997"/>
              <a:gd name="connsiteX234" fmla="*/ 5829838 w 12188817"/>
              <a:gd name="connsiteY234" fmla="*/ 6445252 h 6857997"/>
              <a:gd name="connsiteX235" fmla="*/ 5809432 w 12188817"/>
              <a:gd name="connsiteY235" fmla="*/ 6455019 h 6857997"/>
              <a:gd name="connsiteX236" fmla="*/ 5801375 w 12188817"/>
              <a:gd name="connsiteY236" fmla="*/ 6483971 h 6857997"/>
              <a:gd name="connsiteX237" fmla="*/ 5809502 w 12188817"/>
              <a:gd name="connsiteY237" fmla="*/ 6512888 h 6857997"/>
              <a:gd name="connsiteX238" fmla="*/ 5829838 w 12188817"/>
              <a:gd name="connsiteY238" fmla="*/ 6522690 h 6857997"/>
              <a:gd name="connsiteX239" fmla="*/ 5850280 w 12188817"/>
              <a:gd name="connsiteY239" fmla="*/ 6512923 h 6857997"/>
              <a:gd name="connsiteX240" fmla="*/ 5858301 w 12188817"/>
              <a:gd name="connsiteY240" fmla="*/ 6483204 h 6857997"/>
              <a:gd name="connsiteX241" fmla="*/ 5850139 w 12188817"/>
              <a:gd name="connsiteY241" fmla="*/ 6455019 h 6857997"/>
              <a:gd name="connsiteX242" fmla="*/ 5829838 w 12188817"/>
              <a:gd name="connsiteY242" fmla="*/ 6445252 h 6857997"/>
              <a:gd name="connsiteX243" fmla="*/ 2714262 w 12188817"/>
              <a:gd name="connsiteY243" fmla="*/ 6445252 h 6857997"/>
              <a:gd name="connsiteX244" fmla="*/ 2703154 w 12188817"/>
              <a:gd name="connsiteY244" fmla="*/ 6448270 h 6857997"/>
              <a:gd name="connsiteX245" fmla="*/ 2694971 w 12188817"/>
              <a:gd name="connsiteY245" fmla="*/ 6457392 h 6857997"/>
              <a:gd name="connsiteX246" fmla="*/ 2694971 w 12188817"/>
              <a:gd name="connsiteY246" fmla="*/ 6446927 h 6857997"/>
              <a:gd name="connsiteX247" fmla="*/ 2685692 w 12188817"/>
              <a:gd name="connsiteY247" fmla="*/ 6446927 h 6857997"/>
              <a:gd name="connsiteX248" fmla="*/ 2685692 w 12188817"/>
              <a:gd name="connsiteY248" fmla="*/ 6521015 h 6857997"/>
              <a:gd name="connsiteX249" fmla="*/ 2695948 w 12188817"/>
              <a:gd name="connsiteY249" fmla="*/ 6521015 h 6857997"/>
              <a:gd name="connsiteX250" fmla="*/ 2695948 w 12188817"/>
              <a:gd name="connsiteY250" fmla="*/ 6480509 h 6857997"/>
              <a:gd name="connsiteX251" fmla="*/ 2700343 w 12188817"/>
              <a:gd name="connsiteY251" fmla="*/ 6461583 h 6857997"/>
              <a:gd name="connsiteX252" fmla="*/ 2712133 w 12188817"/>
              <a:gd name="connsiteY252" fmla="*/ 6456066 h 6857997"/>
              <a:gd name="connsiteX253" fmla="*/ 2719004 w 12188817"/>
              <a:gd name="connsiteY253" fmla="*/ 6458126 h 6857997"/>
              <a:gd name="connsiteX254" fmla="*/ 2723365 w 12188817"/>
              <a:gd name="connsiteY254" fmla="*/ 6463957 h 6857997"/>
              <a:gd name="connsiteX255" fmla="*/ 2724760 w 12188817"/>
              <a:gd name="connsiteY255" fmla="*/ 6475900 h 6857997"/>
              <a:gd name="connsiteX256" fmla="*/ 2724760 w 12188817"/>
              <a:gd name="connsiteY256" fmla="*/ 6521015 h 6857997"/>
              <a:gd name="connsiteX257" fmla="*/ 2735015 w 12188817"/>
              <a:gd name="connsiteY257" fmla="*/ 6521015 h 6857997"/>
              <a:gd name="connsiteX258" fmla="*/ 2735015 w 12188817"/>
              <a:gd name="connsiteY258" fmla="*/ 6475460 h 6857997"/>
              <a:gd name="connsiteX259" fmla="*/ 2733761 w 12188817"/>
              <a:gd name="connsiteY259" fmla="*/ 6460252 h 6857997"/>
              <a:gd name="connsiteX260" fmla="*/ 2729966 w 12188817"/>
              <a:gd name="connsiteY260" fmla="*/ 6452194 h 6857997"/>
              <a:gd name="connsiteX261" fmla="*/ 2723280 w 12188817"/>
              <a:gd name="connsiteY261" fmla="*/ 6447171 h 6857997"/>
              <a:gd name="connsiteX262" fmla="*/ 2714262 w 12188817"/>
              <a:gd name="connsiteY262" fmla="*/ 6445252 h 6857997"/>
              <a:gd name="connsiteX263" fmla="*/ 2644830 w 12188817"/>
              <a:gd name="connsiteY263" fmla="*/ 6445252 h 6857997"/>
              <a:gd name="connsiteX264" fmla="*/ 2625959 w 12188817"/>
              <a:gd name="connsiteY264" fmla="*/ 6450694 h 6857997"/>
              <a:gd name="connsiteX265" fmla="*/ 2617204 w 12188817"/>
              <a:gd name="connsiteY265" fmla="*/ 6468065 h 6857997"/>
              <a:gd name="connsiteX266" fmla="*/ 2627319 w 12188817"/>
              <a:gd name="connsiteY266" fmla="*/ 6469739 h 6857997"/>
              <a:gd name="connsiteX267" fmla="*/ 2632552 w 12188817"/>
              <a:gd name="connsiteY267" fmla="*/ 6458557 h 6857997"/>
              <a:gd name="connsiteX268" fmla="*/ 2643295 w 12188817"/>
              <a:gd name="connsiteY268" fmla="*/ 6455577 h 6857997"/>
              <a:gd name="connsiteX269" fmla="*/ 2655085 w 12188817"/>
              <a:gd name="connsiteY269" fmla="*/ 6460042 h 6857997"/>
              <a:gd name="connsiteX270" fmla="*/ 2657806 w 12188817"/>
              <a:gd name="connsiteY270" fmla="*/ 6470716 h 6857997"/>
              <a:gd name="connsiteX271" fmla="*/ 2657736 w 12188817"/>
              <a:gd name="connsiteY271" fmla="*/ 6473925 h 6857997"/>
              <a:gd name="connsiteX272" fmla="*/ 2639319 w 12188817"/>
              <a:gd name="connsiteY272" fmla="*/ 6478320 h 6857997"/>
              <a:gd name="connsiteX273" fmla="*/ 2625366 w 12188817"/>
              <a:gd name="connsiteY273" fmla="*/ 6482436 h 6857997"/>
              <a:gd name="connsiteX274" fmla="*/ 2618110 w 12188817"/>
              <a:gd name="connsiteY274" fmla="*/ 6490180 h 6857997"/>
              <a:gd name="connsiteX275" fmla="*/ 2615460 w 12188817"/>
              <a:gd name="connsiteY275" fmla="*/ 6501551 h 6857997"/>
              <a:gd name="connsiteX276" fmla="*/ 2621110 w 12188817"/>
              <a:gd name="connsiteY276" fmla="*/ 6516969 h 6857997"/>
              <a:gd name="connsiteX277" fmla="*/ 2636249 w 12188817"/>
              <a:gd name="connsiteY277" fmla="*/ 6522690 h 6857997"/>
              <a:gd name="connsiteX278" fmla="*/ 2647830 w 12188817"/>
              <a:gd name="connsiteY278" fmla="*/ 6519968 h 6857997"/>
              <a:gd name="connsiteX279" fmla="*/ 2658573 w 12188817"/>
              <a:gd name="connsiteY279" fmla="*/ 6511875 h 6857997"/>
              <a:gd name="connsiteX280" fmla="*/ 2660666 w 12188817"/>
              <a:gd name="connsiteY280" fmla="*/ 6521015 h 6857997"/>
              <a:gd name="connsiteX281" fmla="*/ 2671410 w 12188817"/>
              <a:gd name="connsiteY281" fmla="*/ 6521015 h 6857997"/>
              <a:gd name="connsiteX282" fmla="*/ 2668793 w 12188817"/>
              <a:gd name="connsiteY282" fmla="*/ 6512120 h 6857997"/>
              <a:gd name="connsiteX283" fmla="*/ 2668131 w 12188817"/>
              <a:gd name="connsiteY283" fmla="*/ 6489971 h 6857997"/>
              <a:gd name="connsiteX284" fmla="*/ 2668131 w 12188817"/>
              <a:gd name="connsiteY284" fmla="*/ 6473227 h 6857997"/>
              <a:gd name="connsiteX285" fmla="*/ 2666701 w 12188817"/>
              <a:gd name="connsiteY285" fmla="*/ 6457740 h 6857997"/>
              <a:gd name="connsiteX286" fmla="*/ 2659829 w 12188817"/>
              <a:gd name="connsiteY286" fmla="*/ 6448845 h 6857997"/>
              <a:gd name="connsiteX287" fmla="*/ 2644830 w 12188817"/>
              <a:gd name="connsiteY287" fmla="*/ 6445252 h 6857997"/>
              <a:gd name="connsiteX288" fmla="*/ 2574806 w 12188817"/>
              <a:gd name="connsiteY288" fmla="*/ 6445252 h 6857997"/>
              <a:gd name="connsiteX289" fmla="*/ 2568144 w 12188817"/>
              <a:gd name="connsiteY289" fmla="*/ 6447799 h 6857997"/>
              <a:gd name="connsiteX290" fmla="*/ 2561621 w 12188817"/>
              <a:gd name="connsiteY290" fmla="*/ 6458159 h 6857997"/>
              <a:gd name="connsiteX291" fmla="*/ 2561621 w 12188817"/>
              <a:gd name="connsiteY291" fmla="*/ 6446927 h 6857997"/>
              <a:gd name="connsiteX292" fmla="*/ 2552342 w 12188817"/>
              <a:gd name="connsiteY292" fmla="*/ 6446927 h 6857997"/>
              <a:gd name="connsiteX293" fmla="*/ 2552342 w 12188817"/>
              <a:gd name="connsiteY293" fmla="*/ 6521015 h 6857997"/>
              <a:gd name="connsiteX294" fmla="*/ 2562598 w 12188817"/>
              <a:gd name="connsiteY294" fmla="*/ 6521015 h 6857997"/>
              <a:gd name="connsiteX295" fmla="*/ 2562598 w 12188817"/>
              <a:gd name="connsiteY295" fmla="*/ 6482227 h 6857997"/>
              <a:gd name="connsiteX296" fmla="*/ 2564551 w 12188817"/>
              <a:gd name="connsiteY296" fmla="*/ 6466949 h 6857997"/>
              <a:gd name="connsiteX297" fmla="*/ 2568388 w 12188817"/>
              <a:gd name="connsiteY297" fmla="*/ 6460531 h 6857997"/>
              <a:gd name="connsiteX298" fmla="*/ 2574388 w 12188817"/>
              <a:gd name="connsiteY298" fmla="*/ 6458228 h 6857997"/>
              <a:gd name="connsiteX299" fmla="*/ 2581852 w 12188817"/>
              <a:gd name="connsiteY299" fmla="*/ 6460949 h 6857997"/>
              <a:gd name="connsiteX300" fmla="*/ 2585340 w 12188817"/>
              <a:gd name="connsiteY300" fmla="*/ 6449299 h 6857997"/>
              <a:gd name="connsiteX301" fmla="*/ 2574806 w 12188817"/>
              <a:gd name="connsiteY301" fmla="*/ 6445252 h 6857997"/>
              <a:gd name="connsiteX302" fmla="*/ 2510573 w 12188817"/>
              <a:gd name="connsiteY302" fmla="*/ 6445252 h 6857997"/>
              <a:gd name="connsiteX303" fmla="*/ 2490167 w 12188817"/>
              <a:gd name="connsiteY303" fmla="*/ 6455333 h 6857997"/>
              <a:gd name="connsiteX304" fmla="*/ 2482110 w 12188817"/>
              <a:gd name="connsiteY304" fmla="*/ 6484599 h 6857997"/>
              <a:gd name="connsiteX305" fmla="*/ 2490097 w 12188817"/>
              <a:gd name="connsiteY305" fmla="*/ 6512888 h 6857997"/>
              <a:gd name="connsiteX306" fmla="*/ 2510992 w 12188817"/>
              <a:gd name="connsiteY306" fmla="*/ 6522690 h 6857997"/>
              <a:gd name="connsiteX307" fmla="*/ 2528188 w 12188817"/>
              <a:gd name="connsiteY307" fmla="*/ 6516655 h 6857997"/>
              <a:gd name="connsiteX308" fmla="*/ 2537781 w 12188817"/>
              <a:gd name="connsiteY308" fmla="*/ 6498761 h 6857997"/>
              <a:gd name="connsiteX309" fmla="*/ 2527176 w 12188817"/>
              <a:gd name="connsiteY309" fmla="*/ 6497156 h 6857997"/>
              <a:gd name="connsiteX310" fmla="*/ 2511061 w 12188817"/>
              <a:gd name="connsiteY310" fmla="*/ 6512365 h 6857997"/>
              <a:gd name="connsiteX311" fmla="*/ 2498504 w 12188817"/>
              <a:gd name="connsiteY311" fmla="*/ 6506016 h 6857997"/>
              <a:gd name="connsiteX312" fmla="*/ 2492714 w 12188817"/>
              <a:gd name="connsiteY312" fmla="*/ 6487180 h 6857997"/>
              <a:gd name="connsiteX313" fmla="*/ 2538060 w 12188817"/>
              <a:gd name="connsiteY313" fmla="*/ 6487180 h 6857997"/>
              <a:gd name="connsiteX314" fmla="*/ 2538129 w 12188817"/>
              <a:gd name="connsiteY314" fmla="*/ 6483831 h 6857997"/>
              <a:gd name="connsiteX315" fmla="*/ 2530246 w 12188817"/>
              <a:gd name="connsiteY315" fmla="*/ 6455159 h 6857997"/>
              <a:gd name="connsiteX316" fmla="*/ 2510573 w 12188817"/>
              <a:gd name="connsiteY316" fmla="*/ 6445252 h 6857997"/>
              <a:gd name="connsiteX317" fmla="*/ 1942737 w 12188817"/>
              <a:gd name="connsiteY317" fmla="*/ 6445252 h 6857997"/>
              <a:gd name="connsiteX318" fmla="*/ 1931629 w 12188817"/>
              <a:gd name="connsiteY318" fmla="*/ 6448270 h 6857997"/>
              <a:gd name="connsiteX319" fmla="*/ 1923446 w 12188817"/>
              <a:gd name="connsiteY319" fmla="*/ 6457392 h 6857997"/>
              <a:gd name="connsiteX320" fmla="*/ 1923446 w 12188817"/>
              <a:gd name="connsiteY320" fmla="*/ 6446927 h 6857997"/>
              <a:gd name="connsiteX321" fmla="*/ 1914167 w 12188817"/>
              <a:gd name="connsiteY321" fmla="*/ 6446927 h 6857997"/>
              <a:gd name="connsiteX322" fmla="*/ 1914167 w 12188817"/>
              <a:gd name="connsiteY322" fmla="*/ 6521015 h 6857997"/>
              <a:gd name="connsiteX323" fmla="*/ 1924423 w 12188817"/>
              <a:gd name="connsiteY323" fmla="*/ 6521015 h 6857997"/>
              <a:gd name="connsiteX324" fmla="*/ 1924423 w 12188817"/>
              <a:gd name="connsiteY324" fmla="*/ 6480509 h 6857997"/>
              <a:gd name="connsiteX325" fmla="*/ 1928818 w 12188817"/>
              <a:gd name="connsiteY325" fmla="*/ 6461583 h 6857997"/>
              <a:gd name="connsiteX326" fmla="*/ 1940608 w 12188817"/>
              <a:gd name="connsiteY326" fmla="*/ 6456066 h 6857997"/>
              <a:gd name="connsiteX327" fmla="*/ 1947479 w 12188817"/>
              <a:gd name="connsiteY327" fmla="*/ 6458126 h 6857997"/>
              <a:gd name="connsiteX328" fmla="*/ 1951840 w 12188817"/>
              <a:gd name="connsiteY328" fmla="*/ 6463957 h 6857997"/>
              <a:gd name="connsiteX329" fmla="*/ 1953235 w 12188817"/>
              <a:gd name="connsiteY329" fmla="*/ 6475900 h 6857997"/>
              <a:gd name="connsiteX330" fmla="*/ 1953235 w 12188817"/>
              <a:gd name="connsiteY330" fmla="*/ 6521015 h 6857997"/>
              <a:gd name="connsiteX331" fmla="*/ 1963490 w 12188817"/>
              <a:gd name="connsiteY331" fmla="*/ 6521015 h 6857997"/>
              <a:gd name="connsiteX332" fmla="*/ 1963490 w 12188817"/>
              <a:gd name="connsiteY332" fmla="*/ 6475460 h 6857997"/>
              <a:gd name="connsiteX333" fmla="*/ 1962236 w 12188817"/>
              <a:gd name="connsiteY333" fmla="*/ 6460252 h 6857997"/>
              <a:gd name="connsiteX334" fmla="*/ 1958441 w 12188817"/>
              <a:gd name="connsiteY334" fmla="*/ 6452194 h 6857997"/>
              <a:gd name="connsiteX335" fmla="*/ 1951755 w 12188817"/>
              <a:gd name="connsiteY335" fmla="*/ 6447171 h 6857997"/>
              <a:gd name="connsiteX336" fmla="*/ 1942737 w 12188817"/>
              <a:gd name="connsiteY336" fmla="*/ 6445252 h 6857997"/>
              <a:gd name="connsiteX337" fmla="*/ 1872049 w 12188817"/>
              <a:gd name="connsiteY337" fmla="*/ 6445252 h 6857997"/>
              <a:gd name="connsiteX338" fmla="*/ 1851643 w 12188817"/>
              <a:gd name="connsiteY338" fmla="*/ 6455019 h 6857997"/>
              <a:gd name="connsiteX339" fmla="*/ 1843586 w 12188817"/>
              <a:gd name="connsiteY339" fmla="*/ 6483971 h 6857997"/>
              <a:gd name="connsiteX340" fmla="*/ 1851713 w 12188817"/>
              <a:gd name="connsiteY340" fmla="*/ 6512888 h 6857997"/>
              <a:gd name="connsiteX341" fmla="*/ 1872049 w 12188817"/>
              <a:gd name="connsiteY341" fmla="*/ 6522690 h 6857997"/>
              <a:gd name="connsiteX342" fmla="*/ 1892490 w 12188817"/>
              <a:gd name="connsiteY342" fmla="*/ 6512923 h 6857997"/>
              <a:gd name="connsiteX343" fmla="*/ 1900512 w 12188817"/>
              <a:gd name="connsiteY343" fmla="*/ 6483204 h 6857997"/>
              <a:gd name="connsiteX344" fmla="*/ 1892350 w 12188817"/>
              <a:gd name="connsiteY344" fmla="*/ 6455019 h 6857997"/>
              <a:gd name="connsiteX345" fmla="*/ 1872049 w 12188817"/>
              <a:gd name="connsiteY345" fmla="*/ 6445252 h 6857997"/>
              <a:gd name="connsiteX346" fmla="*/ 1803281 w 12188817"/>
              <a:gd name="connsiteY346" fmla="*/ 6445252 h 6857997"/>
              <a:gd name="connsiteX347" fmla="*/ 1796619 w 12188817"/>
              <a:gd name="connsiteY347" fmla="*/ 6447799 h 6857997"/>
              <a:gd name="connsiteX348" fmla="*/ 1790096 w 12188817"/>
              <a:gd name="connsiteY348" fmla="*/ 6458159 h 6857997"/>
              <a:gd name="connsiteX349" fmla="*/ 1790096 w 12188817"/>
              <a:gd name="connsiteY349" fmla="*/ 6446927 h 6857997"/>
              <a:gd name="connsiteX350" fmla="*/ 1780818 w 12188817"/>
              <a:gd name="connsiteY350" fmla="*/ 6446927 h 6857997"/>
              <a:gd name="connsiteX351" fmla="*/ 1780818 w 12188817"/>
              <a:gd name="connsiteY351" fmla="*/ 6521015 h 6857997"/>
              <a:gd name="connsiteX352" fmla="*/ 1791073 w 12188817"/>
              <a:gd name="connsiteY352" fmla="*/ 6521015 h 6857997"/>
              <a:gd name="connsiteX353" fmla="*/ 1791073 w 12188817"/>
              <a:gd name="connsiteY353" fmla="*/ 6482227 h 6857997"/>
              <a:gd name="connsiteX354" fmla="*/ 1793026 w 12188817"/>
              <a:gd name="connsiteY354" fmla="*/ 6466949 h 6857997"/>
              <a:gd name="connsiteX355" fmla="*/ 1796863 w 12188817"/>
              <a:gd name="connsiteY355" fmla="*/ 6460531 h 6857997"/>
              <a:gd name="connsiteX356" fmla="*/ 1802863 w 12188817"/>
              <a:gd name="connsiteY356" fmla="*/ 6458228 h 6857997"/>
              <a:gd name="connsiteX357" fmla="*/ 1810327 w 12188817"/>
              <a:gd name="connsiteY357" fmla="*/ 6460949 h 6857997"/>
              <a:gd name="connsiteX358" fmla="*/ 1813815 w 12188817"/>
              <a:gd name="connsiteY358" fmla="*/ 6449299 h 6857997"/>
              <a:gd name="connsiteX359" fmla="*/ 1803281 w 12188817"/>
              <a:gd name="connsiteY359" fmla="*/ 6445252 h 6857997"/>
              <a:gd name="connsiteX360" fmla="*/ 1715742 w 12188817"/>
              <a:gd name="connsiteY360" fmla="*/ 6445252 h 6857997"/>
              <a:gd name="connsiteX361" fmla="*/ 1698930 w 12188817"/>
              <a:gd name="connsiteY361" fmla="*/ 6451182 h 6857997"/>
              <a:gd name="connsiteX362" fmla="*/ 1692860 w 12188817"/>
              <a:gd name="connsiteY362" fmla="*/ 6466600 h 6857997"/>
              <a:gd name="connsiteX363" fmla="*/ 1695092 w 12188817"/>
              <a:gd name="connsiteY363" fmla="*/ 6476437 h 6857997"/>
              <a:gd name="connsiteX364" fmla="*/ 1701371 w 12188817"/>
              <a:gd name="connsiteY364" fmla="*/ 6483343 h 6857997"/>
              <a:gd name="connsiteX365" fmla="*/ 1717417 w 12188817"/>
              <a:gd name="connsiteY365" fmla="*/ 6489622 h 6857997"/>
              <a:gd name="connsiteX366" fmla="*/ 1727881 w 12188817"/>
              <a:gd name="connsiteY366" fmla="*/ 6493808 h 6857997"/>
              <a:gd name="connsiteX367" fmla="*/ 1731021 w 12188817"/>
              <a:gd name="connsiteY367" fmla="*/ 6500644 h 6857997"/>
              <a:gd name="connsiteX368" fmla="*/ 1727367 w 12188817"/>
              <a:gd name="connsiteY368" fmla="*/ 6509051 h 6857997"/>
              <a:gd name="connsiteX369" fmla="*/ 1717031 w 12188817"/>
              <a:gd name="connsiteY369" fmla="*/ 6512365 h 6857997"/>
              <a:gd name="connsiteX370" fmla="*/ 1706313 w 12188817"/>
              <a:gd name="connsiteY370" fmla="*/ 6508545 h 6857997"/>
              <a:gd name="connsiteX371" fmla="*/ 1701371 w 12188817"/>
              <a:gd name="connsiteY371" fmla="*/ 6496877 h 6857997"/>
              <a:gd name="connsiteX372" fmla="*/ 1691116 w 12188817"/>
              <a:gd name="connsiteY372" fmla="*/ 6498831 h 6857997"/>
              <a:gd name="connsiteX373" fmla="*/ 1716440 w 12188817"/>
              <a:gd name="connsiteY373" fmla="*/ 6522690 h 6857997"/>
              <a:gd name="connsiteX374" fmla="*/ 1734823 w 12188817"/>
              <a:gd name="connsiteY374" fmla="*/ 6516120 h 6857997"/>
              <a:gd name="connsiteX375" fmla="*/ 1741555 w 12188817"/>
              <a:gd name="connsiteY375" fmla="*/ 6498929 h 6857997"/>
              <a:gd name="connsiteX376" fmla="*/ 1739470 w 12188817"/>
              <a:gd name="connsiteY376" fmla="*/ 6489040 h 6857997"/>
              <a:gd name="connsiteX377" fmla="*/ 1733631 w 12188817"/>
              <a:gd name="connsiteY377" fmla="*/ 6482471 h 6857997"/>
              <a:gd name="connsiteX378" fmla="*/ 1717094 w 12188817"/>
              <a:gd name="connsiteY378" fmla="*/ 6476004 h 6857997"/>
              <a:gd name="connsiteX379" fmla="*/ 1705911 w 12188817"/>
              <a:gd name="connsiteY379" fmla="*/ 6471558 h 6857997"/>
              <a:gd name="connsiteX380" fmla="*/ 1702766 w 12188817"/>
              <a:gd name="connsiteY380" fmla="*/ 6465096 h 6857997"/>
              <a:gd name="connsiteX381" fmla="*/ 1706045 w 12188817"/>
              <a:gd name="connsiteY381" fmla="*/ 6458252 h 6857997"/>
              <a:gd name="connsiteX382" fmla="*/ 1716021 w 12188817"/>
              <a:gd name="connsiteY382" fmla="*/ 6455577 h 6857997"/>
              <a:gd name="connsiteX383" fmla="*/ 1729207 w 12188817"/>
              <a:gd name="connsiteY383" fmla="*/ 6467716 h 6857997"/>
              <a:gd name="connsiteX384" fmla="*/ 1739252 w 12188817"/>
              <a:gd name="connsiteY384" fmla="*/ 6466042 h 6857997"/>
              <a:gd name="connsiteX385" fmla="*/ 1735485 w 12188817"/>
              <a:gd name="connsiteY385" fmla="*/ 6454252 h 6857997"/>
              <a:gd name="connsiteX386" fmla="*/ 1727637 w 12188817"/>
              <a:gd name="connsiteY386" fmla="*/ 6447694 h 6857997"/>
              <a:gd name="connsiteX387" fmla="*/ 1715742 w 12188817"/>
              <a:gd name="connsiteY387" fmla="*/ 6445252 h 6857997"/>
              <a:gd name="connsiteX388" fmla="*/ 1656986 w 12188817"/>
              <a:gd name="connsiteY388" fmla="*/ 6445252 h 6857997"/>
              <a:gd name="connsiteX389" fmla="*/ 1645879 w 12188817"/>
              <a:gd name="connsiteY389" fmla="*/ 6448270 h 6857997"/>
              <a:gd name="connsiteX390" fmla="*/ 1637696 w 12188817"/>
              <a:gd name="connsiteY390" fmla="*/ 6457392 h 6857997"/>
              <a:gd name="connsiteX391" fmla="*/ 1637696 w 12188817"/>
              <a:gd name="connsiteY391" fmla="*/ 6446927 h 6857997"/>
              <a:gd name="connsiteX392" fmla="*/ 1628418 w 12188817"/>
              <a:gd name="connsiteY392" fmla="*/ 6446927 h 6857997"/>
              <a:gd name="connsiteX393" fmla="*/ 1628418 w 12188817"/>
              <a:gd name="connsiteY393" fmla="*/ 6521015 h 6857997"/>
              <a:gd name="connsiteX394" fmla="*/ 1638673 w 12188817"/>
              <a:gd name="connsiteY394" fmla="*/ 6521015 h 6857997"/>
              <a:gd name="connsiteX395" fmla="*/ 1638673 w 12188817"/>
              <a:gd name="connsiteY395" fmla="*/ 6480509 h 6857997"/>
              <a:gd name="connsiteX396" fmla="*/ 1643068 w 12188817"/>
              <a:gd name="connsiteY396" fmla="*/ 6461583 h 6857997"/>
              <a:gd name="connsiteX397" fmla="*/ 1654858 w 12188817"/>
              <a:gd name="connsiteY397" fmla="*/ 6456066 h 6857997"/>
              <a:gd name="connsiteX398" fmla="*/ 1661729 w 12188817"/>
              <a:gd name="connsiteY398" fmla="*/ 6458126 h 6857997"/>
              <a:gd name="connsiteX399" fmla="*/ 1666089 w 12188817"/>
              <a:gd name="connsiteY399" fmla="*/ 6463957 h 6857997"/>
              <a:gd name="connsiteX400" fmla="*/ 1667485 w 12188817"/>
              <a:gd name="connsiteY400" fmla="*/ 6475900 h 6857997"/>
              <a:gd name="connsiteX401" fmla="*/ 1667485 w 12188817"/>
              <a:gd name="connsiteY401" fmla="*/ 6521015 h 6857997"/>
              <a:gd name="connsiteX402" fmla="*/ 1677740 w 12188817"/>
              <a:gd name="connsiteY402" fmla="*/ 6521015 h 6857997"/>
              <a:gd name="connsiteX403" fmla="*/ 1677740 w 12188817"/>
              <a:gd name="connsiteY403" fmla="*/ 6475460 h 6857997"/>
              <a:gd name="connsiteX404" fmla="*/ 1676487 w 12188817"/>
              <a:gd name="connsiteY404" fmla="*/ 6460252 h 6857997"/>
              <a:gd name="connsiteX405" fmla="*/ 1672691 w 12188817"/>
              <a:gd name="connsiteY405" fmla="*/ 6452194 h 6857997"/>
              <a:gd name="connsiteX406" fmla="*/ 1666005 w 12188817"/>
              <a:gd name="connsiteY406" fmla="*/ 6447171 h 6857997"/>
              <a:gd name="connsiteX407" fmla="*/ 1656986 w 12188817"/>
              <a:gd name="connsiteY407" fmla="*/ 6445252 h 6857997"/>
              <a:gd name="connsiteX408" fmla="*/ 1586648 w 12188817"/>
              <a:gd name="connsiteY408" fmla="*/ 6445252 h 6857997"/>
              <a:gd name="connsiteX409" fmla="*/ 1566242 w 12188817"/>
              <a:gd name="connsiteY409" fmla="*/ 6455333 h 6857997"/>
              <a:gd name="connsiteX410" fmla="*/ 1558184 w 12188817"/>
              <a:gd name="connsiteY410" fmla="*/ 6484599 h 6857997"/>
              <a:gd name="connsiteX411" fmla="*/ 1566172 w 12188817"/>
              <a:gd name="connsiteY411" fmla="*/ 6512888 h 6857997"/>
              <a:gd name="connsiteX412" fmla="*/ 1587067 w 12188817"/>
              <a:gd name="connsiteY412" fmla="*/ 6522690 h 6857997"/>
              <a:gd name="connsiteX413" fmla="*/ 1604263 w 12188817"/>
              <a:gd name="connsiteY413" fmla="*/ 6516655 h 6857997"/>
              <a:gd name="connsiteX414" fmla="*/ 1613856 w 12188817"/>
              <a:gd name="connsiteY414" fmla="*/ 6498761 h 6857997"/>
              <a:gd name="connsiteX415" fmla="*/ 1603252 w 12188817"/>
              <a:gd name="connsiteY415" fmla="*/ 6497156 h 6857997"/>
              <a:gd name="connsiteX416" fmla="*/ 1587136 w 12188817"/>
              <a:gd name="connsiteY416" fmla="*/ 6512365 h 6857997"/>
              <a:gd name="connsiteX417" fmla="*/ 1574579 w 12188817"/>
              <a:gd name="connsiteY417" fmla="*/ 6506016 h 6857997"/>
              <a:gd name="connsiteX418" fmla="*/ 1568788 w 12188817"/>
              <a:gd name="connsiteY418" fmla="*/ 6487180 h 6857997"/>
              <a:gd name="connsiteX419" fmla="*/ 1614135 w 12188817"/>
              <a:gd name="connsiteY419" fmla="*/ 6487180 h 6857997"/>
              <a:gd name="connsiteX420" fmla="*/ 1614204 w 12188817"/>
              <a:gd name="connsiteY420" fmla="*/ 6483831 h 6857997"/>
              <a:gd name="connsiteX421" fmla="*/ 1606321 w 12188817"/>
              <a:gd name="connsiteY421" fmla="*/ 6455159 h 6857997"/>
              <a:gd name="connsiteX422" fmla="*/ 1586648 w 12188817"/>
              <a:gd name="connsiteY422" fmla="*/ 6445252 h 6857997"/>
              <a:gd name="connsiteX423" fmla="*/ 1317367 w 12188817"/>
              <a:gd name="connsiteY423" fmla="*/ 6445252 h 6857997"/>
              <a:gd name="connsiteX424" fmla="*/ 1304147 w 12188817"/>
              <a:gd name="connsiteY424" fmla="*/ 6449438 h 6857997"/>
              <a:gd name="connsiteX425" fmla="*/ 1294624 w 12188817"/>
              <a:gd name="connsiteY425" fmla="*/ 6462554 h 6857997"/>
              <a:gd name="connsiteX426" fmla="*/ 1290996 w 12188817"/>
              <a:gd name="connsiteY426" fmla="*/ 6483413 h 6857997"/>
              <a:gd name="connsiteX427" fmla="*/ 1299228 w 12188817"/>
              <a:gd name="connsiteY427" fmla="*/ 6511807 h 6857997"/>
              <a:gd name="connsiteX428" fmla="*/ 1317297 w 12188817"/>
              <a:gd name="connsiteY428" fmla="*/ 6521015 h 6857997"/>
              <a:gd name="connsiteX429" fmla="*/ 1326575 w 12188817"/>
              <a:gd name="connsiteY429" fmla="*/ 6518590 h 6857997"/>
              <a:gd name="connsiteX430" fmla="*/ 1334110 w 12188817"/>
              <a:gd name="connsiteY430" fmla="*/ 6511384 h 6857997"/>
              <a:gd name="connsiteX431" fmla="*/ 1333203 w 12188817"/>
              <a:gd name="connsiteY431" fmla="*/ 6527850 h 6857997"/>
              <a:gd name="connsiteX432" fmla="*/ 1327727 w 12188817"/>
              <a:gd name="connsiteY432" fmla="*/ 6537514 h 6857997"/>
              <a:gd name="connsiteX433" fmla="*/ 1316948 w 12188817"/>
              <a:gd name="connsiteY433" fmla="*/ 6540758 h 6857997"/>
              <a:gd name="connsiteX434" fmla="*/ 1307251 w 12188817"/>
              <a:gd name="connsiteY434" fmla="*/ 6537846 h 6857997"/>
              <a:gd name="connsiteX435" fmla="*/ 1303065 w 12188817"/>
              <a:gd name="connsiteY435" fmla="*/ 6528968 h 6857997"/>
              <a:gd name="connsiteX436" fmla="*/ 1293019 w 12188817"/>
              <a:gd name="connsiteY436" fmla="*/ 6527154 h 6857997"/>
              <a:gd name="connsiteX437" fmla="*/ 1299159 w 12188817"/>
              <a:gd name="connsiteY437" fmla="*/ 6544735 h 6857997"/>
              <a:gd name="connsiteX438" fmla="*/ 1317297 w 12188817"/>
              <a:gd name="connsiteY438" fmla="*/ 6551083 h 6857997"/>
              <a:gd name="connsiteX439" fmla="*/ 1332575 w 12188817"/>
              <a:gd name="connsiteY439" fmla="*/ 6546863 h 6857997"/>
              <a:gd name="connsiteX440" fmla="*/ 1341714 w 12188817"/>
              <a:gd name="connsiteY440" fmla="*/ 6535352 h 6857997"/>
              <a:gd name="connsiteX441" fmla="*/ 1344505 w 12188817"/>
              <a:gd name="connsiteY441" fmla="*/ 6510969 h 6857997"/>
              <a:gd name="connsiteX442" fmla="*/ 1344505 w 12188817"/>
              <a:gd name="connsiteY442" fmla="*/ 6446927 h 6857997"/>
              <a:gd name="connsiteX443" fmla="*/ 1335017 w 12188817"/>
              <a:gd name="connsiteY443" fmla="*/ 6446927 h 6857997"/>
              <a:gd name="connsiteX444" fmla="*/ 1335017 w 12188817"/>
              <a:gd name="connsiteY444" fmla="*/ 6455787 h 6857997"/>
              <a:gd name="connsiteX445" fmla="*/ 1327168 w 12188817"/>
              <a:gd name="connsiteY445" fmla="*/ 6447886 h 6857997"/>
              <a:gd name="connsiteX446" fmla="*/ 1317367 w 12188817"/>
              <a:gd name="connsiteY446" fmla="*/ 6445252 h 6857997"/>
              <a:gd name="connsiteX447" fmla="*/ 1250831 w 12188817"/>
              <a:gd name="connsiteY447" fmla="*/ 6445252 h 6857997"/>
              <a:gd name="connsiteX448" fmla="*/ 1244169 w 12188817"/>
              <a:gd name="connsiteY448" fmla="*/ 6447799 h 6857997"/>
              <a:gd name="connsiteX449" fmla="*/ 1237646 w 12188817"/>
              <a:gd name="connsiteY449" fmla="*/ 6458159 h 6857997"/>
              <a:gd name="connsiteX450" fmla="*/ 1237646 w 12188817"/>
              <a:gd name="connsiteY450" fmla="*/ 6446927 h 6857997"/>
              <a:gd name="connsiteX451" fmla="*/ 1230693 w 12188817"/>
              <a:gd name="connsiteY451" fmla="*/ 6446927 h 6857997"/>
              <a:gd name="connsiteX452" fmla="*/ 1228368 w 12188817"/>
              <a:gd name="connsiteY452" fmla="*/ 6446927 h 6857997"/>
              <a:gd name="connsiteX453" fmla="*/ 1220369 w 12188817"/>
              <a:gd name="connsiteY453" fmla="*/ 6446927 h 6857997"/>
              <a:gd name="connsiteX454" fmla="*/ 1207392 w 12188817"/>
              <a:gd name="connsiteY454" fmla="*/ 6490086 h 6857997"/>
              <a:gd name="connsiteX455" fmla="*/ 1203206 w 12188817"/>
              <a:gd name="connsiteY455" fmla="*/ 6506960 h 6857997"/>
              <a:gd name="connsiteX456" fmla="*/ 1198811 w 12188817"/>
              <a:gd name="connsiteY456" fmla="*/ 6489808 h 6857997"/>
              <a:gd name="connsiteX457" fmla="*/ 1186114 w 12188817"/>
              <a:gd name="connsiteY457" fmla="*/ 6446927 h 6857997"/>
              <a:gd name="connsiteX458" fmla="*/ 1175022 w 12188817"/>
              <a:gd name="connsiteY458" fmla="*/ 6446927 h 6857997"/>
              <a:gd name="connsiteX459" fmla="*/ 1198132 w 12188817"/>
              <a:gd name="connsiteY459" fmla="*/ 6521125 h 6857997"/>
              <a:gd name="connsiteX460" fmla="*/ 1194080 w 12188817"/>
              <a:gd name="connsiteY460" fmla="*/ 6533431 h 6857997"/>
              <a:gd name="connsiteX461" fmla="*/ 1190554 w 12188817"/>
              <a:gd name="connsiteY461" fmla="*/ 6537549 h 6857997"/>
              <a:gd name="connsiteX462" fmla="*/ 1185143 w 12188817"/>
              <a:gd name="connsiteY462" fmla="*/ 6538875 h 6857997"/>
              <a:gd name="connsiteX463" fmla="*/ 1179277 w 12188817"/>
              <a:gd name="connsiteY463" fmla="*/ 6537758 h 6857997"/>
              <a:gd name="connsiteX464" fmla="*/ 1180394 w 12188817"/>
              <a:gd name="connsiteY464" fmla="*/ 6549548 h 6857997"/>
              <a:gd name="connsiteX465" fmla="*/ 1187032 w 12188817"/>
              <a:gd name="connsiteY465" fmla="*/ 6551083 h 6857997"/>
              <a:gd name="connsiteX466" fmla="*/ 1194543 w 12188817"/>
              <a:gd name="connsiteY466" fmla="*/ 6548921 h 6857997"/>
              <a:gd name="connsiteX467" fmla="*/ 1200483 w 12188817"/>
              <a:gd name="connsiteY467" fmla="*/ 6541840 h 6857997"/>
              <a:gd name="connsiteX468" fmla="*/ 1207645 w 12188817"/>
              <a:gd name="connsiteY468" fmla="*/ 6522271 h 6857997"/>
              <a:gd name="connsiteX469" fmla="*/ 1228368 w 12188817"/>
              <a:gd name="connsiteY469" fmla="*/ 6454529 h 6857997"/>
              <a:gd name="connsiteX470" fmla="*/ 1228368 w 12188817"/>
              <a:gd name="connsiteY470" fmla="*/ 6521015 h 6857997"/>
              <a:gd name="connsiteX471" fmla="*/ 1238623 w 12188817"/>
              <a:gd name="connsiteY471" fmla="*/ 6521015 h 6857997"/>
              <a:gd name="connsiteX472" fmla="*/ 1238623 w 12188817"/>
              <a:gd name="connsiteY472" fmla="*/ 6482227 h 6857997"/>
              <a:gd name="connsiteX473" fmla="*/ 1240576 w 12188817"/>
              <a:gd name="connsiteY473" fmla="*/ 6466949 h 6857997"/>
              <a:gd name="connsiteX474" fmla="*/ 1244413 w 12188817"/>
              <a:gd name="connsiteY474" fmla="*/ 6460531 h 6857997"/>
              <a:gd name="connsiteX475" fmla="*/ 1250413 w 12188817"/>
              <a:gd name="connsiteY475" fmla="*/ 6458228 h 6857997"/>
              <a:gd name="connsiteX476" fmla="*/ 1257877 w 12188817"/>
              <a:gd name="connsiteY476" fmla="*/ 6460949 h 6857997"/>
              <a:gd name="connsiteX477" fmla="*/ 1261365 w 12188817"/>
              <a:gd name="connsiteY477" fmla="*/ 6449299 h 6857997"/>
              <a:gd name="connsiteX478" fmla="*/ 1250831 w 12188817"/>
              <a:gd name="connsiteY478" fmla="*/ 6445252 h 6857997"/>
              <a:gd name="connsiteX479" fmla="*/ 1141038 w 12188817"/>
              <a:gd name="connsiteY479" fmla="*/ 6445252 h 6857997"/>
              <a:gd name="connsiteX480" fmla="*/ 1131286 w 12188817"/>
              <a:gd name="connsiteY480" fmla="*/ 6447903 h 6857997"/>
              <a:gd name="connsiteX481" fmla="*/ 1123555 w 12188817"/>
              <a:gd name="connsiteY481" fmla="*/ 6456554 h 6857997"/>
              <a:gd name="connsiteX482" fmla="*/ 1123555 w 12188817"/>
              <a:gd name="connsiteY482" fmla="*/ 6446927 h 6857997"/>
              <a:gd name="connsiteX483" fmla="*/ 1114068 w 12188817"/>
              <a:gd name="connsiteY483" fmla="*/ 6446927 h 6857997"/>
              <a:gd name="connsiteX484" fmla="*/ 1114068 w 12188817"/>
              <a:gd name="connsiteY484" fmla="*/ 6549409 h 6857997"/>
              <a:gd name="connsiteX485" fmla="*/ 1124323 w 12188817"/>
              <a:gd name="connsiteY485" fmla="*/ 6549409 h 6857997"/>
              <a:gd name="connsiteX486" fmla="*/ 1124323 w 12188817"/>
              <a:gd name="connsiteY486" fmla="*/ 6513341 h 6857997"/>
              <a:gd name="connsiteX487" fmla="*/ 1131439 w 12188817"/>
              <a:gd name="connsiteY487" fmla="*/ 6520248 h 6857997"/>
              <a:gd name="connsiteX488" fmla="*/ 1140298 w 12188817"/>
              <a:gd name="connsiteY488" fmla="*/ 6522690 h 6857997"/>
              <a:gd name="connsiteX489" fmla="*/ 1158890 w 12188817"/>
              <a:gd name="connsiteY489" fmla="*/ 6512469 h 6857997"/>
              <a:gd name="connsiteX490" fmla="*/ 1166808 w 12188817"/>
              <a:gd name="connsiteY490" fmla="*/ 6483343 h 6857997"/>
              <a:gd name="connsiteX491" fmla="*/ 1163291 w 12188817"/>
              <a:gd name="connsiteY491" fmla="*/ 6462449 h 6857997"/>
              <a:gd name="connsiteX492" fmla="*/ 1153993 w 12188817"/>
              <a:gd name="connsiteY492" fmla="*/ 6449508 h 6857997"/>
              <a:gd name="connsiteX493" fmla="*/ 1141038 w 12188817"/>
              <a:gd name="connsiteY493" fmla="*/ 6445252 h 6857997"/>
              <a:gd name="connsiteX494" fmla="*/ 1071949 w 12188817"/>
              <a:gd name="connsiteY494" fmla="*/ 6445252 h 6857997"/>
              <a:gd name="connsiteX495" fmla="*/ 1051543 w 12188817"/>
              <a:gd name="connsiteY495" fmla="*/ 6455019 h 6857997"/>
              <a:gd name="connsiteX496" fmla="*/ 1043486 w 12188817"/>
              <a:gd name="connsiteY496" fmla="*/ 6483971 h 6857997"/>
              <a:gd name="connsiteX497" fmla="*/ 1051613 w 12188817"/>
              <a:gd name="connsiteY497" fmla="*/ 6512888 h 6857997"/>
              <a:gd name="connsiteX498" fmla="*/ 1071949 w 12188817"/>
              <a:gd name="connsiteY498" fmla="*/ 6522690 h 6857997"/>
              <a:gd name="connsiteX499" fmla="*/ 1092390 w 12188817"/>
              <a:gd name="connsiteY499" fmla="*/ 6512923 h 6857997"/>
              <a:gd name="connsiteX500" fmla="*/ 1100412 w 12188817"/>
              <a:gd name="connsiteY500" fmla="*/ 6483204 h 6857997"/>
              <a:gd name="connsiteX501" fmla="*/ 1092250 w 12188817"/>
              <a:gd name="connsiteY501" fmla="*/ 6455019 h 6857997"/>
              <a:gd name="connsiteX502" fmla="*/ 1071949 w 12188817"/>
              <a:gd name="connsiteY502" fmla="*/ 6445252 h 6857997"/>
              <a:gd name="connsiteX503" fmla="*/ 883892 w 12188817"/>
              <a:gd name="connsiteY503" fmla="*/ 6440020 h 6857997"/>
              <a:gd name="connsiteX504" fmla="*/ 867086 w 12188817"/>
              <a:gd name="connsiteY504" fmla="*/ 6447642 h 6857997"/>
              <a:gd name="connsiteX505" fmla="*/ 860692 w 12188817"/>
              <a:gd name="connsiteY505" fmla="*/ 6469809 h 6857997"/>
              <a:gd name="connsiteX506" fmla="*/ 867156 w 12188817"/>
              <a:gd name="connsiteY506" fmla="*/ 6492115 h 6857997"/>
              <a:gd name="connsiteX507" fmla="*/ 883401 w 12188817"/>
              <a:gd name="connsiteY507" fmla="*/ 6499877 h 6857997"/>
              <a:gd name="connsiteX508" fmla="*/ 896713 w 12188817"/>
              <a:gd name="connsiteY508" fmla="*/ 6494819 h 6857997"/>
              <a:gd name="connsiteX509" fmla="*/ 904155 w 12188817"/>
              <a:gd name="connsiteY509" fmla="*/ 6480762 h 6857997"/>
              <a:gd name="connsiteX510" fmla="*/ 897178 w 12188817"/>
              <a:gd name="connsiteY510" fmla="*/ 6478250 h 6857997"/>
              <a:gd name="connsiteX511" fmla="*/ 891863 w 12188817"/>
              <a:gd name="connsiteY511" fmla="*/ 6488192 h 6857997"/>
              <a:gd name="connsiteX512" fmla="*/ 882842 w 12188817"/>
              <a:gd name="connsiteY512" fmla="*/ 6491715 h 6857997"/>
              <a:gd name="connsiteX513" fmla="*/ 872562 w 12188817"/>
              <a:gd name="connsiteY513" fmla="*/ 6486326 h 6857997"/>
              <a:gd name="connsiteX514" fmla="*/ 868436 w 12188817"/>
              <a:gd name="connsiteY514" fmla="*/ 6470300 h 6857997"/>
              <a:gd name="connsiteX515" fmla="*/ 872772 w 12188817"/>
              <a:gd name="connsiteY515" fmla="*/ 6453502 h 6857997"/>
              <a:gd name="connsiteX516" fmla="*/ 883613 w 12188817"/>
              <a:gd name="connsiteY516" fmla="*/ 6447834 h 6857997"/>
              <a:gd name="connsiteX517" fmla="*/ 891341 w 12188817"/>
              <a:gd name="connsiteY517" fmla="*/ 6450520 h 6857997"/>
              <a:gd name="connsiteX518" fmla="*/ 896481 w 12188817"/>
              <a:gd name="connsiteY518" fmla="*/ 6458507 h 6857997"/>
              <a:gd name="connsiteX519" fmla="*/ 903317 w 12188817"/>
              <a:gd name="connsiteY519" fmla="*/ 6456484 h 6857997"/>
              <a:gd name="connsiteX520" fmla="*/ 896260 w 12188817"/>
              <a:gd name="connsiteY520" fmla="*/ 6444346 h 6857997"/>
              <a:gd name="connsiteX521" fmla="*/ 883892 w 12188817"/>
              <a:gd name="connsiteY521" fmla="*/ 6440020 h 6857997"/>
              <a:gd name="connsiteX522" fmla="*/ 2030135 w 12188817"/>
              <a:gd name="connsiteY522" fmla="*/ 6429486 h 6857997"/>
              <a:gd name="connsiteX523" fmla="*/ 2036063 w 12188817"/>
              <a:gd name="connsiteY523" fmla="*/ 6450694 h 6857997"/>
              <a:gd name="connsiteX524" fmla="*/ 2044779 w 12188817"/>
              <a:gd name="connsiteY524" fmla="*/ 6479018 h 6857997"/>
              <a:gd name="connsiteX525" fmla="*/ 2016211 w 12188817"/>
              <a:gd name="connsiteY525" fmla="*/ 6479018 h 6857997"/>
              <a:gd name="connsiteX526" fmla="*/ 2025540 w 12188817"/>
              <a:gd name="connsiteY526" fmla="*/ 6449020 h 6857997"/>
              <a:gd name="connsiteX527" fmla="*/ 2030135 w 12188817"/>
              <a:gd name="connsiteY527" fmla="*/ 6429486 h 6857997"/>
              <a:gd name="connsiteX528" fmla="*/ 883226 w 12188817"/>
              <a:gd name="connsiteY528" fmla="*/ 6425649 h 6857997"/>
              <a:gd name="connsiteX529" fmla="*/ 907922 w 12188817"/>
              <a:gd name="connsiteY529" fmla="*/ 6437738 h 6857997"/>
              <a:gd name="connsiteX530" fmla="*/ 919223 w 12188817"/>
              <a:gd name="connsiteY530" fmla="*/ 6469670 h 6857997"/>
              <a:gd name="connsiteX531" fmla="*/ 909317 w 12188817"/>
              <a:gd name="connsiteY531" fmla="*/ 6499925 h 6857997"/>
              <a:gd name="connsiteX532" fmla="*/ 883226 w 12188817"/>
              <a:gd name="connsiteY532" fmla="*/ 6513620 h 6857997"/>
              <a:gd name="connsiteX533" fmla="*/ 858530 w 12188817"/>
              <a:gd name="connsiteY533" fmla="*/ 6501603 h 6857997"/>
              <a:gd name="connsiteX534" fmla="*/ 847228 w 12188817"/>
              <a:gd name="connsiteY534" fmla="*/ 6469670 h 6857997"/>
              <a:gd name="connsiteX535" fmla="*/ 857134 w 12188817"/>
              <a:gd name="connsiteY535" fmla="*/ 6439344 h 6857997"/>
              <a:gd name="connsiteX536" fmla="*/ 883226 w 12188817"/>
              <a:gd name="connsiteY536" fmla="*/ 6425649 h 6857997"/>
              <a:gd name="connsiteX537" fmla="*/ 6208293 w 12188817"/>
              <a:gd name="connsiteY537" fmla="*/ 6421045 h 6857997"/>
              <a:gd name="connsiteX538" fmla="*/ 6198038 w 12188817"/>
              <a:gd name="connsiteY538" fmla="*/ 6428579 h 6857997"/>
              <a:gd name="connsiteX539" fmla="*/ 6198038 w 12188817"/>
              <a:gd name="connsiteY539" fmla="*/ 6446927 h 6857997"/>
              <a:gd name="connsiteX540" fmla="*/ 6190503 w 12188817"/>
              <a:gd name="connsiteY540" fmla="*/ 6446927 h 6857997"/>
              <a:gd name="connsiteX541" fmla="*/ 6190503 w 12188817"/>
              <a:gd name="connsiteY541" fmla="*/ 6456694 h 6857997"/>
              <a:gd name="connsiteX542" fmla="*/ 6198038 w 12188817"/>
              <a:gd name="connsiteY542" fmla="*/ 6456694 h 6857997"/>
              <a:gd name="connsiteX543" fmla="*/ 6198038 w 12188817"/>
              <a:gd name="connsiteY543" fmla="*/ 6499319 h 6857997"/>
              <a:gd name="connsiteX544" fmla="*/ 6199259 w 12188817"/>
              <a:gd name="connsiteY544" fmla="*/ 6514039 h 6857997"/>
              <a:gd name="connsiteX545" fmla="*/ 6203758 w 12188817"/>
              <a:gd name="connsiteY545" fmla="*/ 6519864 h 6857997"/>
              <a:gd name="connsiteX546" fmla="*/ 6212409 w 12188817"/>
              <a:gd name="connsiteY546" fmla="*/ 6521992 h 6857997"/>
              <a:gd name="connsiteX547" fmla="*/ 6220083 w 12188817"/>
              <a:gd name="connsiteY547" fmla="*/ 6520876 h 6857997"/>
              <a:gd name="connsiteX548" fmla="*/ 6218688 w 12188817"/>
              <a:gd name="connsiteY548" fmla="*/ 6509783 h 6857997"/>
              <a:gd name="connsiteX549" fmla="*/ 6214153 w 12188817"/>
              <a:gd name="connsiteY549" fmla="*/ 6510272 h 6857997"/>
              <a:gd name="connsiteX550" fmla="*/ 6209200 w 12188817"/>
              <a:gd name="connsiteY550" fmla="*/ 6507760 h 6857997"/>
              <a:gd name="connsiteX551" fmla="*/ 6208293 w 12188817"/>
              <a:gd name="connsiteY551" fmla="*/ 6500017 h 6857997"/>
              <a:gd name="connsiteX552" fmla="*/ 6208293 w 12188817"/>
              <a:gd name="connsiteY552" fmla="*/ 6456694 h 6857997"/>
              <a:gd name="connsiteX553" fmla="*/ 6218688 w 12188817"/>
              <a:gd name="connsiteY553" fmla="*/ 6456694 h 6857997"/>
              <a:gd name="connsiteX554" fmla="*/ 6218688 w 12188817"/>
              <a:gd name="connsiteY554" fmla="*/ 6446927 h 6857997"/>
              <a:gd name="connsiteX555" fmla="*/ 6208293 w 12188817"/>
              <a:gd name="connsiteY555" fmla="*/ 6446927 h 6857997"/>
              <a:gd name="connsiteX556" fmla="*/ 2421955 w 12188817"/>
              <a:gd name="connsiteY556" fmla="*/ 6421045 h 6857997"/>
              <a:gd name="connsiteX557" fmla="*/ 2411700 w 12188817"/>
              <a:gd name="connsiteY557" fmla="*/ 6428579 h 6857997"/>
              <a:gd name="connsiteX558" fmla="*/ 2411700 w 12188817"/>
              <a:gd name="connsiteY558" fmla="*/ 6446927 h 6857997"/>
              <a:gd name="connsiteX559" fmla="*/ 2404165 w 12188817"/>
              <a:gd name="connsiteY559" fmla="*/ 6446927 h 6857997"/>
              <a:gd name="connsiteX560" fmla="*/ 2404165 w 12188817"/>
              <a:gd name="connsiteY560" fmla="*/ 6456694 h 6857997"/>
              <a:gd name="connsiteX561" fmla="*/ 2411700 w 12188817"/>
              <a:gd name="connsiteY561" fmla="*/ 6456694 h 6857997"/>
              <a:gd name="connsiteX562" fmla="*/ 2411700 w 12188817"/>
              <a:gd name="connsiteY562" fmla="*/ 6499319 h 6857997"/>
              <a:gd name="connsiteX563" fmla="*/ 2412921 w 12188817"/>
              <a:gd name="connsiteY563" fmla="*/ 6514039 h 6857997"/>
              <a:gd name="connsiteX564" fmla="*/ 2417421 w 12188817"/>
              <a:gd name="connsiteY564" fmla="*/ 6519864 h 6857997"/>
              <a:gd name="connsiteX565" fmla="*/ 2426071 w 12188817"/>
              <a:gd name="connsiteY565" fmla="*/ 6521992 h 6857997"/>
              <a:gd name="connsiteX566" fmla="*/ 2432786 w 12188817"/>
              <a:gd name="connsiteY566" fmla="*/ 6521015 h 6857997"/>
              <a:gd name="connsiteX567" fmla="*/ 2486528 w 12188817"/>
              <a:gd name="connsiteY567" fmla="*/ 6521015 h 6857997"/>
              <a:gd name="connsiteX568" fmla="*/ 2486528 w 12188817"/>
              <a:gd name="connsiteY568" fmla="*/ 6510202 h 6857997"/>
              <a:gd name="connsiteX569" fmla="*/ 2458405 w 12188817"/>
              <a:gd name="connsiteY569" fmla="*/ 6510202 h 6857997"/>
              <a:gd name="connsiteX570" fmla="*/ 2445424 w 12188817"/>
              <a:gd name="connsiteY570" fmla="*/ 6510830 h 6857997"/>
              <a:gd name="connsiteX571" fmla="*/ 2451786 w 12188817"/>
              <a:gd name="connsiteY571" fmla="*/ 6502249 h 6857997"/>
              <a:gd name="connsiteX572" fmla="*/ 2484784 w 12188817"/>
              <a:gd name="connsiteY572" fmla="*/ 6455229 h 6857997"/>
              <a:gd name="connsiteX573" fmla="*/ 2484784 w 12188817"/>
              <a:gd name="connsiteY573" fmla="*/ 6446927 h 6857997"/>
              <a:gd name="connsiteX574" fmla="*/ 2435043 w 12188817"/>
              <a:gd name="connsiteY574" fmla="*/ 6446927 h 6857997"/>
              <a:gd name="connsiteX575" fmla="*/ 2435043 w 12188817"/>
              <a:gd name="connsiteY575" fmla="*/ 6457112 h 6857997"/>
              <a:gd name="connsiteX576" fmla="*/ 2459828 w 12188817"/>
              <a:gd name="connsiteY576" fmla="*/ 6457112 h 6857997"/>
              <a:gd name="connsiteX577" fmla="*/ 2471487 w 12188817"/>
              <a:gd name="connsiteY577" fmla="*/ 6456694 h 6857997"/>
              <a:gd name="connsiteX578" fmla="*/ 2432740 w 12188817"/>
              <a:gd name="connsiteY578" fmla="*/ 6510830 h 6857997"/>
              <a:gd name="connsiteX579" fmla="*/ 2432740 w 12188817"/>
              <a:gd name="connsiteY579" fmla="*/ 6512889 h 6857997"/>
              <a:gd name="connsiteX580" fmla="*/ 2432350 w 12188817"/>
              <a:gd name="connsiteY580" fmla="*/ 6509783 h 6857997"/>
              <a:gd name="connsiteX581" fmla="*/ 2427815 w 12188817"/>
              <a:gd name="connsiteY581" fmla="*/ 6510272 h 6857997"/>
              <a:gd name="connsiteX582" fmla="*/ 2422862 w 12188817"/>
              <a:gd name="connsiteY582" fmla="*/ 6507760 h 6857997"/>
              <a:gd name="connsiteX583" fmla="*/ 2421955 w 12188817"/>
              <a:gd name="connsiteY583" fmla="*/ 6500017 h 6857997"/>
              <a:gd name="connsiteX584" fmla="*/ 2421955 w 12188817"/>
              <a:gd name="connsiteY584" fmla="*/ 6456694 h 6857997"/>
              <a:gd name="connsiteX585" fmla="*/ 2432350 w 12188817"/>
              <a:gd name="connsiteY585" fmla="*/ 6456694 h 6857997"/>
              <a:gd name="connsiteX586" fmla="*/ 2432350 w 12188817"/>
              <a:gd name="connsiteY586" fmla="*/ 6446927 h 6857997"/>
              <a:gd name="connsiteX587" fmla="*/ 2421955 w 12188817"/>
              <a:gd name="connsiteY587" fmla="*/ 6446927 h 6857997"/>
              <a:gd name="connsiteX588" fmla="*/ 1440880 w 12188817"/>
              <a:gd name="connsiteY588" fmla="*/ 6421045 h 6857997"/>
              <a:gd name="connsiteX589" fmla="*/ 1430625 w 12188817"/>
              <a:gd name="connsiteY589" fmla="*/ 6428579 h 6857997"/>
              <a:gd name="connsiteX590" fmla="*/ 1430625 w 12188817"/>
              <a:gd name="connsiteY590" fmla="*/ 6446927 h 6857997"/>
              <a:gd name="connsiteX591" fmla="*/ 1423090 w 12188817"/>
              <a:gd name="connsiteY591" fmla="*/ 6446927 h 6857997"/>
              <a:gd name="connsiteX592" fmla="*/ 1423090 w 12188817"/>
              <a:gd name="connsiteY592" fmla="*/ 6456694 h 6857997"/>
              <a:gd name="connsiteX593" fmla="*/ 1430625 w 12188817"/>
              <a:gd name="connsiteY593" fmla="*/ 6456694 h 6857997"/>
              <a:gd name="connsiteX594" fmla="*/ 1430625 w 12188817"/>
              <a:gd name="connsiteY594" fmla="*/ 6499319 h 6857997"/>
              <a:gd name="connsiteX595" fmla="*/ 1431846 w 12188817"/>
              <a:gd name="connsiteY595" fmla="*/ 6514039 h 6857997"/>
              <a:gd name="connsiteX596" fmla="*/ 1436345 w 12188817"/>
              <a:gd name="connsiteY596" fmla="*/ 6519864 h 6857997"/>
              <a:gd name="connsiteX597" fmla="*/ 1444996 w 12188817"/>
              <a:gd name="connsiteY597" fmla="*/ 6521992 h 6857997"/>
              <a:gd name="connsiteX598" fmla="*/ 1452670 w 12188817"/>
              <a:gd name="connsiteY598" fmla="*/ 6520876 h 6857997"/>
              <a:gd name="connsiteX599" fmla="*/ 1451275 w 12188817"/>
              <a:gd name="connsiteY599" fmla="*/ 6509783 h 6857997"/>
              <a:gd name="connsiteX600" fmla="*/ 1446740 w 12188817"/>
              <a:gd name="connsiteY600" fmla="*/ 6510272 h 6857997"/>
              <a:gd name="connsiteX601" fmla="*/ 1441787 w 12188817"/>
              <a:gd name="connsiteY601" fmla="*/ 6507760 h 6857997"/>
              <a:gd name="connsiteX602" fmla="*/ 1440880 w 12188817"/>
              <a:gd name="connsiteY602" fmla="*/ 6500017 h 6857997"/>
              <a:gd name="connsiteX603" fmla="*/ 1440880 w 12188817"/>
              <a:gd name="connsiteY603" fmla="*/ 6456694 h 6857997"/>
              <a:gd name="connsiteX604" fmla="*/ 1451275 w 12188817"/>
              <a:gd name="connsiteY604" fmla="*/ 6456694 h 6857997"/>
              <a:gd name="connsiteX605" fmla="*/ 1451275 w 12188817"/>
              <a:gd name="connsiteY605" fmla="*/ 6446927 h 6857997"/>
              <a:gd name="connsiteX606" fmla="*/ 1440880 w 12188817"/>
              <a:gd name="connsiteY606" fmla="*/ 6446927 h 6857997"/>
              <a:gd name="connsiteX607" fmla="*/ 6319282 w 12188817"/>
              <a:gd name="connsiteY607" fmla="*/ 6418742 h 6857997"/>
              <a:gd name="connsiteX608" fmla="*/ 6319282 w 12188817"/>
              <a:gd name="connsiteY608" fmla="*/ 6521015 h 6857997"/>
              <a:gd name="connsiteX609" fmla="*/ 6329537 w 12188817"/>
              <a:gd name="connsiteY609" fmla="*/ 6521015 h 6857997"/>
              <a:gd name="connsiteX610" fmla="*/ 6329537 w 12188817"/>
              <a:gd name="connsiteY610" fmla="*/ 6418742 h 6857997"/>
              <a:gd name="connsiteX611" fmla="*/ 6224380 w 12188817"/>
              <a:gd name="connsiteY611" fmla="*/ 6418742 h 6857997"/>
              <a:gd name="connsiteX612" fmla="*/ 6224380 w 12188817"/>
              <a:gd name="connsiteY612" fmla="*/ 6433183 h 6857997"/>
              <a:gd name="connsiteX613" fmla="*/ 6234636 w 12188817"/>
              <a:gd name="connsiteY613" fmla="*/ 6433183 h 6857997"/>
              <a:gd name="connsiteX614" fmla="*/ 6234636 w 12188817"/>
              <a:gd name="connsiteY614" fmla="*/ 6418742 h 6857997"/>
              <a:gd name="connsiteX615" fmla="*/ 6034361 w 12188817"/>
              <a:gd name="connsiteY615" fmla="*/ 6418742 h 6857997"/>
              <a:gd name="connsiteX616" fmla="*/ 6034361 w 12188817"/>
              <a:gd name="connsiteY616" fmla="*/ 6455438 h 6857997"/>
              <a:gd name="connsiteX617" fmla="*/ 6027152 w 12188817"/>
              <a:gd name="connsiteY617" fmla="*/ 6447938 h 6857997"/>
              <a:gd name="connsiteX618" fmla="*/ 6017716 w 12188817"/>
              <a:gd name="connsiteY618" fmla="*/ 6445252 h 6857997"/>
              <a:gd name="connsiteX619" fmla="*/ 6004794 w 12188817"/>
              <a:gd name="connsiteY619" fmla="*/ 6449508 h 6857997"/>
              <a:gd name="connsiteX620" fmla="*/ 5995495 w 12188817"/>
              <a:gd name="connsiteY620" fmla="*/ 6462554 h 6857997"/>
              <a:gd name="connsiteX621" fmla="*/ 5992013 w 12188817"/>
              <a:gd name="connsiteY621" fmla="*/ 6483971 h 6857997"/>
              <a:gd name="connsiteX622" fmla="*/ 5999862 w 12188817"/>
              <a:gd name="connsiteY622" fmla="*/ 6512539 h 6857997"/>
              <a:gd name="connsiteX623" fmla="*/ 6018454 w 12188817"/>
              <a:gd name="connsiteY623" fmla="*/ 6522690 h 6857997"/>
              <a:gd name="connsiteX624" fmla="*/ 6027944 w 12188817"/>
              <a:gd name="connsiteY624" fmla="*/ 6519864 h 6857997"/>
              <a:gd name="connsiteX625" fmla="*/ 6035129 w 12188817"/>
              <a:gd name="connsiteY625" fmla="*/ 6511667 h 6857997"/>
              <a:gd name="connsiteX626" fmla="*/ 6035129 w 12188817"/>
              <a:gd name="connsiteY626" fmla="*/ 6521015 h 6857997"/>
              <a:gd name="connsiteX627" fmla="*/ 6044755 w 12188817"/>
              <a:gd name="connsiteY627" fmla="*/ 6521015 h 6857997"/>
              <a:gd name="connsiteX628" fmla="*/ 6044755 w 12188817"/>
              <a:gd name="connsiteY628" fmla="*/ 6418742 h 6857997"/>
              <a:gd name="connsiteX629" fmla="*/ 2790947 w 12188817"/>
              <a:gd name="connsiteY629" fmla="*/ 6418742 h 6857997"/>
              <a:gd name="connsiteX630" fmla="*/ 2790947 w 12188817"/>
              <a:gd name="connsiteY630" fmla="*/ 6455438 h 6857997"/>
              <a:gd name="connsiteX631" fmla="*/ 2783737 w 12188817"/>
              <a:gd name="connsiteY631" fmla="*/ 6447938 h 6857997"/>
              <a:gd name="connsiteX632" fmla="*/ 2774300 w 12188817"/>
              <a:gd name="connsiteY632" fmla="*/ 6445252 h 6857997"/>
              <a:gd name="connsiteX633" fmla="*/ 2761380 w 12188817"/>
              <a:gd name="connsiteY633" fmla="*/ 6449508 h 6857997"/>
              <a:gd name="connsiteX634" fmla="*/ 2752082 w 12188817"/>
              <a:gd name="connsiteY634" fmla="*/ 6462554 h 6857997"/>
              <a:gd name="connsiteX635" fmla="*/ 2748600 w 12188817"/>
              <a:gd name="connsiteY635" fmla="*/ 6483971 h 6857997"/>
              <a:gd name="connsiteX636" fmla="*/ 2756449 w 12188817"/>
              <a:gd name="connsiteY636" fmla="*/ 6512539 h 6857997"/>
              <a:gd name="connsiteX637" fmla="*/ 2775041 w 12188817"/>
              <a:gd name="connsiteY637" fmla="*/ 6522690 h 6857997"/>
              <a:gd name="connsiteX638" fmla="*/ 2784528 w 12188817"/>
              <a:gd name="connsiteY638" fmla="*/ 6519864 h 6857997"/>
              <a:gd name="connsiteX639" fmla="*/ 2791714 w 12188817"/>
              <a:gd name="connsiteY639" fmla="*/ 6511667 h 6857997"/>
              <a:gd name="connsiteX640" fmla="*/ 2791714 w 12188817"/>
              <a:gd name="connsiteY640" fmla="*/ 6521015 h 6857997"/>
              <a:gd name="connsiteX641" fmla="*/ 2801341 w 12188817"/>
              <a:gd name="connsiteY641" fmla="*/ 6521015 h 6857997"/>
              <a:gd name="connsiteX642" fmla="*/ 2801341 w 12188817"/>
              <a:gd name="connsiteY642" fmla="*/ 6418742 h 6857997"/>
              <a:gd name="connsiteX643" fmla="*/ 2590094 w 12188817"/>
              <a:gd name="connsiteY643" fmla="*/ 6418742 h 6857997"/>
              <a:gd name="connsiteX644" fmla="*/ 2590094 w 12188817"/>
              <a:gd name="connsiteY644" fmla="*/ 6521015 h 6857997"/>
              <a:gd name="connsiteX645" fmla="*/ 2600349 w 12188817"/>
              <a:gd name="connsiteY645" fmla="*/ 6521015 h 6857997"/>
              <a:gd name="connsiteX646" fmla="*/ 2600349 w 12188817"/>
              <a:gd name="connsiteY646" fmla="*/ 6418742 h 6857997"/>
              <a:gd name="connsiteX647" fmla="*/ 2380892 w 12188817"/>
              <a:gd name="connsiteY647" fmla="*/ 6418742 h 6857997"/>
              <a:gd name="connsiteX648" fmla="*/ 2380892 w 12188817"/>
              <a:gd name="connsiteY648" fmla="*/ 6433183 h 6857997"/>
              <a:gd name="connsiteX649" fmla="*/ 2391148 w 12188817"/>
              <a:gd name="connsiteY649" fmla="*/ 6433183 h 6857997"/>
              <a:gd name="connsiteX650" fmla="*/ 2391148 w 12188817"/>
              <a:gd name="connsiteY650" fmla="*/ 6418742 h 6857997"/>
              <a:gd name="connsiteX651" fmla="*/ 2024493 w 12188817"/>
              <a:gd name="connsiteY651" fmla="*/ 6418742 h 6857997"/>
              <a:gd name="connsiteX652" fmla="*/ 1992149 w 12188817"/>
              <a:gd name="connsiteY652" fmla="*/ 6521015 h 6857997"/>
              <a:gd name="connsiteX653" fmla="*/ 2003850 w 12188817"/>
              <a:gd name="connsiteY653" fmla="*/ 6521015 h 6857997"/>
              <a:gd name="connsiteX654" fmla="*/ 2012966 w 12188817"/>
              <a:gd name="connsiteY654" fmla="*/ 6490040 h 6857997"/>
              <a:gd name="connsiteX655" fmla="*/ 2048249 w 12188817"/>
              <a:gd name="connsiteY655" fmla="*/ 6490040 h 6857997"/>
              <a:gd name="connsiteX656" fmla="*/ 2058004 w 12188817"/>
              <a:gd name="connsiteY656" fmla="*/ 6521015 h 6857997"/>
              <a:gd name="connsiteX657" fmla="*/ 2070702 w 12188817"/>
              <a:gd name="connsiteY657" fmla="*/ 6521015 h 6857997"/>
              <a:gd name="connsiteX658" fmla="*/ 2036357 w 12188817"/>
              <a:gd name="connsiteY658" fmla="*/ 6418742 h 6857997"/>
              <a:gd name="connsiteX659" fmla="*/ 1818918 w 12188817"/>
              <a:gd name="connsiteY659" fmla="*/ 6418742 h 6857997"/>
              <a:gd name="connsiteX660" fmla="*/ 1818918 w 12188817"/>
              <a:gd name="connsiteY660" fmla="*/ 6433183 h 6857997"/>
              <a:gd name="connsiteX661" fmla="*/ 1829173 w 12188817"/>
              <a:gd name="connsiteY661" fmla="*/ 6433183 h 6857997"/>
              <a:gd name="connsiteX662" fmla="*/ 1829173 w 12188817"/>
              <a:gd name="connsiteY662" fmla="*/ 6418742 h 6857997"/>
              <a:gd name="connsiteX663" fmla="*/ 1752242 w 12188817"/>
              <a:gd name="connsiteY663" fmla="*/ 6418742 h 6857997"/>
              <a:gd name="connsiteX664" fmla="*/ 1752242 w 12188817"/>
              <a:gd name="connsiteY664" fmla="*/ 6433183 h 6857997"/>
              <a:gd name="connsiteX665" fmla="*/ 1762498 w 12188817"/>
              <a:gd name="connsiteY665" fmla="*/ 6433183 h 6857997"/>
              <a:gd name="connsiteX666" fmla="*/ 1762498 w 12188817"/>
              <a:gd name="connsiteY666" fmla="*/ 6418742 h 6857997"/>
              <a:gd name="connsiteX667" fmla="*/ 1361717 w 12188817"/>
              <a:gd name="connsiteY667" fmla="*/ 6418742 h 6857997"/>
              <a:gd name="connsiteX668" fmla="*/ 1361717 w 12188817"/>
              <a:gd name="connsiteY668" fmla="*/ 6521015 h 6857997"/>
              <a:gd name="connsiteX669" fmla="*/ 1371973 w 12188817"/>
              <a:gd name="connsiteY669" fmla="*/ 6521015 h 6857997"/>
              <a:gd name="connsiteX670" fmla="*/ 1371973 w 12188817"/>
              <a:gd name="connsiteY670" fmla="*/ 6480483 h 6857997"/>
              <a:gd name="connsiteX671" fmla="*/ 1376682 w 12188817"/>
              <a:gd name="connsiteY671" fmla="*/ 6461437 h 6857997"/>
              <a:gd name="connsiteX672" fmla="*/ 1388088 w 12188817"/>
              <a:gd name="connsiteY672" fmla="*/ 6456066 h 6857997"/>
              <a:gd name="connsiteX673" fmla="*/ 1397506 w 12188817"/>
              <a:gd name="connsiteY673" fmla="*/ 6460252 h 6857997"/>
              <a:gd name="connsiteX674" fmla="*/ 1400924 w 12188817"/>
              <a:gd name="connsiteY674" fmla="*/ 6474065 h 6857997"/>
              <a:gd name="connsiteX675" fmla="*/ 1400924 w 12188817"/>
              <a:gd name="connsiteY675" fmla="*/ 6521015 h 6857997"/>
              <a:gd name="connsiteX676" fmla="*/ 1411180 w 12188817"/>
              <a:gd name="connsiteY676" fmla="*/ 6521015 h 6857997"/>
              <a:gd name="connsiteX677" fmla="*/ 1411180 w 12188817"/>
              <a:gd name="connsiteY677" fmla="*/ 6474065 h 6857997"/>
              <a:gd name="connsiteX678" fmla="*/ 1405564 w 12188817"/>
              <a:gd name="connsiteY678" fmla="*/ 6451426 h 6857997"/>
              <a:gd name="connsiteX679" fmla="*/ 1390251 w 12188817"/>
              <a:gd name="connsiteY679" fmla="*/ 6445252 h 6857997"/>
              <a:gd name="connsiteX680" fmla="*/ 1380170 w 12188817"/>
              <a:gd name="connsiteY680" fmla="*/ 6447799 h 6857997"/>
              <a:gd name="connsiteX681" fmla="*/ 1371973 w 12188817"/>
              <a:gd name="connsiteY681" fmla="*/ 6455438 h 6857997"/>
              <a:gd name="connsiteX682" fmla="*/ 1371973 w 12188817"/>
              <a:gd name="connsiteY682" fmla="*/ 6418742 h 6857997"/>
              <a:gd name="connsiteX683" fmla="*/ 1266468 w 12188817"/>
              <a:gd name="connsiteY683" fmla="*/ 6418742 h 6857997"/>
              <a:gd name="connsiteX684" fmla="*/ 1266468 w 12188817"/>
              <a:gd name="connsiteY684" fmla="*/ 6433183 h 6857997"/>
              <a:gd name="connsiteX685" fmla="*/ 1276723 w 12188817"/>
              <a:gd name="connsiteY685" fmla="*/ 6433183 h 6857997"/>
              <a:gd name="connsiteX686" fmla="*/ 1276723 w 12188817"/>
              <a:gd name="connsiteY686" fmla="*/ 6418742 h 6857997"/>
              <a:gd name="connsiteX687" fmla="*/ 5958280 w 12188817"/>
              <a:gd name="connsiteY687" fmla="*/ 6416998 h 6857997"/>
              <a:gd name="connsiteX688" fmla="*/ 5948872 w 12188817"/>
              <a:gd name="connsiteY688" fmla="*/ 6419301 h 6857997"/>
              <a:gd name="connsiteX689" fmla="*/ 5943312 w 12188817"/>
              <a:gd name="connsiteY689" fmla="*/ 6425963 h 6857997"/>
              <a:gd name="connsiteX690" fmla="*/ 5941493 w 12188817"/>
              <a:gd name="connsiteY690" fmla="*/ 6439044 h 6857997"/>
              <a:gd name="connsiteX691" fmla="*/ 5941493 w 12188817"/>
              <a:gd name="connsiteY691" fmla="*/ 6446927 h 6857997"/>
              <a:gd name="connsiteX692" fmla="*/ 5932354 w 12188817"/>
              <a:gd name="connsiteY692" fmla="*/ 6446927 h 6857997"/>
              <a:gd name="connsiteX693" fmla="*/ 5932354 w 12188817"/>
              <a:gd name="connsiteY693" fmla="*/ 6456694 h 6857997"/>
              <a:gd name="connsiteX694" fmla="*/ 5941493 w 12188817"/>
              <a:gd name="connsiteY694" fmla="*/ 6456694 h 6857997"/>
              <a:gd name="connsiteX695" fmla="*/ 5941493 w 12188817"/>
              <a:gd name="connsiteY695" fmla="*/ 6521015 h 6857997"/>
              <a:gd name="connsiteX696" fmla="*/ 5951746 w 12188817"/>
              <a:gd name="connsiteY696" fmla="*/ 6521015 h 6857997"/>
              <a:gd name="connsiteX697" fmla="*/ 5951746 w 12188817"/>
              <a:gd name="connsiteY697" fmla="*/ 6456694 h 6857997"/>
              <a:gd name="connsiteX698" fmla="*/ 5963606 w 12188817"/>
              <a:gd name="connsiteY698" fmla="*/ 6456694 h 6857997"/>
              <a:gd name="connsiteX699" fmla="*/ 5963606 w 12188817"/>
              <a:gd name="connsiteY699" fmla="*/ 6446927 h 6857997"/>
              <a:gd name="connsiteX700" fmla="*/ 5951746 w 12188817"/>
              <a:gd name="connsiteY700" fmla="*/ 6446927 h 6857997"/>
              <a:gd name="connsiteX701" fmla="*/ 5951746 w 12188817"/>
              <a:gd name="connsiteY701" fmla="*/ 6440090 h 6857997"/>
              <a:gd name="connsiteX702" fmla="*/ 5953734 w 12188817"/>
              <a:gd name="connsiteY702" fmla="*/ 6430916 h 6857997"/>
              <a:gd name="connsiteX703" fmla="*/ 5960327 w 12188817"/>
              <a:gd name="connsiteY703" fmla="*/ 6428509 h 6857997"/>
              <a:gd name="connsiteX704" fmla="*/ 5966397 w 12188817"/>
              <a:gd name="connsiteY704" fmla="*/ 6429207 h 6857997"/>
              <a:gd name="connsiteX705" fmla="*/ 5967205 w 12188817"/>
              <a:gd name="connsiteY705" fmla="*/ 6423469 h 6857997"/>
              <a:gd name="connsiteX706" fmla="*/ 5967205 w 12188817"/>
              <a:gd name="connsiteY706" fmla="*/ 6433183 h 6857997"/>
              <a:gd name="connsiteX707" fmla="*/ 5977462 w 12188817"/>
              <a:gd name="connsiteY707" fmla="*/ 6433183 h 6857997"/>
              <a:gd name="connsiteX708" fmla="*/ 5977462 w 12188817"/>
              <a:gd name="connsiteY708" fmla="*/ 6418742 h 6857997"/>
              <a:gd name="connsiteX709" fmla="*/ 5967872 w 12188817"/>
              <a:gd name="connsiteY709" fmla="*/ 6418742 h 6857997"/>
              <a:gd name="connsiteX710" fmla="*/ 5967932 w 12188817"/>
              <a:gd name="connsiteY710" fmla="*/ 6418324 h 6857997"/>
              <a:gd name="connsiteX711" fmla="*/ 5958280 w 12188817"/>
              <a:gd name="connsiteY711" fmla="*/ 6416998 h 6857997"/>
              <a:gd name="connsiteX712" fmla="*/ 883226 w 12188817"/>
              <a:gd name="connsiteY712" fmla="*/ 6416998 h 6857997"/>
              <a:gd name="connsiteX713" fmla="*/ 862262 w 12188817"/>
              <a:gd name="connsiteY713" fmla="*/ 6423591 h 6857997"/>
              <a:gd name="connsiteX714" fmla="*/ 846181 w 12188817"/>
              <a:gd name="connsiteY714" fmla="*/ 6442532 h 6857997"/>
              <a:gd name="connsiteX715" fmla="*/ 840042 w 12188817"/>
              <a:gd name="connsiteY715" fmla="*/ 6469670 h 6857997"/>
              <a:gd name="connsiteX716" fmla="*/ 852460 w 12188817"/>
              <a:gd name="connsiteY716" fmla="*/ 6506539 h 6857997"/>
              <a:gd name="connsiteX717" fmla="*/ 883226 w 12188817"/>
              <a:gd name="connsiteY717" fmla="*/ 6522271 h 6857997"/>
              <a:gd name="connsiteX718" fmla="*/ 904190 w 12188817"/>
              <a:gd name="connsiteY718" fmla="*/ 6515678 h 6857997"/>
              <a:gd name="connsiteX719" fmla="*/ 920270 w 12188817"/>
              <a:gd name="connsiteY719" fmla="*/ 6496738 h 6857997"/>
              <a:gd name="connsiteX720" fmla="*/ 926409 w 12188817"/>
              <a:gd name="connsiteY720" fmla="*/ 6469670 h 6857997"/>
              <a:gd name="connsiteX721" fmla="*/ 913991 w 12188817"/>
              <a:gd name="connsiteY721" fmla="*/ 6432765 h 6857997"/>
              <a:gd name="connsiteX722" fmla="*/ 883226 w 12188817"/>
              <a:gd name="connsiteY722" fmla="*/ 6416998 h 6857997"/>
              <a:gd name="connsiteX723" fmla="*/ 5757199 w 12188817"/>
              <a:gd name="connsiteY723" fmla="*/ 6416929 h 6857997"/>
              <a:gd name="connsiteX724" fmla="*/ 5737086 w 12188817"/>
              <a:gd name="connsiteY724" fmla="*/ 6422897 h 6857997"/>
              <a:gd name="connsiteX725" fmla="*/ 5722805 w 12188817"/>
              <a:gd name="connsiteY725" fmla="*/ 6440559 h 6857997"/>
              <a:gd name="connsiteX726" fmla="*/ 5717534 w 12188817"/>
              <a:gd name="connsiteY726" fmla="*/ 6469146 h 6857997"/>
              <a:gd name="connsiteX727" fmla="*/ 5722800 w 12188817"/>
              <a:gd name="connsiteY727" fmla="*/ 6498815 h 6857997"/>
              <a:gd name="connsiteX728" fmla="*/ 5736335 w 12188817"/>
              <a:gd name="connsiteY728" fmla="*/ 6517070 h 6857997"/>
              <a:gd name="connsiteX729" fmla="*/ 5756252 w 12188817"/>
              <a:gd name="connsiteY729" fmla="*/ 6522759 h 6857997"/>
              <a:gd name="connsiteX730" fmla="*/ 5778751 w 12188817"/>
              <a:gd name="connsiteY730" fmla="*/ 6514283 h 6857997"/>
              <a:gd name="connsiteX731" fmla="*/ 5791691 w 12188817"/>
              <a:gd name="connsiteY731" fmla="*/ 6488575 h 6857997"/>
              <a:gd name="connsiteX732" fmla="*/ 5780529 w 12188817"/>
              <a:gd name="connsiteY732" fmla="*/ 6485157 h 6857997"/>
              <a:gd name="connsiteX733" fmla="*/ 5771703 w 12188817"/>
              <a:gd name="connsiteY733" fmla="*/ 6504726 h 6857997"/>
              <a:gd name="connsiteX734" fmla="*/ 5756044 w 12188817"/>
              <a:gd name="connsiteY734" fmla="*/ 6511179 h 6857997"/>
              <a:gd name="connsiteX735" fmla="*/ 5736369 w 12188817"/>
              <a:gd name="connsiteY735" fmla="*/ 6500671 h 6857997"/>
              <a:gd name="connsiteX736" fmla="*/ 5728974 w 12188817"/>
              <a:gd name="connsiteY736" fmla="*/ 6469145 h 6857997"/>
              <a:gd name="connsiteX737" fmla="*/ 5732644 w 12188817"/>
              <a:gd name="connsiteY737" fmla="*/ 6446175 h 6857997"/>
              <a:gd name="connsiteX738" fmla="*/ 5742457 w 12188817"/>
              <a:gd name="connsiteY738" fmla="*/ 6432804 h 6857997"/>
              <a:gd name="connsiteX739" fmla="*/ 5756988 w 12188817"/>
              <a:gd name="connsiteY739" fmla="*/ 6428509 h 6857997"/>
              <a:gd name="connsiteX740" fmla="*/ 5779412 w 12188817"/>
              <a:gd name="connsiteY740" fmla="*/ 6449787 h 6857997"/>
              <a:gd name="connsiteX741" fmla="*/ 5790296 w 12188817"/>
              <a:gd name="connsiteY741" fmla="*/ 6446648 h 6857997"/>
              <a:gd name="connsiteX742" fmla="*/ 5778076 w 12188817"/>
              <a:gd name="connsiteY742" fmla="*/ 6424480 h 6857997"/>
              <a:gd name="connsiteX743" fmla="*/ 5757199 w 12188817"/>
              <a:gd name="connsiteY743" fmla="*/ 6416929 h 6857997"/>
              <a:gd name="connsiteX744" fmla="*/ 2249524 w 12188817"/>
              <a:gd name="connsiteY744" fmla="*/ 6416929 h 6857997"/>
              <a:gd name="connsiteX745" fmla="*/ 2227897 w 12188817"/>
              <a:gd name="connsiteY745" fmla="*/ 6424812 h 6857997"/>
              <a:gd name="connsiteX746" fmla="*/ 2219874 w 12188817"/>
              <a:gd name="connsiteY746" fmla="*/ 6445113 h 6857997"/>
              <a:gd name="connsiteX747" fmla="*/ 2222665 w 12188817"/>
              <a:gd name="connsiteY747" fmla="*/ 6457496 h 6857997"/>
              <a:gd name="connsiteX748" fmla="*/ 2230478 w 12188817"/>
              <a:gd name="connsiteY748" fmla="*/ 6466530 h 6857997"/>
              <a:gd name="connsiteX749" fmla="*/ 2247361 w 12188817"/>
              <a:gd name="connsiteY749" fmla="*/ 6473609 h 6857997"/>
              <a:gd name="connsiteX750" fmla="*/ 2264697 w 12188817"/>
              <a:gd name="connsiteY750" fmla="*/ 6479711 h 6857997"/>
              <a:gd name="connsiteX751" fmla="*/ 2270697 w 12188817"/>
              <a:gd name="connsiteY751" fmla="*/ 6485246 h 6857997"/>
              <a:gd name="connsiteX752" fmla="*/ 2272685 w 12188817"/>
              <a:gd name="connsiteY752" fmla="*/ 6493147 h 6857997"/>
              <a:gd name="connsiteX753" fmla="*/ 2267209 w 12188817"/>
              <a:gd name="connsiteY753" fmla="*/ 6505713 h 6857997"/>
              <a:gd name="connsiteX754" fmla="*/ 2251826 w 12188817"/>
              <a:gd name="connsiteY754" fmla="*/ 6510551 h 6857997"/>
              <a:gd name="connsiteX755" fmla="*/ 2239408 w 12188817"/>
              <a:gd name="connsiteY755" fmla="*/ 6507690 h 6857997"/>
              <a:gd name="connsiteX756" fmla="*/ 2230932 w 12188817"/>
              <a:gd name="connsiteY756" fmla="*/ 6500121 h 6857997"/>
              <a:gd name="connsiteX757" fmla="*/ 2227130 w 12188817"/>
              <a:gd name="connsiteY757" fmla="*/ 6486971 h 6857997"/>
              <a:gd name="connsiteX758" fmla="*/ 2216665 w 12188817"/>
              <a:gd name="connsiteY758" fmla="*/ 6488087 h 6857997"/>
              <a:gd name="connsiteX759" fmla="*/ 2226258 w 12188817"/>
              <a:gd name="connsiteY759" fmla="*/ 6513411 h 6857997"/>
              <a:gd name="connsiteX760" fmla="*/ 2251059 w 12188817"/>
              <a:gd name="connsiteY760" fmla="*/ 6522759 h 6857997"/>
              <a:gd name="connsiteX761" fmla="*/ 2268116 w 12188817"/>
              <a:gd name="connsiteY761" fmla="*/ 6518996 h 6857997"/>
              <a:gd name="connsiteX762" fmla="*/ 2279313 w 12188817"/>
              <a:gd name="connsiteY762" fmla="*/ 6508020 h 6857997"/>
              <a:gd name="connsiteX763" fmla="*/ 2283429 w 12188817"/>
              <a:gd name="connsiteY763" fmla="*/ 6492028 h 6857997"/>
              <a:gd name="connsiteX764" fmla="*/ 2279514 w 12188817"/>
              <a:gd name="connsiteY764" fmla="*/ 6476800 h 6857997"/>
              <a:gd name="connsiteX765" fmla="*/ 2267928 w 12188817"/>
              <a:gd name="connsiteY765" fmla="*/ 6466500 h 6857997"/>
              <a:gd name="connsiteX766" fmla="*/ 2250496 w 12188817"/>
              <a:gd name="connsiteY766" fmla="*/ 6460543 h 6857997"/>
              <a:gd name="connsiteX767" fmla="*/ 2234177 w 12188817"/>
              <a:gd name="connsiteY767" fmla="*/ 6453621 h 6857997"/>
              <a:gd name="connsiteX768" fmla="*/ 2230548 w 12188817"/>
              <a:gd name="connsiteY768" fmla="*/ 6443995 h 6857997"/>
              <a:gd name="connsiteX769" fmla="*/ 2235501 w 12188817"/>
              <a:gd name="connsiteY769" fmla="*/ 6433078 h 6857997"/>
              <a:gd name="connsiteX770" fmla="*/ 2249873 w 12188817"/>
              <a:gd name="connsiteY770" fmla="*/ 6428858 h 6857997"/>
              <a:gd name="connsiteX771" fmla="*/ 2264279 w 12188817"/>
              <a:gd name="connsiteY771" fmla="*/ 6433672 h 6857997"/>
              <a:gd name="connsiteX772" fmla="*/ 2270243 w 12188817"/>
              <a:gd name="connsiteY772" fmla="*/ 6448462 h 6857997"/>
              <a:gd name="connsiteX773" fmla="*/ 2280917 w 12188817"/>
              <a:gd name="connsiteY773" fmla="*/ 6447485 h 6857997"/>
              <a:gd name="connsiteX774" fmla="*/ 2276766 w 12188817"/>
              <a:gd name="connsiteY774" fmla="*/ 6431230 h 6857997"/>
              <a:gd name="connsiteX775" fmla="*/ 2265883 w 12188817"/>
              <a:gd name="connsiteY775" fmla="*/ 6420626 h 6857997"/>
              <a:gd name="connsiteX776" fmla="*/ 2249524 w 12188817"/>
              <a:gd name="connsiteY776" fmla="*/ 6416929 h 6857997"/>
              <a:gd name="connsiteX777" fmla="*/ 2107518 w 12188817"/>
              <a:gd name="connsiteY777" fmla="*/ 6416929 h 6857997"/>
              <a:gd name="connsiteX778" fmla="*/ 2085892 w 12188817"/>
              <a:gd name="connsiteY778" fmla="*/ 6422827 h 6857997"/>
              <a:gd name="connsiteX779" fmla="*/ 2071102 w 12188817"/>
              <a:gd name="connsiteY779" fmla="*/ 6441152 h 6857997"/>
              <a:gd name="connsiteX780" fmla="*/ 2065451 w 12188817"/>
              <a:gd name="connsiteY780" fmla="*/ 6470332 h 6857997"/>
              <a:gd name="connsiteX781" fmla="*/ 2071067 w 12188817"/>
              <a:gd name="connsiteY781" fmla="*/ 6498675 h 6857997"/>
              <a:gd name="connsiteX782" fmla="*/ 2086310 w 12188817"/>
              <a:gd name="connsiteY782" fmla="*/ 6516616 h 6857997"/>
              <a:gd name="connsiteX783" fmla="*/ 2108216 w 12188817"/>
              <a:gd name="connsiteY783" fmla="*/ 6522759 h 6857997"/>
              <a:gd name="connsiteX784" fmla="*/ 2126145 w 12188817"/>
              <a:gd name="connsiteY784" fmla="*/ 6518748 h 6857997"/>
              <a:gd name="connsiteX785" fmla="*/ 2143028 w 12188817"/>
              <a:gd name="connsiteY785" fmla="*/ 6506784 h 6857997"/>
              <a:gd name="connsiteX786" fmla="*/ 2143028 w 12188817"/>
              <a:gd name="connsiteY786" fmla="*/ 6468763 h 6857997"/>
              <a:gd name="connsiteX787" fmla="*/ 2107518 w 12188817"/>
              <a:gd name="connsiteY787" fmla="*/ 6468832 h 6857997"/>
              <a:gd name="connsiteX788" fmla="*/ 2107518 w 12188817"/>
              <a:gd name="connsiteY788" fmla="*/ 6480901 h 6857997"/>
              <a:gd name="connsiteX789" fmla="*/ 2132145 w 12188817"/>
              <a:gd name="connsiteY789" fmla="*/ 6480901 h 6857997"/>
              <a:gd name="connsiteX790" fmla="*/ 2132145 w 12188817"/>
              <a:gd name="connsiteY790" fmla="*/ 6499947 h 6857997"/>
              <a:gd name="connsiteX791" fmla="*/ 2121227 w 12188817"/>
              <a:gd name="connsiteY791" fmla="*/ 6507411 h 6857997"/>
              <a:gd name="connsiteX792" fmla="*/ 2107798 w 12188817"/>
              <a:gd name="connsiteY792" fmla="*/ 6510551 h 6857997"/>
              <a:gd name="connsiteX793" fmla="*/ 2085473 w 12188817"/>
              <a:gd name="connsiteY793" fmla="*/ 6500322 h 6857997"/>
              <a:gd name="connsiteX794" fmla="*/ 2076892 w 12188817"/>
              <a:gd name="connsiteY794" fmla="*/ 6469565 h 6857997"/>
              <a:gd name="connsiteX795" fmla="*/ 2080904 w 12188817"/>
              <a:gd name="connsiteY795" fmla="*/ 6446733 h 6857997"/>
              <a:gd name="connsiteX796" fmla="*/ 2091508 w 12188817"/>
              <a:gd name="connsiteY796" fmla="*/ 6432943 h 6857997"/>
              <a:gd name="connsiteX797" fmla="*/ 2107239 w 12188817"/>
              <a:gd name="connsiteY797" fmla="*/ 6428509 h 6857997"/>
              <a:gd name="connsiteX798" fmla="*/ 2118541 w 12188817"/>
              <a:gd name="connsiteY798" fmla="*/ 6430951 h 6857997"/>
              <a:gd name="connsiteX799" fmla="*/ 2126634 w 12188817"/>
              <a:gd name="connsiteY799" fmla="*/ 6437683 h 6857997"/>
              <a:gd name="connsiteX800" fmla="*/ 2131726 w 12188817"/>
              <a:gd name="connsiteY800" fmla="*/ 6450624 h 6857997"/>
              <a:gd name="connsiteX801" fmla="*/ 2141702 w 12188817"/>
              <a:gd name="connsiteY801" fmla="*/ 6447276 h 6857997"/>
              <a:gd name="connsiteX802" fmla="*/ 2135005 w 12188817"/>
              <a:gd name="connsiteY802" fmla="*/ 6430044 h 6857997"/>
              <a:gd name="connsiteX803" fmla="*/ 2123634 w 12188817"/>
              <a:gd name="connsiteY803" fmla="*/ 6420347 h 6857997"/>
              <a:gd name="connsiteX804" fmla="*/ 2107518 w 12188817"/>
              <a:gd name="connsiteY804" fmla="*/ 6416929 h 6857997"/>
              <a:gd name="connsiteX805" fmla="*/ 1516099 w 12188817"/>
              <a:gd name="connsiteY805" fmla="*/ 6416929 h 6857997"/>
              <a:gd name="connsiteX806" fmla="*/ 1494472 w 12188817"/>
              <a:gd name="connsiteY806" fmla="*/ 6424812 h 6857997"/>
              <a:gd name="connsiteX807" fmla="*/ 1486449 w 12188817"/>
              <a:gd name="connsiteY807" fmla="*/ 6445113 h 6857997"/>
              <a:gd name="connsiteX808" fmla="*/ 1489240 w 12188817"/>
              <a:gd name="connsiteY808" fmla="*/ 6457496 h 6857997"/>
              <a:gd name="connsiteX809" fmla="*/ 1497053 w 12188817"/>
              <a:gd name="connsiteY809" fmla="*/ 6466530 h 6857997"/>
              <a:gd name="connsiteX810" fmla="*/ 1513936 w 12188817"/>
              <a:gd name="connsiteY810" fmla="*/ 6473609 h 6857997"/>
              <a:gd name="connsiteX811" fmla="*/ 1531272 w 12188817"/>
              <a:gd name="connsiteY811" fmla="*/ 6479711 h 6857997"/>
              <a:gd name="connsiteX812" fmla="*/ 1537272 w 12188817"/>
              <a:gd name="connsiteY812" fmla="*/ 6485246 h 6857997"/>
              <a:gd name="connsiteX813" fmla="*/ 1539260 w 12188817"/>
              <a:gd name="connsiteY813" fmla="*/ 6493147 h 6857997"/>
              <a:gd name="connsiteX814" fmla="*/ 1533784 w 12188817"/>
              <a:gd name="connsiteY814" fmla="*/ 6505713 h 6857997"/>
              <a:gd name="connsiteX815" fmla="*/ 1518401 w 12188817"/>
              <a:gd name="connsiteY815" fmla="*/ 6510551 h 6857997"/>
              <a:gd name="connsiteX816" fmla="*/ 1505983 w 12188817"/>
              <a:gd name="connsiteY816" fmla="*/ 6507690 h 6857997"/>
              <a:gd name="connsiteX817" fmla="*/ 1497507 w 12188817"/>
              <a:gd name="connsiteY817" fmla="*/ 6500121 h 6857997"/>
              <a:gd name="connsiteX818" fmla="*/ 1493705 w 12188817"/>
              <a:gd name="connsiteY818" fmla="*/ 6486971 h 6857997"/>
              <a:gd name="connsiteX819" fmla="*/ 1483240 w 12188817"/>
              <a:gd name="connsiteY819" fmla="*/ 6488087 h 6857997"/>
              <a:gd name="connsiteX820" fmla="*/ 1492833 w 12188817"/>
              <a:gd name="connsiteY820" fmla="*/ 6513411 h 6857997"/>
              <a:gd name="connsiteX821" fmla="*/ 1517633 w 12188817"/>
              <a:gd name="connsiteY821" fmla="*/ 6522759 h 6857997"/>
              <a:gd name="connsiteX822" fmla="*/ 1534691 w 12188817"/>
              <a:gd name="connsiteY822" fmla="*/ 6518996 h 6857997"/>
              <a:gd name="connsiteX823" fmla="*/ 1545887 w 12188817"/>
              <a:gd name="connsiteY823" fmla="*/ 6508020 h 6857997"/>
              <a:gd name="connsiteX824" fmla="*/ 1550004 w 12188817"/>
              <a:gd name="connsiteY824" fmla="*/ 6492028 h 6857997"/>
              <a:gd name="connsiteX825" fmla="*/ 1546089 w 12188817"/>
              <a:gd name="connsiteY825" fmla="*/ 6476800 h 6857997"/>
              <a:gd name="connsiteX826" fmla="*/ 1534503 w 12188817"/>
              <a:gd name="connsiteY826" fmla="*/ 6466500 h 6857997"/>
              <a:gd name="connsiteX827" fmla="*/ 1517071 w 12188817"/>
              <a:gd name="connsiteY827" fmla="*/ 6460543 h 6857997"/>
              <a:gd name="connsiteX828" fmla="*/ 1500752 w 12188817"/>
              <a:gd name="connsiteY828" fmla="*/ 6453621 h 6857997"/>
              <a:gd name="connsiteX829" fmla="*/ 1497123 w 12188817"/>
              <a:gd name="connsiteY829" fmla="*/ 6443995 h 6857997"/>
              <a:gd name="connsiteX830" fmla="*/ 1502076 w 12188817"/>
              <a:gd name="connsiteY830" fmla="*/ 6433078 h 6857997"/>
              <a:gd name="connsiteX831" fmla="*/ 1516448 w 12188817"/>
              <a:gd name="connsiteY831" fmla="*/ 6428858 h 6857997"/>
              <a:gd name="connsiteX832" fmla="*/ 1530854 w 12188817"/>
              <a:gd name="connsiteY832" fmla="*/ 6433672 h 6857997"/>
              <a:gd name="connsiteX833" fmla="*/ 1536818 w 12188817"/>
              <a:gd name="connsiteY833" fmla="*/ 6448462 h 6857997"/>
              <a:gd name="connsiteX834" fmla="*/ 1547492 w 12188817"/>
              <a:gd name="connsiteY834" fmla="*/ 6447485 h 6857997"/>
              <a:gd name="connsiteX835" fmla="*/ 1543341 w 12188817"/>
              <a:gd name="connsiteY835" fmla="*/ 6431230 h 6857997"/>
              <a:gd name="connsiteX836" fmla="*/ 1532458 w 12188817"/>
              <a:gd name="connsiteY836" fmla="*/ 6420626 h 6857997"/>
              <a:gd name="connsiteX837" fmla="*/ 1516099 w 12188817"/>
              <a:gd name="connsiteY837" fmla="*/ 6416929 h 6857997"/>
              <a:gd name="connsiteX838" fmla="*/ 999308 w 12188817"/>
              <a:gd name="connsiteY838" fmla="*/ 6416929 h 6857997"/>
              <a:gd name="connsiteX839" fmla="*/ 979197 w 12188817"/>
              <a:gd name="connsiteY839" fmla="*/ 6422897 h 6857997"/>
              <a:gd name="connsiteX840" fmla="*/ 964916 w 12188817"/>
              <a:gd name="connsiteY840" fmla="*/ 6440559 h 6857997"/>
              <a:gd name="connsiteX841" fmla="*/ 959644 w 12188817"/>
              <a:gd name="connsiteY841" fmla="*/ 6469146 h 6857997"/>
              <a:gd name="connsiteX842" fmla="*/ 964911 w 12188817"/>
              <a:gd name="connsiteY842" fmla="*/ 6498815 h 6857997"/>
              <a:gd name="connsiteX843" fmla="*/ 978445 w 12188817"/>
              <a:gd name="connsiteY843" fmla="*/ 6517070 h 6857997"/>
              <a:gd name="connsiteX844" fmla="*/ 998363 w 12188817"/>
              <a:gd name="connsiteY844" fmla="*/ 6522759 h 6857997"/>
              <a:gd name="connsiteX845" fmla="*/ 1020862 w 12188817"/>
              <a:gd name="connsiteY845" fmla="*/ 6514283 h 6857997"/>
              <a:gd name="connsiteX846" fmla="*/ 1033803 w 12188817"/>
              <a:gd name="connsiteY846" fmla="*/ 6488575 h 6857997"/>
              <a:gd name="connsiteX847" fmla="*/ 1022640 w 12188817"/>
              <a:gd name="connsiteY847" fmla="*/ 6485157 h 6857997"/>
              <a:gd name="connsiteX848" fmla="*/ 1013815 w 12188817"/>
              <a:gd name="connsiteY848" fmla="*/ 6504726 h 6857997"/>
              <a:gd name="connsiteX849" fmla="*/ 998154 w 12188817"/>
              <a:gd name="connsiteY849" fmla="*/ 6511179 h 6857997"/>
              <a:gd name="connsiteX850" fmla="*/ 978480 w 12188817"/>
              <a:gd name="connsiteY850" fmla="*/ 6500671 h 6857997"/>
              <a:gd name="connsiteX851" fmla="*/ 971086 w 12188817"/>
              <a:gd name="connsiteY851" fmla="*/ 6469145 h 6857997"/>
              <a:gd name="connsiteX852" fmla="*/ 974753 w 12188817"/>
              <a:gd name="connsiteY852" fmla="*/ 6446175 h 6857997"/>
              <a:gd name="connsiteX853" fmla="*/ 984568 w 12188817"/>
              <a:gd name="connsiteY853" fmla="*/ 6432804 h 6857997"/>
              <a:gd name="connsiteX854" fmla="*/ 999100 w 12188817"/>
              <a:gd name="connsiteY854" fmla="*/ 6428509 h 6857997"/>
              <a:gd name="connsiteX855" fmla="*/ 1021524 w 12188817"/>
              <a:gd name="connsiteY855" fmla="*/ 6449787 h 6857997"/>
              <a:gd name="connsiteX856" fmla="*/ 1032407 w 12188817"/>
              <a:gd name="connsiteY856" fmla="*/ 6446648 h 6857997"/>
              <a:gd name="connsiteX857" fmla="*/ 1020187 w 12188817"/>
              <a:gd name="connsiteY857" fmla="*/ 6424480 h 6857997"/>
              <a:gd name="connsiteX858" fmla="*/ 999308 w 12188817"/>
              <a:gd name="connsiteY858" fmla="*/ 6416929 h 6857997"/>
              <a:gd name="connsiteX859" fmla="*/ 10831505 w 12188817"/>
              <a:gd name="connsiteY859" fmla="*/ 6415084 h 6857997"/>
              <a:gd name="connsiteX860" fmla="*/ 10873860 w 12188817"/>
              <a:gd name="connsiteY860" fmla="*/ 6415084 h 6857997"/>
              <a:gd name="connsiteX861" fmla="*/ 10904530 w 12188817"/>
              <a:gd name="connsiteY861" fmla="*/ 6430343 h 6857997"/>
              <a:gd name="connsiteX862" fmla="*/ 10873860 w 12188817"/>
              <a:gd name="connsiteY862" fmla="*/ 6445247 h 6857997"/>
              <a:gd name="connsiteX863" fmla="*/ 10831505 w 12188817"/>
              <a:gd name="connsiteY863" fmla="*/ 6445247 h 6857997"/>
              <a:gd name="connsiteX864" fmla="*/ 11108524 w 12188817"/>
              <a:gd name="connsiteY864" fmla="*/ 6410322 h 6857997"/>
              <a:gd name="connsiteX865" fmla="*/ 11152180 w 12188817"/>
              <a:gd name="connsiteY865" fmla="*/ 6454961 h 6857997"/>
              <a:gd name="connsiteX866" fmla="*/ 11108524 w 12188817"/>
              <a:gd name="connsiteY866" fmla="*/ 6499222 h 6857997"/>
              <a:gd name="connsiteX867" fmla="*/ 11064867 w 12188817"/>
              <a:gd name="connsiteY867" fmla="*/ 6453827 h 6857997"/>
              <a:gd name="connsiteX868" fmla="*/ 11108524 w 12188817"/>
              <a:gd name="connsiteY868" fmla="*/ 6410322 h 6857997"/>
              <a:gd name="connsiteX869" fmla="*/ 11212505 w 12188817"/>
              <a:gd name="connsiteY869" fmla="*/ 6391272 h 6857997"/>
              <a:gd name="connsiteX870" fmla="*/ 11212505 w 12188817"/>
              <a:gd name="connsiteY870" fmla="*/ 6518272 h 6857997"/>
              <a:gd name="connsiteX871" fmla="*/ 11246059 w 12188817"/>
              <a:gd name="connsiteY871" fmla="*/ 6518272 h 6857997"/>
              <a:gd name="connsiteX872" fmla="*/ 11246059 w 12188817"/>
              <a:gd name="connsiteY872" fmla="*/ 6422083 h 6857997"/>
              <a:gd name="connsiteX873" fmla="*/ 11315692 w 12188817"/>
              <a:gd name="connsiteY873" fmla="*/ 6518272 h 6857997"/>
              <a:gd name="connsiteX874" fmla="*/ 11355380 w 12188817"/>
              <a:gd name="connsiteY874" fmla="*/ 6518272 h 6857997"/>
              <a:gd name="connsiteX875" fmla="*/ 11355380 w 12188817"/>
              <a:gd name="connsiteY875" fmla="*/ 6391272 h 6857997"/>
              <a:gd name="connsiteX876" fmla="*/ 11322187 w 12188817"/>
              <a:gd name="connsiteY876" fmla="*/ 6391272 h 6857997"/>
              <a:gd name="connsiteX877" fmla="*/ 11322187 w 12188817"/>
              <a:gd name="connsiteY877" fmla="*/ 6482577 h 6857997"/>
              <a:gd name="connsiteX878" fmla="*/ 11255800 w 12188817"/>
              <a:gd name="connsiteY878" fmla="*/ 6391272 h 6857997"/>
              <a:gd name="connsiteX879" fmla="*/ 10968030 w 12188817"/>
              <a:gd name="connsiteY879" fmla="*/ 6391272 h 6857997"/>
              <a:gd name="connsiteX880" fmla="*/ 10968030 w 12188817"/>
              <a:gd name="connsiteY880" fmla="*/ 6518272 h 6857997"/>
              <a:gd name="connsiteX881" fmla="*/ 11002955 w 12188817"/>
              <a:gd name="connsiteY881" fmla="*/ 6518272 h 6857997"/>
              <a:gd name="connsiteX882" fmla="*/ 11002955 w 12188817"/>
              <a:gd name="connsiteY882" fmla="*/ 6391272 h 6857997"/>
              <a:gd name="connsiteX883" fmla="*/ 10798167 w 12188817"/>
              <a:gd name="connsiteY883" fmla="*/ 6391272 h 6857997"/>
              <a:gd name="connsiteX884" fmla="*/ 10798167 w 12188817"/>
              <a:gd name="connsiteY884" fmla="*/ 6518272 h 6857997"/>
              <a:gd name="connsiteX885" fmla="*/ 10832210 w 12188817"/>
              <a:gd name="connsiteY885" fmla="*/ 6518272 h 6857997"/>
              <a:gd name="connsiteX886" fmla="*/ 10832210 w 12188817"/>
              <a:gd name="connsiteY886" fmla="*/ 6468299 h 6857997"/>
              <a:gd name="connsiteX887" fmla="*/ 10871986 w 12188817"/>
              <a:gd name="connsiteY887" fmla="*/ 6468299 h 6857997"/>
              <a:gd name="connsiteX888" fmla="*/ 10907462 w 12188817"/>
              <a:gd name="connsiteY888" fmla="*/ 6518272 h 6857997"/>
              <a:gd name="connsiteX889" fmla="*/ 10945805 w 12188817"/>
              <a:gd name="connsiteY889" fmla="*/ 6518272 h 6857997"/>
              <a:gd name="connsiteX890" fmla="*/ 10905670 w 12188817"/>
              <a:gd name="connsiteY890" fmla="*/ 6465293 h 6857997"/>
              <a:gd name="connsiteX891" fmla="*/ 10938280 w 12188817"/>
              <a:gd name="connsiteY891" fmla="*/ 6429598 h 6857997"/>
              <a:gd name="connsiteX892" fmla="*/ 10881661 w 12188817"/>
              <a:gd name="connsiteY892" fmla="*/ 6391272 h 6857997"/>
              <a:gd name="connsiteX893" fmla="*/ 10728317 w 12188817"/>
              <a:gd name="connsiteY893" fmla="*/ 6391272 h 6857997"/>
              <a:gd name="connsiteX894" fmla="*/ 10728317 w 12188817"/>
              <a:gd name="connsiteY894" fmla="*/ 6518272 h 6857997"/>
              <a:gd name="connsiteX895" fmla="*/ 10763242 w 12188817"/>
              <a:gd name="connsiteY895" fmla="*/ 6518272 h 6857997"/>
              <a:gd name="connsiteX896" fmla="*/ 10763242 w 12188817"/>
              <a:gd name="connsiteY896" fmla="*/ 6391272 h 6857997"/>
              <a:gd name="connsiteX897" fmla="*/ 10604321 w 12188817"/>
              <a:gd name="connsiteY897" fmla="*/ 6391272 h 6857997"/>
              <a:gd name="connsiteX898" fmla="*/ 10547342 w 12188817"/>
              <a:gd name="connsiteY898" fmla="*/ 6429973 h 6857997"/>
              <a:gd name="connsiteX899" fmla="*/ 10601436 w 12188817"/>
              <a:gd name="connsiteY899" fmla="*/ 6466420 h 6857997"/>
              <a:gd name="connsiteX900" fmla="*/ 10641466 w 12188817"/>
              <a:gd name="connsiteY900" fmla="*/ 6466420 h 6857997"/>
              <a:gd name="connsiteX901" fmla="*/ 10665628 w 12188817"/>
              <a:gd name="connsiteY901" fmla="*/ 6481074 h 6857997"/>
              <a:gd name="connsiteX902" fmla="*/ 10639302 w 12188817"/>
              <a:gd name="connsiteY902" fmla="*/ 6495352 h 6857997"/>
              <a:gd name="connsiteX903" fmla="*/ 10553833 w 12188817"/>
              <a:gd name="connsiteY903" fmla="*/ 6495352 h 6857997"/>
              <a:gd name="connsiteX904" fmla="*/ 10553833 w 12188817"/>
              <a:gd name="connsiteY904" fmla="*/ 6518272 h 6857997"/>
              <a:gd name="connsiteX905" fmla="*/ 10644711 w 12188817"/>
              <a:gd name="connsiteY905" fmla="*/ 6518272 h 6857997"/>
              <a:gd name="connsiteX906" fmla="*/ 10701330 w 12188817"/>
              <a:gd name="connsiteY906" fmla="*/ 6480323 h 6857997"/>
              <a:gd name="connsiteX907" fmla="*/ 10649760 w 12188817"/>
              <a:gd name="connsiteY907" fmla="*/ 6444252 h 6857997"/>
              <a:gd name="connsiteX908" fmla="*/ 10604321 w 12188817"/>
              <a:gd name="connsiteY908" fmla="*/ 6444252 h 6857997"/>
              <a:gd name="connsiteX909" fmla="*/ 10583044 w 12188817"/>
              <a:gd name="connsiteY909" fmla="*/ 6430349 h 6857997"/>
              <a:gd name="connsiteX910" fmla="*/ 10609009 w 12188817"/>
              <a:gd name="connsiteY910" fmla="*/ 6413817 h 6857997"/>
              <a:gd name="connsiteX911" fmla="*/ 10693396 w 12188817"/>
              <a:gd name="connsiteY911" fmla="*/ 6413817 h 6857997"/>
              <a:gd name="connsiteX912" fmla="*/ 10693396 w 12188817"/>
              <a:gd name="connsiteY912" fmla="*/ 6391272 h 6857997"/>
              <a:gd name="connsiteX913" fmla="*/ 10490061 w 12188817"/>
              <a:gd name="connsiteY913" fmla="*/ 6391272 h 6857997"/>
              <a:gd name="connsiteX914" fmla="*/ 10490061 w 12188817"/>
              <a:gd name="connsiteY914" fmla="*/ 6482682 h 6857997"/>
              <a:gd name="connsiteX915" fmla="*/ 10423841 w 12188817"/>
              <a:gd name="connsiteY915" fmla="*/ 6391647 h 6857997"/>
              <a:gd name="connsiteX916" fmla="*/ 10380655 w 12188817"/>
              <a:gd name="connsiteY916" fmla="*/ 6391647 h 6857997"/>
              <a:gd name="connsiteX917" fmla="*/ 10380655 w 12188817"/>
              <a:gd name="connsiteY917" fmla="*/ 6518272 h 6857997"/>
              <a:gd name="connsiteX918" fmla="*/ 10414124 w 12188817"/>
              <a:gd name="connsiteY918" fmla="*/ 6518272 h 6857997"/>
              <a:gd name="connsiteX919" fmla="*/ 10414124 w 12188817"/>
              <a:gd name="connsiteY919" fmla="*/ 6422367 h 6857997"/>
              <a:gd name="connsiteX920" fmla="*/ 10483942 w 12188817"/>
              <a:gd name="connsiteY920" fmla="*/ 6518272 h 6857997"/>
              <a:gd name="connsiteX921" fmla="*/ 10523170 w 12188817"/>
              <a:gd name="connsiteY921" fmla="*/ 6518272 h 6857997"/>
              <a:gd name="connsiteX922" fmla="*/ 10523530 w 12188817"/>
              <a:gd name="connsiteY922" fmla="*/ 6391272 h 6857997"/>
              <a:gd name="connsiteX923" fmla="*/ 10293755 w 12188817"/>
              <a:gd name="connsiteY923" fmla="*/ 6391272 h 6857997"/>
              <a:gd name="connsiteX924" fmla="*/ 10217142 w 12188817"/>
              <a:gd name="connsiteY924" fmla="*/ 6457027 h 6857997"/>
              <a:gd name="connsiteX925" fmla="*/ 10242077 w 12188817"/>
              <a:gd name="connsiteY925" fmla="*/ 6507000 h 6857997"/>
              <a:gd name="connsiteX926" fmla="*/ 10293032 w 12188817"/>
              <a:gd name="connsiteY926" fmla="*/ 6518272 h 6857997"/>
              <a:gd name="connsiteX927" fmla="*/ 10350492 w 12188817"/>
              <a:gd name="connsiteY927" fmla="*/ 6518272 h 6857997"/>
              <a:gd name="connsiteX928" fmla="*/ 10350492 w 12188817"/>
              <a:gd name="connsiteY928" fmla="*/ 6496104 h 6857997"/>
              <a:gd name="connsiteX929" fmla="*/ 10294478 w 12188817"/>
              <a:gd name="connsiteY929" fmla="*/ 6496104 h 6857997"/>
              <a:gd name="connsiteX930" fmla="*/ 10255810 w 12188817"/>
              <a:gd name="connsiteY930" fmla="*/ 6464917 h 6857997"/>
              <a:gd name="connsiteX931" fmla="*/ 10350492 w 12188817"/>
              <a:gd name="connsiteY931" fmla="*/ 6464917 h 6857997"/>
              <a:gd name="connsiteX932" fmla="*/ 10350492 w 12188817"/>
              <a:gd name="connsiteY932" fmla="*/ 6442749 h 6857997"/>
              <a:gd name="connsiteX933" fmla="*/ 10255810 w 12188817"/>
              <a:gd name="connsiteY933" fmla="*/ 6442749 h 6857997"/>
              <a:gd name="connsiteX934" fmla="*/ 10294478 w 12188817"/>
              <a:gd name="connsiteY934" fmla="*/ 6413441 h 6857997"/>
              <a:gd name="connsiteX935" fmla="*/ 10350492 w 12188817"/>
              <a:gd name="connsiteY935" fmla="*/ 6413441 h 6857997"/>
              <a:gd name="connsiteX936" fmla="*/ 10350492 w 12188817"/>
              <a:gd name="connsiteY936" fmla="*/ 6391272 h 6857997"/>
              <a:gd name="connsiteX937" fmla="*/ 10104126 w 12188817"/>
              <a:gd name="connsiteY937" fmla="*/ 6391272 h 6857997"/>
              <a:gd name="connsiteX938" fmla="*/ 10047280 w 12188817"/>
              <a:gd name="connsiteY938" fmla="*/ 6429973 h 6857997"/>
              <a:gd name="connsiteX939" fmla="*/ 10101248 w 12188817"/>
              <a:gd name="connsiteY939" fmla="*/ 6466420 h 6857997"/>
              <a:gd name="connsiteX940" fmla="*/ 10141184 w 12188817"/>
              <a:gd name="connsiteY940" fmla="*/ 6466420 h 6857997"/>
              <a:gd name="connsiteX941" fmla="*/ 10165649 w 12188817"/>
              <a:gd name="connsiteY941" fmla="*/ 6481074 h 6857997"/>
              <a:gd name="connsiteX942" fmla="*/ 10139025 w 12188817"/>
              <a:gd name="connsiteY942" fmla="*/ 6495352 h 6857997"/>
              <a:gd name="connsiteX943" fmla="*/ 10053756 w 12188817"/>
              <a:gd name="connsiteY943" fmla="*/ 6495352 h 6857997"/>
              <a:gd name="connsiteX944" fmla="*/ 10053756 w 12188817"/>
              <a:gd name="connsiteY944" fmla="*/ 6518272 h 6857997"/>
              <a:gd name="connsiteX945" fmla="*/ 10144422 w 12188817"/>
              <a:gd name="connsiteY945" fmla="*/ 6518272 h 6857997"/>
              <a:gd name="connsiteX946" fmla="*/ 10201268 w 12188817"/>
              <a:gd name="connsiteY946" fmla="*/ 6480323 h 6857997"/>
              <a:gd name="connsiteX947" fmla="*/ 10149459 w 12188817"/>
              <a:gd name="connsiteY947" fmla="*/ 6444252 h 6857997"/>
              <a:gd name="connsiteX948" fmla="*/ 10104486 w 12188817"/>
              <a:gd name="connsiteY948" fmla="*/ 6444252 h 6857997"/>
              <a:gd name="connsiteX949" fmla="*/ 10082899 w 12188817"/>
              <a:gd name="connsiteY949" fmla="*/ 6430349 h 6857997"/>
              <a:gd name="connsiteX950" fmla="*/ 10109163 w 12188817"/>
              <a:gd name="connsiteY950" fmla="*/ 6413817 h 6857997"/>
              <a:gd name="connsiteX951" fmla="*/ 10193353 w 12188817"/>
              <a:gd name="connsiteY951" fmla="*/ 6413817 h 6857997"/>
              <a:gd name="connsiteX952" fmla="*/ 10193353 w 12188817"/>
              <a:gd name="connsiteY952" fmla="*/ 6391272 h 6857997"/>
              <a:gd name="connsiteX953" fmla="*/ 11099976 w 12188817"/>
              <a:gd name="connsiteY953" fmla="*/ 6389684 h 6857997"/>
              <a:gd name="connsiteX954" fmla="*/ 11026767 w 12188817"/>
              <a:gd name="connsiteY954" fmla="*/ 6453474 h 6857997"/>
              <a:gd name="connsiteX955" fmla="*/ 11107910 w 12188817"/>
              <a:gd name="connsiteY955" fmla="*/ 6519859 h 6857997"/>
              <a:gd name="connsiteX956" fmla="*/ 11188692 w 12188817"/>
              <a:gd name="connsiteY956" fmla="*/ 6454586 h 6857997"/>
              <a:gd name="connsiteX957" fmla="*/ 11115844 w 12188817"/>
              <a:gd name="connsiteY957" fmla="*/ 6389684 h 6857997"/>
              <a:gd name="connsiteX958" fmla="*/ 0 w 12188817"/>
              <a:gd name="connsiteY958" fmla="*/ 0 h 6857997"/>
              <a:gd name="connsiteX959" fmla="*/ 12188817 w 12188817"/>
              <a:gd name="connsiteY959" fmla="*/ 0 h 6857997"/>
              <a:gd name="connsiteX960" fmla="*/ 12188817 w 12188817"/>
              <a:gd name="connsiteY960" fmla="*/ 3141660 h 6857997"/>
              <a:gd name="connsiteX961" fmla="*/ 6095993 w 12188817"/>
              <a:gd name="connsiteY961" fmla="*/ 3141660 h 6857997"/>
              <a:gd name="connsiteX962" fmla="*/ 6095993 w 12188817"/>
              <a:gd name="connsiteY962" fmla="*/ 6237284 h 6857997"/>
              <a:gd name="connsiteX963" fmla="*/ 12188817 w 12188817"/>
              <a:gd name="connsiteY963" fmla="*/ 6237284 h 6857997"/>
              <a:gd name="connsiteX964" fmla="*/ 12188817 w 12188817"/>
              <a:gd name="connsiteY964" fmla="*/ 6857997 h 6857997"/>
              <a:gd name="connsiteX965" fmla="*/ 0 w 12188817"/>
              <a:gd name="connsiteY965"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Lst>
            <a:rect l="l" t="t" r="r" b="b"/>
            <a:pathLst>
              <a:path w="12188817" h="6857997">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4" y="6483831"/>
                </a:moveTo>
                <a:lnTo>
                  <a:pt x="6291674" y="6488436"/>
                </a:lnTo>
                <a:cubicBezTo>
                  <a:pt x="6291674" y="6494528"/>
                  <a:pt x="6290930" y="6499168"/>
                  <a:pt x="6289442" y="6502354"/>
                </a:cubicBezTo>
                <a:cubicBezTo>
                  <a:pt x="6287953" y="6505539"/>
                  <a:pt x="6285709" y="6508086"/>
                  <a:pt x="6282709" y="6509993"/>
                </a:cubicBezTo>
                <a:cubicBezTo>
                  <a:pt x="6279710" y="6511900"/>
                  <a:pt x="6276373" y="6512853"/>
                  <a:pt x="6272698" y="6512853"/>
                </a:cubicBezTo>
                <a:cubicBezTo>
                  <a:pt x="6268838" y="6512853"/>
                  <a:pt x="6265815" y="6511795"/>
                  <a:pt x="6263629" y="6509679"/>
                </a:cubicBezTo>
                <a:cubicBezTo>
                  <a:pt x="6261443" y="6507563"/>
                  <a:pt x="6260350" y="6504737"/>
                  <a:pt x="6260350" y="6501203"/>
                </a:cubicBezTo>
                <a:cubicBezTo>
                  <a:pt x="6260350" y="6498924"/>
                  <a:pt x="6260827" y="6496912"/>
                  <a:pt x="6261780" y="6495168"/>
                </a:cubicBezTo>
                <a:cubicBezTo>
                  <a:pt x="6262734" y="6493424"/>
                  <a:pt x="6264071" y="6492075"/>
                  <a:pt x="6265792" y="6491122"/>
                </a:cubicBezTo>
                <a:cubicBezTo>
                  <a:pt x="6267513" y="6490168"/>
                  <a:pt x="6270536" y="6489320"/>
                  <a:pt x="6274861" y="6488575"/>
                </a:cubicBezTo>
                <a:cubicBezTo>
                  <a:pt x="6282302" y="6487273"/>
                  <a:pt x="6287907" y="6485692"/>
                  <a:pt x="6291674"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1" y="6455577"/>
                </a:moveTo>
                <a:cubicBezTo>
                  <a:pt x="6092407" y="6455577"/>
                  <a:pt x="6096616" y="6457880"/>
                  <a:pt x="6099918" y="6462484"/>
                </a:cubicBezTo>
                <a:cubicBezTo>
                  <a:pt x="6102197" y="6465647"/>
                  <a:pt x="6103569" y="6470437"/>
                  <a:pt x="6104034" y="6476855"/>
                </a:cubicBezTo>
                <a:lnTo>
                  <a:pt x="6070131" y="6476855"/>
                </a:lnTo>
                <a:cubicBezTo>
                  <a:pt x="6070456" y="6470344"/>
                  <a:pt x="6072247" y="6465170"/>
                  <a:pt x="6075502" y="6461333"/>
                </a:cubicBezTo>
                <a:cubicBezTo>
                  <a:pt x="6078757" y="6457496"/>
                  <a:pt x="6082689" y="6455577"/>
                  <a:pt x="6087291" y="6455577"/>
                </a:cubicBezTo>
                <a:close/>
                <a:moveTo>
                  <a:pt x="6018394" y="6455577"/>
                </a:moveTo>
                <a:cubicBezTo>
                  <a:pt x="6023280" y="6455577"/>
                  <a:pt x="6027331" y="6457961"/>
                  <a:pt x="6030544" y="6462728"/>
                </a:cubicBezTo>
                <a:cubicBezTo>
                  <a:pt x="6033753" y="6467495"/>
                  <a:pt x="6035357" y="6475065"/>
                  <a:pt x="6035357" y="6485436"/>
                </a:cubicBezTo>
                <a:cubicBezTo>
                  <a:pt x="6035357" y="6494459"/>
                  <a:pt x="6033753" y="6501203"/>
                  <a:pt x="6030544" y="6505667"/>
                </a:cubicBezTo>
                <a:cubicBezTo>
                  <a:pt x="6027331" y="6510132"/>
                  <a:pt x="6023537" y="6512365"/>
                  <a:pt x="6019162" y="6512365"/>
                </a:cubicBezTo>
                <a:cubicBezTo>
                  <a:pt x="6014741" y="6512365"/>
                  <a:pt x="6010868" y="6510039"/>
                  <a:pt x="6007540" y="6505388"/>
                </a:cubicBezTo>
                <a:cubicBezTo>
                  <a:pt x="6004213" y="6500737"/>
                  <a:pt x="6002550" y="6493622"/>
                  <a:pt x="6002550" y="6484041"/>
                </a:cubicBezTo>
                <a:cubicBezTo>
                  <a:pt x="6002550" y="6474227"/>
                  <a:pt x="6004108" y="6467030"/>
                  <a:pt x="6007226" y="6462449"/>
                </a:cubicBezTo>
                <a:cubicBezTo>
                  <a:pt x="6010344" y="6457868"/>
                  <a:pt x="6014066" y="6455577"/>
                  <a:pt x="6018394" y="6455577"/>
                </a:cubicBezTo>
                <a:close/>
                <a:moveTo>
                  <a:pt x="5829559" y="6455577"/>
                </a:moveTo>
                <a:cubicBezTo>
                  <a:pt x="5834722" y="6455577"/>
                  <a:pt x="5839048" y="6457917"/>
                  <a:pt x="5842534" y="6462597"/>
                </a:cubicBezTo>
                <a:cubicBezTo>
                  <a:pt x="5846022" y="6467277"/>
                  <a:pt x="5847769" y="6474390"/>
                  <a:pt x="5847769" y="6483936"/>
                </a:cubicBezTo>
                <a:cubicBezTo>
                  <a:pt x="5847769" y="6493436"/>
                  <a:pt x="5846035" y="6500548"/>
                  <a:pt x="5842571" y="6505275"/>
                </a:cubicBezTo>
                <a:cubicBezTo>
                  <a:pt x="5839105" y="6510001"/>
                  <a:pt x="5834955" y="6512365"/>
                  <a:pt x="5830117" y="6512365"/>
                </a:cubicBezTo>
                <a:cubicBezTo>
                  <a:pt x="5824956" y="6512365"/>
                  <a:pt x="5820628" y="6510025"/>
                  <a:pt x="5817141" y="6505345"/>
                </a:cubicBezTo>
                <a:cubicBezTo>
                  <a:pt x="5813654" y="6500665"/>
                  <a:pt x="5811909" y="6493529"/>
                  <a:pt x="5811909" y="6483936"/>
                </a:cubicBezTo>
                <a:cubicBezTo>
                  <a:pt x="5811909" y="6474437"/>
                  <a:pt x="5813630" y="6467335"/>
                  <a:pt x="5817070" y="6462632"/>
                </a:cubicBezTo>
                <a:cubicBezTo>
                  <a:pt x="5820513" y="6457929"/>
                  <a:pt x="5824676" y="6455577"/>
                  <a:pt x="5829559"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0" y="6446927"/>
                </a:moveTo>
                <a:lnTo>
                  <a:pt x="6224380" y="6521015"/>
                </a:lnTo>
                <a:lnTo>
                  <a:pt x="6234636" y="6521015"/>
                </a:lnTo>
                <a:lnTo>
                  <a:pt x="6234636" y="6446927"/>
                </a:lnTo>
                <a:close/>
                <a:moveTo>
                  <a:pt x="5967205" y="6446927"/>
                </a:moveTo>
                <a:lnTo>
                  <a:pt x="5967205" y="6521015"/>
                </a:lnTo>
                <a:lnTo>
                  <a:pt x="5977462" y="6521015"/>
                </a:lnTo>
                <a:lnTo>
                  <a:pt x="5977462"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68" y="6445252"/>
                </a:moveTo>
                <a:cubicBezTo>
                  <a:pt x="6270582" y="6445252"/>
                  <a:pt x="6264292" y="6447066"/>
                  <a:pt x="6259897" y="6450694"/>
                </a:cubicBezTo>
                <a:cubicBezTo>
                  <a:pt x="6255502" y="6454322"/>
                  <a:pt x="6252583" y="6460112"/>
                  <a:pt x="6251142" y="6468065"/>
                </a:cubicBezTo>
                <a:lnTo>
                  <a:pt x="6261257" y="6469739"/>
                </a:lnTo>
                <a:cubicBezTo>
                  <a:pt x="6262373" y="6464271"/>
                  <a:pt x="6264118" y="6460543"/>
                  <a:pt x="6266489" y="6458557"/>
                </a:cubicBezTo>
                <a:cubicBezTo>
                  <a:pt x="6268861" y="6456571"/>
                  <a:pt x="6272443" y="6455577"/>
                  <a:pt x="6277233" y="6455577"/>
                </a:cubicBezTo>
                <a:cubicBezTo>
                  <a:pt x="6282535" y="6455577"/>
                  <a:pt x="6286465" y="6457066"/>
                  <a:pt x="6289023" y="6460042"/>
                </a:cubicBezTo>
                <a:cubicBezTo>
                  <a:pt x="6290837" y="6462089"/>
                  <a:pt x="6291744" y="6465647"/>
                  <a:pt x="6291744" y="6470716"/>
                </a:cubicBezTo>
                <a:lnTo>
                  <a:pt x="6291674" y="6473925"/>
                </a:lnTo>
                <a:cubicBezTo>
                  <a:pt x="6287767" y="6475626"/>
                  <a:pt x="6281628" y="6477091"/>
                  <a:pt x="6273256" y="6478320"/>
                </a:cubicBezTo>
                <a:cubicBezTo>
                  <a:pt x="6267024" y="6479204"/>
                  <a:pt x="6262373" y="6480576"/>
                  <a:pt x="6259304" y="6482436"/>
                </a:cubicBezTo>
                <a:cubicBezTo>
                  <a:pt x="6256234" y="6484297"/>
                  <a:pt x="6253816" y="6486878"/>
                  <a:pt x="6252048" y="6490180"/>
                </a:cubicBezTo>
                <a:cubicBezTo>
                  <a:pt x="6250281" y="6493482"/>
                  <a:pt x="6249397" y="6497273"/>
                  <a:pt x="6249397" y="6501551"/>
                </a:cubicBezTo>
                <a:cubicBezTo>
                  <a:pt x="6249397" y="6508016"/>
                  <a:pt x="6251281" y="6513155"/>
                  <a:pt x="6255048" y="6516969"/>
                </a:cubicBezTo>
                <a:cubicBezTo>
                  <a:pt x="6258816" y="6520783"/>
                  <a:pt x="6263862" y="6522690"/>
                  <a:pt x="6270187" y="6522690"/>
                </a:cubicBezTo>
                <a:cubicBezTo>
                  <a:pt x="6274187" y="6522690"/>
                  <a:pt x="6278047" y="6521782"/>
                  <a:pt x="6281768" y="6519968"/>
                </a:cubicBezTo>
                <a:cubicBezTo>
                  <a:pt x="6285488" y="6518154"/>
                  <a:pt x="6289069" y="6515456"/>
                  <a:pt x="6292511" y="6511875"/>
                </a:cubicBezTo>
                <a:cubicBezTo>
                  <a:pt x="6292837" y="6515411"/>
                  <a:pt x="6293534" y="6518457"/>
                  <a:pt x="6294604" y="6521015"/>
                </a:cubicBezTo>
                <a:lnTo>
                  <a:pt x="6305348" y="6521015"/>
                </a:lnTo>
                <a:cubicBezTo>
                  <a:pt x="6304045" y="6518132"/>
                  <a:pt x="6303173" y="6515167"/>
                  <a:pt x="6302731" y="6512120"/>
                </a:cubicBezTo>
                <a:cubicBezTo>
                  <a:pt x="6302290" y="6509074"/>
                  <a:pt x="6302069" y="6501691"/>
                  <a:pt x="6302069" y="6489971"/>
                </a:cubicBezTo>
                <a:lnTo>
                  <a:pt x="6302069" y="6473227"/>
                </a:lnTo>
                <a:cubicBezTo>
                  <a:pt x="6302069" y="6466437"/>
                  <a:pt x="6301592" y="6461275"/>
                  <a:pt x="6300639" y="6457740"/>
                </a:cubicBezTo>
                <a:cubicBezTo>
                  <a:pt x="6299685" y="6454205"/>
                  <a:pt x="6297395" y="6451240"/>
                  <a:pt x="6293767" y="6448845"/>
                </a:cubicBezTo>
                <a:cubicBezTo>
                  <a:pt x="6290139" y="6446450"/>
                  <a:pt x="6285139" y="6445252"/>
                  <a:pt x="6278768" y="6445252"/>
                </a:cubicBezTo>
                <a:close/>
                <a:moveTo>
                  <a:pt x="6157700" y="6445252"/>
                </a:moveTo>
                <a:cubicBezTo>
                  <a:pt x="6153521" y="6445252"/>
                  <a:pt x="6149818" y="6446258"/>
                  <a:pt x="6146592" y="6448270"/>
                </a:cubicBezTo>
                <a:cubicBezTo>
                  <a:pt x="6143365" y="6450282"/>
                  <a:pt x="6140638" y="6453323"/>
                  <a:pt x="6138409" y="6457392"/>
                </a:cubicBezTo>
                <a:lnTo>
                  <a:pt x="6138409" y="6446927"/>
                </a:lnTo>
                <a:lnTo>
                  <a:pt x="6129130" y="6446927"/>
                </a:lnTo>
                <a:lnTo>
                  <a:pt x="6129130" y="6521015"/>
                </a:lnTo>
                <a:lnTo>
                  <a:pt x="6139386" y="6521015"/>
                </a:lnTo>
                <a:lnTo>
                  <a:pt x="6139386" y="6480509"/>
                </a:lnTo>
                <a:cubicBezTo>
                  <a:pt x="6139386" y="6471570"/>
                  <a:pt x="6140851" y="6465261"/>
                  <a:pt x="6143781" y="6461583"/>
                </a:cubicBezTo>
                <a:cubicBezTo>
                  <a:pt x="6146711" y="6457905"/>
                  <a:pt x="6150641" y="6456066"/>
                  <a:pt x="6155571" y="6456066"/>
                </a:cubicBezTo>
                <a:cubicBezTo>
                  <a:pt x="6158175" y="6456066"/>
                  <a:pt x="6160466" y="6456752"/>
                  <a:pt x="6162442" y="6458126"/>
                </a:cubicBezTo>
                <a:cubicBezTo>
                  <a:pt x="6164419" y="6459499"/>
                  <a:pt x="6165872" y="6461443"/>
                  <a:pt x="6166803" y="6463957"/>
                </a:cubicBezTo>
                <a:cubicBezTo>
                  <a:pt x="6167733" y="6466471"/>
                  <a:pt x="6168198" y="6470452"/>
                  <a:pt x="6168198" y="6475900"/>
                </a:cubicBezTo>
                <a:lnTo>
                  <a:pt x="6168198" y="6521015"/>
                </a:lnTo>
                <a:lnTo>
                  <a:pt x="6178453" y="6521015"/>
                </a:lnTo>
                <a:lnTo>
                  <a:pt x="6178453" y="6475460"/>
                </a:lnTo>
                <a:cubicBezTo>
                  <a:pt x="6178453" y="6468623"/>
                  <a:pt x="6178035" y="6463554"/>
                  <a:pt x="6177199" y="6460252"/>
                </a:cubicBezTo>
                <a:cubicBezTo>
                  <a:pt x="6176364" y="6456949"/>
                  <a:pt x="6175099" y="6454264"/>
                  <a:pt x="6173404" y="6452194"/>
                </a:cubicBezTo>
                <a:cubicBezTo>
                  <a:pt x="6171709" y="6450124"/>
                  <a:pt x="6169481" y="6448450"/>
                  <a:pt x="6166718" y="6447171"/>
                </a:cubicBezTo>
                <a:cubicBezTo>
                  <a:pt x="6163956" y="6445892"/>
                  <a:pt x="6160949" y="6445252"/>
                  <a:pt x="6157700" y="6445252"/>
                </a:cubicBezTo>
                <a:close/>
                <a:moveTo>
                  <a:pt x="6087364" y="6445252"/>
                </a:moveTo>
                <a:cubicBezTo>
                  <a:pt x="6079131" y="6445252"/>
                  <a:pt x="6072328" y="6448613"/>
                  <a:pt x="6066956" y="6455333"/>
                </a:cubicBezTo>
                <a:cubicBezTo>
                  <a:pt x="6061584" y="6462054"/>
                  <a:pt x="6058897" y="6471809"/>
                  <a:pt x="6058897" y="6484599"/>
                </a:cubicBezTo>
                <a:cubicBezTo>
                  <a:pt x="6058897" y="6496924"/>
                  <a:pt x="6061560" y="6506353"/>
                  <a:pt x="6066885" y="6512888"/>
                </a:cubicBezTo>
                <a:cubicBezTo>
                  <a:pt x="6072212" y="6519422"/>
                  <a:pt x="6079175" y="6522690"/>
                  <a:pt x="6087781" y="6522690"/>
                </a:cubicBezTo>
                <a:cubicBezTo>
                  <a:pt x="6094617" y="6522690"/>
                  <a:pt x="6100348" y="6520678"/>
                  <a:pt x="6104976" y="6516655"/>
                </a:cubicBezTo>
                <a:cubicBezTo>
                  <a:pt x="6109604" y="6512632"/>
                  <a:pt x="6112801" y="6506667"/>
                  <a:pt x="6114569" y="6498761"/>
                </a:cubicBezTo>
                <a:lnTo>
                  <a:pt x="6103965" y="6497156"/>
                </a:lnTo>
                <a:cubicBezTo>
                  <a:pt x="6100941" y="6507295"/>
                  <a:pt x="6095570" y="6512365"/>
                  <a:pt x="6087849" y="6512365"/>
                </a:cubicBezTo>
                <a:cubicBezTo>
                  <a:pt x="6082919" y="6512365"/>
                  <a:pt x="6078734" y="6510248"/>
                  <a:pt x="6075292" y="6506016"/>
                </a:cubicBezTo>
                <a:cubicBezTo>
                  <a:pt x="6071853" y="6501784"/>
                  <a:pt x="6069920" y="6495505"/>
                  <a:pt x="6069506" y="6487180"/>
                </a:cubicBezTo>
                <a:lnTo>
                  <a:pt x="6114848" y="6487180"/>
                </a:lnTo>
                <a:lnTo>
                  <a:pt x="6114917" y="6483831"/>
                </a:lnTo>
                <a:cubicBezTo>
                  <a:pt x="6114917" y="6471321"/>
                  <a:pt x="6112290" y="6461763"/>
                  <a:pt x="6107034" y="6455159"/>
                </a:cubicBezTo>
                <a:cubicBezTo>
                  <a:pt x="6101779" y="6448555"/>
                  <a:pt x="6095221" y="6445252"/>
                  <a:pt x="6087364" y="6445252"/>
                </a:cubicBezTo>
                <a:close/>
                <a:moveTo>
                  <a:pt x="5900526" y="6445252"/>
                </a:moveTo>
                <a:cubicBezTo>
                  <a:pt x="5896346" y="6445252"/>
                  <a:pt x="5892645" y="6446258"/>
                  <a:pt x="5889417" y="6448270"/>
                </a:cubicBezTo>
                <a:cubicBezTo>
                  <a:pt x="5886191" y="6450282"/>
                  <a:pt x="5883465" y="6453323"/>
                  <a:pt x="5881235" y="6457392"/>
                </a:cubicBezTo>
                <a:lnTo>
                  <a:pt x="5881235" y="6446927"/>
                </a:lnTo>
                <a:lnTo>
                  <a:pt x="5871957" y="6446927"/>
                </a:lnTo>
                <a:lnTo>
                  <a:pt x="5871957" y="6521015"/>
                </a:lnTo>
                <a:lnTo>
                  <a:pt x="5882211" y="6521015"/>
                </a:lnTo>
                <a:lnTo>
                  <a:pt x="5882211" y="6480509"/>
                </a:lnTo>
                <a:cubicBezTo>
                  <a:pt x="5882211" y="6471570"/>
                  <a:pt x="5883676" y="6465261"/>
                  <a:pt x="5886607" y="6461583"/>
                </a:cubicBezTo>
                <a:cubicBezTo>
                  <a:pt x="5889538" y="6457905"/>
                  <a:pt x="5893467" y="6456066"/>
                  <a:pt x="5898396" y="6456066"/>
                </a:cubicBezTo>
                <a:cubicBezTo>
                  <a:pt x="5901002" y="6456066"/>
                  <a:pt x="5903292" y="6456752"/>
                  <a:pt x="5905268" y="6458126"/>
                </a:cubicBezTo>
                <a:cubicBezTo>
                  <a:pt x="5907246" y="6459499"/>
                  <a:pt x="5908697" y="6461443"/>
                  <a:pt x="5909630" y="6463957"/>
                </a:cubicBezTo>
                <a:cubicBezTo>
                  <a:pt x="5910559" y="6466471"/>
                  <a:pt x="5911024" y="6470452"/>
                  <a:pt x="5911024" y="6475900"/>
                </a:cubicBezTo>
                <a:lnTo>
                  <a:pt x="5911024" y="6521015"/>
                </a:lnTo>
                <a:lnTo>
                  <a:pt x="5921278" y="6521015"/>
                </a:lnTo>
                <a:lnTo>
                  <a:pt x="5921278" y="6475460"/>
                </a:lnTo>
                <a:cubicBezTo>
                  <a:pt x="5921278" y="6468623"/>
                  <a:pt x="5920860" y="6463554"/>
                  <a:pt x="5920026" y="6460252"/>
                </a:cubicBezTo>
                <a:cubicBezTo>
                  <a:pt x="5919190" y="6456949"/>
                  <a:pt x="5917925" y="6454264"/>
                  <a:pt x="5916230" y="6452194"/>
                </a:cubicBezTo>
                <a:cubicBezTo>
                  <a:pt x="5914534" y="6450124"/>
                  <a:pt x="5912308" y="6448450"/>
                  <a:pt x="5909545" y="6447171"/>
                </a:cubicBezTo>
                <a:cubicBezTo>
                  <a:pt x="5906782" y="6445892"/>
                  <a:pt x="5903776" y="6445252"/>
                  <a:pt x="5900526" y="6445252"/>
                </a:cubicBezTo>
                <a:close/>
                <a:moveTo>
                  <a:pt x="5829838" y="6445252"/>
                </a:moveTo>
                <a:cubicBezTo>
                  <a:pt x="5821607" y="6445252"/>
                  <a:pt x="5814804" y="6448508"/>
                  <a:pt x="5809432" y="6455019"/>
                </a:cubicBezTo>
                <a:cubicBezTo>
                  <a:pt x="5804061" y="6461531"/>
                  <a:pt x="5801375" y="6471181"/>
                  <a:pt x="5801375" y="6483971"/>
                </a:cubicBezTo>
                <a:cubicBezTo>
                  <a:pt x="5801375" y="6496714"/>
                  <a:pt x="5804085" y="6506353"/>
                  <a:pt x="5809502" y="6512888"/>
                </a:cubicBezTo>
                <a:cubicBezTo>
                  <a:pt x="5814920" y="6519422"/>
                  <a:pt x="5821700" y="6522690"/>
                  <a:pt x="5829838" y="6522690"/>
                </a:cubicBezTo>
                <a:cubicBezTo>
                  <a:pt x="5838116" y="6522690"/>
                  <a:pt x="5844931" y="6519434"/>
                  <a:pt x="5850280" y="6512923"/>
                </a:cubicBezTo>
                <a:cubicBezTo>
                  <a:pt x="5855626" y="6506411"/>
                  <a:pt x="5858301" y="6496505"/>
                  <a:pt x="5858301" y="6483204"/>
                </a:cubicBezTo>
                <a:cubicBezTo>
                  <a:pt x="5858301" y="6470925"/>
                  <a:pt x="5855581" y="6461531"/>
                  <a:pt x="5850139" y="6455019"/>
                </a:cubicBezTo>
                <a:cubicBezTo>
                  <a:pt x="5844697" y="6448508"/>
                  <a:pt x="5837931" y="6445252"/>
                  <a:pt x="5829838"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3" y="6421045"/>
                </a:moveTo>
                <a:lnTo>
                  <a:pt x="6198038" y="6428579"/>
                </a:lnTo>
                <a:lnTo>
                  <a:pt x="6198038" y="6446927"/>
                </a:lnTo>
                <a:lnTo>
                  <a:pt x="6190503" y="6446927"/>
                </a:lnTo>
                <a:lnTo>
                  <a:pt x="6190503" y="6456694"/>
                </a:lnTo>
                <a:lnTo>
                  <a:pt x="6198038" y="6456694"/>
                </a:lnTo>
                <a:lnTo>
                  <a:pt x="6198038" y="6499319"/>
                </a:lnTo>
                <a:cubicBezTo>
                  <a:pt x="6198038" y="6506667"/>
                  <a:pt x="6198445" y="6511574"/>
                  <a:pt x="6199259" y="6514039"/>
                </a:cubicBezTo>
                <a:cubicBezTo>
                  <a:pt x="6200073" y="6516504"/>
                  <a:pt x="6201573" y="6518446"/>
                  <a:pt x="6203758" y="6519864"/>
                </a:cubicBezTo>
                <a:cubicBezTo>
                  <a:pt x="6205944" y="6521283"/>
                  <a:pt x="6208828" y="6521992"/>
                  <a:pt x="6212409" y="6521992"/>
                </a:cubicBezTo>
                <a:cubicBezTo>
                  <a:pt x="6214688" y="6521992"/>
                  <a:pt x="6217246" y="6521620"/>
                  <a:pt x="6220083" y="6520876"/>
                </a:cubicBezTo>
                <a:lnTo>
                  <a:pt x="6218688" y="6509783"/>
                </a:lnTo>
                <a:cubicBezTo>
                  <a:pt x="6216827" y="6510109"/>
                  <a:pt x="6215316" y="6510272"/>
                  <a:pt x="6214153" y="6510272"/>
                </a:cubicBezTo>
                <a:cubicBezTo>
                  <a:pt x="6211735" y="6510272"/>
                  <a:pt x="6210084" y="6509435"/>
                  <a:pt x="6209200" y="6507760"/>
                </a:cubicBezTo>
                <a:cubicBezTo>
                  <a:pt x="6208595" y="6506598"/>
                  <a:pt x="6208293" y="6504016"/>
                  <a:pt x="6208293" y="6500017"/>
                </a:cubicBezTo>
                <a:lnTo>
                  <a:pt x="6208293" y="6456694"/>
                </a:lnTo>
                <a:lnTo>
                  <a:pt x="6218688" y="6456694"/>
                </a:lnTo>
                <a:lnTo>
                  <a:pt x="6218688" y="6446927"/>
                </a:lnTo>
                <a:lnTo>
                  <a:pt x="6208293"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2" y="6418742"/>
                </a:moveTo>
                <a:lnTo>
                  <a:pt x="6319282" y="6521015"/>
                </a:lnTo>
                <a:lnTo>
                  <a:pt x="6329537" y="6521015"/>
                </a:lnTo>
                <a:lnTo>
                  <a:pt x="6329537" y="6418742"/>
                </a:lnTo>
                <a:close/>
                <a:moveTo>
                  <a:pt x="6224380" y="6418742"/>
                </a:moveTo>
                <a:lnTo>
                  <a:pt x="6224380" y="6433183"/>
                </a:lnTo>
                <a:lnTo>
                  <a:pt x="6234636" y="6433183"/>
                </a:lnTo>
                <a:lnTo>
                  <a:pt x="6234636" y="6418742"/>
                </a:lnTo>
                <a:close/>
                <a:moveTo>
                  <a:pt x="6034361" y="6418742"/>
                </a:moveTo>
                <a:lnTo>
                  <a:pt x="6034361" y="6455438"/>
                </a:lnTo>
                <a:cubicBezTo>
                  <a:pt x="6032457" y="6452229"/>
                  <a:pt x="6030052" y="6449729"/>
                  <a:pt x="6027152" y="6447938"/>
                </a:cubicBezTo>
                <a:cubicBezTo>
                  <a:pt x="6024249" y="6446148"/>
                  <a:pt x="6021105" y="6445252"/>
                  <a:pt x="6017716" y="6445252"/>
                </a:cubicBezTo>
                <a:cubicBezTo>
                  <a:pt x="6012977" y="6445252"/>
                  <a:pt x="6008671" y="6446671"/>
                  <a:pt x="6004794" y="6449508"/>
                </a:cubicBezTo>
                <a:cubicBezTo>
                  <a:pt x="6000918" y="6452345"/>
                  <a:pt x="5997817" y="6456694"/>
                  <a:pt x="5995495" y="6462554"/>
                </a:cubicBezTo>
                <a:cubicBezTo>
                  <a:pt x="5993174" y="6468414"/>
                  <a:pt x="5992013" y="6475553"/>
                  <a:pt x="5992013" y="6483971"/>
                </a:cubicBezTo>
                <a:cubicBezTo>
                  <a:pt x="5992013" y="6496249"/>
                  <a:pt x="5994629" y="6505772"/>
                  <a:pt x="5999862" y="6512539"/>
                </a:cubicBezTo>
                <a:cubicBezTo>
                  <a:pt x="6005094" y="6519306"/>
                  <a:pt x="6011292" y="6522690"/>
                  <a:pt x="6018454" y="6522690"/>
                </a:cubicBezTo>
                <a:cubicBezTo>
                  <a:pt x="6021849" y="6522690"/>
                  <a:pt x="6025011" y="6521748"/>
                  <a:pt x="6027944" y="6519864"/>
                </a:cubicBezTo>
                <a:cubicBezTo>
                  <a:pt x="6030873" y="6517981"/>
                  <a:pt x="6033267" y="6515248"/>
                  <a:pt x="6035129" y="6511667"/>
                </a:cubicBezTo>
                <a:lnTo>
                  <a:pt x="6035129" y="6521015"/>
                </a:lnTo>
                <a:lnTo>
                  <a:pt x="6044755" y="6521015"/>
                </a:lnTo>
                <a:lnTo>
                  <a:pt x="6044755"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0" y="6416998"/>
                </a:moveTo>
                <a:cubicBezTo>
                  <a:pt x="5954503" y="6416998"/>
                  <a:pt x="5951367" y="6417766"/>
                  <a:pt x="5948872" y="6419301"/>
                </a:cubicBezTo>
                <a:cubicBezTo>
                  <a:pt x="5946376" y="6420835"/>
                  <a:pt x="5944524" y="6423056"/>
                  <a:pt x="5943312" y="6425963"/>
                </a:cubicBezTo>
                <a:cubicBezTo>
                  <a:pt x="5942098" y="6428870"/>
                  <a:pt x="5941493" y="6433230"/>
                  <a:pt x="5941493" y="6439044"/>
                </a:cubicBezTo>
                <a:lnTo>
                  <a:pt x="5941493" y="6446927"/>
                </a:lnTo>
                <a:lnTo>
                  <a:pt x="5932354" y="6446927"/>
                </a:lnTo>
                <a:lnTo>
                  <a:pt x="5932354" y="6456694"/>
                </a:lnTo>
                <a:lnTo>
                  <a:pt x="5941493" y="6456694"/>
                </a:lnTo>
                <a:lnTo>
                  <a:pt x="5941493" y="6521015"/>
                </a:lnTo>
                <a:lnTo>
                  <a:pt x="5951746" y="6521015"/>
                </a:lnTo>
                <a:lnTo>
                  <a:pt x="5951746" y="6456694"/>
                </a:lnTo>
                <a:lnTo>
                  <a:pt x="5963606" y="6456694"/>
                </a:lnTo>
                <a:lnTo>
                  <a:pt x="5963606" y="6446927"/>
                </a:lnTo>
                <a:lnTo>
                  <a:pt x="5951746" y="6446927"/>
                </a:lnTo>
                <a:lnTo>
                  <a:pt x="5951746" y="6440090"/>
                </a:lnTo>
                <a:cubicBezTo>
                  <a:pt x="5951746" y="6435579"/>
                  <a:pt x="5952412" y="6432521"/>
                  <a:pt x="5953734" y="6430916"/>
                </a:cubicBezTo>
                <a:cubicBezTo>
                  <a:pt x="5955060" y="6429312"/>
                  <a:pt x="5957262" y="6428509"/>
                  <a:pt x="5960327" y="6428509"/>
                </a:cubicBezTo>
                <a:cubicBezTo>
                  <a:pt x="5962235" y="6428509"/>
                  <a:pt x="5964257" y="6428742"/>
                  <a:pt x="5966397" y="6429207"/>
                </a:cubicBezTo>
                <a:lnTo>
                  <a:pt x="5967205" y="6423469"/>
                </a:lnTo>
                <a:lnTo>
                  <a:pt x="5967205" y="6433183"/>
                </a:lnTo>
                <a:lnTo>
                  <a:pt x="5977462" y="6433183"/>
                </a:lnTo>
                <a:lnTo>
                  <a:pt x="5977462" y="6418742"/>
                </a:lnTo>
                <a:lnTo>
                  <a:pt x="5967872" y="6418742"/>
                </a:lnTo>
                <a:lnTo>
                  <a:pt x="5967932" y="6418324"/>
                </a:lnTo>
                <a:cubicBezTo>
                  <a:pt x="5964433" y="6417440"/>
                  <a:pt x="5961216" y="6416998"/>
                  <a:pt x="5958280"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1" y="6418918"/>
                  <a:pt x="5737086" y="6422897"/>
                </a:cubicBezTo>
                <a:cubicBezTo>
                  <a:pt x="5731080" y="6426876"/>
                  <a:pt x="5726321" y="6432763"/>
                  <a:pt x="5722805" y="6440559"/>
                </a:cubicBezTo>
                <a:cubicBezTo>
                  <a:pt x="5719290" y="6448354"/>
                  <a:pt x="5717534" y="6457883"/>
                  <a:pt x="5717534" y="6469146"/>
                </a:cubicBezTo>
                <a:cubicBezTo>
                  <a:pt x="5717534" y="6480548"/>
                  <a:pt x="5719288" y="6490438"/>
                  <a:pt x="5722800" y="6498815"/>
                </a:cubicBezTo>
                <a:cubicBezTo>
                  <a:pt x="5726311" y="6507192"/>
                  <a:pt x="5730823" y="6513277"/>
                  <a:pt x="5736335" y="6517070"/>
                </a:cubicBezTo>
                <a:cubicBezTo>
                  <a:pt x="5741846" y="6520863"/>
                  <a:pt x="5748485" y="6522759"/>
                  <a:pt x="5756252" y="6522759"/>
                </a:cubicBezTo>
                <a:cubicBezTo>
                  <a:pt x="5765089" y="6522759"/>
                  <a:pt x="5772589" y="6519934"/>
                  <a:pt x="5778751" y="6514283"/>
                </a:cubicBezTo>
                <a:cubicBezTo>
                  <a:pt x="5784913" y="6508632"/>
                  <a:pt x="5789228" y="6500063"/>
                  <a:pt x="5791691" y="6488575"/>
                </a:cubicBezTo>
                <a:lnTo>
                  <a:pt x="5780529" y="6485157"/>
                </a:lnTo>
                <a:cubicBezTo>
                  <a:pt x="5779041" y="6493901"/>
                  <a:pt x="5776099" y="6500423"/>
                  <a:pt x="5771703" y="6504726"/>
                </a:cubicBezTo>
                <a:cubicBezTo>
                  <a:pt x="5767310" y="6509028"/>
                  <a:pt x="5762088" y="6511179"/>
                  <a:pt x="5756044" y="6511179"/>
                </a:cubicBezTo>
                <a:cubicBezTo>
                  <a:pt x="5747857" y="6511179"/>
                  <a:pt x="5741300" y="6507676"/>
                  <a:pt x="5736369" y="6500671"/>
                </a:cubicBezTo>
                <a:cubicBezTo>
                  <a:pt x="5731440" y="6493665"/>
                  <a:pt x="5728974" y="6483157"/>
                  <a:pt x="5728974" y="6469145"/>
                </a:cubicBezTo>
                <a:cubicBezTo>
                  <a:pt x="5728974" y="6459883"/>
                  <a:pt x="5730197" y="6452226"/>
                  <a:pt x="5732644" y="6446175"/>
                </a:cubicBezTo>
                <a:cubicBezTo>
                  <a:pt x="5735088" y="6440123"/>
                  <a:pt x="5738360" y="6435666"/>
                  <a:pt x="5742457" y="6432804"/>
                </a:cubicBezTo>
                <a:cubicBezTo>
                  <a:pt x="5746556" y="6429941"/>
                  <a:pt x="5751400" y="6428509"/>
                  <a:pt x="5756988" y="6428509"/>
                </a:cubicBezTo>
                <a:cubicBezTo>
                  <a:pt x="5768213" y="6428509"/>
                  <a:pt x="5775687" y="6435602"/>
                  <a:pt x="5779412" y="6449787"/>
                </a:cubicBezTo>
                <a:lnTo>
                  <a:pt x="5790296" y="6446648"/>
                </a:lnTo>
                <a:cubicBezTo>
                  <a:pt x="5787968" y="6436903"/>
                  <a:pt x="5783895" y="6429514"/>
                  <a:pt x="5778076" y="6424480"/>
                </a:cubicBezTo>
                <a:cubicBezTo>
                  <a:pt x="5772257" y="6419446"/>
                  <a:pt x="5765297"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5" y="6415084"/>
                </a:moveTo>
                <a:lnTo>
                  <a:pt x="10873860" y="6415084"/>
                </a:lnTo>
                <a:cubicBezTo>
                  <a:pt x="10894306" y="6415084"/>
                  <a:pt x="10904530" y="6417923"/>
                  <a:pt x="10904530" y="6430343"/>
                </a:cubicBezTo>
                <a:cubicBezTo>
                  <a:pt x="10904530" y="6442408"/>
                  <a:pt x="10894306" y="6445247"/>
                  <a:pt x="10873860" y="6445247"/>
                </a:cubicBezTo>
                <a:lnTo>
                  <a:pt x="10831505" y="6445247"/>
                </a:lnTo>
                <a:close/>
                <a:moveTo>
                  <a:pt x="11108524" y="6410322"/>
                </a:moveTo>
                <a:cubicBezTo>
                  <a:pt x="11138470" y="6410322"/>
                  <a:pt x="11152180" y="6424698"/>
                  <a:pt x="11152180" y="6454961"/>
                </a:cubicBezTo>
                <a:cubicBezTo>
                  <a:pt x="11152180" y="6484847"/>
                  <a:pt x="11138470" y="6499222"/>
                  <a:pt x="11108524" y="6499222"/>
                </a:cubicBezTo>
                <a:cubicBezTo>
                  <a:pt x="11077856" y="6499222"/>
                  <a:pt x="11064867" y="6484847"/>
                  <a:pt x="11064867" y="6453827"/>
                </a:cubicBezTo>
                <a:cubicBezTo>
                  <a:pt x="11064867" y="6424698"/>
                  <a:pt x="11078938" y="6410322"/>
                  <a:pt x="11108524" y="6410322"/>
                </a:cubicBezTo>
                <a:close/>
                <a:moveTo>
                  <a:pt x="11212505" y="6391272"/>
                </a:moveTo>
                <a:lnTo>
                  <a:pt x="11212505" y="6518272"/>
                </a:lnTo>
                <a:lnTo>
                  <a:pt x="11246059" y="6518272"/>
                </a:lnTo>
                <a:lnTo>
                  <a:pt x="11246059" y="6422083"/>
                </a:lnTo>
                <a:lnTo>
                  <a:pt x="11315692" y="6518272"/>
                </a:lnTo>
                <a:lnTo>
                  <a:pt x="11355380" y="6518272"/>
                </a:lnTo>
                <a:lnTo>
                  <a:pt x="11355380" y="6391272"/>
                </a:lnTo>
                <a:lnTo>
                  <a:pt x="11322187" y="6391272"/>
                </a:lnTo>
                <a:lnTo>
                  <a:pt x="11322187" y="6482577"/>
                </a:lnTo>
                <a:lnTo>
                  <a:pt x="11255800" y="6391272"/>
                </a:lnTo>
                <a:close/>
                <a:moveTo>
                  <a:pt x="10968030" y="6391272"/>
                </a:moveTo>
                <a:lnTo>
                  <a:pt x="10968030" y="6518272"/>
                </a:lnTo>
                <a:lnTo>
                  <a:pt x="11002955" y="6518272"/>
                </a:lnTo>
                <a:lnTo>
                  <a:pt x="11002955" y="6391272"/>
                </a:lnTo>
                <a:close/>
                <a:moveTo>
                  <a:pt x="10798167" y="6391272"/>
                </a:moveTo>
                <a:lnTo>
                  <a:pt x="10798167" y="6518272"/>
                </a:lnTo>
                <a:lnTo>
                  <a:pt x="10832210" y="6518272"/>
                </a:lnTo>
                <a:lnTo>
                  <a:pt x="10832210" y="6468299"/>
                </a:lnTo>
                <a:lnTo>
                  <a:pt x="10871986" y="6468299"/>
                </a:lnTo>
                <a:lnTo>
                  <a:pt x="10907462" y="6518272"/>
                </a:lnTo>
                <a:lnTo>
                  <a:pt x="10945805" y="6518272"/>
                </a:lnTo>
                <a:lnTo>
                  <a:pt x="10905670" y="6465293"/>
                </a:lnTo>
                <a:cubicBezTo>
                  <a:pt x="10926454" y="6461536"/>
                  <a:pt x="10938280" y="6449136"/>
                  <a:pt x="10938280" y="6429598"/>
                </a:cubicBezTo>
                <a:cubicBezTo>
                  <a:pt x="10938280" y="6402920"/>
                  <a:pt x="10920004" y="6391272"/>
                  <a:pt x="10881661" y="6391272"/>
                </a:cubicBezTo>
                <a:close/>
                <a:moveTo>
                  <a:pt x="10728317" y="6391272"/>
                </a:moveTo>
                <a:lnTo>
                  <a:pt x="10728317" y="6518272"/>
                </a:lnTo>
                <a:lnTo>
                  <a:pt x="10763242" y="6518272"/>
                </a:lnTo>
                <a:lnTo>
                  <a:pt x="10763242" y="6391272"/>
                </a:lnTo>
                <a:close/>
                <a:moveTo>
                  <a:pt x="10604321" y="6391272"/>
                </a:moveTo>
                <a:cubicBezTo>
                  <a:pt x="10565734" y="6391272"/>
                  <a:pt x="10547342" y="6402544"/>
                  <a:pt x="10547342" y="6429973"/>
                </a:cubicBezTo>
                <a:cubicBezTo>
                  <a:pt x="10547342" y="6455524"/>
                  <a:pt x="10564291" y="6466420"/>
                  <a:pt x="10601436" y="6466420"/>
                </a:cubicBezTo>
                <a:lnTo>
                  <a:pt x="10641466" y="6466420"/>
                </a:lnTo>
                <a:cubicBezTo>
                  <a:pt x="10658055" y="6466420"/>
                  <a:pt x="10665628" y="6469802"/>
                  <a:pt x="10665628" y="6481074"/>
                </a:cubicBezTo>
                <a:cubicBezTo>
                  <a:pt x="10665628" y="6491970"/>
                  <a:pt x="10657333" y="6495352"/>
                  <a:pt x="10639302" y="6495352"/>
                </a:cubicBezTo>
                <a:lnTo>
                  <a:pt x="10553833" y="6495352"/>
                </a:lnTo>
                <a:lnTo>
                  <a:pt x="10553833" y="6518272"/>
                </a:lnTo>
                <a:lnTo>
                  <a:pt x="10644711" y="6518272"/>
                </a:lnTo>
                <a:cubicBezTo>
                  <a:pt x="10682938" y="6518272"/>
                  <a:pt x="10701330" y="6507000"/>
                  <a:pt x="10701330" y="6480323"/>
                </a:cubicBezTo>
                <a:cubicBezTo>
                  <a:pt x="10701330" y="6453645"/>
                  <a:pt x="10685823" y="6444252"/>
                  <a:pt x="10649760" y="6444252"/>
                </a:cubicBezTo>
                <a:lnTo>
                  <a:pt x="10604321" y="6444252"/>
                </a:lnTo>
                <a:cubicBezTo>
                  <a:pt x="10590257" y="6444252"/>
                  <a:pt x="10583044" y="6439743"/>
                  <a:pt x="10583044" y="6430349"/>
                </a:cubicBezTo>
                <a:cubicBezTo>
                  <a:pt x="10583044" y="6418701"/>
                  <a:pt x="10591339" y="6413817"/>
                  <a:pt x="10609009" y="6413817"/>
                </a:cubicBezTo>
                <a:lnTo>
                  <a:pt x="10693396" y="6413817"/>
                </a:lnTo>
                <a:lnTo>
                  <a:pt x="10693396" y="6391272"/>
                </a:lnTo>
                <a:close/>
                <a:moveTo>
                  <a:pt x="10490061" y="6391272"/>
                </a:moveTo>
                <a:lnTo>
                  <a:pt x="10490061" y="6482682"/>
                </a:lnTo>
                <a:lnTo>
                  <a:pt x="10423841" y="6391647"/>
                </a:lnTo>
                <a:lnTo>
                  <a:pt x="10380655" y="6391647"/>
                </a:lnTo>
                <a:lnTo>
                  <a:pt x="10380655" y="6518272"/>
                </a:lnTo>
                <a:lnTo>
                  <a:pt x="10414124" y="6518272"/>
                </a:lnTo>
                <a:lnTo>
                  <a:pt x="10414124" y="6422367"/>
                </a:lnTo>
                <a:lnTo>
                  <a:pt x="10483942" y="6518272"/>
                </a:lnTo>
                <a:lnTo>
                  <a:pt x="10523170" y="6518272"/>
                </a:lnTo>
                <a:lnTo>
                  <a:pt x="10523530" y="6391272"/>
                </a:lnTo>
                <a:close/>
                <a:moveTo>
                  <a:pt x="10293755" y="6391272"/>
                </a:moveTo>
                <a:cubicBezTo>
                  <a:pt x="10241355" y="6391272"/>
                  <a:pt x="10217142" y="6411938"/>
                  <a:pt x="10217142" y="6457027"/>
                </a:cubicBezTo>
                <a:cubicBezTo>
                  <a:pt x="10217142" y="6479947"/>
                  <a:pt x="10225454" y="6496479"/>
                  <a:pt x="10242077" y="6507000"/>
                </a:cubicBezTo>
                <a:cubicBezTo>
                  <a:pt x="10257978" y="6516769"/>
                  <a:pt x="10273156" y="6518272"/>
                  <a:pt x="10293032" y="6518272"/>
                </a:cubicBezTo>
                <a:lnTo>
                  <a:pt x="10350492" y="6518272"/>
                </a:lnTo>
                <a:lnTo>
                  <a:pt x="10350492" y="6496104"/>
                </a:lnTo>
                <a:lnTo>
                  <a:pt x="10294478" y="6496104"/>
                </a:lnTo>
                <a:cubicBezTo>
                  <a:pt x="10267374" y="6496104"/>
                  <a:pt x="10255810" y="6487837"/>
                  <a:pt x="10255810" y="6464917"/>
                </a:cubicBezTo>
                <a:lnTo>
                  <a:pt x="10350492" y="6464917"/>
                </a:lnTo>
                <a:lnTo>
                  <a:pt x="10350492" y="6442749"/>
                </a:lnTo>
                <a:lnTo>
                  <a:pt x="10255810" y="6442749"/>
                </a:lnTo>
                <a:cubicBezTo>
                  <a:pt x="10257255" y="6422834"/>
                  <a:pt x="10269904" y="6413441"/>
                  <a:pt x="10294478" y="6413441"/>
                </a:cubicBezTo>
                <a:lnTo>
                  <a:pt x="10350492" y="6413441"/>
                </a:lnTo>
                <a:lnTo>
                  <a:pt x="10350492" y="6391272"/>
                </a:lnTo>
                <a:close/>
                <a:moveTo>
                  <a:pt x="10104126" y="6391272"/>
                </a:moveTo>
                <a:cubicBezTo>
                  <a:pt x="10065629" y="6391272"/>
                  <a:pt x="10047280" y="6402544"/>
                  <a:pt x="10047280" y="6429973"/>
                </a:cubicBezTo>
                <a:cubicBezTo>
                  <a:pt x="10047280" y="6455524"/>
                  <a:pt x="10064190" y="6466420"/>
                  <a:pt x="10101248" y="6466420"/>
                </a:cubicBezTo>
                <a:lnTo>
                  <a:pt x="10141184" y="6466420"/>
                </a:lnTo>
                <a:cubicBezTo>
                  <a:pt x="10157734" y="6466420"/>
                  <a:pt x="10165649" y="6469802"/>
                  <a:pt x="10165649" y="6481074"/>
                </a:cubicBezTo>
                <a:cubicBezTo>
                  <a:pt x="10165649" y="6491970"/>
                  <a:pt x="10157014" y="6495352"/>
                  <a:pt x="10139025" y="6495352"/>
                </a:cubicBezTo>
                <a:lnTo>
                  <a:pt x="10053756" y="6495352"/>
                </a:lnTo>
                <a:lnTo>
                  <a:pt x="10053756" y="6518272"/>
                </a:lnTo>
                <a:lnTo>
                  <a:pt x="10144422" y="6518272"/>
                </a:lnTo>
                <a:cubicBezTo>
                  <a:pt x="10182919" y="6518272"/>
                  <a:pt x="10201268" y="6507000"/>
                  <a:pt x="10201268" y="6480323"/>
                </a:cubicBezTo>
                <a:cubicBezTo>
                  <a:pt x="10201268" y="6453645"/>
                  <a:pt x="10185437" y="6444252"/>
                  <a:pt x="10149459" y="6444252"/>
                </a:cubicBezTo>
                <a:lnTo>
                  <a:pt x="10104486" y="6444252"/>
                </a:lnTo>
                <a:cubicBezTo>
                  <a:pt x="10090094" y="6444252"/>
                  <a:pt x="10082899" y="6439743"/>
                  <a:pt x="10082899" y="6430349"/>
                </a:cubicBezTo>
                <a:cubicBezTo>
                  <a:pt x="10082899" y="6418701"/>
                  <a:pt x="10091174" y="6413817"/>
                  <a:pt x="10109163" y="6413817"/>
                </a:cubicBezTo>
                <a:lnTo>
                  <a:pt x="10193353" y="6413817"/>
                </a:lnTo>
                <a:lnTo>
                  <a:pt x="10193353" y="6391272"/>
                </a:lnTo>
                <a:close/>
                <a:moveTo>
                  <a:pt x="11099976" y="6389684"/>
                </a:moveTo>
                <a:cubicBezTo>
                  <a:pt x="11050930" y="6391539"/>
                  <a:pt x="11026767" y="6412307"/>
                  <a:pt x="11026767" y="6453474"/>
                </a:cubicBezTo>
                <a:cubicBezTo>
                  <a:pt x="11026767" y="6498720"/>
                  <a:pt x="11052011" y="6519859"/>
                  <a:pt x="11107910" y="6519859"/>
                </a:cubicBezTo>
                <a:cubicBezTo>
                  <a:pt x="11163087" y="6519859"/>
                  <a:pt x="11188692" y="6498720"/>
                  <a:pt x="11188692" y="6454586"/>
                </a:cubicBezTo>
                <a:cubicBezTo>
                  <a:pt x="11188692" y="6412307"/>
                  <a:pt x="11165611" y="6391539"/>
                  <a:pt x="11115844" y="6389684"/>
                </a:cubicBezTo>
                <a:close/>
                <a:moveTo>
                  <a:pt x="0" y="0"/>
                </a:moveTo>
                <a:lnTo>
                  <a:pt x="12188817" y="0"/>
                </a:lnTo>
                <a:lnTo>
                  <a:pt x="12188817" y="3141660"/>
                </a:lnTo>
                <a:lnTo>
                  <a:pt x="6095993" y="3141660"/>
                </a:lnTo>
                <a:lnTo>
                  <a:pt x="6095993" y="6237284"/>
                </a:lnTo>
                <a:lnTo>
                  <a:pt x="12188817" y="6237284"/>
                </a:lnTo>
                <a:lnTo>
                  <a:pt x="12188817"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en-US" dirty="0"/>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4969342" cy="457200"/>
          </a:xfrm>
        </p:spPr>
        <p:txBody>
          <a:bodyPr/>
          <a:lstStyle>
            <a:lvl1pPr>
              <a:spcBef>
                <a:spcPts val="500"/>
              </a:spcBef>
              <a:defRPr sz="3100" b="1">
                <a:solidFill>
                  <a:srgbClr val="FFFFFF"/>
                </a:solidFill>
              </a:defRPr>
            </a:lvl1pPr>
          </a:lstStyle>
          <a:p>
            <a:pPr lvl="0"/>
            <a:r>
              <a:rPr lang="en-US" noProof="0" dirty="0"/>
              <a:t>Add Title / </a:t>
            </a:r>
            <a:r>
              <a:rPr lang="en-US" noProof="0" dirty="0" err="1"/>
              <a:t>Titel</a:t>
            </a:r>
            <a:r>
              <a:rPr lang="en-US" noProof="0" dirty="0"/>
              <a:t> </a:t>
            </a:r>
            <a:r>
              <a:rPr lang="en-US" noProof="0" dirty="0" err="1"/>
              <a:t>hinzufügen</a:t>
            </a:r>
            <a:endParaRPr lang="en-US" noProof="0" dirty="0"/>
          </a:p>
        </p:txBody>
      </p:sp>
      <p:sp>
        <p:nvSpPr>
          <p:cNvPr id="10" name="Textplatzhalter 2"/>
          <p:cNvSpPr>
            <a:spLocks noGrp="1"/>
          </p:cNvSpPr>
          <p:nvPr userDrawn="1">
            <p:ph type="body" sz="quarter" idx="11" hasCustomPrompt="1"/>
          </p:nvPr>
        </p:nvSpPr>
        <p:spPr>
          <a:xfrm>
            <a:off x="6395432" y="3994289"/>
            <a:ext cx="4956781" cy="1980000"/>
          </a:xfrm>
        </p:spPr>
        <p:txBody>
          <a:bodyPr/>
          <a:lstStyle>
            <a:lvl1pPr>
              <a:defRPr baseline="0">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dirty="0"/>
              <a:t>Add text / Text </a:t>
            </a:r>
            <a:r>
              <a:rPr lang="en-US" noProof="0" dirty="0" err="1"/>
              <a:t>hinzufügen</a:t>
            </a:r>
            <a:endParaRPr lang="en-US" noProof="0" dirty="0"/>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2" name="Title 1"/>
          <p:cNvSpPr>
            <a:spLocks noGrp="1"/>
          </p:cNvSpPr>
          <p:nvPr userDrawn="1">
            <p:ph type="title" hasCustomPrompt="1"/>
          </p:nvPr>
        </p:nvSpPr>
        <p:spPr/>
        <p:txBody>
          <a:bodyPr/>
          <a:lstStyle>
            <a:lvl1pPr>
              <a:defRPr/>
            </a:lvl1pPr>
          </a:lstStyle>
          <a:p>
            <a:r>
              <a:rPr lang="en-US" noProof="0" dirty="0"/>
              <a:t>Add Title / </a:t>
            </a:r>
            <a:r>
              <a:rPr lang="en-US" noProof="0" dirty="0" err="1"/>
              <a:t>Titel</a:t>
            </a:r>
            <a:r>
              <a:rPr lang="en-US" noProof="0" dirty="0"/>
              <a:t> </a:t>
            </a:r>
            <a:r>
              <a:rPr lang="en-US" noProof="0" dirty="0" err="1"/>
              <a:t>hinzufügen</a:t>
            </a:r>
            <a:r>
              <a:rPr lang="en-US" noProof="0" dirty="0"/>
              <a:t> </a:t>
            </a:r>
            <a:endParaRPr lang="en-US" dirty="0"/>
          </a:p>
        </p:txBody>
      </p:sp>
      <p:sp>
        <p:nvSpPr>
          <p:cNvPr id="3" name="Foliennummernplatzhalter 2">
            <a:extLst>
              <a:ext uri="{FF2B5EF4-FFF2-40B4-BE49-F238E27FC236}">
                <a16:creationId xmlns:a16="http://schemas.microsoft.com/office/drawing/2014/main" id="{06BC0DB4-B1D4-483F-9157-D4C92C98CF64}"/>
              </a:ext>
            </a:extLst>
          </p:cNvPr>
          <p:cNvSpPr>
            <a:spLocks noGrp="1"/>
          </p:cNvSpPr>
          <p:nvPr>
            <p:ph type="sldNum" sz="quarter" idx="15"/>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263422586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460045" cy="3516259"/>
            <a:chOff x="4" y="3106800"/>
            <a:chExt cx="11460045" cy="3516259"/>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7" y="6345195"/>
              <a:ext cx="1500502" cy="229341"/>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4" name="Bildplatzhalter 33">
            <a:extLst>
              <a:ext uri="{FF2B5EF4-FFF2-40B4-BE49-F238E27FC236}">
                <a16:creationId xmlns:a16="http://schemas.microsoft.com/office/drawing/2014/main" id="{7FB2593A-BDE2-4288-9E4C-D7A00081A1E1}"/>
              </a:ext>
            </a:extLst>
          </p:cNvPr>
          <p:cNvSpPr>
            <a:spLocks noGrp="1"/>
          </p:cNvSpPr>
          <p:nvPr>
            <p:ph type="pic" sz="quarter" idx="14"/>
          </p:nvPr>
        </p:nvSpPr>
        <p:spPr>
          <a:xfrm>
            <a:off x="9" y="4"/>
            <a:ext cx="12188817" cy="6857997"/>
          </a:xfrm>
          <a:custGeom>
            <a:avLst/>
            <a:gdLst>
              <a:gd name="connsiteX0" fmla="*/ 2164817 w 12188817"/>
              <a:gd name="connsiteY0" fmla="*/ 6506714 h 6857997"/>
              <a:gd name="connsiteX1" fmla="*/ 2164817 w 12188817"/>
              <a:gd name="connsiteY1" fmla="*/ 6521015 h 6857997"/>
              <a:gd name="connsiteX2" fmla="*/ 2170608 w 12188817"/>
              <a:gd name="connsiteY2" fmla="*/ 6521015 h 6857997"/>
              <a:gd name="connsiteX3" fmla="*/ 2168864 w 12188817"/>
              <a:gd name="connsiteY3" fmla="*/ 6530887 h 6857997"/>
              <a:gd name="connsiteX4" fmla="*/ 2164120 w 12188817"/>
              <a:gd name="connsiteY4" fmla="*/ 6535875 h 6857997"/>
              <a:gd name="connsiteX5" fmla="*/ 2166980 w 12188817"/>
              <a:gd name="connsiteY5" fmla="*/ 6541247 h 6857997"/>
              <a:gd name="connsiteX6" fmla="*/ 2174096 w 12188817"/>
              <a:gd name="connsiteY6" fmla="*/ 6534026 h 6857997"/>
              <a:gd name="connsiteX7" fmla="*/ 2176538 w 12188817"/>
              <a:gd name="connsiteY7" fmla="*/ 6521015 h 6857997"/>
              <a:gd name="connsiteX8" fmla="*/ 2176538 w 12188817"/>
              <a:gd name="connsiteY8" fmla="*/ 6506714 h 6857997"/>
              <a:gd name="connsiteX9" fmla="*/ 6291674 w 12188817"/>
              <a:gd name="connsiteY9" fmla="*/ 6483831 h 6857997"/>
              <a:gd name="connsiteX10" fmla="*/ 6291674 w 12188817"/>
              <a:gd name="connsiteY10" fmla="*/ 6488436 h 6857997"/>
              <a:gd name="connsiteX11" fmla="*/ 6289442 w 12188817"/>
              <a:gd name="connsiteY11" fmla="*/ 6502354 h 6857997"/>
              <a:gd name="connsiteX12" fmla="*/ 6282709 w 12188817"/>
              <a:gd name="connsiteY12" fmla="*/ 6509993 h 6857997"/>
              <a:gd name="connsiteX13" fmla="*/ 6272698 w 12188817"/>
              <a:gd name="connsiteY13" fmla="*/ 6512853 h 6857997"/>
              <a:gd name="connsiteX14" fmla="*/ 6263629 w 12188817"/>
              <a:gd name="connsiteY14" fmla="*/ 6509679 h 6857997"/>
              <a:gd name="connsiteX15" fmla="*/ 6260350 w 12188817"/>
              <a:gd name="connsiteY15" fmla="*/ 6501203 h 6857997"/>
              <a:gd name="connsiteX16" fmla="*/ 6261780 w 12188817"/>
              <a:gd name="connsiteY16" fmla="*/ 6495168 h 6857997"/>
              <a:gd name="connsiteX17" fmla="*/ 6265792 w 12188817"/>
              <a:gd name="connsiteY17" fmla="*/ 6491122 h 6857997"/>
              <a:gd name="connsiteX18" fmla="*/ 6274861 w 12188817"/>
              <a:gd name="connsiteY18" fmla="*/ 6488575 h 6857997"/>
              <a:gd name="connsiteX19" fmla="*/ 6291674 w 12188817"/>
              <a:gd name="connsiteY19" fmla="*/ 6483831 h 6857997"/>
              <a:gd name="connsiteX20" fmla="*/ 2657736 w 12188817"/>
              <a:gd name="connsiteY20" fmla="*/ 6483831 h 6857997"/>
              <a:gd name="connsiteX21" fmla="*/ 2657736 w 12188817"/>
              <a:gd name="connsiteY21" fmla="*/ 6488436 h 6857997"/>
              <a:gd name="connsiteX22" fmla="*/ 2655504 w 12188817"/>
              <a:gd name="connsiteY22" fmla="*/ 6502354 h 6857997"/>
              <a:gd name="connsiteX23" fmla="*/ 2648771 w 12188817"/>
              <a:gd name="connsiteY23" fmla="*/ 6509993 h 6857997"/>
              <a:gd name="connsiteX24" fmla="*/ 2638760 w 12188817"/>
              <a:gd name="connsiteY24" fmla="*/ 6512853 h 6857997"/>
              <a:gd name="connsiteX25" fmla="*/ 2629691 w 12188817"/>
              <a:gd name="connsiteY25" fmla="*/ 6509679 h 6857997"/>
              <a:gd name="connsiteX26" fmla="*/ 2626412 w 12188817"/>
              <a:gd name="connsiteY26" fmla="*/ 6501203 h 6857997"/>
              <a:gd name="connsiteX27" fmla="*/ 2627843 w 12188817"/>
              <a:gd name="connsiteY27" fmla="*/ 6495168 h 6857997"/>
              <a:gd name="connsiteX28" fmla="*/ 2631854 w 12188817"/>
              <a:gd name="connsiteY28" fmla="*/ 6491122 h 6857997"/>
              <a:gd name="connsiteX29" fmla="*/ 2640923 w 12188817"/>
              <a:gd name="connsiteY29" fmla="*/ 6488575 h 6857997"/>
              <a:gd name="connsiteX30" fmla="*/ 2657736 w 12188817"/>
              <a:gd name="connsiteY30" fmla="*/ 6483831 h 6857997"/>
              <a:gd name="connsiteX31" fmla="*/ 6087291 w 12188817"/>
              <a:gd name="connsiteY31" fmla="*/ 6455577 h 6857997"/>
              <a:gd name="connsiteX32" fmla="*/ 6099918 w 12188817"/>
              <a:gd name="connsiteY32" fmla="*/ 6462484 h 6857997"/>
              <a:gd name="connsiteX33" fmla="*/ 6104034 w 12188817"/>
              <a:gd name="connsiteY33" fmla="*/ 6476855 h 6857997"/>
              <a:gd name="connsiteX34" fmla="*/ 6070131 w 12188817"/>
              <a:gd name="connsiteY34" fmla="*/ 6476855 h 6857997"/>
              <a:gd name="connsiteX35" fmla="*/ 6075502 w 12188817"/>
              <a:gd name="connsiteY35" fmla="*/ 6461333 h 6857997"/>
              <a:gd name="connsiteX36" fmla="*/ 6087291 w 12188817"/>
              <a:gd name="connsiteY36" fmla="*/ 6455577 h 6857997"/>
              <a:gd name="connsiteX37" fmla="*/ 6018394 w 12188817"/>
              <a:gd name="connsiteY37" fmla="*/ 6455577 h 6857997"/>
              <a:gd name="connsiteX38" fmla="*/ 6030542 w 12188817"/>
              <a:gd name="connsiteY38" fmla="*/ 6462728 h 6857997"/>
              <a:gd name="connsiteX39" fmla="*/ 6035357 w 12188817"/>
              <a:gd name="connsiteY39" fmla="*/ 6485436 h 6857997"/>
              <a:gd name="connsiteX40" fmla="*/ 6030542 w 12188817"/>
              <a:gd name="connsiteY40" fmla="*/ 6505667 h 6857997"/>
              <a:gd name="connsiteX41" fmla="*/ 6019162 w 12188817"/>
              <a:gd name="connsiteY41" fmla="*/ 6512365 h 6857997"/>
              <a:gd name="connsiteX42" fmla="*/ 6007540 w 12188817"/>
              <a:gd name="connsiteY42" fmla="*/ 6505388 h 6857997"/>
              <a:gd name="connsiteX43" fmla="*/ 6002547 w 12188817"/>
              <a:gd name="connsiteY43" fmla="*/ 6484041 h 6857997"/>
              <a:gd name="connsiteX44" fmla="*/ 6007226 w 12188817"/>
              <a:gd name="connsiteY44" fmla="*/ 6462449 h 6857997"/>
              <a:gd name="connsiteX45" fmla="*/ 6018394 w 12188817"/>
              <a:gd name="connsiteY45" fmla="*/ 6455577 h 6857997"/>
              <a:gd name="connsiteX46" fmla="*/ 5829559 w 12188817"/>
              <a:gd name="connsiteY46" fmla="*/ 6455577 h 6857997"/>
              <a:gd name="connsiteX47" fmla="*/ 5842534 w 12188817"/>
              <a:gd name="connsiteY47" fmla="*/ 6462597 h 6857997"/>
              <a:gd name="connsiteX48" fmla="*/ 5847767 w 12188817"/>
              <a:gd name="connsiteY48" fmla="*/ 6483936 h 6857997"/>
              <a:gd name="connsiteX49" fmla="*/ 5842571 w 12188817"/>
              <a:gd name="connsiteY49" fmla="*/ 6505275 h 6857997"/>
              <a:gd name="connsiteX50" fmla="*/ 5830117 w 12188817"/>
              <a:gd name="connsiteY50" fmla="*/ 6512365 h 6857997"/>
              <a:gd name="connsiteX51" fmla="*/ 5817142 w 12188817"/>
              <a:gd name="connsiteY51" fmla="*/ 6505345 h 6857997"/>
              <a:gd name="connsiteX52" fmla="*/ 5811909 w 12188817"/>
              <a:gd name="connsiteY52" fmla="*/ 6483936 h 6857997"/>
              <a:gd name="connsiteX53" fmla="*/ 5817070 w 12188817"/>
              <a:gd name="connsiteY53" fmla="*/ 6462632 h 6857997"/>
              <a:gd name="connsiteX54" fmla="*/ 5829559 w 12188817"/>
              <a:gd name="connsiteY54" fmla="*/ 6455577 h 6857997"/>
              <a:gd name="connsiteX55" fmla="*/ 2774981 w 12188817"/>
              <a:gd name="connsiteY55" fmla="*/ 6455577 h 6857997"/>
              <a:gd name="connsiteX56" fmla="*/ 2787127 w 12188817"/>
              <a:gd name="connsiteY56" fmla="*/ 6462728 h 6857997"/>
              <a:gd name="connsiteX57" fmla="*/ 2791944 w 12188817"/>
              <a:gd name="connsiteY57" fmla="*/ 6485436 h 6857997"/>
              <a:gd name="connsiteX58" fmla="*/ 2787127 w 12188817"/>
              <a:gd name="connsiteY58" fmla="*/ 6505667 h 6857997"/>
              <a:gd name="connsiteX59" fmla="*/ 2775749 w 12188817"/>
              <a:gd name="connsiteY59" fmla="*/ 6512365 h 6857997"/>
              <a:gd name="connsiteX60" fmla="*/ 2764126 w 12188817"/>
              <a:gd name="connsiteY60" fmla="*/ 6505388 h 6857997"/>
              <a:gd name="connsiteX61" fmla="*/ 2759134 w 12188817"/>
              <a:gd name="connsiteY61" fmla="*/ 6484041 h 6857997"/>
              <a:gd name="connsiteX62" fmla="*/ 2763811 w 12188817"/>
              <a:gd name="connsiteY62" fmla="*/ 6462449 h 6857997"/>
              <a:gd name="connsiteX63" fmla="*/ 2774981 w 12188817"/>
              <a:gd name="connsiteY63" fmla="*/ 6455577 h 6857997"/>
              <a:gd name="connsiteX64" fmla="*/ 2510503 w 12188817"/>
              <a:gd name="connsiteY64" fmla="*/ 6455577 h 6857997"/>
              <a:gd name="connsiteX65" fmla="*/ 2523130 w 12188817"/>
              <a:gd name="connsiteY65" fmla="*/ 6462484 h 6857997"/>
              <a:gd name="connsiteX66" fmla="*/ 2527246 w 12188817"/>
              <a:gd name="connsiteY66" fmla="*/ 6476855 h 6857997"/>
              <a:gd name="connsiteX67" fmla="*/ 2493341 w 12188817"/>
              <a:gd name="connsiteY67" fmla="*/ 6476855 h 6857997"/>
              <a:gd name="connsiteX68" fmla="*/ 2498713 w 12188817"/>
              <a:gd name="connsiteY68" fmla="*/ 6461333 h 6857997"/>
              <a:gd name="connsiteX69" fmla="*/ 2510503 w 12188817"/>
              <a:gd name="connsiteY69" fmla="*/ 6455577 h 6857997"/>
              <a:gd name="connsiteX70" fmla="*/ 1871770 w 12188817"/>
              <a:gd name="connsiteY70" fmla="*/ 6455577 h 6857997"/>
              <a:gd name="connsiteX71" fmla="*/ 1884746 w 12188817"/>
              <a:gd name="connsiteY71" fmla="*/ 6462597 h 6857997"/>
              <a:gd name="connsiteX72" fmla="*/ 1889978 w 12188817"/>
              <a:gd name="connsiteY72" fmla="*/ 6483936 h 6857997"/>
              <a:gd name="connsiteX73" fmla="*/ 1884781 w 12188817"/>
              <a:gd name="connsiteY73" fmla="*/ 6505275 h 6857997"/>
              <a:gd name="connsiteX74" fmla="*/ 1872328 w 12188817"/>
              <a:gd name="connsiteY74" fmla="*/ 6512365 h 6857997"/>
              <a:gd name="connsiteX75" fmla="*/ 1859352 w 12188817"/>
              <a:gd name="connsiteY75" fmla="*/ 6505345 h 6857997"/>
              <a:gd name="connsiteX76" fmla="*/ 1854120 w 12188817"/>
              <a:gd name="connsiteY76" fmla="*/ 6483936 h 6857997"/>
              <a:gd name="connsiteX77" fmla="*/ 1859282 w 12188817"/>
              <a:gd name="connsiteY77" fmla="*/ 6462632 h 6857997"/>
              <a:gd name="connsiteX78" fmla="*/ 1871770 w 12188817"/>
              <a:gd name="connsiteY78" fmla="*/ 6455577 h 6857997"/>
              <a:gd name="connsiteX79" fmla="*/ 1586578 w 12188817"/>
              <a:gd name="connsiteY79" fmla="*/ 6455577 h 6857997"/>
              <a:gd name="connsiteX80" fmla="*/ 1599205 w 12188817"/>
              <a:gd name="connsiteY80" fmla="*/ 6462484 h 6857997"/>
              <a:gd name="connsiteX81" fmla="*/ 1603321 w 12188817"/>
              <a:gd name="connsiteY81" fmla="*/ 6476855 h 6857997"/>
              <a:gd name="connsiteX82" fmla="*/ 1569416 w 12188817"/>
              <a:gd name="connsiteY82" fmla="*/ 6476855 h 6857997"/>
              <a:gd name="connsiteX83" fmla="*/ 1574788 w 12188817"/>
              <a:gd name="connsiteY83" fmla="*/ 6461333 h 6857997"/>
              <a:gd name="connsiteX84" fmla="*/ 1586578 w 12188817"/>
              <a:gd name="connsiteY84" fmla="*/ 6455577 h 6857997"/>
              <a:gd name="connsiteX85" fmla="*/ 1317679 w 12188817"/>
              <a:gd name="connsiteY85" fmla="*/ 6455577 h 6857997"/>
              <a:gd name="connsiteX86" fmla="*/ 1329914 w 12188817"/>
              <a:gd name="connsiteY86" fmla="*/ 6462397 h 6857997"/>
              <a:gd name="connsiteX87" fmla="*/ 1334947 w 12188817"/>
              <a:gd name="connsiteY87" fmla="*/ 6483204 h 6857997"/>
              <a:gd name="connsiteX88" fmla="*/ 1330053 w 12188817"/>
              <a:gd name="connsiteY88" fmla="*/ 6504116 h 6857997"/>
              <a:gd name="connsiteX89" fmla="*/ 1318169 w 12188817"/>
              <a:gd name="connsiteY89" fmla="*/ 6510690 h 6857997"/>
              <a:gd name="connsiteX90" fmla="*/ 1306354 w 12188817"/>
              <a:gd name="connsiteY90" fmla="*/ 6503976 h 6857997"/>
              <a:gd name="connsiteX91" fmla="*/ 1301530 w 12188817"/>
              <a:gd name="connsiteY91" fmla="*/ 6482644 h 6857997"/>
              <a:gd name="connsiteX92" fmla="*/ 1306389 w 12188817"/>
              <a:gd name="connsiteY92" fmla="*/ 6462397 h 6857997"/>
              <a:gd name="connsiteX93" fmla="*/ 1317679 w 12188817"/>
              <a:gd name="connsiteY93" fmla="*/ 6455577 h 6857997"/>
              <a:gd name="connsiteX94" fmla="*/ 1071670 w 12188817"/>
              <a:gd name="connsiteY94" fmla="*/ 6455577 h 6857997"/>
              <a:gd name="connsiteX95" fmla="*/ 1084646 w 12188817"/>
              <a:gd name="connsiteY95" fmla="*/ 6462597 h 6857997"/>
              <a:gd name="connsiteX96" fmla="*/ 1089878 w 12188817"/>
              <a:gd name="connsiteY96" fmla="*/ 6483936 h 6857997"/>
              <a:gd name="connsiteX97" fmla="*/ 1084681 w 12188817"/>
              <a:gd name="connsiteY97" fmla="*/ 6505275 h 6857997"/>
              <a:gd name="connsiteX98" fmla="*/ 1072228 w 12188817"/>
              <a:gd name="connsiteY98" fmla="*/ 6512365 h 6857997"/>
              <a:gd name="connsiteX99" fmla="*/ 1059252 w 12188817"/>
              <a:gd name="connsiteY99" fmla="*/ 6505345 h 6857997"/>
              <a:gd name="connsiteX100" fmla="*/ 1054020 w 12188817"/>
              <a:gd name="connsiteY100" fmla="*/ 6483936 h 6857997"/>
              <a:gd name="connsiteX101" fmla="*/ 1059182 w 12188817"/>
              <a:gd name="connsiteY101" fmla="*/ 6462632 h 6857997"/>
              <a:gd name="connsiteX102" fmla="*/ 1071670 w 12188817"/>
              <a:gd name="connsiteY102" fmla="*/ 6455577 h 6857997"/>
              <a:gd name="connsiteX103" fmla="*/ 1139782 w 12188817"/>
              <a:gd name="connsiteY103" fmla="*/ 6455089 h 6857997"/>
              <a:gd name="connsiteX104" fmla="*/ 1151472 w 12188817"/>
              <a:gd name="connsiteY104" fmla="*/ 6462065 h 6857997"/>
              <a:gd name="connsiteX105" fmla="*/ 1156274 w 12188817"/>
              <a:gd name="connsiteY105" fmla="*/ 6483552 h 6857997"/>
              <a:gd name="connsiteX106" fmla="*/ 1151334 w 12188817"/>
              <a:gd name="connsiteY106" fmla="*/ 6505319 h 6857997"/>
              <a:gd name="connsiteX107" fmla="*/ 1139852 w 12188817"/>
              <a:gd name="connsiteY107" fmla="*/ 6512365 h 6857997"/>
              <a:gd name="connsiteX108" fmla="*/ 1128229 w 12188817"/>
              <a:gd name="connsiteY108" fmla="*/ 6505563 h 6857997"/>
              <a:gd name="connsiteX109" fmla="*/ 1123428 w 12188817"/>
              <a:gd name="connsiteY109" fmla="*/ 6484390 h 6857997"/>
              <a:gd name="connsiteX110" fmla="*/ 1128508 w 12188817"/>
              <a:gd name="connsiteY110" fmla="*/ 6462589 h 6857997"/>
              <a:gd name="connsiteX111" fmla="*/ 1139782 w 12188817"/>
              <a:gd name="connsiteY111" fmla="*/ 6455089 h 6857997"/>
              <a:gd name="connsiteX112" fmla="*/ 6224380 w 12188817"/>
              <a:gd name="connsiteY112" fmla="*/ 6446927 h 6857997"/>
              <a:gd name="connsiteX113" fmla="*/ 6224380 w 12188817"/>
              <a:gd name="connsiteY113" fmla="*/ 6521015 h 6857997"/>
              <a:gd name="connsiteX114" fmla="*/ 6234636 w 12188817"/>
              <a:gd name="connsiteY114" fmla="*/ 6521015 h 6857997"/>
              <a:gd name="connsiteX115" fmla="*/ 6234636 w 12188817"/>
              <a:gd name="connsiteY115" fmla="*/ 6446927 h 6857997"/>
              <a:gd name="connsiteX116" fmla="*/ 5967205 w 12188817"/>
              <a:gd name="connsiteY116" fmla="*/ 6446927 h 6857997"/>
              <a:gd name="connsiteX117" fmla="*/ 5967205 w 12188817"/>
              <a:gd name="connsiteY117" fmla="*/ 6521015 h 6857997"/>
              <a:gd name="connsiteX118" fmla="*/ 5977462 w 12188817"/>
              <a:gd name="connsiteY118" fmla="*/ 6521015 h 6857997"/>
              <a:gd name="connsiteX119" fmla="*/ 5977462 w 12188817"/>
              <a:gd name="connsiteY119" fmla="*/ 6446927 h 6857997"/>
              <a:gd name="connsiteX120" fmla="*/ 2380892 w 12188817"/>
              <a:gd name="connsiteY120" fmla="*/ 6446927 h 6857997"/>
              <a:gd name="connsiteX121" fmla="*/ 2380892 w 12188817"/>
              <a:gd name="connsiteY121" fmla="*/ 6521015 h 6857997"/>
              <a:gd name="connsiteX122" fmla="*/ 2391148 w 12188817"/>
              <a:gd name="connsiteY122" fmla="*/ 6521015 h 6857997"/>
              <a:gd name="connsiteX123" fmla="*/ 2391148 w 12188817"/>
              <a:gd name="connsiteY123" fmla="*/ 6446927 h 6857997"/>
              <a:gd name="connsiteX124" fmla="*/ 2287703 w 12188817"/>
              <a:gd name="connsiteY124" fmla="*/ 6446927 h 6857997"/>
              <a:gd name="connsiteX125" fmla="*/ 2306367 w 12188817"/>
              <a:gd name="connsiteY125" fmla="*/ 6521015 h 6857997"/>
              <a:gd name="connsiteX126" fmla="*/ 2317108 w 12188817"/>
              <a:gd name="connsiteY126" fmla="*/ 6521015 h 6857997"/>
              <a:gd name="connsiteX127" fmla="*/ 2329386 w 12188817"/>
              <a:gd name="connsiteY127" fmla="*/ 6464019 h 6857997"/>
              <a:gd name="connsiteX128" fmla="*/ 2331689 w 12188817"/>
              <a:gd name="connsiteY128" fmla="*/ 6476646 h 6857997"/>
              <a:gd name="connsiteX129" fmla="*/ 2341385 w 12188817"/>
              <a:gd name="connsiteY129" fmla="*/ 6521015 h 6857997"/>
              <a:gd name="connsiteX130" fmla="*/ 2352104 w 12188817"/>
              <a:gd name="connsiteY130" fmla="*/ 6521015 h 6857997"/>
              <a:gd name="connsiteX131" fmla="*/ 2371070 w 12188817"/>
              <a:gd name="connsiteY131" fmla="*/ 6446927 h 6857997"/>
              <a:gd name="connsiteX132" fmla="*/ 2361025 w 12188817"/>
              <a:gd name="connsiteY132" fmla="*/ 6446927 h 6857997"/>
              <a:gd name="connsiteX133" fmla="*/ 2350655 w 12188817"/>
              <a:gd name="connsiteY133" fmla="*/ 6489761 h 6857997"/>
              <a:gd name="connsiteX134" fmla="*/ 2347176 w 12188817"/>
              <a:gd name="connsiteY134" fmla="*/ 6504063 h 6857997"/>
              <a:gd name="connsiteX135" fmla="*/ 2344116 w 12188817"/>
              <a:gd name="connsiteY135" fmla="*/ 6489901 h 6857997"/>
              <a:gd name="connsiteX136" fmla="*/ 2335078 w 12188817"/>
              <a:gd name="connsiteY136" fmla="*/ 6446927 h 6857997"/>
              <a:gd name="connsiteX137" fmla="*/ 2324448 w 12188817"/>
              <a:gd name="connsiteY137" fmla="*/ 6446927 h 6857997"/>
              <a:gd name="connsiteX138" fmla="*/ 2314810 w 12188817"/>
              <a:gd name="connsiteY138" fmla="*/ 6490319 h 6857997"/>
              <a:gd name="connsiteX139" fmla="*/ 2311597 w 12188817"/>
              <a:gd name="connsiteY139" fmla="*/ 6505598 h 6857997"/>
              <a:gd name="connsiteX140" fmla="*/ 2308021 w 12188817"/>
              <a:gd name="connsiteY140" fmla="*/ 6489692 h 6857997"/>
              <a:gd name="connsiteX141" fmla="*/ 2298346 w 12188817"/>
              <a:gd name="connsiteY141" fmla="*/ 6446927 h 6857997"/>
              <a:gd name="connsiteX142" fmla="*/ 1818918 w 12188817"/>
              <a:gd name="connsiteY142" fmla="*/ 6446927 h 6857997"/>
              <a:gd name="connsiteX143" fmla="*/ 1818918 w 12188817"/>
              <a:gd name="connsiteY143" fmla="*/ 6521015 h 6857997"/>
              <a:gd name="connsiteX144" fmla="*/ 1829173 w 12188817"/>
              <a:gd name="connsiteY144" fmla="*/ 6521015 h 6857997"/>
              <a:gd name="connsiteX145" fmla="*/ 1829173 w 12188817"/>
              <a:gd name="connsiteY145" fmla="*/ 6446927 h 6857997"/>
              <a:gd name="connsiteX146" fmla="*/ 1752242 w 12188817"/>
              <a:gd name="connsiteY146" fmla="*/ 6446927 h 6857997"/>
              <a:gd name="connsiteX147" fmla="*/ 1752242 w 12188817"/>
              <a:gd name="connsiteY147" fmla="*/ 6521015 h 6857997"/>
              <a:gd name="connsiteX148" fmla="*/ 1762498 w 12188817"/>
              <a:gd name="connsiteY148" fmla="*/ 6521015 h 6857997"/>
              <a:gd name="connsiteX149" fmla="*/ 1762498 w 12188817"/>
              <a:gd name="connsiteY149" fmla="*/ 6446927 h 6857997"/>
              <a:gd name="connsiteX150" fmla="*/ 1266468 w 12188817"/>
              <a:gd name="connsiteY150" fmla="*/ 6446927 h 6857997"/>
              <a:gd name="connsiteX151" fmla="*/ 1266468 w 12188817"/>
              <a:gd name="connsiteY151" fmla="*/ 6521015 h 6857997"/>
              <a:gd name="connsiteX152" fmla="*/ 1276723 w 12188817"/>
              <a:gd name="connsiteY152" fmla="*/ 6521015 h 6857997"/>
              <a:gd name="connsiteX153" fmla="*/ 1276723 w 12188817"/>
              <a:gd name="connsiteY153" fmla="*/ 6446927 h 6857997"/>
              <a:gd name="connsiteX154" fmla="*/ 6278768 w 12188817"/>
              <a:gd name="connsiteY154" fmla="*/ 6445252 h 6857997"/>
              <a:gd name="connsiteX155" fmla="*/ 6259897 w 12188817"/>
              <a:gd name="connsiteY155" fmla="*/ 6450694 h 6857997"/>
              <a:gd name="connsiteX156" fmla="*/ 6251142 w 12188817"/>
              <a:gd name="connsiteY156" fmla="*/ 6468065 h 6857997"/>
              <a:gd name="connsiteX157" fmla="*/ 6261257 w 12188817"/>
              <a:gd name="connsiteY157" fmla="*/ 6469739 h 6857997"/>
              <a:gd name="connsiteX158" fmla="*/ 6266489 w 12188817"/>
              <a:gd name="connsiteY158" fmla="*/ 6458557 h 6857997"/>
              <a:gd name="connsiteX159" fmla="*/ 6277233 w 12188817"/>
              <a:gd name="connsiteY159" fmla="*/ 6455577 h 6857997"/>
              <a:gd name="connsiteX160" fmla="*/ 6289023 w 12188817"/>
              <a:gd name="connsiteY160" fmla="*/ 6460042 h 6857997"/>
              <a:gd name="connsiteX161" fmla="*/ 6291744 w 12188817"/>
              <a:gd name="connsiteY161" fmla="*/ 6470716 h 6857997"/>
              <a:gd name="connsiteX162" fmla="*/ 6291674 w 12188817"/>
              <a:gd name="connsiteY162" fmla="*/ 6473925 h 6857997"/>
              <a:gd name="connsiteX163" fmla="*/ 6273256 w 12188817"/>
              <a:gd name="connsiteY163" fmla="*/ 6478320 h 6857997"/>
              <a:gd name="connsiteX164" fmla="*/ 6259304 w 12188817"/>
              <a:gd name="connsiteY164" fmla="*/ 6482436 h 6857997"/>
              <a:gd name="connsiteX165" fmla="*/ 6252048 w 12188817"/>
              <a:gd name="connsiteY165" fmla="*/ 6490180 h 6857997"/>
              <a:gd name="connsiteX166" fmla="*/ 6249397 w 12188817"/>
              <a:gd name="connsiteY166" fmla="*/ 6501551 h 6857997"/>
              <a:gd name="connsiteX167" fmla="*/ 6255048 w 12188817"/>
              <a:gd name="connsiteY167" fmla="*/ 6516969 h 6857997"/>
              <a:gd name="connsiteX168" fmla="*/ 6270187 w 12188817"/>
              <a:gd name="connsiteY168" fmla="*/ 6522690 h 6857997"/>
              <a:gd name="connsiteX169" fmla="*/ 6281768 w 12188817"/>
              <a:gd name="connsiteY169" fmla="*/ 6519968 h 6857997"/>
              <a:gd name="connsiteX170" fmla="*/ 6292511 w 12188817"/>
              <a:gd name="connsiteY170" fmla="*/ 6511875 h 6857997"/>
              <a:gd name="connsiteX171" fmla="*/ 6294604 w 12188817"/>
              <a:gd name="connsiteY171" fmla="*/ 6521015 h 6857997"/>
              <a:gd name="connsiteX172" fmla="*/ 6305348 w 12188817"/>
              <a:gd name="connsiteY172" fmla="*/ 6521015 h 6857997"/>
              <a:gd name="connsiteX173" fmla="*/ 6302731 w 12188817"/>
              <a:gd name="connsiteY173" fmla="*/ 6512120 h 6857997"/>
              <a:gd name="connsiteX174" fmla="*/ 6302069 w 12188817"/>
              <a:gd name="connsiteY174" fmla="*/ 6489971 h 6857997"/>
              <a:gd name="connsiteX175" fmla="*/ 6302069 w 12188817"/>
              <a:gd name="connsiteY175" fmla="*/ 6473227 h 6857997"/>
              <a:gd name="connsiteX176" fmla="*/ 6300639 w 12188817"/>
              <a:gd name="connsiteY176" fmla="*/ 6457740 h 6857997"/>
              <a:gd name="connsiteX177" fmla="*/ 6293767 w 12188817"/>
              <a:gd name="connsiteY177" fmla="*/ 6448845 h 6857997"/>
              <a:gd name="connsiteX178" fmla="*/ 6278768 w 12188817"/>
              <a:gd name="connsiteY178" fmla="*/ 6445252 h 6857997"/>
              <a:gd name="connsiteX179" fmla="*/ 6157700 w 12188817"/>
              <a:gd name="connsiteY179" fmla="*/ 6445252 h 6857997"/>
              <a:gd name="connsiteX180" fmla="*/ 6146592 w 12188817"/>
              <a:gd name="connsiteY180" fmla="*/ 6448270 h 6857997"/>
              <a:gd name="connsiteX181" fmla="*/ 6138409 w 12188817"/>
              <a:gd name="connsiteY181" fmla="*/ 6457392 h 6857997"/>
              <a:gd name="connsiteX182" fmla="*/ 6138409 w 12188817"/>
              <a:gd name="connsiteY182" fmla="*/ 6446927 h 6857997"/>
              <a:gd name="connsiteX183" fmla="*/ 6129130 w 12188817"/>
              <a:gd name="connsiteY183" fmla="*/ 6446927 h 6857997"/>
              <a:gd name="connsiteX184" fmla="*/ 6129130 w 12188817"/>
              <a:gd name="connsiteY184" fmla="*/ 6521015 h 6857997"/>
              <a:gd name="connsiteX185" fmla="*/ 6139386 w 12188817"/>
              <a:gd name="connsiteY185" fmla="*/ 6521015 h 6857997"/>
              <a:gd name="connsiteX186" fmla="*/ 6139386 w 12188817"/>
              <a:gd name="connsiteY186" fmla="*/ 6480509 h 6857997"/>
              <a:gd name="connsiteX187" fmla="*/ 6143781 w 12188817"/>
              <a:gd name="connsiteY187" fmla="*/ 6461583 h 6857997"/>
              <a:gd name="connsiteX188" fmla="*/ 6155571 w 12188817"/>
              <a:gd name="connsiteY188" fmla="*/ 6456066 h 6857997"/>
              <a:gd name="connsiteX189" fmla="*/ 6162442 w 12188817"/>
              <a:gd name="connsiteY189" fmla="*/ 6458126 h 6857997"/>
              <a:gd name="connsiteX190" fmla="*/ 6166803 w 12188817"/>
              <a:gd name="connsiteY190" fmla="*/ 6463957 h 6857997"/>
              <a:gd name="connsiteX191" fmla="*/ 6168198 w 12188817"/>
              <a:gd name="connsiteY191" fmla="*/ 6475900 h 6857997"/>
              <a:gd name="connsiteX192" fmla="*/ 6168198 w 12188817"/>
              <a:gd name="connsiteY192" fmla="*/ 6521015 h 6857997"/>
              <a:gd name="connsiteX193" fmla="*/ 6178453 w 12188817"/>
              <a:gd name="connsiteY193" fmla="*/ 6521015 h 6857997"/>
              <a:gd name="connsiteX194" fmla="*/ 6178453 w 12188817"/>
              <a:gd name="connsiteY194" fmla="*/ 6475460 h 6857997"/>
              <a:gd name="connsiteX195" fmla="*/ 6177199 w 12188817"/>
              <a:gd name="connsiteY195" fmla="*/ 6460252 h 6857997"/>
              <a:gd name="connsiteX196" fmla="*/ 6173404 w 12188817"/>
              <a:gd name="connsiteY196" fmla="*/ 6452194 h 6857997"/>
              <a:gd name="connsiteX197" fmla="*/ 6166718 w 12188817"/>
              <a:gd name="connsiteY197" fmla="*/ 6447171 h 6857997"/>
              <a:gd name="connsiteX198" fmla="*/ 6157700 w 12188817"/>
              <a:gd name="connsiteY198" fmla="*/ 6445252 h 6857997"/>
              <a:gd name="connsiteX199" fmla="*/ 6087364 w 12188817"/>
              <a:gd name="connsiteY199" fmla="*/ 6445252 h 6857997"/>
              <a:gd name="connsiteX200" fmla="*/ 6066956 w 12188817"/>
              <a:gd name="connsiteY200" fmla="*/ 6455333 h 6857997"/>
              <a:gd name="connsiteX201" fmla="*/ 6058897 w 12188817"/>
              <a:gd name="connsiteY201" fmla="*/ 6484599 h 6857997"/>
              <a:gd name="connsiteX202" fmla="*/ 6066885 w 12188817"/>
              <a:gd name="connsiteY202" fmla="*/ 6512888 h 6857997"/>
              <a:gd name="connsiteX203" fmla="*/ 6087783 w 12188817"/>
              <a:gd name="connsiteY203" fmla="*/ 6522690 h 6857997"/>
              <a:gd name="connsiteX204" fmla="*/ 6104976 w 12188817"/>
              <a:gd name="connsiteY204" fmla="*/ 6516655 h 6857997"/>
              <a:gd name="connsiteX205" fmla="*/ 6114569 w 12188817"/>
              <a:gd name="connsiteY205" fmla="*/ 6498761 h 6857997"/>
              <a:gd name="connsiteX206" fmla="*/ 6103965 w 12188817"/>
              <a:gd name="connsiteY206" fmla="*/ 6497156 h 6857997"/>
              <a:gd name="connsiteX207" fmla="*/ 6087849 w 12188817"/>
              <a:gd name="connsiteY207" fmla="*/ 6512365 h 6857997"/>
              <a:gd name="connsiteX208" fmla="*/ 6075292 w 12188817"/>
              <a:gd name="connsiteY208" fmla="*/ 6506016 h 6857997"/>
              <a:gd name="connsiteX209" fmla="*/ 6069506 w 12188817"/>
              <a:gd name="connsiteY209" fmla="*/ 6487180 h 6857997"/>
              <a:gd name="connsiteX210" fmla="*/ 6114848 w 12188817"/>
              <a:gd name="connsiteY210" fmla="*/ 6487180 h 6857997"/>
              <a:gd name="connsiteX211" fmla="*/ 6114917 w 12188817"/>
              <a:gd name="connsiteY211" fmla="*/ 6483831 h 6857997"/>
              <a:gd name="connsiteX212" fmla="*/ 6107034 w 12188817"/>
              <a:gd name="connsiteY212" fmla="*/ 6455159 h 6857997"/>
              <a:gd name="connsiteX213" fmla="*/ 6087364 w 12188817"/>
              <a:gd name="connsiteY213" fmla="*/ 6445252 h 6857997"/>
              <a:gd name="connsiteX214" fmla="*/ 5900526 w 12188817"/>
              <a:gd name="connsiteY214" fmla="*/ 6445252 h 6857997"/>
              <a:gd name="connsiteX215" fmla="*/ 5889417 w 12188817"/>
              <a:gd name="connsiteY215" fmla="*/ 6448270 h 6857997"/>
              <a:gd name="connsiteX216" fmla="*/ 5881235 w 12188817"/>
              <a:gd name="connsiteY216" fmla="*/ 6457392 h 6857997"/>
              <a:gd name="connsiteX217" fmla="*/ 5881235 w 12188817"/>
              <a:gd name="connsiteY217" fmla="*/ 6446927 h 6857997"/>
              <a:gd name="connsiteX218" fmla="*/ 5871957 w 12188817"/>
              <a:gd name="connsiteY218" fmla="*/ 6446927 h 6857997"/>
              <a:gd name="connsiteX219" fmla="*/ 5871957 w 12188817"/>
              <a:gd name="connsiteY219" fmla="*/ 6521015 h 6857997"/>
              <a:gd name="connsiteX220" fmla="*/ 5882211 w 12188817"/>
              <a:gd name="connsiteY220" fmla="*/ 6521015 h 6857997"/>
              <a:gd name="connsiteX221" fmla="*/ 5882211 w 12188817"/>
              <a:gd name="connsiteY221" fmla="*/ 6480509 h 6857997"/>
              <a:gd name="connsiteX222" fmla="*/ 5886607 w 12188817"/>
              <a:gd name="connsiteY222" fmla="*/ 6461583 h 6857997"/>
              <a:gd name="connsiteX223" fmla="*/ 5898396 w 12188817"/>
              <a:gd name="connsiteY223" fmla="*/ 6456066 h 6857997"/>
              <a:gd name="connsiteX224" fmla="*/ 5905267 w 12188817"/>
              <a:gd name="connsiteY224" fmla="*/ 6458126 h 6857997"/>
              <a:gd name="connsiteX225" fmla="*/ 5909630 w 12188817"/>
              <a:gd name="connsiteY225" fmla="*/ 6463957 h 6857997"/>
              <a:gd name="connsiteX226" fmla="*/ 5911024 w 12188817"/>
              <a:gd name="connsiteY226" fmla="*/ 6475900 h 6857997"/>
              <a:gd name="connsiteX227" fmla="*/ 5911024 w 12188817"/>
              <a:gd name="connsiteY227" fmla="*/ 6521015 h 6857997"/>
              <a:gd name="connsiteX228" fmla="*/ 5921278 w 12188817"/>
              <a:gd name="connsiteY228" fmla="*/ 6521015 h 6857997"/>
              <a:gd name="connsiteX229" fmla="*/ 5921278 w 12188817"/>
              <a:gd name="connsiteY229" fmla="*/ 6475460 h 6857997"/>
              <a:gd name="connsiteX230" fmla="*/ 5920026 w 12188817"/>
              <a:gd name="connsiteY230" fmla="*/ 6460252 h 6857997"/>
              <a:gd name="connsiteX231" fmla="*/ 5916230 w 12188817"/>
              <a:gd name="connsiteY231" fmla="*/ 6452194 h 6857997"/>
              <a:gd name="connsiteX232" fmla="*/ 5909545 w 12188817"/>
              <a:gd name="connsiteY232" fmla="*/ 6447171 h 6857997"/>
              <a:gd name="connsiteX233" fmla="*/ 5900526 w 12188817"/>
              <a:gd name="connsiteY233" fmla="*/ 6445252 h 6857997"/>
              <a:gd name="connsiteX234" fmla="*/ 5829838 w 12188817"/>
              <a:gd name="connsiteY234" fmla="*/ 6445252 h 6857997"/>
              <a:gd name="connsiteX235" fmla="*/ 5809433 w 12188817"/>
              <a:gd name="connsiteY235" fmla="*/ 6455019 h 6857997"/>
              <a:gd name="connsiteX236" fmla="*/ 5801376 w 12188817"/>
              <a:gd name="connsiteY236" fmla="*/ 6483971 h 6857997"/>
              <a:gd name="connsiteX237" fmla="*/ 5809502 w 12188817"/>
              <a:gd name="connsiteY237" fmla="*/ 6512888 h 6857997"/>
              <a:gd name="connsiteX238" fmla="*/ 5829838 w 12188817"/>
              <a:gd name="connsiteY238" fmla="*/ 6522690 h 6857997"/>
              <a:gd name="connsiteX239" fmla="*/ 5850280 w 12188817"/>
              <a:gd name="connsiteY239" fmla="*/ 6512923 h 6857997"/>
              <a:gd name="connsiteX240" fmla="*/ 5858301 w 12188817"/>
              <a:gd name="connsiteY240" fmla="*/ 6483204 h 6857997"/>
              <a:gd name="connsiteX241" fmla="*/ 5850139 w 12188817"/>
              <a:gd name="connsiteY241" fmla="*/ 6455019 h 6857997"/>
              <a:gd name="connsiteX242" fmla="*/ 5829838 w 12188817"/>
              <a:gd name="connsiteY242" fmla="*/ 6445252 h 6857997"/>
              <a:gd name="connsiteX243" fmla="*/ 2714262 w 12188817"/>
              <a:gd name="connsiteY243" fmla="*/ 6445252 h 6857997"/>
              <a:gd name="connsiteX244" fmla="*/ 2703154 w 12188817"/>
              <a:gd name="connsiteY244" fmla="*/ 6448270 h 6857997"/>
              <a:gd name="connsiteX245" fmla="*/ 2694971 w 12188817"/>
              <a:gd name="connsiteY245" fmla="*/ 6457392 h 6857997"/>
              <a:gd name="connsiteX246" fmla="*/ 2694971 w 12188817"/>
              <a:gd name="connsiteY246" fmla="*/ 6446927 h 6857997"/>
              <a:gd name="connsiteX247" fmla="*/ 2685692 w 12188817"/>
              <a:gd name="connsiteY247" fmla="*/ 6446927 h 6857997"/>
              <a:gd name="connsiteX248" fmla="*/ 2685692 w 12188817"/>
              <a:gd name="connsiteY248" fmla="*/ 6521015 h 6857997"/>
              <a:gd name="connsiteX249" fmla="*/ 2695948 w 12188817"/>
              <a:gd name="connsiteY249" fmla="*/ 6521015 h 6857997"/>
              <a:gd name="connsiteX250" fmla="*/ 2695948 w 12188817"/>
              <a:gd name="connsiteY250" fmla="*/ 6480509 h 6857997"/>
              <a:gd name="connsiteX251" fmla="*/ 2700343 w 12188817"/>
              <a:gd name="connsiteY251" fmla="*/ 6461583 h 6857997"/>
              <a:gd name="connsiteX252" fmla="*/ 2712133 w 12188817"/>
              <a:gd name="connsiteY252" fmla="*/ 6456066 h 6857997"/>
              <a:gd name="connsiteX253" fmla="*/ 2719004 w 12188817"/>
              <a:gd name="connsiteY253" fmla="*/ 6458126 h 6857997"/>
              <a:gd name="connsiteX254" fmla="*/ 2723365 w 12188817"/>
              <a:gd name="connsiteY254" fmla="*/ 6463957 h 6857997"/>
              <a:gd name="connsiteX255" fmla="*/ 2724760 w 12188817"/>
              <a:gd name="connsiteY255" fmla="*/ 6475900 h 6857997"/>
              <a:gd name="connsiteX256" fmla="*/ 2724760 w 12188817"/>
              <a:gd name="connsiteY256" fmla="*/ 6521015 h 6857997"/>
              <a:gd name="connsiteX257" fmla="*/ 2735015 w 12188817"/>
              <a:gd name="connsiteY257" fmla="*/ 6521015 h 6857997"/>
              <a:gd name="connsiteX258" fmla="*/ 2735015 w 12188817"/>
              <a:gd name="connsiteY258" fmla="*/ 6475460 h 6857997"/>
              <a:gd name="connsiteX259" fmla="*/ 2733761 w 12188817"/>
              <a:gd name="connsiteY259" fmla="*/ 6460252 h 6857997"/>
              <a:gd name="connsiteX260" fmla="*/ 2729966 w 12188817"/>
              <a:gd name="connsiteY260" fmla="*/ 6452194 h 6857997"/>
              <a:gd name="connsiteX261" fmla="*/ 2723280 w 12188817"/>
              <a:gd name="connsiteY261" fmla="*/ 6447171 h 6857997"/>
              <a:gd name="connsiteX262" fmla="*/ 2714262 w 12188817"/>
              <a:gd name="connsiteY262" fmla="*/ 6445252 h 6857997"/>
              <a:gd name="connsiteX263" fmla="*/ 2644830 w 12188817"/>
              <a:gd name="connsiteY263" fmla="*/ 6445252 h 6857997"/>
              <a:gd name="connsiteX264" fmla="*/ 2625959 w 12188817"/>
              <a:gd name="connsiteY264" fmla="*/ 6450694 h 6857997"/>
              <a:gd name="connsiteX265" fmla="*/ 2617204 w 12188817"/>
              <a:gd name="connsiteY265" fmla="*/ 6468065 h 6857997"/>
              <a:gd name="connsiteX266" fmla="*/ 2627319 w 12188817"/>
              <a:gd name="connsiteY266" fmla="*/ 6469739 h 6857997"/>
              <a:gd name="connsiteX267" fmla="*/ 2632552 w 12188817"/>
              <a:gd name="connsiteY267" fmla="*/ 6458557 h 6857997"/>
              <a:gd name="connsiteX268" fmla="*/ 2643295 w 12188817"/>
              <a:gd name="connsiteY268" fmla="*/ 6455577 h 6857997"/>
              <a:gd name="connsiteX269" fmla="*/ 2655085 w 12188817"/>
              <a:gd name="connsiteY269" fmla="*/ 6460042 h 6857997"/>
              <a:gd name="connsiteX270" fmla="*/ 2657806 w 12188817"/>
              <a:gd name="connsiteY270" fmla="*/ 6470716 h 6857997"/>
              <a:gd name="connsiteX271" fmla="*/ 2657736 w 12188817"/>
              <a:gd name="connsiteY271" fmla="*/ 6473925 h 6857997"/>
              <a:gd name="connsiteX272" fmla="*/ 2639319 w 12188817"/>
              <a:gd name="connsiteY272" fmla="*/ 6478320 h 6857997"/>
              <a:gd name="connsiteX273" fmla="*/ 2625366 w 12188817"/>
              <a:gd name="connsiteY273" fmla="*/ 6482436 h 6857997"/>
              <a:gd name="connsiteX274" fmla="*/ 2618110 w 12188817"/>
              <a:gd name="connsiteY274" fmla="*/ 6490180 h 6857997"/>
              <a:gd name="connsiteX275" fmla="*/ 2615460 w 12188817"/>
              <a:gd name="connsiteY275" fmla="*/ 6501551 h 6857997"/>
              <a:gd name="connsiteX276" fmla="*/ 2621110 w 12188817"/>
              <a:gd name="connsiteY276" fmla="*/ 6516969 h 6857997"/>
              <a:gd name="connsiteX277" fmla="*/ 2636249 w 12188817"/>
              <a:gd name="connsiteY277" fmla="*/ 6522690 h 6857997"/>
              <a:gd name="connsiteX278" fmla="*/ 2647830 w 12188817"/>
              <a:gd name="connsiteY278" fmla="*/ 6519968 h 6857997"/>
              <a:gd name="connsiteX279" fmla="*/ 2658573 w 12188817"/>
              <a:gd name="connsiteY279" fmla="*/ 6511875 h 6857997"/>
              <a:gd name="connsiteX280" fmla="*/ 2660666 w 12188817"/>
              <a:gd name="connsiteY280" fmla="*/ 6521015 h 6857997"/>
              <a:gd name="connsiteX281" fmla="*/ 2671410 w 12188817"/>
              <a:gd name="connsiteY281" fmla="*/ 6521015 h 6857997"/>
              <a:gd name="connsiteX282" fmla="*/ 2668793 w 12188817"/>
              <a:gd name="connsiteY282" fmla="*/ 6512120 h 6857997"/>
              <a:gd name="connsiteX283" fmla="*/ 2668131 w 12188817"/>
              <a:gd name="connsiteY283" fmla="*/ 6489971 h 6857997"/>
              <a:gd name="connsiteX284" fmla="*/ 2668131 w 12188817"/>
              <a:gd name="connsiteY284" fmla="*/ 6473227 h 6857997"/>
              <a:gd name="connsiteX285" fmla="*/ 2666701 w 12188817"/>
              <a:gd name="connsiteY285" fmla="*/ 6457740 h 6857997"/>
              <a:gd name="connsiteX286" fmla="*/ 2659829 w 12188817"/>
              <a:gd name="connsiteY286" fmla="*/ 6448845 h 6857997"/>
              <a:gd name="connsiteX287" fmla="*/ 2644830 w 12188817"/>
              <a:gd name="connsiteY287" fmla="*/ 6445252 h 6857997"/>
              <a:gd name="connsiteX288" fmla="*/ 2574806 w 12188817"/>
              <a:gd name="connsiteY288" fmla="*/ 6445252 h 6857997"/>
              <a:gd name="connsiteX289" fmla="*/ 2568144 w 12188817"/>
              <a:gd name="connsiteY289" fmla="*/ 6447799 h 6857997"/>
              <a:gd name="connsiteX290" fmla="*/ 2561621 w 12188817"/>
              <a:gd name="connsiteY290" fmla="*/ 6458159 h 6857997"/>
              <a:gd name="connsiteX291" fmla="*/ 2561621 w 12188817"/>
              <a:gd name="connsiteY291" fmla="*/ 6446927 h 6857997"/>
              <a:gd name="connsiteX292" fmla="*/ 2552342 w 12188817"/>
              <a:gd name="connsiteY292" fmla="*/ 6446927 h 6857997"/>
              <a:gd name="connsiteX293" fmla="*/ 2552342 w 12188817"/>
              <a:gd name="connsiteY293" fmla="*/ 6521015 h 6857997"/>
              <a:gd name="connsiteX294" fmla="*/ 2562598 w 12188817"/>
              <a:gd name="connsiteY294" fmla="*/ 6521015 h 6857997"/>
              <a:gd name="connsiteX295" fmla="*/ 2562598 w 12188817"/>
              <a:gd name="connsiteY295" fmla="*/ 6482227 h 6857997"/>
              <a:gd name="connsiteX296" fmla="*/ 2564551 w 12188817"/>
              <a:gd name="connsiteY296" fmla="*/ 6466949 h 6857997"/>
              <a:gd name="connsiteX297" fmla="*/ 2568388 w 12188817"/>
              <a:gd name="connsiteY297" fmla="*/ 6460531 h 6857997"/>
              <a:gd name="connsiteX298" fmla="*/ 2574388 w 12188817"/>
              <a:gd name="connsiteY298" fmla="*/ 6458228 h 6857997"/>
              <a:gd name="connsiteX299" fmla="*/ 2581852 w 12188817"/>
              <a:gd name="connsiteY299" fmla="*/ 6460949 h 6857997"/>
              <a:gd name="connsiteX300" fmla="*/ 2585340 w 12188817"/>
              <a:gd name="connsiteY300" fmla="*/ 6449299 h 6857997"/>
              <a:gd name="connsiteX301" fmla="*/ 2574806 w 12188817"/>
              <a:gd name="connsiteY301" fmla="*/ 6445252 h 6857997"/>
              <a:gd name="connsiteX302" fmla="*/ 2510573 w 12188817"/>
              <a:gd name="connsiteY302" fmla="*/ 6445252 h 6857997"/>
              <a:gd name="connsiteX303" fmla="*/ 2490167 w 12188817"/>
              <a:gd name="connsiteY303" fmla="*/ 6455333 h 6857997"/>
              <a:gd name="connsiteX304" fmla="*/ 2482110 w 12188817"/>
              <a:gd name="connsiteY304" fmla="*/ 6484599 h 6857997"/>
              <a:gd name="connsiteX305" fmla="*/ 2490097 w 12188817"/>
              <a:gd name="connsiteY305" fmla="*/ 6512888 h 6857997"/>
              <a:gd name="connsiteX306" fmla="*/ 2510992 w 12188817"/>
              <a:gd name="connsiteY306" fmla="*/ 6522690 h 6857997"/>
              <a:gd name="connsiteX307" fmla="*/ 2528188 w 12188817"/>
              <a:gd name="connsiteY307" fmla="*/ 6516655 h 6857997"/>
              <a:gd name="connsiteX308" fmla="*/ 2537781 w 12188817"/>
              <a:gd name="connsiteY308" fmla="*/ 6498761 h 6857997"/>
              <a:gd name="connsiteX309" fmla="*/ 2527176 w 12188817"/>
              <a:gd name="connsiteY309" fmla="*/ 6497156 h 6857997"/>
              <a:gd name="connsiteX310" fmla="*/ 2511061 w 12188817"/>
              <a:gd name="connsiteY310" fmla="*/ 6512365 h 6857997"/>
              <a:gd name="connsiteX311" fmla="*/ 2498504 w 12188817"/>
              <a:gd name="connsiteY311" fmla="*/ 6506016 h 6857997"/>
              <a:gd name="connsiteX312" fmla="*/ 2492714 w 12188817"/>
              <a:gd name="connsiteY312" fmla="*/ 6487180 h 6857997"/>
              <a:gd name="connsiteX313" fmla="*/ 2538060 w 12188817"/>
              <a:gd name="connsiteY313" fmla="*/ 6487180 h 6857997"/>
              <a:gd name="connsiteX314" fmla="*/ 2538129 w 12188817"/>
              <a:gd name="connsiteY314" fmla="*/ 6483831 h 6857997"/>
              <a:gd name="connsiteX315" fmla="*/ 2530246 w 12188817"/>
              <a:gd name="connsiteY315" fmla="*/ 6455159 h 6857997"/>
              <a:gd name="connsiteX316" fmla="*/ 2510573 w 12188817"/>
              <a:gd name="connsiteY316" fmla="*/ 6445252 h 6857997"/>
              <a:gd name="connsiteX317" fmla="*/ 1942737 w 12188817"/>
              <a:gd name="connsiteY317" fmla="*/ 6445252 h 6857997"/>
              <a:gd name="connsiteX318" fmla="*/ 1931629 w 12188817"/>
              <a:gd name="connsiteY318" fmla="*/ 6448270 h 6857997"/>
              <a:gd name="connsiteX319" fmla="*/ 1923446 w 12188817"/>
              <a:gd name="connsiteY319" fmla="*/ 6457392 h 6857997"/>
              <a:gd name="connsiteX320" fmla="*/ 1923446 w 12188817"/>
              <a:gd name="connsiteY320" fmla="*/ 6446927 h 6857997"/>
              <a:gd name="connsiteX321" fmla="*/ 1914167 w 12188817"/>
              <a:gd name="connsiteY321" fmla="*/ 6446927 h 6857997"/>
              <a:gd name="connsiteX322" fmla="*/ 1914167 w 12188817"/>
              <a:gd name="connsiteY322" fmla="*/ 6521015 h 6857997"/>
              <a:gd name="connsiteX323" fmla="*/ 1924423 w 12188817"/>
              <a:gd name="connsiteY323" fmla="*/ 6521015 h 6857997"/>
              <a:gd name="connsiteX324" fmla="*/ 1924423 w 12188817"/>
              <a:gd name="connsiteY324" fmla="*/ 6480509 h 6857997"/>
              <a:gd name="connsiteX325" fmla="*/ 1928818 w 12188817"/>
              <a:gd name="connsiteY325" fmla="*/ 6461583 h 6857997"/>
              <a:gd name="connsiteX326" fmla="*/ 1940608 w 12188817"/>
              <a:gd name="connsiteY326" fmla="*/ 6456066 h 6857997"/>
              <a:gd name="connsiteX327" fmla="*/ 1947479 w 12188817"/>
              <a:gd name="connsiteY327" fmla="*/ 6458126 h 6857997"/>
              <a:gd name="connsiteX328" fmla="*/ 1951840 w 12188817"/>
              <a:gd name="connsiteY328" fmla="*/ 6463957 h 6857997"/>
              <a:gd name="connsiteX329" fmla="*/ 1953235 w 12188817"/>
              <a:gd name="connsiteY329" fmla="*/ 6475900 h 6857997"/>
              <a:gd name="connsiteX330" fmla="*/ 1953235 w 12188817"/>
              <a:gd name="connsiteY330" fmla="*/ 6521015 h 6857997"/>
              <a:gd name="connsiteX331" fmla="*/ 1963490 w 12188817"/>
              <a:gd name="connsiteY331" fmla="*/ 6521015 h 6857997"/>
              <a:gd name="connsiteX332" fmla="*/ 1963490 w 12188817"/>
              <a:gd name="connsiteY332" fmla="*/ 6475460 h 6857997"/>
              <a:gd name="connsiteX333" fmla="*/ 1962236 w 12188817"/>
              <a:gd name="connsiteY333" fmla="*/ 6460252 h 6857997"/>
              <a:gd name="connsiteX334" fmla="*/ 1958441 w 12188817"/>
              <a:gd name="connsiteY334" fmla="*/ 6452194 h 6857997"/>
              <a:gd name="connsiteX335" fmla="*/ 1951755 w 12188817"/>
              <a:gd name="connsiteY335" fmla="*/ 6447171 h 6857997"/>
              <a:gd name="connsiteX336" fmla="*/ 1942737 w 12188817"/>
              <a:gd name="connsiteY336" fmla="*/ 6445252 h 6857997"/>
              <a:gd name="connsiteX337" fmla="*/ 1872049 w 12188817"/>
              <a:gd name="connsiteY337" fmla="*/ 6445252 h 6857997"/>
              <a:gd name="connsiteX338" fmla="*/ 1851643 w 12188817"/>
              <a:gd name="connsiteY338" fmla="*/ 6455019 h 6857997"/>
              <a:gd name="connsiteX339" fmla="*/ 1843586 w 12188817"/>
              <a:gd name="connsiteY339" fmla="*/ 6483971 h 6857997"/>
              <a:gd name="connsiteX340" fmla="*/ 1851713 w 12188817"/>
              <a:gd name="connsiteY340" fmla="*/ 6512888 h 6857997"/>
              <a:gd name="connsiteX341" fmla="*/ 1872049 w 12188817"/>
              <a:gd name="connsiteY341" fmla="*/ 6522690 h 6857997"/>
              <a:gd name="connsiteX342" fmla="*/ 1892490 w 12188817"/>
              <a:gd name="connsiteY342" fmla="*/ 6512923 h 6857997"/>
              <a:gd name="connsiteX343" fmla="*/ 1900512 w 12188817"/>
              <a:gd name="connsiteY343" fmla="*/ 6483204 h 6857997"/>
              <a:gd name="connsiteX344" fmla="*/ 1892350 w 12188817"/>
              <a:gd name="connsiteY344" fmla="*/ 6455019 h 6857997"/>
              <a:gd name="connsiteX345" fmla="*/ 1872049 w 12188817"/>
              <a:gd name="connsiteY345" fmla="*/ 6445252 h 6857997"/>
              <a:gd name="connsiteX346" fmla="*/ 1803281 w 12188817"/>
              <a:gd name="connsiteY346" fmla="*/ 6445252 h 6857997"/>
              <a:gd name="connsiteX347" fmla="*/ 1796619 w 12188817"/>
              <a:gd name="connsiteY347" fmla="*/ 6447799 h 6857997"/>
              <a:gd name="connsiteX348" fmla="*/ 1790096 w 12188817"/>
              <a:gd name="connsiteY348" fmla="*/ 6458159 h 6857997"/>
              <a:gd name="connsiteX349" fmla="*/ 1790096 w 12188817"/>
              <a:gd name="connsiteY349" fmla="*/ 6446927 h 6857997"/>
              <a:gd name="connsiteX350" fmla="*/ 1780818 w 12188817"/>
              <a:gd name="connsiteY350" fmla="*/ 6446927 h 6857997"/>
              <a:gd name="connsiteX351" fmla="*/ 1780818 w 12188817"/>
              <a:gd name="connsiteY351" fmla="*/ 6521015 h 6857997"/>
              <a:gd name="connsiteX352" fmla="*/ 1791073 w 12188817"/>
              <a:gd name="connsiteY352" fmla="*/ 6521015 h 6857997"/>
              <a:gd name="connsiteX353" fmla="*/ 1791073 w 12188817"/>
              <a:gd name="connsiteY353" fmla="*/ 6482227 h 6857997"/>
              <a:gd name="connsiteX354" fmla="*/ 1793026 w 12188817"/>
              <a:gd name="connsiteY354" fmla="*/ 6466949 h 6857997"/>
              <a:gd name="connsiteX355" fmla="*/ 1796863 w 12188817"/>
              <a:gd name="connsiteY355" fmla="*/ 6460531 h 6857997"/>
              <a:gd name="connsiteX356" fmla="*/ 1802863 w 12188817"/>
              <a:gd name="connsiteY356" fmla="*/ 6458228 h 6857997"/>
              <a:gd name="connsiteX357" fmla="*/ 1810327 w 12188817"/>
              <a:gd name="connsiteY357" fmla="*/ 6460949 h 6857997"/>
              <a:gd name="connsiteX358" fmla="*/ 1813815 w 12188817"/>
              <a:gd name="connsiteY358" fmla="*/ 6449299 h 6857997"/>
              <a:gd name="connsiteX359" fmla="*/ 1803281 w 12188817"/>
              <a:gd name="connsiteY359" fmla="*/ 6445252 h 6857997"/>
              <a:gd name="connsiteX360" fmla="*/ 1715742 w 12188817"/>
              <a:gd name="connsiteY360" fmla="*/ 6445252 h 6857997"/>
              <a:gd name="connsiteX361" fmla="*/ 1698930 w 12188817"/>
              <a:gd name="connsiteY361" fmla="*/ 6451182 h 6857997"/>
              <a:gd name="connsiteX362" fmla="*/ 1692860 w 12188817"/>
              <a:gd name="connsiteY362" fmla="*/ 6466600 h 6857997"/>
              <a:gd name="connsiteX363" fmla="*/ 1695092 w 12188817"/>
              <a:gd name="connsiteY363" fmla="*/ 6476437 h 6857997"/>
              <a:gd name="connsiteX364" fmla="*/ 1701371 w 12188817"/>
              <a:gd name="connsiteY364" fmla="*/ 6483343 h 6857997"/>
              <a:gd name="connsiteX365" fmla="*/ 1717417 w 12188817"/>
              <a:gd name="connsiteY365" fmla="*/ 6489622 h 6857997"/>
              <a:gd name="connsiteX366" fmla="*/ 1727881 w 12188817"/>
              <a:gd name="connsiteY366" fmla="*/ 6493808 h 6857997"/>
              <a:gd name="connsiteX367" fmla="*/ 1731021 w 12188817"/>
              <a:gd name="connsiteY367" fmla="*/ 6500644 h 6857997"/>
              <a:gd name="connsiteX368" fmla="*/ 1727367 w 12188817"/>
              <a:gd name="connsiteY368" fmla="*/ 6509051 h 6857997"/>
              <a:gd name="connsiteX369" fmla="*/ 1717031 w 12188817"/>
              <a:gd name="connsiteY369" fmla="*/ 6512365 h 6857997"/>
              <a:gd name="connsiteX370" fmla="*/ 1706313 w 12188817"/>
              <a:gd name="connsiteY370" fmla="*/ 6508545 h 6857997"/>
              <a:gd name="connsiteX371" fmla="*/ 1701371 w 12188817"/>
              <a:gd name="connsiteY371" fmla="*/ 6496877 h 6857997"/>
              <a:gd name="connsiteX372" fmla="*/ 1691116 w 12188817"/>
              <a:gd name="connsiteY372" fmla="*/ 6498831 h 6857997"/>
              <a:gd name="connsiteX373" fmla="*/ 1716440 w 12188817"/>
              <a:gd name="connsiteY373" fmla="*/ 6522690 h 6857997"/>
              <a:gd name="connsiteX374" fmla="*/ 1734823 w 12188817"/>
              <a:gd name="connsiteY374" fmla="*/ 6516120 h 6857997"/>
              <a:gd name="connsiteX375" fmla="*/ 1741555 w 12188817"/>
              <a:gd name="connsiteY375" fmla="*/ 6498929 h 6857997"/>
              <a:gd name="connsiteX376" fmla="*/ 1739470 w 12188817"/>
              <a:gd name="connsiteY376" fmla="*/ 6489040 h 6857997"/>
              <a:gd name="connsiteX377" fmla="*/ 1733631 w 12188817"/>
              <a:gd name="connsiteY377" fmla="*/ 6482471 h 6857997"/>
              <a:gd name="connsiteX378" fmla="*/ 1717094 w 12188817"/>
              <a:gd name="connsiteY378" fmla="*/ 6476004 h 6857997"/>
              <a:gd name="connsiteX379" fmla="*/ 1705911 w 12188817"/>
              <a:gd name="connsiteY379" fmla="*/ 6471558 h 6857997"/>
              <a:gd name="connsiteX380" fmla="*/ 1702766 w 12188817"/>
              <a:gd name="connsiteY380" fmla="*/ 6465096 h 6857997"/>
              <a:gd name="connsiteX381" fmla="*/ 1706045 w 12188817"/>
              <a:gd name="connsiteY381" fmla="*/ 6458252 h 6857997"/>
              <a:gd name="connsiteX382" fmla="*/ 1716021 w 12188817"/>
              <a:gd name="connsiteY382" fmla="*/ 6455577 h 6857997"/>
              <a:gd name="connsiteX383" fmla="*/ 1729207 w 12188817"/>
              <a:gd name="connsiteY383" fmla="*/ 6467716 h 6857997"/>
              <a:gd name="connsiteX384" fmla="*/ 1739252 w 12188817"/>
              <a:gd name="connsiteY384" fmla="*/ 6466042 h 6857997"/>
              <a:gd name="connsiteX385" fmla="*/ 1735485 w 12188817"/>
              <a:gd name="connsiteY385" fmla="*/ 6454252 h 6857997"/>
              <a:gd name="connsiteX386" fmla="*/ 1727637 w 12188817"/>
              <a:gd name="connsiteY386" fmla="*/ 6447694 h 6857997"/>
              <a:gd name="connsiteX387" fmla="*/ 1715742 w 12188817"/>
              <a:gd name="connsiteY387" fmla="*/ 6445252 h 6857997"/>
              <a:gd name="connsiteX388" fmla="*/ 1656986 w 12188817"/>
              <a:gd name="connsiteY388" fmla="*/ 6445252 h 6857997"/>
              <a:gd name="connsiteX389" fmla="*/ 1645879 w 12188817"/>
              <a:gd name="connsiteY389" fmla="*/ 6448270 h 6857997"/>
              <a:gd name="connsiteX390" fmla="*/ 1637696 w 12188817"/>
              <a:gd name="connsiteY390" fmla="*/ 6457392 h 6857997"/>
              <a:gd name="connsiteX391" fmla="*/ 1637696 w 12188817"/>
              <a:gd name="connsiteY391" fmla="*/ 6446927 h 6857997"/>
              <a:gd name="connsiteX392" fmla="*/ 1628418 w 12188817"/>
              <a:gd name="connsiteY392" fmla="*/ 6446927 h 6857997"/>
              <a:gd name="connsiteX393" fmla="*/ 1628418 w 12188817"/>
              <a:gd name="connsiteY393" fmla="*/ 6521015 h 6857997"/>
              <a:gd name="connsiteX394" fmla="*/ 1638673 w 12188817"/>
              <a:gd name="connsiteY394" fmla="*/ 6521015 h 6857997"/>
              <a:gd name="connsiteX395" fmla="*/ 1638673 w 12188817"/>
              <a:gd name="connsiteY395" fmla="*/ 6480509 h 6857997"/>
              <a:gd name="connsiteX396" fmla="*/ 1643068 w 12188817"/>
              <a:gd name="connsiteY396" fmla="*/ 6461583 h 6857997"/>
              <a:gd name="connsiteX397" fmla="*/ 1654858 w 12188817"/>
              <a:gd name="connsiteY397" fmla="*/ 6456066 h 6857997"/>
              <a:gd name="connsiteX398" fmla="*/ 1661729 w 12188817"/>
              <a:gd name="connsiteY398" fmla="*/ 6458126 h 6857997"/>
              <a:gd name="connsiteX399" fmla="*/ 1666089 w 12188817"/>
              <a:gd name="connsiteY399" fmla="*/ 6463957 h 6857997"/>
              <a:gd name="connsiteX400" fmla="*/ 1667485 w 12188817"/>
              <a:gd name="connsiteY400" fmla="*/ 6475900 h 6857997"/>
              <a:gd name="connsiteX401" fmla="*/ 1667485 w 12188817"/>
              <a:gd name="connsiteY401" fmla="*/ 6521015 h 6857997"/>
              <a:gd name="connsiteX402" fmla="*/ 1677740 w 12188817"/>
              <a:gd name="connsiteY402" fmla="*/ 6521015 h 6857997"/>
              <a:gd name="connsiteX403" fmla="*/ 1677740 w 12188817"/>
              <a:gd name="connsiteY403" fmla="*/ 6475460 h 6857997"/>
              <a:gd name="connsiteX404" fmla="*/ 1676487 w 12188817"/>
              <a:gd name="connsiteY404" fmla="*/ 6460252 h 6857997"/>
              <a:gd name="connsiteX405" fmla="*/ 1672691 w 12188817"/>
              <a:gd name="connsiteY405" fmla="*/ 6452194 h 6857997"/>
              <a:gd name="connsiteX406" fmla="*/ 1666005 w 12188817"/>
              <a:gd name="connsiteY406" fmla="*/ 6447171 h 6857997"/>
              <a:gd name="connsiteX407" fmla="*/ 1656986 w 12188817"/>
              <a:gd name="connsiteY407" fmla="*/ 6445252 h 6857997"/>
              <a:gd name="connsiteX408" fmla="*/ 1586648 w 12188817"/>
              <a:gd name="connsiteY408" fmla="*/ 6445252 h 6857997"/>
              <a:gd name="connsiteX409" fmla="*/ 1566242 w 12188817"/>
              <a:gd name="connsiteY409" fmla="*/ 6455333 h 6857997"/>
              <a:gd name="connsiteX410" fmla="*/ 1558184 w 12188817"/>
              <a:gd name="connsiteY410" fmla="*/ 6484599 h 6857997"/>
              <a:gd name="connsiteX411" fmla="*/ 1566172 w 12188817"/>
              <a:gd name="connsiteY411" fmla="*/ 6512888 h 6857997"/>
              <a:gd name="connsiteX412" fmla="*/ 1587067 w 12188817"/>
              <a:gd name="connsiteY412" fmla="*/ 6522690 h 6857997"/>
              <a:gd name="connsiteX413" fmla="*/ 1604263 w 12188817"/>
              <a:gd name="connsiteY413" fmla="*/ 6516655 h 6857997"/>
              <a:gd name="connsiteX414" fmla="*/ 1613856 w 12188817"/>
              <a:gd name="connsiteY414" fmla="*/ 6498761 h 6857997"/>
              <a:gd name="connsiteX415" fmla="*/ 1603252 w 12188817"/>
              <a:gd name="connsiteY415" fmla="*/ 6497156 h 6857997"/>
              <a:gd name="connsiteX416" fmla="*/ 1587136 w 12188817"/>
              <a:gd name="connsiteY416" fmla="*/ 6512365 h 6857997"/>
              <a:gd name="connsiteX417" fmla="*/ 1574579 w 12188817"/>
              <a:gd name="connsiteY417" fmla="*/ 6506016 h 6857997"/>
              <a:gd name="connsiteX418" fmla="*/ 1568788 w 12188817"/>
              <a:gd name="connsiteY418" fmla="*/ 6487180 h 6857997"/>
              <a:gd name="connsiteX419" fmla="*/ 1614135 w 12188817"/>
              <a:gd name="connsiteY419" fmla="*/ 6487180 h 6857997"/>
              <a:gd name="connsiteX420" fmla="*/ 1614204 w 12188817"/>
              <a:gd name="connsiteY420" fmla="*/ 6483831 h 6857997"/>
              <a:gd name="connsiteX421" fmla="*/ 1606321 w 12188817"/>
              <a:gd name="connsiteY421" fmla="*/ 6455159 h 6857997"/>
              <a:gd name="connsiteX422" fmla="*/ 1586648 w 12188817"/>
              <a:gd name="connsiteY422" fmla="*/ 6445252 h 6857997"/>
              <a:gd name="connsiteX423" fmla="*/ 1317367 w 12188817"/>
              <a:gd name="connsiteY423" fmla="*/ 6445252 h 6857997"/>
              <a:gd name="connsiteX424" fmla="*/ 1304147 w 12188817"/>
              <a:gd name="connsiteY424" fmla="*/ 6449438 h 6857997"/>
              <a:gd name="connsiteX425" fmla="*/ 1294624 w 12188817"/>
              <a:gd name="connsiteY425" fmla="*/ 6462554 h 6857997"/>
              <a:gd name="connsiteX426" fmla="*/ 1290996 w 12188817"/>
              <a:gd name="connsiteY426" fmla="*/ 6483413 h 6857997"/>
              <a:gd name="connsiteX427" fmla="*/ 1299228 w 12188817"/>
              <a:gd name="connsiteY427" fmla="*/ 6511807 h 6857997"/>
              <a:gd name="connsiteX428" fmla="*/ 1317297 w 12188817"/>
              <a:gd name="connsiteY428" fmla="*/ 6521015 h 6857997"/>
              <a:gd name="connsiteX429" fmla="*/ 1326575 w 12188817"/>
              <a:gd name="connsiteY429" fmla="*/ 6518590 h 6857997"/>
              <a:gd name="connsiteX430" fmla="*/ 1334110 w 12188817"/>
              <a:gd name="connsiteY430" fmla="*/ 6511384 h 6857997"/>
              <a:gd name="connsiteX431" fmla="*/ 1333203 w 12188817"/>
              <a:gd name="connsiteY431" fmla="*/ 6527850 h 6857997"/>
              <a:gd name="connsiteX432" fmla="*/ 1327727 w 12188817"/>
              <a:gd name="connsiteY432" fmla="*/ 6537514 h 6857997"/>
              <a:gd name="connsiteX433" fmla="*/ 1316948 w 12188817"/>
              <a:gd name="connsiteY433" fmla="*/ 6540758 h 6857997"/>
              <a:gd name="connsiteX434" fmla="*/ 1307251 w 12188817"/>
              <a:gd name="connsiteY434" fmla="*/ 6537846 h 6857997"/>
              <a:gd name="connsiteX435" fmla="*/ 1303065 w 12188817"/>
              <a:gd name="connsiteY435" fmla="*/ 6528968 h 6857997"/>
              <a:gd name="connsiteX436" fmla="*/ 1293019 w 12188817"/>
              <a:gd name="connsiteY436" fmla="*/ 6527154 h 6857997"/>
              <a:gd name="connsiteX437" fmla="*/ 1299159 w 12188817"/>
              <a:gd name="connsiteY437" fmla="*/ 6544735 h 6857997"/>
              <a:gd name="connsiteX438" fmla="*/ 1317297 w 12188817"/>
              <a:gd name="connsiteY438" fmla="*/ 6551083 h 6857997"/>
              <a:gd name="connsiteX439" fmla="*/ 1332575 w 12188817"/>
              <a:gd name="connsiteY439" fmla="*/ 6546863 h 6857997"/>
              <a:gd name="connsiteX440" fmla="*/ 1341714 w 12188817"/>
              <a:gd name="connsiteY440" fmla="*/ 6535352 h 6857997"/>
              <a:gd name="connsiteX441" fmla="*/ 1344505 w 12188817"/>
              <a:gd name="connsiteY441" fmla="*/ 6510969 h 6857997"/>
              <a:gd name="connsiteX442" fmla="*/ 1344505 w 12188817"/>
              <a:gd name="connsiteY442" fmla="*/ 6446927 h 6857997"/>
              <a:gd name="connsiteX443" fmla="*/ 1335017 w 12188817"/>
              <a:gd name="connsiteY443" fmla="*/ 6446927 h 6857997"/>
              <a:gd name="connsiteX444" fmla="*/ 1335017 w 12188817"/>
              <a:gd name="connsiteY444" fmla="*/ 6455787 h 6857997"/>
              <a:gd name="connsiteX445" fmla="*/ 1327168 w 12188817"/>
              <a:gd name="connsiteY445" fmla="*/ 6447886 h 6857997"/>
              <a:gd name="connsiteX446" fmla="*/ 1317367 w 12188817"/>
              <a:gd name="connsiteY446" fmla="*/ 6445252 h 6857997"/>
              <a:gd name="connsiteX447" fmla="*/ 1250831 w 12188817"/>
              <a:gd name="connsiteY447" fmla="*/ 6445252 h 6857997"/>
              <a:gd name="connsiteX448" fmla="*/ 1244169 w 12188817"/>
              <a:gd name="connsiteY448" fmla="*/ 6447799 h 6857997"/>
              <a:gd name="connsiteX449" fmla="*/ 1237646 w 12188817"/>
              <a:gd name="connsiteY449" fmla="*/ 6458159 h 6857997"/>
              <a:gd name="connsiteX450" fmla="*/ 1237646 w 12188817"/>
              <a:gd name="connsiteY450" fmla="*/ 6446927 h 6857997"/>
              <a:gd name="connsiteX451" fmla="*/ 1230693 w 12188817"/>
              <a:gd name="connsiteY451" fmla="*/ 6446927 h 6857997"/>
              <a:gd name="connsiteX452" fmla="*/ 1228368 w 12188817"/>
              <a:gd name="connsiteY452" fmla="*/ 6446927 h 6857997"/>
              <a:gd name="connsiteX453" fmla="*/ 1220369 w 12188817"/>
              <a:gd name="connsiteY453" fmla="*/ 6446927 h 6857997"/>
              <a:gd name="connsiteX454" fmla="*/ 1207392 w 12188817"/>
              <a:gd name="connsiteY454" fmla="*/ 6490086 h 6857997"/>
              <a:gd name="connsiteX455" fmla="*/ 1203206 w 12188817"/>
              <a:gd name="connsiteY455" fmla="*/ 6506960 h 6857997"/>
              <a:gd name="connsiteX456" fmla="*/ 1198811 w 12188817"/>
              <a:gd name="connsiteY456" fmla="*/ 6489808 h 6857997"/>
              <a:gd name="connsiteX457" fmla="*/ 1186114 w 12188817"/>
              <a:gd name="connsiteY457" fmla="*/ 6446927 h 6857997"/>
              <a:gd name="connsiteX458" fmla="*/ 1175022 w 12188817"/>
              <a:gd name="connsiteY458" fmla="*/ 6446927 h 6857997"/>
              <a:gd name="connsiteX459" fmla="*/ 1198132 w 12188817"/>
              <a:gd name="connsiteY459" fmla="*/ 6521125 h 6857997"/>
              <a:gd name="connsiteX460" fmla="*/ 1194080 w 12188817"/>
              <a:gd name="connsiteY460" fmla="*/ 6533431 h 6857997"/>
              <a:gd name="connsiteX461" fmla="*/ 1190554 w 12188817"/>
              <a:gd name="connsiteY461" fmla="*/ 6537549 h 6857997"/>
              <a:gd name="connsiteX462" fmla="*/ 1185143 w 12188817"/>
              <a:gd name="connsiteY462" fmla="*/ 6538875 h 6857997"/>
              <a:gd name="connsiteX463" fmla="*/ 1179277 w 12188817"/>
              <a:gd name="connsiteY463" fmla="*/ 6537758 h 6857997"/>
              <a:gd name="connsiteX464" fmla="*/ 1180394 w 12188817"/>
              <a:gd name="connsiteY464" fmla="*/ 6549548 h 6857997"/>
              <a:gd name="connsiteX465" fmla="*/ 1187032 w 12188817"/>
              <a:gd name="connsiteY465" fmla="*/ 6551083 h 6857997"/>
              <a:gd name="connsiteX466" fmla="*/ 1194543 w 12188817"/>
              <a:gd name="connsiteY466" fmla="*/ 6548921 h 6857997"/>
              <a:gd name="connsiteX467" fmla="*/ 1200483 w 12188817"/>
              <a:gd name="connsiteY467" fmla="*/ 6541840 h 6857997"/>
              <a:gd name="connsiteX468" fmla="*/ 1207645 w 12188817"/>
              <a:gd name="connsiteY468" fmla="*/ 6522271 h 6857997"/>
              <a:gd name="connsiteX469" fmla="*/ 1228368 w 12188817"/>
              <a:gd name="connsiteY469" fmla="*/ 6454529 h 6857997"/>
              <a:gd name="connsiteX470" fmla="*/ 1228368 w 12188817"/>
              <a:gd name="connsiteY470" fmla="*/ 6521015 h 6857997"/>
              <a:gd name="connsiteX471" fmla="*/ 1238623 w 12188817"/>
              <a:gd name="connsiteY471" fmla="*/ 6521015 h 6857997"/>
              <a:gd name="connsiteX472" fmla="*/ 1238623 w 12188817"/>
              <a:gd name="connsiteY472" fmla="*/ 6482227 h 6857997"/>
              <a:gd name="connsiteX473" fmla="*/ 1240576 w 12188817"/>
              <a:gd name="connsiteY473" fmla="*/ 6466949 h 6857997"/>
              <a:gd name="connsiteX474" fmla="*/ 1244413 w 12188817"/>
              <a:gd name="connsiteY474" fmla="*/ 6460531 h 6857997"/>
              <a:gd name="connsiteX475" fmla="*/ 1250413 w 12188817"/>
              <a:gd name="connsiteY475" fmla="*/ 6458228 h 6857997"/>
              <a:gd name="connsiteX476" fmla="*/ 1257877 w 12188817"/>
              <a:gd name="connsiteY476" fmla="*/ 6460949 h 6857997"/>
              <a:gd name="connsiteX477" fmla="*/ 1261365 w 12188817"/>
              <a:gd name="connsiteY477" fmla="*/ 6449299 h 6857997"/>
              <a:gd name="connsiteX478" fmla="*/ 1250831 w 12188817"/>
              <a:gd name="connsiteY478" fmla="*/ 6445252 h 6857997"/>
              <a:gd name="connsiteX479" fmla="*/ 1141038 w 12188817"/>
              <a:gd name="connsiteY479" fmla="*/ 6445252 h 6857997"/>
              <a:gd name="connsiteX480" fmla="*/ 1131286 w 12188817"/>
              <a:gd name="connsiteY480" fmla="*/ 6447903 h 6857997"/>
              <a:gd name="connsiteX481" fmla="*/ 1123555 w 12188817"/>
              <a:gd name="connsiteY481" fmla="*/ 6456554 h 6857997"/>
              <a:gd name="connsiteX482" fmla="*/ 1123555 w 12188817"/>
              <a:gd name="connsiteY482" fmla="*/ 6446927 h 6857997"/>
              <a:gd name="connsiteX483" fmla="*/ 1114068 w 12188817"/>
              <a:gd name="connsiteY483" fmla="*/ 6446927 h 6857997"/>
              <a:gd name="connsiteX484" fmla="*/ 1114068 w 12188817"/>
              <a:gd name="connsiteY484" fmla="*/ 6549409 h 6857997"/>
              <a:gd name="connsiteX485" fmla="*/ 1124323 w 12188817"/>
              <a:gd name="connsiteY485" fmla="*/ 6549409 h 6857997"/>
              <a:gd name="connsiteX486" fmla="*/ 1124323 w 12188817"/>
              <a:gd name="connsiteY486" fmla="*/ 6513341 h 6857997"/>
              <a:gd name="connsiteX487" fmla="*/ 1131439 w 12188817"/>
              <a:gd name="connsiteY487" fmla="*/ 6520248 h 6857997"/>
              <a:gd name="connsiteX488" fmla="*/ 1140298 w 12188817"/>
              <a:gd name="connsiteY488" fmla="*/ 6522690 h 6857997"/>
              <a:gd name="connsiteX489" fmla="*/ 1158890 w 12188817"/>
              <a:gd name="connsiteY489" fmla="*/ 6512469 h 6857997"/>
              <a:gd name="connsiteX490" fmla="*/ 1166808 w 12188817"/>
              <a:gd name="connsiteY490" fmla="*/ 6483343 h 6857997"/>
              <a:gd name="connsiteX491" fmla="*/ 1163291 w 12188817"/>
              <a:gd name="connsiteY491" fmla="*/ 6462449 h 6857997"/>
              <a:gd name="connsiteX492" fmla="*/ 1153993 w 12188817"/>
              <a:gd name="connsiteY492" fmla="*/ 6449508 h 6857997"/>
              <a:gd name="connsiteX493" fmla="*/ 1141038 w 12188817"/>
              <a:gd name="connsiteY493" fmla="*/ 6445252 h 6857997"/>
              <a:gd name="connsiteX494" fmla="*/ 1071949 w 12188817"/>
              <a:gd name="connsiteY494" fmla="*/ 6445252 h 6857997"/>
              <a:gd name="connsiteX495" fmla="*/ 1051543 w 12188817"/>
              <a:gd name="connsiteY495" fmla="*/ 6455019 h 6857997"/>
              <a:gd name="connsiteX496" fmla="*/ 1043486 w 12188817"/>
              <a:gd name="connsiteY496" fmla="*/ 6483971 h 6857997"/>
              <a:gd name="connsiteX497" fmla="*/ 1051613 w 12188817"/>
              <a:gd name="connsiteY497" fmla="*/ 6512888 h 6857997"/>
              <a:gd name="connsiteX498" fmla="*/ 1071949 w 12188817"/>
              <a:gd name="connsiteY498" fmla="*/ 6522690 h 6857997"/>
              <a:gd name="connsiteX499" fmla="*/ 1092390 w 12188817"/>
              <a:gd name="connsiteY499" fmla="*/ 6512923 h 6857997"/>
              <a:gd name="connsiteX500" fmla="*/ 1100412 w 12188817"/>
              <a:gd name="connsiteY500" fmla="*/ 6483204 h 6857997"/>
              <a:gd name="connsiteX501" fmla="*/ 1092250 w 12188817"/>
              <a:gd name="connsiteY501" fmla="*/ 6455019 h 6857997"/>
              <a:gd name="connsiteX502" fmla="*/ 1071949 w 12188817"/>
              <a:gd name="connsiteY502" fmla="*/ 6445252 h 6857997"/>
              <a:gd name="connsiteX503" fmla="*/ 883892 w 12188817"/>
              <a:gd name="connsiteY503" fmla="*/ 6440020 h 6857997"/>
              <a:gd name="connsiteX504" fmla="*/ 867086 w 12188817"/>
              <a:gd name="connsiteY504" fmla="*/ 6447642 h 6857997"/>
              <a:gd name="connsiteX505" fmla="*/ 860692 w 12188817"/>
              <a:gd name="connsiteY505" fmla="*/ 6469809 h 6857997"/>
              <a:gd name="connsiteX506" fmla="*/ 867156 w 12188817"/>
              <a:gd name="connsiteY506" fmla="*/ 6492115 h 6857997"/>
              <a:gd name="connsiteX507" fmla="*/ 883401 w 12188817"/>
              <a:gd name="connsiteY507" fmla="*/ 6499877 h 6857997"/>
              <a:gd name="connsiteX508" fmla="*/ 896713 w 12188817"/>
              <a:gd name="connsiteY508" fmla="*/ 6494819 h 6857997"/>
              <a:gd name="connsiteX509" fmla="*/ 904155 w 12188817"/>
              <a:gd name="connsiteY509" fmla="*/ 6480762 h 6857997"/>
              <a:gd name="connsiteX510" fmla="*/ 897178 w 12188817"/>
              <a:gd name="connsiteY510" fmla="*/ 6478250 h 6857997"/>
              <a:gd name="connsiteX511" fmla="*/ 891863 w 12188817"/>
              <a:gd name="connsiteY511" fmla="*/ 6488192 h 6857997"/>
              <a:gd name="connsiteX512" fmla="*/ 882842 w 12188817"/>
              <a:gd name="connsiteY512" fmla="*/ 6491715 h 6857997"/>
              <a:gd name="connsiteX513" fmla="*/ 872562 w 12188817"/>
              <a:gd name="connsiteY513" fmla="*/ 6486326 h 6857997"/>
              <a:gd name="connsiteX514" fmla="*/ 868436 w 12188817"/>
              <a:gd name="connsiteY514" fmla="*/ 6470300 h 6857997"/>
              <a:gd name="connsiteX515" fmla="*/ 872772 w 12188817"/>
              <a:gd name="connsiteY515" fmla="*/ 6453502 h 6857997"/>
              <a:gd name="connsiteX516" fmla="*/ 883613 w 12188817"/>
              <a:gd name="connsiteY516" fmla="*/ 6447834 h 6857997"/>
              <a:gd name="connsiteX517" fmla="*/ 891341 w 12188817"/>
              <a:gd name="connsiteY517" fmla="*/ 6450520 h 6857997"/>
              <a:gd name="connsiteX518" fmla="*/ 896481 w 12188817"/>
              <a:gd name="connsiteY518" fmla="*/ 6458507 h 6857997"/>
              <a:gd name="connsiteX519" fmla="*/ 903317 w 12188817"/>
              <a:gd name="connsiteY519" fmla="*/ 6456484 h 6857997"/>
              <a:gd name="connsiteX520" fmla="*/ 896260 w 12188817"/>
              <a:gd name="connsiteY520" fmla="*/ 6444346 h 6857997"/>
              <a:gd name="connsiteX521" fmla="*/ 883892 w 12188817"/>
              <a:gd name="connsiteY521" fmla="*/ 6440020 h 6857997"/>
              <a:gd name="connsiteX522" fmla="*/ 2030135 w 12188817"/>
              <a:gd name="connsiteY522" fmla="*/ 6429486 h 6857997"/>
              <a:gd name="connsiteX523" fmla="*/ 2036063 w 12188817"/>
              <a:gd name="connsiteY523" fmla="*/ 6450694 h 6857997"/>
              <a:gd name="connsiteX524" fmla="*/ 2044779 w 12188817"/>
              <a:gd name="connsiteY524" fmla="*/ 6479018 h 6857997"/>
              <a:gd name="connsiteX525" fmla="*/ 2016211 w 12188817"/>
              <a:gd name="connsiteY525" fmla="*/ 6479018 h 6857997"/>
              <a:gd name="connsiteX526" fmla="*/ 2025540 w 12188817"/>
              <a:gd name="connsiteY526" fmla="*/ 6449020 h 6857997"/>
              <a:gd name="connsiteX527" fmla="*/ 2030135 w 12188817"/>
              <a:gd name="connsiteY527" fmla="*/ 6429486 h 6857997"/>
              <a:gd name="connsiteX528" fmla="*/ 883226 w 12188817"/>
              <a:gd name="connsiteY528" fmla="*/ 6425649 h 6857997"/>
              <a:gd name="connsiteX529" fmla="*/ 907922 w 12188817"/>
              <a:gd name="connsiteY529" fmla="*/ 6437738 h 6857997"/>
              <a:gd name="connsiteX530" fmla="*/ 919223 w 12188817"/>
              <a:gd name="connsiteY530" fmla="*/ 6469670 h 6857997"/>
              <a:gd name="connsiteX531" fmla="*/ 909317 w 12188817"/>
              <a:gd name="connsiteY531" fmla="*/ 6499925 h 6857997"/>
              <a:gd name="connsiteX532" fmla="*/ 883226 w 12188817"/>
              <a:gd name="connsiteY532" fmla="*/ 6513620 h 6857997"/>
              <a:gd name="connsiteX533" fmla="*/ 858530 w 12188817"/>
              <a:gd name="connsiteY533" fmla="*/ 6501603 h 6857997"/>
              <a:gd name="connsiteX534" fmla="*/ 847228 w 12188817"/>
              <a:gd name="connsiteY534" fmla="*/ 6469670 h 6857997"/>
              <a:gd name="connsiteX535" fmla="*/ 857134 w 12188817"/>
              <a:gd name="connsiteY535" fmla="*/ 6439344 h 6857997"/>
              <a:gd name="connsiteX536" fmla="*/ 883226 w 12188817"/>
              <a:gd name="connsiteY536" fmla="*/ 6425649 h 6857997"/>
              <a:gd name="connsiteX537" fmla="*/ 6208293 w 12188817"/>
              <a:gd name="connsiteY537" fmla="*/ 6421045 h 6857997"/>
              <a:gd name="connsiteX538" fmla="*/ 6198038 w 12188817"/>
              <a:gd name="connsiteY538" fmla="*/ 6428579 h 6857997"/>
              <a:gd name="connsiteX539" fmla="*/ 6198038 w 12188817"/>
              <a:gd name="connsiteY539" fmla="*/ 6446927 h 6857997"/>
              <a:gd name="connsiteX540" fmla="*/ 6190503 w 12188817"/>
              <a:gd name="connsiteY540" fmla="*/ 6446927 h 6857997"/>
              <a:gd name="connsiteX541" fmla="*/ 6190503 w 12188817"/>
              <a:gd name="connsiteY541" fmla="*/ 6456694 h 6857997"/>
              <a:gd name="connsiteX542" fmla="*/ 6198038 w 12188817"/>
              <a:gd name="connsiteY542" fmla="*/ 6456694 h 6857997"/>
              <a:gd name="connsiteX543" fmla="*/ 6198038 w 12188817"/>
              <a:gd name="connsiteY543" fmla="*/ 6499319 h 6857997"/>
              <a:gd name="connsiteX544" fmla="*/ 6199259 w 12188817"/>
              <a:gd name="connsiteY544" fmla="*/ 6514039 h 6857997"/>
              <a:gd name="connsiteX545" fmla="*/ 6203758 w 12188817"/>
              <a:gd name="connsiteY545" fmla="*/ 6519864 h 6857997"/>
              <a:gd name="connsiteX546" fmla="*/ 6212409 w 12188817"/>
              <a:gd name="connsiteY546" fmla="*/ 6521992 h 6857997"/>
              <a:gd name="connsiteX547" fmla="*/ 6220083 w 12188817"/>
              <a:gd name="connsiteY547" fmla="*/ 6520876 h 6857997"/>
              <a:gd name="connsiteX548" fmla="*/ 6218688 w 12188817"/>
              <a:gd name="connsiteY548" fmla="*/ 6509783 h 6857997"/>
              <a:gd name="connsiteX549" fmla="*/ 6214153 w 12188817"/>
              <a:gd name="connsiteY549" fmla="*/ 6510272 h 6857997"/>
              <a:gd name="connsiteX550" fmla="*/ 6209200 w 12188817"/>
              <a:gd name="connsiteY550" fmla="*/ 6507760 h 6857997"/>
              <a:gd name="connsiteX551" fmla="*/ 6208293 w 12188817"/>
              <a:gd name="connsiteY551" fmla="*/ 6500017 h 6857997"/>
              <a:gd name="connsiteX552" fmla="*/ 6208293 w 12188817"/>
              <a:gd name="connsiteY552" fmla="*/ 6456694 h 6857997"/>
              <a:gd name="connsiteX553" fmla="*/ 6218688 w 12188817"/>
              <a:gd name="connsiteY553" fmla="*/ 6456694 h 6857997"/>
              <a:gd name="connsiteX554" fmla="*/ 6218688 w 12188817"/>
              <a:gd name="connsiteY554" fmla="*/ 6446927 h 6857997"/>
              <a:gd name="connsiteX555" fmla="*/ 6208293 w 12188817"/>
              <a:gd name="connsiteY555" fmla="*/ 6446927 h 6857997"/>
              <a:gd name="connsiteX556" fmla="*/ 2421955 w 12188817"/>
              <a:gd name="connsiteY556" fmla="*/ 6421045 h 6857997"/>
              <a:gd name="connsiteX557" fmla="*/ 2411700 w 12188817"/>
              <a:gd name="connsiteY557" fmla="*/ 6428579 h 6857997"/>
              <a:gd name="connsiteX558" fmla="*/ 2411700 w 12188817"/>
              <a:gd name="connsiteY558" fmla="*/ 6446927 h 6857997"/>
              <a:gd name="connsiteX559" fmla="*/ 2404165 w 12188817"/>
              <a:gd name="connsiteY559" fmla="*/ 6446927 h 6857997"/>
              <a:gd name="connsiteX560" fmla="*/ 2404165 w 12188817"/>
              <a:gd name="connsiteY560" fmla="*/ 6456694 h 6857997"/>
              <a:gd name="connsiteX561" fmla="*/ 2411700 w 12188817"/>
              <a:gd name="connsiteY561" fmla="*/ 6456694 h 6857997"/>
              <a:gd name="connsiteX562" fmla="*/ 2411700 w 12188817"/>
              <a:gd name="connsiteY562" fmla="*/ 6499319 h 6857997"/>
              <a:gd name="connsiteX563" fmla="*/ 2412921 w 12188817"/>
              <a:gd name="connsiteY563" fmla="*/ 6514039 h 6857997"/>
              <a:gd name="connsiteX564" fmla="*/ 2417421 w 12188817"/>
              <a:gd name="connsiteY564" fmla="*/ 6519864 h 6857997"/>
              <a:gd name="connsiteX565" fmla="*/ 2426071 w 12188817"/>
              <a:gd name="connsiteY565" fmla="*/ 6521992 h 6857997"/>
              <a:gd name="connsiteX566" fmla="*/ 2432786 w 12188817"/>
              <a:gd name="connsiteY566" fmla="*/ 6521015 h 6857997"/>
              <a:gd name="connsiteX567" fmla="*/ 2486528 w 12188817"/>
              <a:gd name="connsiteY567" fmla="*/ 6521015 h 6857997"/>
              <a:gd name="connsiteX568" fmla="*/ 2486528 w 12188817"/>
              <a:gd name="connsiteY568" fmla="*/ 6510202 h 6857997"/>
              <a:gd name="connsiteX569" fmla="*/ 2458405 w 12188817"/>
              <a:gd name="connsiteY569" fmla="*/ 6510202 h 6857997"/>
              <a:gd name="connsiteX570" fmla="*/ 2445424 w 12188817"/>
              <a:gd name="connsiteY570" fmla="*/ 6510830 h 6857997"/>
              <a:gd name="connsiteX571" fmla="*/ 2451786 w 12188817"/>
              <a:gd name="connsiteY571" fmla="*/ 6502249 h 6857997"/>
              <a:gd name="connsiteX572" fmla="*/ 2484784 w 12188817"/>
              <a:gd name="connsiteY572" fmla="*/ 6455229 h 6857997"/>
              <a:gd name="connsiteX573" fmla="*/ 2484784 w 12188817"/>
              <a:gd name="connsiteY573" fmla="*/ 6446927 h 6857997"/>
              <a:gd name="connsiteX574" fmla="*/ 2435043 w 12188817"/>
              <a:gd name="connsiteY574" fmla="*/ 6446927 h 6857997"/>
              <a:gd name="connsiteX575" fmla="*/ 2435043 w 12188817"/>
              <a:gd name="connsiteY575" fmla="*/ 6457112 h 6857997"/>
              <a:gd name="connsiteX576" fmla="*/ 2459828 w 12188817"/>
              <a:gd name="connsiteY576" fmla="*/ 6457112 h 6857997"/>
              <a:gd name="connsiteX577" fmla="*/ 2471487 w 12188817"/>
              <a:gd name="connsiteY577" fmla="*/ 6456694 h 6857997"/>
              <a:gd name="connsiteX578" fmla="*/ 2432740 w 12188817"/>
              <a:gd name="connsiteY578" fmla="*/ 6510830 h 6857997"/>
              <a:gd name="connsiteX579" fmla="*/ 2432740 w 12188817"/>
              <a:gd name="connsiteY579" fmla="*/ 6512889 h 6857997"/>
              <a:gd name="connsiteX580" fmla="*/ 2432350 w 12188817"/>
              <a:gd name="connsiteY580" fmla="*/ 6509783 h 6857997"/>
              <a:gd name="connsiteX581" fmla="*/ 2427815 w 12188817"/>
              <a:gd name="connsiteY581" fmla="*/ 6510272 h 6857997"/>
              <a:gd name="connsiteX582" fmla="*/ 2422862 w 12188817"/>
              <a:gd name="connsiteY582" fmla="*/ 6507760 h 6857997"/>
              <a:gd name="connsiteX583" fmla="*/ 2421955 w 12188817"/>
              <a:gd name="connsiteY583" fmla="*/ 6500017 h 6857997"/>
              <a:gd name="connsiteX584" fmla="*/ 2421955 w 12188817"/>
              <a:gd name="connsiteY584" fmla="*/ 6456694 h 6857997"/>
              <a:gd name="connsiteX585" fmla="*/ 2432350 w 12188817"/>
              <a:gd name="connsiteY585" fmla="*/ 6456694 h 6857997"/>
              <a:gd name="connsiteX586" fmla="*/ 2432350 w 12188817"/>
              <a:gd name="connsiteY586" fmla="*/ 6446927 h 6857997"/>
              <a:gd name="connsiteX587" fmla="*/ 2421955 w 12188817"/>
              <a:gd name="connsiteY587" fmla="*/ 6446927 h 6857997"/>
              <a:gd name="connsiteX588" fmla="*/ 1440880 w 12188817"/>
              <a:gd name="connsiteY588" fmla="*/ 6421045 h 6857997"/>
              <a:gd name="connsiteX589" fmla="*/ 1430625 w 12188817"/>
              <a:gd name="connsiteY589" fmla="*/ 6428579 h 6857997"/>
              <a:gd name="connsiteX590" fmla="*/ 1430625 w 12188817"/>
              <a:gd name="connsiteY590" fmla="*/ 6446927 h 6857997"/>
              <a:gd name="connsiteX591" fmla="*/ 1423090 w 12188817"/>
              <a:gd name="connsiteY591" fmla="*/ 6446927 h 6857997"/>
              <a:gd name="connsiteX592" fmla="*/ 1423090 w 12188817"/>
              <a:gd name="connsiteY592" fmla="*/ 6456694 h 6857997"/>
              <a:gd name="connsiteX593" fmla="*/ 1430625 w 12188817"/>
              <a:gd name="connsiteY593" fmla="*/ 6456694 h 6857997"/>
              <a:gd name="connsiteX594" fmla="*/ 1430625 w 12188817"/>
              <a:gd name="connsiteY594" fmla="*/ 6499319 h 6857997"/>
              <a:gd name="connsiteX595" fmla="*/ 1431846 w 12188817"/>
              <a:gd name="connsiteY595" fmla="*/ 6514039 h 6857997"/>
              <a:gd name="connsiteX596" fmla="*/ 1436345 w 12188817"/>
              <a:gd name="connsiteY596" fmla="*/ 6519864 h 6857997"/>
              <a:gd name="connsiteX597" fmla="*/ 1444996 w 12188817"/>
              <a:gd name="connsiteY597" fmla="*/ 6521992 h 6857997"/>
              <a:gd name="connsiteX598" fmla="*/ 1452670 w 12188817"/>
              <a:gd name="connsiteY598" fmla="*/ 6520876 h 6857997"/>
              <a:gd name="connsiteX599" fmla="*/ 1451275 w 12188817"/>
              <a:gd name="connsiteY599" fmla="*/ 6509783 h 6857997"/>
              <a:gd name="connsiteX600" fmla="*/ 1446740 w 12188817"/>
              <a:gd name="connsiteY600" fmla="*/ 6510272 h 6857997"/>
              <a:gd name="connsiteX601" fmla="*/ 1441787 w 12188817"/>
              <a:gd name="connsiteY601" fmla="*/ 6507760 h 6857997"/>
              <a:gd name="connsiteX602" fmla="*/ 1440880 w 12188817"/>
              <a:gd name="connsiteY602" fmla="*/ 6500017 h 6857997"/>
              <a:gd name="connsiteX603" fmla="*/ 1440880 w 12188817"/>
              <a:gd name="connsiteY603" fmla="*/ 6456694 h 6857997"/>
              <a:gd name="connsiteX604" fmla="*/ 1451275 w 12188817"/>
              <a:gd name="connsiteY604" fmla="*/ 6456694 h 6857997"/>
              <a:gd name="connsiteX605" fmla="*/ 1451275 w 12188817"/>
              <a:gd name="connsiteY605" fmla="*/ 6446927 h 6857997"/>
              <a:gd name="connsiteX606" fmla="*/ 1440880 w 12188817"/>
              <a:gd name="connsiteY606" fmla="*/ 6446927 h 6857997"/>
              <a:gd name="connsiteX607" fmla="*/ 6319282 w 12188817"/>
              <a:gd name="connsiteY607" fmla="*/ 6418742 h 6857997"/>
              <a:gd name="connsiteX608" fmla="*/ 6319282 w 12188817"/>
              <a:gd name="connsiteY608" fmla="*/ 6521015 h 6857997"/>
              <a:gd name="connsiteX609" fmla="*/ 6329537 w 12188817"/>
              <a:gd name="connsiteY609" fmla="*/ 6521015 h 6857997"/>
              <a:gd name="connsiteX610" fmla="*/ 6329537 w 12188817"/>
              <a:gd name="connsiteY610" fmla="*/ 6418742 h 6857997"/>
              <a:gd name="connsiteX611" fmla="*/ 6224380 w 12188817"/>
              <a:gd name="connsiteY611" fmla="*/ 6418742 h 6857997"/>
              <a:gd name="connsiteX612" fmla="*/ 6224380 w 12188817"/>
              <a:gd name="connsiteY612" fmla="*/ 6433183 h 6857997"/>
              <a:gd name="connsiteX613" fmla="*/ 6234636 w 12188817"/>
              <a:gd name="connsiteY613" fmla="*/ 6433183 h 6857997"/>
              <a:gd name="connsiteX614" fmla="*/ 6234636 w 12188817"/>
              <a:gd name="connsiteY614" fmla="*/ 6418742 h 6857997"/>
              <a:gd name="connsiteX615" fmla="*/ 6034361 w 12188817"/>
              <a:gd name="connsiteY615" fmla="*/ 6418742 h 6857997"/>
              <a:gd name="connsiteX616" fmla="*/ 6034361 w 12188817"/>
              <a:gd name="connsiteY616" fmla="*/ 6455438 h 6857997"/>
              <a:gd name="connsiteX617" fmla="*/ 6027152 w 12188817"/>
              <a:gd name="connsiteY617" fmla="*/ 6447938 h 6857997"/>
              <a:gd name="connsiteX618" fmla="*/ 6017716 w 12188817"/>
              <a:gd name="connsiteY618" fmla="*/ 6445252 h 6857997"/>
              <a:gd name="connsiteX619" fmla="*/ 6004794 w 12188817"/>
              <a:gd name="connsiteY619" fmla="*/ 6449508 h 6857997"/>
              <a:gd name="connsiteX620" fmla="*/ 5995495 w 12188817"/>
              <a:gd name="connsiteY620" fmla="*/ 6462554 h 6857997"/>
              <a:gd name="connsiteX621" fmla="*/ 5992013 w 12188817"/>
              <a:gd name="connsiteY621" fmla="*/ 6483971 h 6857997"/>
              <a:gd name="connsiteX622" fmla="*/ 5999862 w 12188817"/>
              <a:gd name="connsiteY622" fmla="*/ 6512539 h 6857997"/>
              <a:gd name="connsiteX623" fmla="*/ 6018454 w 12188817"/>
              <a:gd name="connsiteY623" fmla="*/ 6522690 h 6857997"/>
              <a:gd name="connsiteX624" fmla="*/ 6027944 w 12188817"/>
              <a:gd name="connsiteY624" fmla="*/ 6519864 h 6857997"/>
              <a:gd name="connsiteX625" fmla="*/ 6035129 w 12188817"/>
              <a:gd name="connsiteY625" fmla="*/ 6511667 h 6857997"/>
              <a:gd name="connsiteX626" fmla="*/ 6035129 w 12188817"/>
              <a:gd name="connsiteY626" fmla="*/ 6521015 h 6857997"/>
              <a:gd name="connsiteX627" fmla="*/ 6044755 w 12188817"/>
              <a:gd name="connsiteY627" fmla="*/ 6521015 h 6857997"/>
              <a:gd name="connsiteX628" fmla="*/ 6044755 w 12188817"/>
              <a:gd name="connsiteY628" fmla="*/ 6418742 h 6857997"/>
              <a:gd name="connsiteX629" fmla="*/ 2790947 w 12188817"/>
              <a:gd name="connsiteY629" fmla="*/ 6418742 h 6857997"/>
              <a:gd name="connsiteX630" fmla="*/ 2790947 w 12188817"/>
              <a:gd name="connsiteY630" fmla="*/ 6455438 h 6857997"/>
              <a:gd name="connsiteX631" fmla="*/ 2783737 w 12188817"/>
              <a:gd name="connsiteY631" fmla="*/ 6447938 h 6857997"/>
              <a:gd name="connsiteX632" fmla="*/ 2774300 w 12188817"/>
              <a:gd name="connsiteY632" fmla="*/ 6445252 h 6857997"/>
              <a:gd name="connsiteX633" fmla="*/ 2761380 w 12188817"/>
              <a:gd name="connsiteY633" fmla="*/ 6449508 h 6857997"/>
              <a:gd name="connsiteX634" fmla="*/ 2752082 w 12188817"/>
              <a:gd name="connsiteY634" fmla="*/ 6462554 h 6857997"/>
              <a:gd name="connsiteX635" fmla="*/ 2748600 w 12188817"/>
              <a:gd name="connsiteY635" fmla="*/ 6483971 h 6857997"/>
              <a:gd name="connsiteX636" fmla="*/ 2756449 w 12188817"/>
              <a:gd name="connsiteY636" fmla="*/ 6512539 h 6857997"/>
              <a:gd name="connsiteX637" fmla="*/ 2775041 w 12188817"/>
              <a:gd name="connsiteY637" fmla="*/ 6522690 h 6857997"/>
              <a:gd name="connsiteX638" fmla="*/ 2784528 w 12188817"/>
              <a:gd name="connsiteY638" fmla="*/ 6519864 h 6857997"/>
              <a:gd name="connsiteX639" fmla="*/ 2791714 w 12188817"/>
              <a:gd name="connsiteY639" fmla="*/ 6511667 h 6857997"/>
              <a:gd name="connsiteX640" fmla="*/ 2791714 w 12188817"/>
              <a:gd name="connsiteY640" fmla="*/ 6521015 h 6857997"/>
              <a:gd name="connsiteX641" fmla="*/ 2801341 w 12188817"/>
              <a:gd name="connsiteY641" fmla="*/ 6521015 h 6857997"/>
              <a:gd name="connsiteX642" fmla="*/ 2801341 w 12188817"/>
              <a:gd name="connsiteY642" fmla="*/ 6418742 h 6857997"/>
              <a:gd name="connsiteX643" fmla="*/ 2590094 w 12188817"/>
              <a:gd name="connsiteY643" fmla="*/ 6418742 h 6857997"/>
              <a:gd name="connsiteX644" fmla="*/ 2590094 w 12188817"/>
              <a:gd name="connsiteY644" fmla="*/ 6521015 h 6857997"/>
              <a:gd name="connsiteX645" fmla="*/ 2600349 w 12188817"/>
              <a:gd name="connsiteY645" fmla="*/ 6521015 h 6857997"/>
              <a:gd name="connsiteX646" fmla="*/ 2600349 w 12188817"/>
              <a:gd name="connsiteY646" fmla="*/ 6418742 h 6857997"/>
              <a:gd name="connsiteX647" fmla="*/ 2380892 w 12188817"/>
              <a:gd name="connsiteY647" fmla="*/ 6418742 h 6857997"/>
              <a:gd name="connsiteX648" fmla="*/ 2380892 w 12188817"/>
              <a:gd name="connsiteY648" fmla="*/ 6433183 h 6857997"/>
              <a:gd name="connsiteX649" fmla="*/ 2391148 w 12188817"/>
              <a:gd name="connsiteY649" fmla="*/ 6433183 h 6857997"/>
              <a:gd name="connsiteX650" fmla="*/ 2391148 w 12188817"/>
              <a:gd name="connsiteY650" fmla="*/ 6418742 h 6857997"/>
              <a:gd name="connsiteX651" fmla="*/ 2024493 w 12188817"/>
              <a:gd name="connsiteY651" fmla="*/ 6418742 h 6857997"/>
              <a:gd name="connsiteX652" fmla="*/ 1992149 w 12188817"/>
              <a:gd name="connsiteY652" fmla="*/ 6521015 h 6857997"/>
              <a:gd name="connsiteX653" fmla="*/ 2003850 w 12188817"/>
              <a:gd name="connsiteY653" fmla="*/ 6521015 h 6857997"/>
              <a:gd name="connsiteX654" fmla="*/ 2012966 w 12188817"/>
              <a:gd name="connsiteY654" fmla="*/ 6490040 h 6857997"/>
              <a:gd name="connsiteX655" fmla="*/ 2048249 w 12188817"/>
              <a:gd name="connsiteY655" fmla="*/ 6490040 h 6857997"/>
              <a:gd name="connsiteX656" fmla="*/ 2058004 w 12188817"/>
              <a:gd name="connsiteY656" fmla="*/ 6521015 h 6857997"/>
              <a:gd name="connsiteX657" fmla="*/ 2070702 w 12188817"/>
              <a:gd name="connsiteY657" fmla="*/ 6521015 h 6857997"/>
              <a:gd name="connsiteX658" fmla="*/ 2036357 w 12188817"/>
              <a:gd name="connsiteY658" fmla="*/ 6418742 h 6857997"/>
              <a:gd name="connsiteX659" fmla="*/ 1818918 w 12188817"/>
              <a:gd name="connsiteY659" fmla="*/ 6418742 h 6857997"/>
              <a:gd name="connsiteX660" fmla="*/ 1818918 w 12188817"/>
              <a:gd name="connsiteY660" fmla="*/ 6433183 h 6857997"/>
              <a:gd name="connsiteX661" fmla="*/ 1829173 w 12188817"/>
              <a:gd name="connsiteY661" fmla="*/ 6433183 h 6857997"/>
              <a:gd name="connsiteX662" fmla="*/ 1829173 w 12188817"/>
              <a:gd name="connsiteY662" fmla="*/ 6418742 h 6857997"/>
              <a:gd name="connsiteX663" fmla="*/ 1752242 w 12188817"/>
              <a:gd name="connsiteY663" fmla="*/ 6418742 h 6857997"/>
              <a:gd name="connsiteX664" fmla="*/ 1752242 w 12188817"/>
              <a:gd name="connsiteY664" fmla="*/ 6433183 h 6857997"/>
              <a:gd name="connsiteX665" fmla="*/ 1762498 w 12188817"/>
              <a:gd name="connsiteY665" fmla="*/ 6433183 h 6857997"/>
              <a:gd name="connsiteX666" fmla="*/ 1762498 w 12188817"/>
              <a:gd name="connsiteY666" fmla="*/ 6418742 h 6857997"/>
              <a:gd name="connsiteX667" fmla="*/ 1361717 w 12188817"/>
              <a:gd name="connsiteY667" fmla="*/ 6418742 h 6857997"/>
              <a:gd name="connsiteX668" fmla="*/ 1361717 w 12188817"/>
              <a:gd name="connsiteY668" fmla="*/ 6521015 h 6857997"/>
              <a:gd name="connsiteX669" fmla="*/ 1371973 w 12188817"/>
              <a:gd name="connsiteY669" fmla="*/ 6521015 h 6857997"/>
              <a:gd name="connsiteX670" fmla="*/ 1371973 w 12188817"/>
              <a:gd name="connsiteY670" fmla="*/ 6480483 h 6857997"/>
              <a:gd name="connsiteX671" fmla="*/ 1376682 w 12188817"/>
              <a:gd name="connsiteY671" fmla="*/ 6461437 h 6857997"/>
              <a:gd name="connsiteX672" fmla="*/ 1388088 w 12188817"/>
              <a:gd name="connsiteY672" fmla="*/ 6456066 h 6857997"/>
              <a:gd name="connsiteX673" fmla="*/ 1397506 w 12188817"/>
              <a:gd name="connsiteY673" fmla="*/ 6460252 h 6857997"/>
              <a:gd name="connsiteX674" fmla="*/ 1400924 w 12188817"/>
              <a:gd name="connsiteY674" fmla="*/ 6474065 h 6857997"/>
              <a:gd name="connsiteX675" fmla="*/ 1400924 w 12188817"/>
              <a:gd name="connsiteY675" fmla="*/ 6521015 h 6857997"/>
              <a:gd name="connsiteX676" fmla="*/ 1411180 w 12188817"/>
              <a:gd name="connsiteY676" fmla="*/ 6521015 h 6857997"/>
              <a:gd name="connsiteX677" fmla="*/ 1411180 w 12188817"/>
              <a:gd name="connsiteY677" fmla="*/ 6474065 h 6857997"/>
              <a:gd name="connsiteX678" fmla="*/ 1405564 w 12188817"/>
              <a:gd name="connsiteY678" fmla="*/ 6451426 h 6857997"/>
              <a:gd name="connsiteX679" fmla="*/ 1390251 w 12188817"/>
              <a:gd name="connsiteY679" fmla="*/ 6445252 h 6857997"/>
              <a:gd name="connsiteX680" fmla="*/ 1380170 w 12188817"/>
              <a:gd name="connsiteY680" fmla="*/ 6447799 h 6857997"/>
              <a:gd name="connsiteX681" fmla="*/ 1371973 w 12188817"/>
              <a:gd name="connsiteY681" fmla="*/ 6455438 h 6857997"/>
              <a:gd name="connsiteX682" fmla="*/ 1371973 w 12188817"/>
              <a:gd name="connsiteY682" fmla="*/ 6418742 h 6857997"/>
              <a:gd name="connsiteX683" fmla="*/ 1266468 w 12188817"/>
              <a:gd name="connsiteY683" fmla="*/ 6418742 h 6857997"/>
              <a:gd name="connsiteX684" fmla="*/ 1266468 w 12188817"/>
              <a:gd name="connsiteY684" fmla="*/ 6433183 h 6857997"/>
              <a:gd name="connsiteX685" fmla="*/ 1276723 w 12188817"/>
              <a:gd name="connsiteY685" fmla="*/ 6433183 h 6857997"/>
              <a:gd name="connsiteX686" fmla="*/ 1276723 w 12188817"/>
              <a:gd name="connsiteY686" fmla="*/ 6418742 h 6857997"/>
              <a:gd name="connsiteX687" fmla="*/ 5958279 w 12188817"/>
              <a:gd name="connsiteY687" fmla="*/ 6416998 h 6857997"/>
              <a:gd name="connsiteX688" fmla="*/ 5948872 w 12188817"/>
              <a:gd name="connsiteY688" fmla="*/ 6419301 h 6857997"/>
              <a:gd name="connsiteX689" fmla="*/ 5943310 w 12188817"/>
              <a:gd name="connsiteY689" fmla="*/ 6425963 h 6857997"/>
              <a:gd name="connsiteX690" fmla="*/ 5941493 w 12188817"/>
              <a:gd name="connsiteY690" fmla="*/ 6439044 h 6857997"/>
              <a:gd name="connsiteX691" fmla="*/ 5941493 w 12188817"/>
              <a:gd name="connsiteY691" fmla="*/ 6446927 h 6857997"/>
              <a:gd name="connsiteX692" fmla="*/ 5932352 w 12188817"/>
              <a:gd name="connsiteY692" fmla="*/ 6446927 h 6857997"/>
              <a:gd name="connsiteX693" fmla="*/ 5932352 w 12188817"/>
              <a:gd name="connsiteY693" fmla="*/ 6456694 h 6857997"/>
              <a:gd name="connsiteX694" fmla="*/ 5941493 w 12188817"/>
              <a:gd name="connsiteY694" fmla="*/ 6456694 h 6857997"/>
              <a:gd name="connsiteX695" fmla="*/ 5941493 w 12188817"/>
              <a:gd name="connsiteY695" fmla="*/ 6521015 h 6857997"/>
              <a:gd name="connsiteX696" fmla="*/ 5951746 w 12188817"/>
              <a:gd name="connsiteY696" fmla="*/ 6521015 h 6857997"/>
              <a:gd name="connsiteX697" fmla="*/ 5951746 w 12188817"/>
              <a:gd name="connsiteY697" fmla="*/ 6456694 h 6857997"/>
              <a:gd name="connsiteX698" fmla="*/ 5963607 w 12188817"/>
              <a:gd name="connsiteY698" fmla="*/ 6456694 h 6857997"/>
              <a:gd name="connsiteX699" fmla="*/ 5963607 w 12188817"/>
              <a:gd name="connsiteY699" fmla="*/ 6446927 h 6857997"/>
              <a:gd name="connsiteX700" fmla="*/ 5951746 w 12188817"/>
              <a:gd name="connsiteY700" fmla="*/ 6446927 h 6857997"/>
              <a:gd name="connsiteX701" fmla="*/ 5951746 w 12188817"/>
              <a:gd name="connsiteY701" fmla="*/ 6440090 h 6857997"/>
              <a:gd name="connsiteX702" fmla="*/ 5953735 w 12188817"/>
              <a:gd name="connsiteY702" fmla="*/ 6430916 h 6857997"/>
              <a:gd name="connsiteX703" fmla="*/ 5960327 w 12188817"/>
              <a:gd name="connsiteY703" fmla="*/ 6428509 h 6857997"/>
              <a:gd name="connsiteX704" fmla="*/ 5966397 w 12188817"/>
              <a:gd name="connsiteY704" fmla="*/ 6429207 h 6857997"/>
              <a:gd name="connsiteX705" fmla="*/ 5967205 w 12188817"/>
              <a:gd name="connsiteY705" fmla="*/ 6423469 h 6857997"/>
              <a:gd name="connsiteX706" fmla="*/ 5967205 w 12188817"/>
              <a:gd name="connsiteY706" fmla="*/ 6433183 h 6857997"/>
              <a:gd name="connsiteX707" fmla="*/ 5977462 w 12188817"/>
              <a:gd name="connsiteY707" fmla="*/ 6433183 h 6857997"/>
              <a:gd name="connsiteX708" fmla="*/ 5977462 w 12188817"/>
              <a:gd name="connsiteY708" fmla="*/ 6418742 h 6857997"/>
              <a:gd name="connsiteX709" fmla="*/ 5967872 w 12188817"/>
              <a:gd name="connsiteY709" fmla="*/ 6418742 h 6857997"/>
              <a:gd name="connsiteX710" fmla="*/ 5967932 w 12188817"/>
              <a:gd name="connsiteY710" fmla="*/ 6418324 h 6857997"/>
              <a:gd name="connsiteX711" fmla="*/ 5958279 w 12188817"/>
              <a:gd name="connsiteY711" fmla="*/ 6416998 h 6857997"/>
              <a:gd name="connsiteX712" fmla="*/ 883226 w 12188817"/>
              <a:gd name="connsiteY712" fmla="*/ 6416998 h 6857997"/>
              <a:gd name="connsiteX713" fmla="*/ 862262 w 12188817"/>
              <a:gd name="connsiteY713" fmla="*/ 6423591 h 6857997"/>
              <a:gd name="connsiteX714" fmla="*/ 846181 w 12188817"/>
              <a:gd name="connsiteY714" fmla="*/ 6442532 h 6857997"/>
              <a:gd name="connsiteX715" fmla="*/ 840042 w 12188817"/>
              <a:gd name="connsiteY715" fmla="*/ 6469670 h 6857997"/>
              <a:gd name="connsiteX716" fmla="*/ 852460 w 12188817"/>
              <a:gd name="connsiteY716" fmla="*/ 6506539 h 6857997"/>
              <a:gd name="connsiteX717" fmla="*/ 883226 w 12188817"/>
              <a:gd name="connsiteY717" fmla="*/ 6522271 h 6857997"/>
              <a:gd name="connsiteX718" fmla="*/ 904190 w 12188817"/>
              <a:gd name="connsiteY718" fmla="*/ 6515678 h 6857997"/>
              <a:gd name="connsiteX719" fmla="*/ 920270 w 12188817"/>
              <a:gd name="connsiteY719" fmla="*/ 6496738 h 6857997"/>
              <a:gd name="connsiteX720" fmla="*/ 926409 w 12188817"/>
              <a:gd name="connsiteY720" fmla="*/ 6469670 h 6857997"/>
              <a:gd name="connsiteX721" fmla="*/ 913991 w 12188817"/>
              <a:gd name="connsiteY721" fmla="*/ 6432765 h 6857997"/>
              <a:gd name="connsiteX722" fmla="*/ 883226 w 12188817"/>
              <a:gd name="connsiteY722" fmla="*/ 6416998 h 6857997"/>
              <a:gd name="connsiteX723" fmla="*/ 5757197 w 12188817"/>
              <a:gd name="connsiteY723" fmla="*/ 6416929 h 6857997"/>
              <a:gd name="connsiteX724" fmla="*/ 5737086 w 12188817"/>
              <a:gd name="connsiteY724" fmla="*/ 6422897 h 6857997"/>
              <a:gd name="connsiteX725" fmla="*/ 5722805 w 12188817"/>
              <a:gd name="connsiteY725" fmla="*/ 6440559 h 6857997"/>
              <a:gd name="connsiteX726" fmla="*/ 5717533 w 12188817"/>
              <a:gd name="connsiteY726" fmla="*/ 6469146 h 6857997"/>
              <a:gd name="connsiteX727" fmla="*/ 5722800 w 12188817"/>
              <a:gd name="connsiteY727" fmla="*/ 6498815 h 6857997"/>
              <a:gd name="connsiteX728" fmla="*/ 5736334 w 12188817"/>
              <a:gd name="connsiteY728" fmla="*/ 6517070 h 6857997"/>
              <a:gd name="connsiteX729" fmla="*/ 5756252 w 12188817"/>
              <a:gd name="connsiteY729" fmla="*/ 6522759 h 6857997"/>
              <a:gd name="connsiteX730" fmla="*/ 5778750 w 12188817"/>
              <a:gd name="connsiteY730" fmla="*/ 6514283 h 6857997"/>
              <a:gd name="connsiteX731" fmla="*/ 5791691 w 12188817"/>
              <a:gd name="connsiteY731" fmla="*/ 6488575 h 6857997"/>
              <a:gd name="connsiteX732" fmla="*/ 5780529 w 12188817"/>
              <a:gd name="connsiteY732" fmla="*/ 6485157 h 6857997"/>
              <a:gd name="connsiteX733" fmla="*/ 5771703 w 12188817"/>
              <a:gd name="connsiteY733" fmla="*/ 6504726 h 6857997"/>
              <a:gd name="connsiteX734" fmla="*/ 5756044 w 12188817"/>
              <a:gd name="connsiteY734" fmla="*/ 6511179 h 6857997"/>
              <a:gd name="connsiteX735" fmla="*/ 5736369 w 12188817"/>
              <a:gd name="connsiteY735" fmla="*/ 6500671 h 6857997"/>
              <a:gd name="connsiteX736" fmla="*/ 5728974 w 12188817"/>
              <a:gd name="connsiteY736" fmla="*/ 6469145 h 6857997"/>
              <a:gd name="connsiteX737" fmla="*/ 5732642 w 12188817"/>
              <a:gd name="connsiteY737" fmla="*/ 6446175 h 6857997"/>
              <a:gd name="connsiteX738" fmla="*/ 5742458 w 12188817"/>
              <a:gd name="connsiteY738" fmla="*/ 6432804 h 6857997"/>
              <a:gd name="connsiteX739" fmla="*/ 5756988 w 12188817"/>
              <a:gd name="connsiteY739" fmla="*/ 6428509 h 6857997"/>
              <a:gd name="connsiteX740" fmla="*/ 5779412 w 12188817"/>
              <a:gd name="connsiteY740" fmla="*/ 6449787 h 6857997"/>
              <a:gd name="connsiteX741" fmla="*/ 5790296 w 12188817"/>
              <a:gd name="connsiteY741" fmla="*/ 6446648 h 6857997"/>
              <a:gd name="connsiteX742" fmla="*/ 5778077 w 12188817"/>
              <a:gd name="connsiteY742" fmla="*/ 6424480 h 6857997"/>
              <a:gd name="connsiteX743" fmla="*/ 5757197 w 12188817"/>
              <a:gd name="connsiteY743" fmla="*/ 6416929 h 6857997"/>
              <a:gd name="connsiteX744" fmla="*/ 2249524 w 12188817"/>
              <a:gd name="connsiteY744" fmla="*/ 6416929 h 6857997"/>
              <a:gd name="connsiteX745" fmla="*/ 2227897 w 12188817"/>
              <a:gd name="connsiteY745" fmla="*/ 6424812 h 6857997"/>
              <a:gd name="connsiteX746" fmla="*/ 2219874 w 12188817"/>
              <a:gd name="connsiteY746" fmla="*/ 6445113 h 6857997"/>
              <a:gd name="connsiteX747" fmla="*/ 2222665 w 12188817"/>
              <a:gd name="connsiteY747" fmla="*/ 6457496 h 6857997"/>
              <a:gd name="connsiteX748" fmla="*/ 2230478 w 12188817"/>
              <a:gd name="connsiteY748" fmla="*/ 6466530 h 6857997"/>
              <a:gd name="connsiteX749" fmla="*/ 2247361 w 12188817"/>
              <a:gd name="connsiteY749" fmla="*/ 6473609 h 6857997"/>
              <a:gd name="connsiteX750" fmla="*/ 2264697 w 12188817"/>
              <a:gd name="connsiteY750" fmla="*/ 6479711 h 6857997"/>
              <a:gd name="connsiteX751" fmla="*/ 2270697 w 12188817"/>
              <a:gd name="connsiteY751" fmla="*/ 6485246 h 6857997"/>
              <a:gd name="connsiteX752" fmla="*/ 2272685 w 12188817"/>
              <a:gd name="connsiteY752" fmla="*/ 6493147 h 6857997"/>
              <a:gd name="connsiteX753" fmla="*/ 2267209 w 12188817"/>
              <a:gd name="connsiteY753" fmla="*/ 6505713 h 6857997"/>
              <a:gd name="connsiteX754" fmla="*/ 2251826 w 12188817"/>
              <a:gd name="connsiteY754" fmla="*/ 6510551 h 6857997"/>
              <a:gd name="connsiteX755" fmla="*/ 2239408 w 12188817"/>
              <a:gd name="connsiteY755" fmla="*/ 6507690 h 6857997"/>
              <a:gd name="connsiteX756" fmla="*/ 2230932 w 12188817"/>
              <a:gd name="connsiteY756" fmla="*/ 6500121 h 6857997"/>
              <a:gd name="connsiteX757" fmla="*/ 2227130 w 12188817"/>
              <a:gd name="connsiteY757" fmla="*/ 6486971 h 6857997"/>
              <a:gd name="connsiteX758" fmla="*/ 2216665 w 12188817"/>
              <a:gd name="connsiteY758" fmla="*/ 6488087 h 6857997"/>
              <a:gd name="connsiteX759" fmla="*/ 2226258 w 12188817"/>
              <a:gd name="connsiteY759" fmla="*/ 6513411 h 6857997"/>
              <a:gd name="connsiteX760" fmla="*/ 2251059 w 12188817"/>
              <a:gd name="connsiteY760" fmla="*/ 6522759 h 6857997"/>
              <a:gd name="connsiteX761" fmla="*/ 2268116 w 12188817"/>
              <a:gd name="connsiteY761" fmla="*/ 6518996 h 6857997"/>
              <a:gd name="connsiteX762" fmla="*/ 2279313 w 12188817"/>
              <a:gd name="connsiteY762" fmla="*/ 6508020 h 6857997"/>
              <a:gd name="connsiteX763" fmla="*/ 2283429 w 12188817"/>
              <a:gd name="connsiteY763" fmla="*/ 6492028 h 6857997"/>
              <a:gd name="connsiteX764" fmla="*/ 2279514 w 12188817"/>
              <a:gd name="connsiteY764" fmla="*/ 6476800 h 6857997"/>
              <a:gd name="connsiteX765" fmla="*/ 2267928 w 12188817"/>
              <a:gd name="connsiteY765" fmla="*/ 6466500 h 6857997"/>
              <a:gd name="connsiteX766" fmla="*/ 2250496 w 12188817"/>
              <a:gd name="connsiteY766" fmla="*/ 6460543 h 6857997"/>
              <a:gd name="connsiteX767" fmla="*/ 2234177 w 12188817"/>
              <a:gd name="connsiteY767" fmla="*/ 6453621 h 6857997"/>
              <a:gd name="connsiteX768" fmla="*/ 2230548 w 12188817"/>
              <a:gd name="connsiteY768" fmla="*/ 6443995 h 6857997"/>
              <a:gd name="connsiteX769" fmla="*/ 2235501 w 12188817"/>
              <a:gd name="connsiteY769" fmla="*/ 6433078 h 6857997"/>
              <a:gd name="connsiteX770" fmla="*/ 2249873 w 12188817"/>
              <a:gd name="connsiteY770" fmla="*/ 6428858 h 6857997"/>
              <a:gd name="connsiteX771" fmla="*/ 2264279 w 12188817"/>
              <a:gd name="connsiteY771" fmla="*/ 6433672 h 6857997"/>
              <a:gd name="connsiteX772" fmla="*/ 2270243 w 12188817"/>
              <a:gd name="connsiteY772" fmla="*/ 6448462 h 6857997"/>
              <a:gd name="connsiteX773" fmla="*/ 2280917 w 12188817"/>
              <a:gd name="connsiteY773" fmla="*/ 6447485 h 6857997"/>
              <a:gd name="connsiteX774" fmla="*/ 2276766 w 12188817"/>
              <a:gd name="connsiteY774" fmla="*/ 6431230 h 6857997"/>
              <a:gd name="connsiteX775" fmla="*/ 2265883 w 12188817"/>
              <a:gd name="connsiteY775" fmla="*/ 6420626 h 6857997"/>
              <a:gd name="connsiteX776" fmla="*/ 2249524 w 12188817"/>
              <a:gd name="connsiteY776" fmla="*/ 6416929 h 6857997"/>
              <a:gd name="connsiteX777" fmla="*/ 2107518 w 12188817"/>
              <a:gd name="connsiteY777" fmla="*/ 6416929 h 6857997"/>
              <a:gd name="connsiteX778" fmla="*/ 2085892 w 12188817"/>
              <a:gd name="connsiteY778" fmla="*/ 6422827 h 6857997"/>
              <a:gd name="connsiteX779" fmla="*/ 2071102 w 12188817"/>
              <a:gd name="connsiteY779" fmla="*/ 6441152 h 6857997"/>
              <a:gd name="connsiteX780" fmla="*/ 2065451 w 12188817"/>
              <a:gd name="connsiteY780" fmla="*/ 6470332 h 6857997"/>
              <a:gd name="connsiteX781" fmla="*/ 2071067 w 12188817"/>
              <a:gd name="connsiteY781" fmla="*/ 6498675 h 6857997"/>
              <a:gd name="connsiteX782" fmla="*/ 2086310 w 12188817"/>
              <a:gd name="connsiteY782" fmla="*/ 6516616 h 6857997"/>
              <a:gd name="connsiteX783" fmla="*/ 2108216 w 12188817"/>
              <a:gd name="connsiteY783" fmla="*/ 6522759 h 6857997"/>
              <a:gd name="connsiteX784" fmla="*/ 2126145 w 12188817"/>
              <a:gd name="connsiteY784" fmla="*/ 6518748 h 6857997"/>
              <a:gd name="connsiteX785" fmla="*/ 2143028 w 12188817"/>
              <a:gd name="connsiteY785" fmla="*/ 6506784 h 6857997"/>
              <a:gd name="connsiteX786" fmla="*/ 2143028 w 12188817"/>
              <a:gd name="connsiteY786" fmla="*/ 6468763 h 6857997"/>
              <a:gd name="connsiteX787" fmla="*/ 2107518 w 12188817"/>
              <a:gd name="connsiteY787" fmla="*/ 6468832 h 6857997"/>
              <a:gd name="connsiteX788" fmla="*/ 2107518 w 12188817"/>
              <a:gd name="connsiteY788" fmla="*/ 6480901 h 6857997"/>
              <a:gd name="connsiteX789" fmla="*/ 2132145 w 12188817"/>
              <a:gd name="connsiteY789" fmla="*/ 6480901 h 6857997"/>
              <a:gd name="connsiteX790" fmla="*/ 2132145 w 12188817"/>
              <a:gd name="connsiteY790" fmla="*/ 6499947 h 6857997"/>
              <a:gd name="connsiteX791" fmla="*/ 2121227 w 12188817"/>
              <a:gd name="connsiteY791" fmla="*/ 6507411 h 6857997"/>
              <a:gd name="connsiteX792" fmla="*/ 2107798 w 12188817"/>
              <a:gd name="connsiteY792" fmla="*/ 6510551 h 6857997"/>
              <a:gd name="connsiteX793" fmla="*/ 2085473 w 12188817"/>
              <a:gd name="connsiteY793" fmla="*/ 6500322 h 6857997"/>
              <a:gd name="connsiteX794" fmla="*/ 2076892 w 12188817"/>
              <a:gd name="connsiteY794" fmla="*/ 6469565 h 6857997"/>
              <a:gd name="connsiteX795" fmla="*/ 2080904 w 12188817"/>
              <a:gd name="connsiteY795" fmla="*/ 6446733 h 6857997"/>
              <a:gd name="connsiteX796" fmla="*/ 2091508 w 12188817"/>
              <a:gd name="connsiteY796" fmla="*/ 6432943 h 6857997"/>
              <a:gd name="connsiteX797" fmla="*/ 2107239 w 12188817"/>
              <a:gd name="connsiteY797" fmla="*/ 6428509 h 6857997"/>
              <a:gd name="connsiteX798" fmla="*/ 2118541 w 12188817"/>
              <a:gd name="connsiteY798" fmla="*/ 6430951 h 6857997"/>
              <a:gd name="connsiteX799" fmla="*/ 2126634 w 12188817"/>
              <a:gd name="connsiteY799" fmla="*/ 6437683 h 6857997"/>
              <a:gd name="connsiteX800" fmla="*/ 2131726 w 12188817"/>
              <a:gd name="connsiteY800" fmla="*/ 6450624 h 6857997"/>
              <a:gd name="connsiteX801" fmla="*/ 2141702 w 12188817"/>
              <a:gd name="connsiteY801" fmla="*/ 6447276 h 6857997"/>
              <a:gd name="connsiteX802" fmla="*/ 2135005 w 12188817"/>
              <a:gd name="connsiteY802" fmla="*/ 6430044 h 6857997"/>
              <a:gd name="connsiteX803" fmla="*/ 2123634 w 12188817"/>
              <a:gd name="connsiteY803" fmla="*/ 6420347 h 6857997"/>
              <a:gd name="connsiteX804" fmla="*/ 2107518 w 12188817"/>
              <a:gd name="connsiteY804" fmla="*/ 6416929 h 6857997"/>
              <a:gd name="connsiteX805" fmla="*/ 1516099 w 12188817"/>
              <a:gd name="connsiteY805" fmla="*/ 6416929 h 6857997"/>
              <a:gd name="connsiteX806" fmla="*/ 1494472 w 12188817"/>
              <a:gd name="connsiteY806" fmla="*/ 6424812 h 6857997"/>
              <a:gd name="connsiteX807" fmla="*/ 1486449 w 12188817"/>
              <a:gd name="connsiteY807" fmla="*/ 6445113 h 6857997"/>
              <a:gd name="connsiteX808" fmla="*/ 1489240 w 12188817"/>
              <a:gd name="connsiteY808" fmla="*/ 6457496 h 6857997"/>
              <a:gd name="connsiteX809" fmla="*/ 1497053 w 12188817"/>
              <a:gd name="connsiteY809" fmla="*/ 6466530 h 6857997"/>
              <a:gd name="connsiteX810" fmla="*/ 1513936 w 12188817"/>
              <a:gd name="connsiteY810" fmla="*/ 6473609 h 6857997"/>
              <a:gd name="connsiteX811" fmla="*/ 1531272 w 12188817"/>
              <a:gd name="connsiteY811" fmla="*/ 6479711 h 6857997"/>
              <a:gd name="connsiteX812" fmla="*/ 1537272 w 12188817"/>
              <a:gd name="connsiteY812" fmla="*/ 6485246 h 6857997"/>
              <a:gd name="connsiteX813" fmla="*/ 1539260 w 12188817"/>
              <a:gd name="connsiteY813" fmla="*/ 6493147 h 6857997"/>
              <a:gd name="connsiteX814" fmla="*/ 1533784 w 12188817"/>
              <a:gd name="connsiteY814" fmla="*/ 6505713 h 6857997"/>
              <a:gd name="connsiteX815" fmla="*/ 1518401 w 12188817"/>
              <a:gd name="connsiteY815" fmla="*/ 6510551 h 6857997"/>
              <a:gd name="connsiteX816" fmla="*/ 1505983 w 12188817"/>
              <a:gd name="connsiteY816" fmla="*/ 6507690 h 6857997"/>
              <a:gd name="connsiteX817" fmla="*/ 1497507 w 12188817"/>
              <a:gd name="connsiteY817" fmla="*/ 6500121 h 6857997"/>
              <a:gd name="connsiteX818" fmla="*/ 1493705 w 12188817"/>
              <a:gd name="connsiteY818" fmla="*/ 6486971 h 6857997"/>
              <a:gd name="connsiteX819" fmla="*/ 1483240 w 12188817"/>
              <a:gd name="connsiteY819" fmla="*/ 6488087 h 6857997"/>
              <a:gd name="connsiteX820" fmla="*/ 1492833 w 12188817"/>
              <a:gd name="connsiteY820" fmla="*/ 6513411 h 6857997"/>
              <a:gd name="connsiteX821" fmla="*/ 1517633 w 12188817"/>
              <a:gd name="connsiteY821" fmla="*/ 6522759 h 6857997"/>
              <a:gd name="connsiteX822" fmla="*/ 1534691 w 12188817"/>
              <a:gd name="connsiteY822" fmla="*/ 6518996 h 6857997"/>
              <a:gd name="connsiteX823" fmla="*/ 1545887 w 12188817"/>
              <a:gd name="connsiteY823" fmla="*/ 6508020 h 6857997"/>
              <a:gd name="connsiteX824" fmla="*/ 1550004 w 12188817"/>
              <a:gd name="connsiteY824" fmla="*/ 6492028 h 6857997"/>
              <a:gd name="connsiteX825" fmla="*/ 1546089 w 12188817"/>
              <a:gd name="connsiteY825" fmla="*/ 6476800 h 6857997"/>
              <a:gd name="connsiteX826" fmla="*/ 1534503 w 12188817"/>
              <a:gd name="connsiteY826" fmla="*/ 6466500 h 6857997"/>
              <a:gd name="connsiteX827" fmla="*/ 1517071 w 12188817"/>
              <a:gd name="connsiteY827" fmla="*/ 6460543 h 6857997"/>
              <a:gd name="connsiteX828" fmla="*/ 1500752 w 12188817"/>
              <a:gd name="connsiteY828" fmla="*/ 6453621 h 6857997"/>
              <a:gd name="connsiteX829" fmla="*/ 1497123 w 12188817"/>
              <a:gd name="connsiteY829" fmla="*/ 6443995 h 6857997"/>
              <a:gd name="connsiteX830" fmla="*/ 1502076 w 12188817"/>
              <a:gd name="connsiteY830" fmla="*/ 6433078 h 6857997"/>
              <a:gd name="connsiteX831" fmla="*/ 1516448 w 12188817"/>
              <a:gd name="connsiteY831" fmla="*/ 6428858 h 6857997"/>
              <a:gd name="connsiteX832" fmla="*/ 1530854 w 12188817"/>
              <a:gd name="connsiteY832" fmla="*/ 6433672 h 6857997"/>
              <a:gd name="connsiteX833" fmla="*/ 1536818 w 12188817"/>
              <a:gd name="connsiteY833" fmla="*/ 6448462 h 6857997"/>
              <a:gd name="connsiteX834" fmla="*/ 1547492 w 12188817"/>
              <a:gd name="connsiteY834" fmla="*/ 6447485 h 6857997"/>
              <a:gd name="connsiteX835" fmla="*/ 1543341 w 12188817"/>
              <a:gd name="connsiteY835" fmla="*/ 6431230 h 6857997"/>
              <a:gd name="connsiteX836" fmla="*/ 1532458 w 12188817"/>
              <a:gd name="connsiteY836" fmla="*/ 6420626 h 6857997"/>
              <a:gd name="connsiteX837" fmla="*/ 1516099 w 12188817"/>
              <a:gd name="connsiteY837" fmla="*/ 6416929 h 6857997"/>
              <a:gd name="connsiteX838" fmla="*/ 999308 w 12188817"/>
              <a:gd name="connsiteY838" fmla="*/ 6416929 h 6857997"/>
              <a:gd name="connsiteX839" fmla="*/ 979197 w 12188817"/>
              <a:gd name="connsiteY839" fmla="*/ 6422897 h 6857997"/>
              <a:gd name="connsiteX840" fmla="*/ 964916 w 12188817"/>
              <a:gd name="connsiteY840" fmla="*/ 6440559 h 6857997"/>
              <a:gd name="connsiteX841" fmla="*/ 959644 w 12188817"/>
              <a:gd name="connsiteY841" fmla="*/ 6469146 h 6857997"/>
              <a:gd name="connsiteX842" fmla="*/ 964911 w 12188817"/>
              <a:gd name="connsiteY842" fmla="*/ 6498815 h 6857997"/>
              <a:gd name="connsiteX843" fmla="*/ 978445 w 12188817"/>
              <a:gd name="connsiteY843" fmla="*/ 6517070 h 6857997"/>
              <a:gd name="connsiteX844" fmla="*/ 998363 w 12188817"/>
              <a:gd name="connsiteY844" fmla="*/ 6522759 h 6857997"/>
              <a:gd name="connsiteX845" fmla="*/ 1020862 w 12188817"/>
              <a:gd name="connsiteY845" fmla="*/ 6514283 h 6857997"/>
              <a:gd name="connsiteX846" fmla="*/ 1033803 w 12188817"/>
              <a:gd name="connsiteY846" fmla="*/ 6488575 h 6857997"/>
              <a:gd name="connsiteX847" fmla="*/ 1022640 w 12188817"/>
              <a:gd name="connsiteY847" fmla="*/ 6485157 h 6857997"/>
              <a:gd name="connsiteX848" fmla="*/ 1013815 w 12188817"/>
              <a:gd name="connsiteY848" fmla="*/ 6504726 h 6857997"/>
              <a:gd name="connsiteX849" fmla="*/ 998154 w 12188817"/>
              <a:gd name="connsiteY849" fmla="*/ 6511179 h 6857997"/>
              <a:gd name="connsiteX850" fmla="*/ 978480 w 12188817"/>
              <a:gd name="connsiteY850" fmla="*/ 6500671 h 6857997"/>
              <a:gd name="connsiteX851" fmla="*/ 971086 w 12188817"/>
              <a:gd name="connsiteY851" fmla="*/ 6469145 h 6857997"/>
              <a:gd name="connsiteX852" fmla="*/ 974753 w 12188817"/>
              <a:gd name="connsiteY852" fmla="*/ 6446175 h 6857997"/>
              <a:gd name="connsiteX853" fmla="*/ 984568 w 12188817"/>
              <a:gd name="connsiteY853" fmla="*/ 6432804 h 6857997"/>
              <a:gd name="connsiteX854" fmla="*/ 999100 w 12188817"/>
              <a:gd name="connsiteY854" fmla="*/ 6428509 h 6857997"/>
              <a:gd name="connsiteX855" fmla="*/ 1021524 w 12188817"/>
              <a:gd name="connsiteY855" fmla="*/ 6449787 h 6857997"/>
              <a:gd name="connsiteX856" fmla="*/ 1032407 w 12188817"/>
              <a:gd name="connsiteY856" fmla="*/ 6446648 h 6857997"/>
              <a:gd name="connsiteX857" fmla="*/ 1020187 w 12188817"/>
              <a:gd name="connsiteY857" fmla="*/ 6424480 h 6857997"/>
              <a:gd name="connsiteX858" fmla="*/ 999308 w 12188817"/>
              <a:gd name="connsiteY858" fmla="*/ 6416929 h 6857997"/>
              <a:gd name="connsiteX859" fmla="*/ 10831505 w 12188817"/>
              <a:gd name="connsiteY859" fmla="*/ 6415084 h 6857997"/>
              <a:gd name="connsiteX860" fmla="*/ 10873860 w 12188817"/>
              <a:gd name="connsiteY860" fmla="*/ 6415084 h 6857997"/>
              <a:gd name="connsiteX861" fmla="*/ 10904530 w 12188817"/>
              <a:gd name="connsiteY861" fmla="*/ 6430343 h 6857997"/>
              <a:gd name="connsiteX862" fmla="*/ 10873860 w 12188817"/>
              <a:gd name="connsiteY862" fmla="*/ 6445247 h 6857997"/>
              <a:gd name="connsiteX863" fmla="*/ 10831505 w 12188817"/>
              <a:gd name="connsiteY863" fmla="*/ 6445247 h 6857997"/>
              <a:gd name="connsiteX864" fmla="*/ 11108524 w 12188817"/>
              <a:gd name="connsiteY864" fmla="*/ 6410322 h 6857997"/>
              <a:gd name="connsiteX865" fmla="*/ 11152180 w 12188817"/>
              <a:gd name="connsiteY865" fmla="*/ 6454961 h 6857997"/>
              <a:gd name="connsiteX866" fmla="*/ 11108524 w 12188817"/>
              <a:gd name="connsiteY866" fmla="*/ 6499222 h 6857997"/>
              <a:gd name="connsiteX867" fmla="*/ 11064867 w 12188817"/>
              <a:gd name="connsiteY867" fmla="*/ 6453827 h 6857997"/>
              <a:gd name="connsiteX868" fmla="*/ 11108524 w 12188817"/>
              <a:gd name="connsiteY868" fmla="*/ 6410322 h 6857997"/>
              <a:gd name="connsiteX869" fmla="*/ 11212505 w 12188817"/>
              <a:gd name="connsiteY869" fmla="*/ 6391272 h 6857997"/>
              <a:gd name="connsiteX870" fmla="*/ 11212505 w 12188817"/>
              <a:gd name="connsiteY870" fmla="*/ 6518272 h 6857997"/>
              <a:gd name="connsiteX871" fmla="*/ 11246059 w 12188817"/>
              <a:gd name="connsiteY871" fmla="*/ 6518272 h 6857997"/>
              <a:gd name="connsiteX872" fmla="*/ 11246059 w 12188817"/>
              <a:gd name="connsiteY872" fmla="*/ 6422083 h 6857997"/>
              <a:gd name="connsiteX873" fmla="*/ 11315692 w 12188817"/>
              <a:gd name="connsiteY873" fmla="*/ 6518272 h 6857997"/>
              <a:gd name="connsiteX874" fmla="*/ 11355380 w 12188817"/>
              <a:gd name="connsiteY874" fmla="*/ 6518272 h 6857997"/>
              <a:gd name="connsiteX875" fmla="*/ 11355380 w 12188817"/>
              <a:gd name="connsiteY875" fmla="*/ 6391272 h 6857997"/>
              <a:gd name="connsiteX876" fmla="*/ 11322187 w 12188817"/>
              <a:gd name="connsiteY876" fmla="*/ 6391272 h 6857997"/>
              <a:gd name="connsiteX877" fmla="*/ 11322187 w 12188817"/>
              <a:gd name="connsiteY877" fmla="*/ 6482577 h 6857997"/>
              <a:gd name="connsiteX878" fmla="*/ 11255800 w 12188817"/>
              <a:gd name="connsiteY878" fmla="*/ 6391272 h 6857997"/>
              <a:gd name="connsiteX879" fmla="*/ 10968030 w 12188817"/>
              <a:gd name="connsiteY879" fmla="*/ 6391272 h 6857997"/>
              <a:gd name="connsiteX880" fmla="*/ 10968030 w 12188817"/>
              <a:gd name="connsiteY880" fmla="*/ 6518272 h 6857997"/>
              <a:gd name="connsiteX881" fmla="*/ 11002955 w 12188817"/>
              <a:gd name="connsiteY881" fmla="*/ 6518272 h 6857997"/>
              <a:gd name="connsiteX882" fmla="*/ 11002955 w 12188817"/>
              <a:gd name="connsiteY882" fmla="*/ 6391272 h 6857997"/>
              <a:gd name="connsiteX883" fmla="*/ 10798167 w 12188817"/>
              <a:gd name="connsiteY883" fmla="*/ 6391272 h 6857997"/>
              <a:gd name="connsiteX884" fmla="*/ 10798167 w 12188817"/>
              <a:gd name="connsiteY884" fmla="*/ 6518272 h 6857997"/>
              <a:gd name="connsiteX885" fmla="*/ 10832210 w 12188817"/>
              <a:gd name="connsiteY885" fmla="*/ 6518272 h 6857997"/>
              <a:gd name="connsiteX886" fmla="*/ 10832210 w 12188817"/>
              <a:gd name="connsiteY886" fmla="*/ 6468299 h 6857997"/>
              <a:gd name="connsiteX887" fmla="*/ 10871986 w 12188817"/>
              <a:gd name="connsiteY887" fmla="*/ 6468299 h 6857997"/>
              <a:gd name="connsiteX888" fmla="*/ 10907462 w 12188817"/>
              <a:gd name="connsiteY888" fmla="*/ 6518272 h 6857997"/>
              <a:gd name="connsiteX889" fmla="*/ 10945805 w 12188817"/>
              <a:gd name="connsiteY889" fmla="*/ 6518272 h 6857997"/>
              <a:gd name="connsiteX890" fmla="*/ 10905670 w 12188817"/>
              <a:gd name="connsiteY890" fmla="*/ 6465293 h 6857997"/>
              <a:gd name="connsiteX891" fmla="*/ 10938280 w 12188817"/>
              <a:gd name="connsiteY891" fmla="*/ 6429598 h 6857997"/>
              <a:gd name="connsiteX892" fmla="*/ 10881661 w 12188817"/>
              <a:gd name="connsiteY892" fmla="*/ 6391272 h 6857997"/>
              <a:gd name="connsiteX893" fmla="*/ 10728317 w 12188817"/>
              <a:gd name="connsiteY893" fmla="*/ 6391272 h 6857997"/>
              <a:gd name="connsiteX894" fmla="*/ 10728317 w 12188817"/>
              <a:gd name="connsiteY894" fmla="*/ 6518272 h 6857997"/>
              <a:gd name="connsiteX895" fmla="*/ 10763242 w 12188817"/>
              <a:gd name="connsiteY895" fmla="*/ 6518272 h 6857997"/>
              <a:gd name="connsiteX896" fmla="*/ 10763242 w 12188817"/>
              <a:gd name="connsiteY896" fmla="*/ 6391272 h 6857997"/>
              <a:gd name="connsiteX897" fmla="*/ 10604321 w 12188817"/>
              <a:gd name="connsiteY897" fmla="*/ 6391272 h 6857997"/>
              <a:gd name="connsiteX898" fmla="*/ 10547342 w 12188817"/>
              <a:gd name="connsiteY898" fmla="*/ 6429973 h 6857997"/>
              <a:gd name="connsiteX899" fmla="*/ 10601436 w 12188817"/>
              <a:gd name="connsiteY899" fmla="*/ 6466420 h 6857997"/>
              <a:gd name="connsiteX900" fmla="*/ 10641466 w 12188817"/>
              <a:gd name="connsiteY900" fmla="*/ 6466420 h 6857997"/>
              <a:gd name="connsiteX901" fmla="*/ 10665628 w 12188817"/>
              <a:gd name="connsiteY901" fmla="*/ 6481074 h 6857997"/>
              <a:gd name="connsiteX902" fmla="*/ 10639302 w 12188817"/>
              <a:gd name="connsiteY902" fmla="*/ 6495352 h 6857997"/>
              <a:gd name="connsiteX903" fmla="*/ 10553833 w 12188817"/>
              <a:gd name="connsiteY903" fmla="*/ 6495352 h 6857997"/>
              <a:gd name="connsiteX904" fmla="*/ 10553833 w 12188817"/>
              <a:gd name="connsiteY904" fmla="*/ 6518272 h 6857997"/>
              <a:gd name="connsiteX905" fmla="*/ 10644711 w 12188817"/>
              <a:gd name="connsiteY905" fmla="*/ 6518272 h 6857997"/>
              <a:gd name="connsiteX906" fmla="*/ 10701330 w 12188817"/>
              <a:gd name="connsiteY906" fmla="*/ 6480323 h 6857997"/>
              <a:gd name="connsiteX907" fmla="*/ 10649760 w 12188817"/>
              <a:gd name="connsiteY907" fmla="*/ 6444252 h 6857997"/>
              <a:gd name="connsiteX908" fmla="*/ 10604321 w 12188817"/>
              <a:gd name="connsiteY908" fmla="*/ 6444252 h 6857997"/>
              <a:gd name="connsiteX909" fmla="*/ 10583044 w 12188817"/>
              <a:gd name="connsiteY909" fmla="*/ 6430349 h 6857997"/>
              <a:gd name="connsiteX910" fmla="*/ 10609009 w 12188817"/>
              <a:gd name="connsiteY910" fmla="*/ 6413817 h 6857997"/>
              <a:gd name="connsiteX911" fmla="*/ 10693396 w 12188817"/>
              <a:gd name="connsiteY911" fmla="*/ 6413817 h 6857997"/>
              <a:gd name="connsiteX912" fmla="*/ 10693396 w 12188817"/>
              <a:gd name="connsiteY912" fmla="*/ 6391272 h 6857997"/>
              <a:gd name="connsiteX913" fmla="*/ 10490061 w 12188817"/>
              <a:gd name="connsiteY913" fmla="*/ 6391272 h 6857997"/>
              <a:gd name="connsiteX914" fmla="*/ 10490061 w 12188817"/>
              <a:gd name="connsiteY914" fmla="*/ 6482682 h 6857997"/>
              <a:gd name="connsiteX915" fmla="*/ 10423841 w 12188817"/>
              <a:gd name="connsiteY915" fmla="*/ 6391647 h 6857997"/>
              <a:gd name="connsiteX916" fmla="*/ 10380655 w 12188817"/>
              <a:gd name="connsiteY916" fmla="*/ 6391647 h 6857997"/>
              <a:gd name="connsiteX917" fmla="*/ 10380655 w 12188817"/>
              <a:gd name="connsiteY917" fmla="*/ 6518272 h 6857997"/>
              <a:gd name="connsiteX918" fmla="*/ 10414124 w 12188817"/>
              <a:gd name="connsiteY918" fmla="*/ 6518272 h 6857997"/>
              <a:gd name="connsiteX919" fmla="*/ 10414124 w 12188817"/>
              <a:gd name="connsiteY919" fmla="*/ 6422367 h 6857997"/>
              <a:gd name="connsiteX920" fmla="*/ 10483942 w 12188817"/>
              <a:gd name="connsiteY920" fmla="*/ 6518272 h 6857997"/>
              <a:gd name="connsiteX921" fmla="*/ 10523170 w 12188817"/>
              <a:gd name="connsiteY921" fmla="*/ 6518272 h 6857997"/>
              <a:gd name="connsiteX922" fmla="*/ 10523530 w 12188817"/>
              <a:gd name="connsiteY922" fmla="*/ 6391272 h 6857997"/>
              <a:gd name="connsiteX923" fmla="*/ 10293755 w 12188817"/>
              <a:gd name="connsiteY923" fmla="*/ 6391272 h 6857997"/>
              <a:gd name="connsiteX924" fmla="*/ 10217142 w 12188817"/>
              <a:gd name="connsiteY924" fmla="*/ 6457027 h 6857997"/>
              <a:gd name="connsiteX925" fmla="*/ 10242077 w 12188817"/>
              <a:gd name="connsiteY925" fmla="*/ 6507000 h 6857997"/>
              <a:gd name="connsiteX926" fmla="*/ 10293032 w 12188817"/>
              <a:gd name="connsiteY926" fmla="*/ 6518272 h 6857997"/>
              <a:gd name="connsiteX927" fmla="*/ 10350492 w 12188817"/>
              <a:gd name="connsiteY927" fmla="*/ 6518272 h 6857997"/>
              <a:gd name="connsiteX928" fmla="*/ 10350492 w 12188817"/>
              <a:gd name="connsiteY928" fmla="*/ 6496104 h 6857997"/>
              <a:gd name="connsiteX929" fmla="*/ 10294478 w 12188817"/>
              <a:gd name="connsiteY929" fmla="*/ 6496104 h 6857997"/>
              <a:gd name="connsiteX930" fmla="*/ 10255810 w 12188817"/>
              <a:gd name="connsiteY930" fmla="*/ 6464917 h 6857997"/>
              <a:gd name="connsiteX931" fmla="*/ 10350492 w 12188817"/>
              <a:gd name="connsiteY931" fmla="*/ 6464917 h 6857997"/>
              <a:gd name="connsiteX932" fmla="*/ 10350492 w 12188817"/>
              <a:gd name="connsiteY932" fmla="*/ 6442749 h 6857997"/>
              <a:gd name="connsiteX933" fmla="*/ 10255810 w 12188817"/>
              <a:gd name="connsiteY933" fmla="*/ 6442749 h 6857997"/>
              <a:gd name="connsiteX934" fmla="*/ 10294478 w 12188817"/>
              <a:gd name="connsiteY934" fmla="*/ 6413441 h 6857997"/>
              <a:gd name="connsiteX935" fmla="*/ 10350492 w 12188817"/>
              <a:gd name="connsiteY935" fmla="*/ 6413441 h 6857997"/>
              <a:gd name="connsiteX936" fmla="*/ 10350492 w 12188817"/>
              <a:gd name="connsiteY936" fmla="*/ 6391272 h 6857997"/>
              <a:gd name="connsiteX937" fmla="*/ 10104126 w 12188817"/>
              <a:gd name="connsiteY937" fmla="*/ 6391272 h 6857997"/>
              <a:gd name="connsiteX938" fmla="*/ 10047280 w 12188817"/>
              <a:gd name="connsiteY938" fmla="*/ 6429973 h 6857997"/>
              <a:gd name="connsiteX939" fmla="*/ 10101248 w 12188817"/>
              <a:gd name="connsiteY939" fmla="*/ 6466420 h 6857997"/>
              <a:gd name="connsiteX940" fmla="*/ 10141184 w 12188817"/>
              <a:gd name="connsiteY940" fmla="*/ 6466420 h 6857997"/>
              <a:gd name="connsiteX941" fmla="*/ 10165649 w 12188817"/>
              <a:gd name="connsiteY941" fmla="*/ 6481074 h 6857997"/>
              <a:gd name="connsiteX942" fmla="*/ 10139025 w 12188817"/>
              <a:gd name="connsiteY942" fmla="*/ 6495352 h 6857997"/>
              <a:gd name="connsiteX943" fmla="*/ 10053756 w 12188817"/>
              <a:gd name="connsiteY943" fmla="*/ 6495352 h 6857997"/>
              <a:gd name="connsiteX944" fmla="*/ 10053756 w 12188817"/>
              <a:gd name="connsiteY944" fmla="*/ 6518272 h 6857997"/>
              <a:gd name="connsiteX945" fmla="*/ 10144422 w 12188817"/>
              <a:gd name="connsiteY945" fmla="*/ 6518272 h 6857997"/>
              <a:gd name="connsiteX946" fmla="*/ 10201268 w 12188817"/>
              <a:gd name="connsiteY946" fmla="*/ 6480323 h 6857997"/>
              <a:gd name="connsiteX947" fmla="*/ 10149459 w 12188817"/>
              <a:gd name="connsiteY947" fmla="*/ 6444252 h 6857997"/>
              <a:gd name="connsiteX948" fmla="*/ 10104486 w 12188817"/>
              <a:gd name="connsiteY948" fmla="*/ 6444252 h 6857997"/>
              <a:gd name="connsiteX949" fmla="*/ 10082899 w 12188817"/>
              <a:gd name="connsiteY949" fmla="*/ 6430349 h 6857997"/>
              <a:gd name="connsiteX950" fmla="*/ 10109163 w 12188817"/>
              <a:gd name="connsiteY950" fmla="*/ 6413817 h 6857997"/>
              <a:gd name="connsiteX951" fmla="*/ 10193353 w 12188817"/>
              <a:gd name="connsiteY951" fmla="*/ 6413817 h 6857997"/>
              <a:gd name="connsiteX952" fmla="*/ 10193353 w 12188817"/>
              <a:gd name="connsiteY952" fmla="*/ 6391272 h 6857997"/>
              <a:gd name="connsiteX953" fmla="*/ 11099976 w 12188817"/>
              <a:gd name="connsiteY953" fmla="*/ 6389684 h 6857997"/>
              <a:gd name="connsiteX954" fmla="*/ 11026767 w 12188817"/>
              <a:gd name="connsiteY954" fmla="*/ 6453474 h 6857997"/>
              <a:gd name="connsiteX955" fmla="*/ 11107910 w 12188817"/>
              <a:gd name="connsiteY955" fmla="*/ 6519859 h 6857997"/>
              <a:gd name="connsiteX956" fmla="*/ 11188692 w 12188817"/>
              <a:gd name="connsiteY956" fmla="*/ 6454586 h 6857997"/>
              <a:gd name="connsiteX957" fmla="*/ 11115844 w 12188817"/>
              <a:gd name="connsiteY957" fmla="*/ 6389684 h 6857997"/>
              <a:gd name="connsiteX958" fmla="*/ 0 w 12188817"/>
              <a:gd name="connsiteY958" fmla="*/ 0 h 6857997"/>
              <a:gd name="connsiteX959" fmla="*/ 12188817 w 12188817"/>
              <a:gd name="connsiteY959" fmla="*/ 0 h 6857997"/>
              <a:gd name="connsiteX960" fmla="*/ 12188817 w 12188817"/>
              <a:gd name="connsiteY960" fmla="*/ 6857997 h 6857997"/>
              <a:gd name="connsiteX961" fmla="*/ 0 w 12188817"/>
              <a:gd name="connsiteY961" fmla="*/ 6857997 h 6857997"/>
              <a:gd name="connsiteX962" fmla="*/ 0 w 12188817"/>
              <a:gd name="connsiteY962" fmla="*/ 6237284 h 6857997"/>
              <a:gd name="connsiteX963" fmla="*/ 6095992 w 12188817"/>
              <a:gd name="connsiteY963" fmla="*/ 6237284 h 6857997"/>
              <a:gd name="connsiteX964" fmla="*/ 6095992 w 12188817"/>
              <a:gd name="connsiteY964" fmla="*/ 3141660 h 6857997"/>
              <a:gd name="connsiteX965" fmla="*/ 0 w 12188817"/>
              <a:gd name="connsiteY965" fmla="*/ 3141660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Lst>
            <a:rect l="l" t="t" r="r" b="b"/>
            <a:pathLst>
              <a:path w="12188817" h="6857997">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4" y="6483831"/>
                </a:moveTo>
                <a:lnTo>
                  <a:pt x="6291674" y="6488436"/>
                </a:lnTo>
                <a:cubicBezTo>
                  <a:pt x="6291674" y="6494528"/>
                  <a:pt x="6290930" y="6499168"/>
                  <a:pt x="6289442" y="6502354"/>
                </a:cubicBezTo>
                <a:cubicBezTo>
                  <a:pt x="6287953" y="6505539"/>
                  <a:pt x="6285709" y="6508086"/>
                  <a:pt x="6282709" y="6509993"/>
                </a:cubicBezTo>
                <a:cubicBezTo>
                  <a:pt x="6279710" y="6511900"/>
                  <a:pt x="6276373" y="6512853"/>
                  <a:pt x="6272698" y="6512853"/>
                </a:cubicBezTo>
                <a:cubicBezTo>
                  <a:pt x="6268838" y="6512853"/>
                  <a:pt x="6265815" y="6511795"/>
                  <a:pt x="6263629" y="6509679"/>
                </a:cubicBezTo>
                <a:cubicBezTo>
                  <a:pt x="6261443" y="6507563"/>
                  <a:pt x="6260350" y="6504737"/>
                  <a:pt x="6260350" y="6501203"/>
                </a:cubicBezTo>
                <a:cubicBezTo>
                  <a:pt x="6260350" y="6498924"/>
                  <a:pt x="6260827" y="6496912"/>
                  <a:pt x="6261780" y="6495168"/>
                </a:cubicBezTo>
                <a:cubicBezTo>
                  <a:pt x="6262734" y="6493424"/>
                  <a:pt x="6264071" y="6492075"/>
                  <a:pt x="6265792" y="6491122"/>
                </a:cubicBezTo>
                <a:cubicBezTo>
                  <a:pt x="6267513" y="6490168"/>
                  <a:pt x="6270536" y="6489320"/>
                  <a:pt x="6274861" y="6488575"/>
                </a:cubicBezTo>
                <a:cubicBezTo>
                  <a:pt x="6282302" y="6487273"/>
                  <a:pt x="6287907" y="6485692"/>
                  <a:pt x="6291674"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1" y="6455577"/>
                </a:moveTo>
                <a:cubicBezTo>
                  <a:pt x="6092407" y="6455577"/>
                  <a:pt x="6096616" y="6457880"/>
                  <a:pt x="6099918" y="6462484"/>
                </a:cubicBezTo>
                <a:cubicBezTo>
                  <a:pt x="6102197" y="6465647"/>
                  <a:pt x="6103569" y="6470437"/>
                  <a:pt x="6104034" y="6476855"/>
                </a:cubicBezTo>
                <a:lnTo>
                  <a:pt x="6070131" y="6476855"/>
                </a:lnTo>
                <a:cubicBezTo>
                  <a:pt x="6070459" y="6470344"/>
                  <a:pt x="6072247" y="6465170"/>
                  <a:pt x="6075502" y="6461333"/>
                </a:cubicBezTo>
                <a:cubicBezTo>
                  <a:pt x="6078757" y="6457496"/>
                  <a:pt x="6082689" y="6455577"/>
                  <a:pt x="6087291" y="6455577"/>
                </a:cubicBezTo>
                <a:close/>
                <a:moveTo>
                  <a:pt x="6018394" y="6455577"/>
                </a:moveTo>
                <a:cubicBezTo>
                  <a:pt x="6023280" y="6455577"/>
                  <a:pt x="6027331" y="6457961"/>
                  <a:pt x="6030542" y="6462728"/>
                </a:cubicBezTo>
                <a:cubicBezTo>
                  <a:pt x="6033753" y="6467495"/>
                  <a:pt x="6035357" y="6475065"/>
                  <a:pt x="6035357" y="6485436"/>
                </a:cubicBezTo>
                <a:cubicBezTo>
                  <a:pt x="6035357" y="6494459"/>
                  <a:pt x="6033753" y="6501203"/>
                  <a:pt x="6030542" y="6505667"/>
                </a:cubicBezTo>
                <a:cubicBezTo>
                  <a:pt x="6027331" y="6510132"/>
                  <a:pt x="6023537" y="6512365"/>
                  <a:pt x="6019162" y="6512365"/>
                </a:cubicBezTo>
                <a:cubicBezTo>
                  <a:pt x="6014741" y="6512365"/>
                  <a:pt x="6010868" y="6510039"/>
                  <a:pt x="6007540" y="6505388"/>
                </a:cubicBezTo>
                <a:cubicBezTo>
                  <a:pt x="6004213" y="6500737"/>
                  <a:pt x="6002547" y="6493622"/>
                  <a:pt x="6002547" y="6484041"/>
                </a:cubicBezTo>
                <a:cubicBezTo>
                  <a:pt x="6002547" y="6474227"/>
                  <a:pt x="6004108" y="6467030"/>
                  <a:pt x="6007226" y="6462449"/>
                </a:cubicBezTo>
                <a:cubicBezTo>
                  <a:pt x="6010344" y="6457868"/>
                  <a:pt x="6014066" y="6455577"/>
                  <a:pt x="6018394" y="6455577"/>
                </a:cubicBezTo>
                <a:close/>
                <a:moveTo>
                  <a:pt x="5829559" y="6455577"/>
                </a:moveTo>
                <a:cubicBezTo>
                  <a:pt x="5834722" y="6455577"/>
                  <a:pt x="5839048" y="6457917"/>
                  <a:pt x="5842534" y="6462597"/>
                </a:cubicBezTo>
                <a:cubicBezTo>
                  <a:pt x="5846022" y="6467277"/>
                  <a:pt x="5847767" y="6474390"/>
                  <a:pt x="5847767" y="6483936"/>
                </a:cubicBezTo>
                <a:cubicBezTo>
                  <a:pt x="5847767" y="6493436"/>
                  <a:pt x="5846035" y="6500548"/>
                  <a:pt x="5842571" y="6505275"/>
                </a:cubicBezTo>
                <a:cubicBezTo>
                  <a:pt x="5839105" y="6510001"/>
                  <a:pt x="5834955" y="6512365"/>
                  <a:pt x="5830117" y="6512365"/>
                </a:cubicBezTo>
                <a:cubicBezTo>
                  <a:pt x="5824956" y="6512365"/>
                  <a:pt x="5820628" y="6510025"/>
                  <a:pt x="5817142" y="6505345"/>
                </a:cubicBezTo>
                <a:cubicBezTo>
                  <a:pt x="5813653" y="6500665"/>
                  <a:pt x="5811909" y="6493529"/>
                  <a:pt x="5811909" y="6483936"/>
                </a:cubicBezTo>
                <a:cubicBezTo>
                  <a:pt x="5811909" y="6474437"/>
                  <a:pt x="5813630" y="6467335"/>
                  <a:pt x="5817070" y="6462632"/>
                </a:cubicBezTo>
                <a:cubicBezTo>
                  <a:pt x="5820513" y="6457929"/>
                  <a:pt x="5824676" y="6455577"/>
                  <a:pt x="5829559"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0" y="6446927"/>
                </a:moveTo>
                <a:lnTo>
                  <a:pt x="6224380" y="6521015"/>
                </a:lnTo>
                <a:lnTo>
                  <a:pt x="6234636" y="6521015"/>
                </a:lnTo>
                <a:lnTo>
                  <a:pt x="6234636" y="6446927"/>
                </a:lnTo>
                <a:close/>
                <a:moveTo>
                  <a:pt x="5967205" y="6446927"/>
                </a:moveTo>
                <a:lnTo>
                  <a:pt x="5967205" y="6521015"/>
                </a:lnTo>
                <a:lnTo>
                  <a:pt x="5977462" y="6521015"/>
                </a:lnTo>
                <a:lnTo>
                  <a:pt x="5977462"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68" y="6445252"/>
                </a:moveTo>
                <a:cubicBezTo>
                  <a:pt x="6270582" y="6445252"/>
                  <a:pt x="6264292" y="6447066"/>
                  <a:pt x="6259897" y="6450694"/>
                </a:cubicBezTo>
                <a:cubicBezTo>
                  <a:pt x="6255502" y="6454322"/>
                  <a:pt x="6252583" y="6460112"/>
                  <a:pt x="6251142" y="6468065"/>
                </a:cubicBezTo>
                <a:lnTo>
                  <a:pt x="6261257" y="6469739"/>
                </a:lnTo>
                <a:cubicBezTo>
                  <a:pt x="6262373" y="6464271"/>
                  <a:pt x="6264118" y="6460543"/>
                  <a:pt x="6266489" y="6458557"/>
                </a:cubicBezTo>
                <a:cubicBezTo>
                  <a:pt x="6268861" y="6456571"/>
                  <a:pt x="6272443" y="6455577"/>
                  <a:pt x="6277233" y="6455577"/>
                </a:cubicBezTo>
                <a:cubicBezTo>
                  <a:pt x="6282535" y="6455577"/>
                  <a:pt x="6286465" y="6457066"/>
                  <a:pt x="6289023" y="6460042"/>
                </a:cubicBezTo>
                <a:cubicBezTo>
                  <a:pt x="6290837" y="6462089"/>
                  <a:pt x="6291744" y="6465647"/>
                  <a:pt x="6291744" y="6470716"/>
                </a:cubicBezTo>
                <a:lnTo>
                  <a:pt x="6291674" y="6473925"/>
                </a:lnTo>
                <a:cubicBezTo>
                  <a:pt x="6287767" y="6475626"/>
                  <a:pt x="6281628" y="6477091"/>
                  <a:pt x="6273256" y="6478320"/>
                </a:cubicBezTo>
                <a:cubicBezTo>
                  <a:pt x="6267024" y="6479204"/>
                  <a:pt x="6262373" y="6480576"/>
                  <a:pt x="6259304" y="6482436"/>
                </a:cubicBezTo>
                <a:cubicBezTo>
                  <a:pt x="6256234" y="6484297"/>
                  <a:pt x="6253816" y="6486878"/>
                  <a:pt x="6252048" y="6490180"/>
                </a:cubicBezTo>
                <a:cubicBezTo>
                  <a:pt x="6250281" y="6493482"/>
                  <a:pt x="6249397" y="6497273"/>
                  <a:pt x="6249397" y="6501551"/>
                </a:cubicBezTo>
                <a:cubicBezTo>
                  <a:pt x="6249397" y="6508016"/>
                  <a:pt x="6251281" y="6513155"/>
                  <a:pt x="6255048" y="6516969"/>
                </a:cubicBezTo>
                <a:cubicBezTo>
                  <a:pt x="6258816" y="6520783"/>
                  <a:pt x="6263862" y="6522690"/>
                  <a:pt x="6270187" y="6522690"/>
                </a:cubicBezTo>
                <a:cubicBezTo>
                  <a:pt x="6274187" y="6522690"/>
                  <a:pt x="6278047" y="6521782"/>
                  <a:pt x="6281768" y="6519968"/>
                </a:cubicBezTo>
                <a:cubicBezTo>
                  <a:pt x="6285488" y="6518154"/>
                  <a:pt x="6289069" y="6515456"/>
                  <a:pt x="6292511" y="6511875"/>
                </a:cubicBezTo>
                <a:cubicBezTo>
                  <a:pt x="6292837" y="6515411"/>
                  <a:pt x="6293534" y="6518457"/>
                  <a:pt x="6294604" y="6521015"/>
                </a:cubicBezTo>
                <a:lnTo>
                  <a:pt x="6305348" y="6521015"/>
                </a:lnTo>
                <a:cubicBezTo>
                  <a:pt x="6304045" y="6518132"/>
                  <a:pt x="6303173" y="6515167"/>
                  <a:pt x="6302731" y="6512120"/>
                </a:cubicBezTo>
                <a:cubicBezTo>
                  <a:pt x="6302290" y="6509074"/>
                  <a:pt x="6302069" y="6501691"/>
                  <a:pt x="6302069" y="6489971"/>
                </a:cubicBezTo>
                <a:lnTo>
                  <a:pt x="6302069" y="6473227"/>
                </a:lnTo>
                <a:cubicBezTo>
                  <a:pt x="6302069" y="6466437"/>
                  <a:pt x="6301592" y="6461275"/>
                  <a:pt x="6300639" y="6457740"/>
                </a:cubicBezTo>
                <a:cubicBezTo>
                  <a:pt x="6299685" y="6454205"/>
                  <a:pt x="6297395" y="6451240"/>
                  <a:pt x="6293767" y="6448845"/>
                </a:cubicBezTo>
                <a:cubicBezTo>
                  <a:pt x="6290139" y="6446450"/>
                  <a:pt x="6285139" y="6445252"/>
                  <a:pt x="6278768" y="6445252"/>
                </a:cubicBezTo>
                <a:close/>
                <a:moveTo>
                  <a:pt x="6157700" y="6445252"/>
                </a:moveTo>
                <a:cubicBezTo>
                  <a:pt x="6153521" y="6445252"/>
                  <a:pt x="6149818" y="6446258"/>
                  <a:pt x="6146592" y="6448270"/>
                </a:cubicBezTo>
                <a:cubicBezTo>
                  <a:pt x="6143365" y="6450282"/>
                  <a:pt x="6140638" y="6453323"/>
                  <a:pt x="6138409" y="6457392"/>
                </a:cubicBezTo>
                <a:lnTo>
                  <a:pt x="6138409" y="6446927"/>
                </a:lnTo>
                <a:lnTo>
                  <a:pt x="6129130" y="6446927"/>
                </a:lnTo>
                <a:lnTo>
                  <a:pt x="6129130" y="6521015"/>
                </a:lnTo>
                <a:lnTo>
                  <a:pt x="6139386" y="6521015"/>
                </a:lnTo>
                <a:lnTo>
                  <a:pt x="6139386" y="6480509"/>
                </a:lnTo>
                <a:cubicBezTo>
                  <a:pt x="6139386" y="6471570"/>
                  <a:pt x="6140851" y="6465261"/>
                  <a:pt x="6143781" y="6461583"/>
                </a:cubicBezTo>
                <a:cubicBezTo>
                  <a:pt x="6146711" y="6457905"/>
                  <a:pt x="6150641" y="6456066"/>
                  <a:pt x="6155571" y="6456066"/>
                </a:cubicBezTo>
                <a:cubicBezTo>
                  <a:pt x="6158175" y="6456066"/>
                  <a:pt x="6160466" y="6456752"/>
                  <a:pt x="6162442" y="6458126"/>
                </a:cubicBezTo>
                <a:cubicBezTo>
                  <a:pt x="6164419" y="6459499"/>
                  <a:pt x="6165872" y="6461443"/>
                  <a:pt x="6166803" y="6463957"/>
                </a:cubicBezTo>
                <a:cubicBezTo>
                  <a:pt x="6167733" y="6466471"/>
                  <a:pt x="6168198" y="6470452"/>
                  <a:pt x="6168198" y="6475900"/>
                </a:cubicBezTo>
                <a:lnTo>
                  <a:pt x="6168198" y="6521015"/>
                </a:lnTo>
                <a:lnTo>
                  <a:pt x="6178453" y="6521015"/>
                </a:lnTo>
                <a:lnTo>
                  <a:pt x="6178453" y="6475460"/>
                </a:lnTo>
                <a:cubicBezTo>
                  <a:pt x="6178453" y="6468623"/>
                  <a:pt x="6178035" y="6463554"/>
                  <a:pt x="6177199" y="6460252"/>
                </a:cubicBezTo>
                <a:cubicBezTo>
                  <a:pt x="6176364" y="6456949"/>
                  <a:pt x="6175099" y="6454264"/>
                  <a:pt x="6173404" y="6452194"/>
                </a:cubicBezTo>
                <a:cubicBezTo>
                  <a:pt x="6171709" y="6450124"/>
                  <a:pt x="6169481" y="6448450"/>
                  <a:pt x="6166718" y="6447171"/>
                </a:cubicBezTo>
                <a:cubicBezTo>
                  <a:pt x="6163956" y="6445892"/>
                  <a:pt x="6160949" y="6445252"/>
                  <a:pt x="6157700" y="6445252"/>
                </a:cubicBezTo>
                <a:close/>
                <a:moveTo>
                  <a:pt x="6087364" y="6445252"/>
                </a:moveTo>
                <a:cubicBezTo>
                  <a:pt x="6079133" y="6445252"/>
                  <a:pt x="6072328" y="6448613"/>
                  <a:pt x="6066956" y="6455333"/>
                </a:cubicBezTo>
                <a:cubicBezTo>
                  <a:pt x="6061584" y="6462054"/>
                  <a:pt x="6058897" y="6471809"/>
                  <a:pt x="6058897" y="6484599"/>
                </a:cubicBezTo>
                <a:cubicBezTo>
                  <a:pt x="6058897" y="6496924"/>
                  <a:pt x="6061560" y="6506353"/>
                  <a:pt x="6066885" y="6512888"/>
                </a:cubicBezTo>
                <a:cubicBezTo>
                  <a:pt x="6072212" y="6519422"/>
                  <a:pt x="6079175" y="6522690"/>
                  <a:pt x="6087783" y="6522690"/>
                </a:cubicBezTo>
                <a:cubicBezTo>
                  <a:pt x="6094616" y="6522690"/>
                  <a:pt x="6100348" y="6520678"/>
                  <a:pt x="6104976" y="6516655"/>
                </a:cubicBezTo>
                <a:cubicBezTo>
                  <a:pt x="6109604" y="6512632"/>
                  <a:pt x="6112801" y="6506667"/>
                  <a:pt x="6114569" y="6498761"/>
                </a:cubicBezTo>
                <a:lnTo>
                  <a:pt x="6103965" y="6497156"/>
                </a:lnTo>
                <a:cubicBezTo>
                  <a:pt x="6100941" y="6507295"/>
                  <a:pt x="6095570" y="6512365"/>
                  <a:pt x="6087849" y="6512365"/>
                </a:cubicBezTo>
                <a:cubicBezTo>
                  <a:pt x="6082919" y="6512365"/>
                  <a:pt x="6078734" y="6510248"/>
                  <a:pt x="6075292" y="6506016"/>
                </a:cubicBezTo>
                <a:cubicBezTo>
                  <a:pt x="6071855" y="6501784"/>
                  <a:pt x="6069920" y="6495505"/>
                  <a:pt x="6069506" y="6487180"/>
                </a:cubicBezTo>
                <a:lnTo>
                  <a:pt x="6114848" y="6487180"/>
                </a:lnTo>
                <a:lnTo>
                  <a:pt x="6114917" y="6483831"/>
                </a:lnTo>
                <a:cubicBezTo>
                  <a:pt x="6114917" y="6471321"/>
                  <a:pt x="6112290" y="6461763"/>
                  <a:pt x="6107034" y="6455159"/>
                </a:cubicBezTo>
                <a:cubicBezTo>
                  <a:pt x="6101779" y="6448555"/>
                  <a:pt x="6095221" y="6445252"/>
                  <a:pt x="6087364" y="6445252"/>
                </a:cubicBezTo>
                <a:close/>
                <a:moveTo>
                  <a:pt x="5900526" y="6445252"/>
                </a:moveTo>
                <a:cubicBezTo>
                  <a:pt x="5896347" y="6445252"/>
                  <a:pt x="5892645" y="6446258"/>
                  <a:pt x="5889417" y="6448270"/>
                </a:cubicBezTo>
                <a:cubicBezTo>
                  <a:pt x="5886191" y="6450282"/>
                  <a:pt x="5883465" y="6453323"/>
                  <a:pt x="5881235" y="6457392"/>
                </a:cubicBezTo>
                <a:lnTo>
                  <a:pt x="5881235" y="6446927"/>
                </a:lnTo>
                <a:lnTo>
                  <a:pt x="5871957" y="6446927"/>
                </a:lnTo>
                <a:lnTo>
                  <a:pt x="5871957" y="6521015"/>
                </a:lnTo>
                <a:lnTo>
                  <a:pt x="5882211" y="6521015"/>
                </a:lnTo>
                <a:lnTo>
                  <a:pt x="5882211" y="6480509"/>
                </a:lnTo>
                <a:cubicBezTo>
                  <a:pt x="5882211" y="6471570"/>
                  <a:pt x="5883676" y="6465261"/>
                  <a:pt x="5886607" y="6461583"/>
                </a:cubicBezTo>
                <a:cubicBezTo>
                  <a:pt x="5889538" y="6457905"/>
                  <a:pt x="5893467" y="6456066"/>
                  <a:pt x="5898396" y="6456066"/>
                </a:cubicBezTo>
                <a:cubicBezTo>
                  <a:pt x="5901000" y="6456066"/>
                  <a:pt x="5903292" y="6456752"/>
                  <a:pt x="5905267" y="6458126"/>
                </a:cubicBezTo>
                <a:cubicBezTo>
                  <a:pt x="5907244" y="6459499"/>
                  <a:pt x="5908697" y="6461443"/>
                  <a:pt x="5909630" y="6463957"/>
                </a:cubicBezTo>
                <a:cubicBezTo>
                  <a:pt x="5910559" y="6466471"/>
                  <a:pt x="5911024" y="6470452"/>
                  <a:pt x="5911024" y="6475900"/>
                </a:cubicBezTo>
                <a:lnTo>
                  <a:pt x="5911024" y="6521015"/>
                </a:lnTo>
                <a:lnTo>
                  <a:pt x="5921278" y="6521015"/>
                </a:lnTo>
                <a:lnTo>
                  <a:pt x="5921278" y="6475460"/>
                </a:lnTo>
                <a:cubicBezTo>
                  <a:pt x="5921278" y="6468623"/>
                  <a:pt x="5920860" y="6463554"/>
                  <a:pt x="5920026" y="6460252"/>
                </a:cubicBezTo>
                <a:cubicBezTo>
                  <a:pt x="5919190" y="6456949"/>
                  <a:pt x="5917925" y="6454264"/>
                  <a:pt x="5916230" y="6452194"/>
                </a:cubicBezTo>
                <a:cubicBezTo>
                  <a:pt x="5914534" y="6450124"/>
                  <a:pt x="5912308" y="6448450"/>
                  <a:pt x="5909545" y="6447171"/>
                </a:cubicBezTo>
                <a:cubicBezTo>
                  <a:pt x="5906782" y="6445892"/>
                  <a:pt x="5903774" y="6445252"/>
                  <a:pt x="5900526" y="6445252"/>
                </a:cubicBezTo>
                <a:close/>
                <a:moveTo>
                  <a:pt x="5829838" y="6445252"/>
                </a:moveTo>
                <a:cubicBezTo>
                  <a:pt x="5821607" y="6445252"/>
                  <a:pt x="5814805" y="6448508"/>
                  <a:pt x="5809433" y="6455019"/>
                </a:cubicBezTo>
                <a:cubicBezTo>
                  <a:pt x="5804061" y="6461531"/>
                  <a:pt x="5801376" y="6471181"/>
                  <a:pt x="5801376" y="6483971"/>
                </a:cubicBezTo>
                <a:cubicBezTo>
                  <a:pt x="5801376" y="6496714"/>
                  <a:pt x="5804083" y="6506353"/>
                  <a:pt x="5809502" y="6512888"/>
                </a:cubicBezTo>
                <a:cubicBezTo>
                  <a:pt x="5814920" y="6519422"/>
                  <a:pt x="5821700" y="6522690"/>
                  <a:pt x="5829838" y="6522690"/>
                </a:cubicBezTo>
                <a:cubicBezTo>
                  <a:pt x="5838117" y="6522690"/>
                  <a:pt x="5844931" y="6519434"/>
                  <a:pt x="5850280" y="6512923"/>
                </a:cubicBezTo>
                <a:cubicBezTo>
                  <a:pt x="5855628" y="6506411"/>
                  <a:pt x="5858301" y="6496505"/>
                  <a:pt x="5858301" y="6483204"/>
                </a:cubicBezTo>
                <a:cubicBezTo>
                  <a:pt x="5858301" y="6470925"/>
                  <a:pt x="5855581" y="6461531"/>
                  <a:pt x="5850139" y="6455019"/>
                </a:cubicBezTo>
                <a:cubicBezTo>
                  <a:pt x="5844697" y="6448508"/>
                  <a:pt x="5837931" y="6445252"/>
                  <a:pt x="5829838"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3" y="6421045"/>
                </a:moveTo>
                <a:lnTo>
                  <a:pt x="6198038" y="6428579"/>
                </a:lnTo>
                <a:lnTo>
                  <a:pt x="6198038" y="6446927"/>
                </a:lnTo>
                <a:lnTo>
                  <a:pt x="6190503" y="6446927"/>
                </a:lnTo>
                <a:lnTo>
                  <a:pt x="6190503" y="6456694"/>
                </a:lnTo>
                <a:lnTo>
                  <a:pt x="6198038" y="6456694"/>
                </a:lnTo>
                <a:lnTo>
                  <a:pt x="6198038" y="6499319"/>
                </a:lnTo>
                <a:cubicBezTo>
                  <a:pt x="6198038" y="6506667"/>
                  <a:pt x="6198445" y="6511574"/>
                  <a:pt x="6199259" y="6514039"/>
                </a:cubicBezTo>
                <a:cubicBezTo>
                  <a:pt x="6200073" y="6516504"/>
                  <a:pt x="6201573" y="6518446"/>
                  <a:pt x="6203758" y="6519864"/>
                </a:cubicBezTo>
                <a:cubicBezTo>
                  <a:pt x="6205944" y="6521283"/>
                  <a:pt x="6208828" y="6521992"/>
                  <a:pt x="6212409" y="6521992"/>
                </a:cubicBezTo>
                <a:cubicBezTo>
                  <a:pt x="6214688" y="6521992"/>
                  <a:pt x="6217246" y="6521620"/>
                  <a:pt x="6220083" y="6520876"/>
                </a:cubicBezTo>
                <a:lnTo>
                  <a:pt x="6218688" y="6509783"/>
                </a:lnTo>
                <a:cubicBezTo>
                  <a:pt x="6216827" y="6510109"/>
                  <a:pt x="6215316" y="6510272"/>
                  <a:pt x="6214153" y="6510272"/>
                </a:cubicBezTo>
                <a:cubicBezTo>
                  <a:pt x="6211735" y="6510272"/>
                  <a:pt x="6210084" y="6509435"/>
                  <a:pt x="6209200" y="6507760"/>
                </a:cubicBezTo>
                <a:cubicBezTo>
                  <a:pt x="6208595" y="6506598"/>
                  <a:pt x="6208293" y="6504016"/>
                  <a:pt x="6208293" y="6500017"/>
                </a:cubicBezTo>
                <a:lnTo>
                  <a:pt x="6208293" y="6456694"/>
                </a:lnTo>
                <a:lnTo>
                  <a:pt x="6218688" y="6456694"/>
                </a:lnTo>
                <a:lnTo>
                  <a:pt x="6218688" y="6446927"/>
                </a:lnTo>
                <a:lnTo>
                  <a:pt x="6208293"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2" y="6418742"/>
                </a:moveTo>
                <a:lnTo>
                  <a:pt x="6319282" y="6521015"/>
                </a:lnTo>
                <a:lnTo>
                  <a:pt x="6329537" y="6521015"/>
                </a:lnTo>
                <a:lnTo>
                  <a:pt x="6329537" y="6418742"/>
                </a:lnTo>
                <a:close/>
                <a:moveTo>
                  <a:pt x="6224380" y="6418742"/>
                </a:moveTo>
                <a:lnTo>
                  <a:pt x="6224380" y="6433183"/>
                </a:lnTo>
                <a:lnTo>
                  <a:pt x="6234636" y="6433183"/>
                </a:lnTo>
                <a:lnTo>
                  <a:pt x="6234636" y="6418742"/>
                </a:lnTo>
                <a:close/>
                <a:moveTo>
                  <a:pt x="6034361" y="6418742"/>
                </a:moveTo>
                <a:lnTo>
                  <a:pt x="6034361" y="6455438"/>
                </a:lnTo>
                <a:cubicBezTo>
                  <a:pt x="6032457" y="6452229"/>
                  <a:pt x="6030052" y="6449729"/>
                  <a:pt x="6027152" y="6447938"/>
                </a:cubicBezTo>
                <a:cubicBezTo>
                  <a:pt x="6024249" y="6446148"/>
                  <a:pt x="6021105" y="6445252"/>
                  <a:pt x="6017716" y="6445252"/>
                </a:cubicBezTo>
                <a:cubicBezTo>
                  <a:pt x="6012977" y="6445252"/>
                  <a:pt x="6008671" y="6446671"/>
                  <a:pt x="6004794" y="6449508"/>
                </a:cubicBezTo>
                <a:cubicBezTo>
                  <a:pt x="6000918" y="6452345"/>
                  <a:pt x="5997817" y="6456694"/>
                  <a:pt x="5995495" y="6462554"/>
                </a:cubicBezTo>
                <a:cubicBezTo>
                  <a:pt x="5993174" y="6468414"/>
                  <a:pt x="5992013" y="6475553"/>
                  <a:pt x="5992013" y="6483971"/>
                </a:cubicBezTo>
                <a:cubicBezTo>
                  <a:pt x="5992013" y="6496249"/>
                  <a:pt x="5994629" y="6505772"/>
                  <a:pt x="5999862" y="6512539"/>
                </a:cubicBezTo>
                <a:cubicBezTo>
                  <a:pt x="6005094" y="6519306"/>
                  <a:pt x="6011291" y="6522690"/>
                  <a:pt x="6018454" y="6522690"/>
                </a:cubicBezTo>
                <a:cubicBezTo>
                  <a:pt x="6021849" y="6522690"/>
                  <a:pt x="6025011" y="6521748"/>
                  <a:pt x="6027944" y="6519864"/>
                </a:cubicBezTo>
                <a:cubicBezTo>
                  <a:pt x="6030873" y="6517981"/>
                  <a:pt x="6033267" y="6515248"/>
                  <a:pt x="6035129" y="6511667"/>
                </a:cubicBezTo>
                <a:lnTo>
                  <a:pt x="6035129" y="6521015"/>
                </a:lnTo>
                <a:lnTo>
                  <a:pt x="6044755" y="6521015"/>
                </a:lnTo>
                <a:lnTo>
                  <a:pt x="6044755"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79" y="6416998"/>
                </a:moveTo>
                <a:cubicBezTo>
                  <a:pt x="5954503" y="6416998"/>
                  <a:pt x="5951367" y="6417766"/>
                  <a:pt x="5948872" y="6419301"/>
                </a:cubicBezTo>
                <a:cubicBezTo>
                  <a:pt x="5946376" y="6420835"/>
                  <a:pt x="5944524" y="6423056"/>
                  <a:pt x="5943310" y="6425963"/>
                </a:cubicBezTo>
                <a:cubicBezTo>
                  <a:pt x="5942098" y="6428870"/>
                  <a:pt x="5941493" y="6433230"/>
                  <a:pt x="5941493" y="6439044"/>
                </a:cubicBezTo>
                <a:lnTo>
                  <a:pt x="5941493" y="6446927"/>
                </a:lnTo>
                <a:lnTo>
                  <a:pt x="5932352" y="6446927"/>
                </a:lnTo>
                <a:lnTo>
                  <a:pt x="5932352" y="6456694"/>
                </a:lnTo>
                <a:lnTo>
                  <a:pt x="5941493" y="6456694"/>
                </a:lnTo>
                <a:lnTo>
                  <a:pt x="5941493" y="6521015"/>
                </a:lnTo>
                <a:lnTo>
                  <a:pt x="5951746" y="6521015"/>
                </a:lnTo>
                <a:lnTo>
                  <a:pt x="5951746" y="6456694"/>
                </a:lnTo>
                <a:lnTo>
                  <a:pt x="5963607" y="6456694"/>
                </a:lnTo>
                <a:lnTo>
                  <a:pt x="5963607" y="6446927"/>
                </a:lnTo>
                <a:lnTo>
                  <a:pt x="5951746" y="6446927"/>
                </a:lnTo>
                <a:lnTo>
                  <a:pt x="5951746" y="6440090"/>
                </a:lnTo>
                <a:cubicBezTo>
                  <a:pt x="5951746" y="6435579"/>
                  <a:pt x="5952412" y="6432521"/>
                  <a:pt x="5953735" y="6430916"/>
                </a:cubicBezTo>
                <a:cubicBezTo>
                  <a:pt x="5955060" y="6429312"/>
                  <a:pt x="5957259" y="6428509"/>
                  <a:pt x="5960327" y="6428509"/>
                </a:cubicBezTo>
                <a:cubicBezTo>
                  <a:pt x="5962235" y="6428509"/>
                  <a:pt x="5964257" y="6428742"/>
                  <a:pt x="5966397" y="6429207"/>
                </a:cubicBezTo>
                <a:lnTo>
                  <a:pt x="5967205" y="6423469"/>
                </a:lnTo>
                <a:lnTo>
                  <a:pt x="5967205" y="6433183"/>
                </a:lnTo>
                <a:lnTo>
                  <a:pt x="5977462" y="6433183"/>
                </a:lnTo>
                <a:lnTo>
                  <a:pt x="5977462" y="6418742"/>
                </a:lnTo>
                <a:lnTo>
                  <a:pt x="5967872" y="6418742"/>
                </a:lnTo>
                <a:lnTo>
                  <a:pt x="5967932" y="6418324"/>
                </a:lnTo>
                <a:cubicBezTo>
                  <a:pt x="5964433" y="6417440"/>
                  <a:pt x="5961216" y="6416998"/>
                  <a:pt x="5958279"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7" y="6416929"/>
                </a:moveTo>
                <a:cubicBezTo>
                  <a:pt x="5749796" y="6416929"/>
                  <a:pt x="5743091" y="6418918"/>
                  <a:pt x="5737086" y="6422897"/>
                </a:cubicBezTo>
                <a:cubicBezTo>
                  <a:pt x="5731080" y="6426876"/>
                  <a:pt x="5726321" y="6432763"/>
                  <a:pt x="5722805" y="6440559"/>
                </a:cubicBezTo>
                <a:cubicBezTo>
                  <a:pt x="5719290" y="6448354"/>
                  <a:pt x="5717533" y="6457883"/>
                  <a:pt x="5717533" y="6469146"/>
                </a:cubicBezTo>
                <a:cubicBezTo>
                  <a:pt x="5717533" y="6480548"/>
                  <a:pt x="5719288" y="6490438"/>
                  <a:pt x="5722800" y="6498815"/>
                </a:cubicBezTo>
                <a:cubicBezTo>
                  <a:pt x="5726311" y="6507192"/>
                  <a:pt x="5730823" y="6513277"/>
                  <a:pt x="5736334" y="6517070"/>
                </a:cubicBezTo>
                <a:cubicBezTo>
                  <a:pt x="5741847" y="6520863"/>
                  <a:pt x="5748485" y="6522759"/>
                  <a:pt x="5756252" y="6522759"/>
                </a:cubicBezTo>
                <a:cubicBezTo>
                  <a:pt x="5765089" y="6522759"/>
                  <a:pt x="5772589" y="6519934"/>
                  <a:pt x="5778750" y="6514283"/>
                </a:cubicBezTo>
                <a:cubicBezTo>
                  <a:pt x="5784915" y="6508632"/>
                  <a:pt x="5789227" y="6500063"/>
                  <a:pt x="5791691" y="6488575"/>
                </a:cubicBezTo>
                <a:lnTo>
                  <a:pt x="5780529" y="6485157"/>
                </a:lnTo>
                <a:cubicBezTo>
                  <a:pt x="5779041" y="6493901"/>
                  <a:pt x="5776099" y="6500423"/>
                  <a:pt x="5771703" y="6504726"/>
                </a:cubicBezTo>
                <a:cubicBezTo>
                  <a:pt x="5767310" y="6509028"/>
                  <a:pt x="5762088" y="6511179"/>
                  <a:pt x="5756044" y="6511179"/>
                </a:cubicBezTo>
                <a:cubicBezTo>
                  <a:pt x="5747857" y="6511179"/>
                  <a:pt x="5741298" y="6507676"/>
                  <a:pt x="5736369" y="6500671"/>
                </a:cubicBezTo>
                <a:cubicBezTo>
                  <a:pt x="5731442" y="6493665"/>
                  <a:pt x="5728974" y="6483157"/>
                  <a:pt x="5728974" y="6469145"/>
                </a:cubicBezTo>
                <a:cubicBezTo>
                  <a:pt x="5728974" y="6459883"/>
                  <a:pt x="5730197" y="6452226"/>
                  <a:pt x="5732642" y="6446175"/>
                </a:cubicBezTo>
                <a:cubicBezTo>
                  <a:pt x="5735088" y="6440123"/>
                  <a:pt x="5738360" y="6435666"/>
                  <a:pt x="5742458" y="6432804"/>
                </a:cubicBezTo>
                <a:cubicBezTo>
                  <a:pt x="5746556" y="6429941"/>
                  <a:pt x="5751400" y="6428509"/>
                  <a:pt x="5756988" y="6428509"/>
                </a:cubicBezTo>
                <a:cubicBezTo>
                  <a:pt x="5768213" y="6428509"/>
                  <a:pt x="5775687" y="6435602"/>
                  <a:pt x="5779412" y="6449787"/>
                </a:cubicBezTo>
                <a:lnTo>
                  <a:pt x="5790296" y="6446648"/>
                </a:lnTo>
                <a:cubicBezTo>
                  <a:pt x="5787968" y="6436903"/>
                  <a:pt x="5783895" y="6429514"/>
                  <a:pt x="5778077" y="6424480"/>
                </a:cubicBezTo>
                <a:cubicBezTo>
                  <a:pt x="5772258" y="6419446"/>
                  <a:pt x="5765297" y="6416929"/>
                  <a:pt x="5757197"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5" y="6415084"/>
                </a:moveTo>
                <a:lnTo>
                  <a:pt x="10873860" y="6415084"/>
                </a:lnTo>
                <a:cubicBezTo>
                  <a:pt x="10894306" y="6415084"/>
                  <a:pt x="10904530" y="6417923"/>
                  <a:pt x="10904530" y="6430343"/>
                </a:cubicBezTo>
                <a:cubicBezTo>
                  <a:pt x="10904530" y="6442408"/>
                  <a:pt x="10894306" y="6445247"/>
                  <a:pt x="10873860" y="6445247"/>
                </a:cubicBezTo>
                <a:lnTo>
                  <a:pt x="10831505" y="6445247"/>
                </a:lnTo>
                <a:close/>
                <a:moveTo>
                  <a:pt x="11108524" y="6410322"/>
                </a:moveTo>
                <a:cubicBezTo>
                  <a:pt x="11138470" y="6410322"/>
                  <a:pt x="11152180" y="6424698"/>
                  <a:pt x="11152180" y="6454961"/>
                </a:cubicBezTo>
                <a:cubicBezTo>
                  <a:pt x="11152180" y="6484847"/>
                  <a:pt x="11138470" y="6499222"/>
                  <a:pt x="11108524" y="6499222"/>
                </a:cubicBezTo>
                <a:cubicBezTo>
                  <a:pt x="11077856" y="6499222"/>
                  <a:pt x="11064867" y="6484847"/>
                  <a:pt x="11064867" y="6453827"/>
                </a:cubicBezTo>
                <a:cubicBezTo>
                  <a:pt x="11064867" y="6424698"/>
                  <a:pt x="11078938" y="6410322"/>
                  <a:pt x="11108524" y="6410322"/>
                </a:cubicBezTo>
                <a:close/>
                <a:moveTo>
                  <a:pt x="11212505" y="6391272"/>
                </a:moveTo>
                <a:lnTo>
                  <a:pt x="11212505" y="6518272"/>
                </a:lnTo>
                <a:lnTo>
                  <a:pt x="11246059" y="6518272"/>
                </a:lnTo>
                <a:lnTo>
                  <a:pt x="11246059" y="6422083"/>
                </a:lnTo>
                <a:lnTo>
                  <a:pt x="11315692" y="6518272"/>
                </a:lnTo>
                <a:lnTo>
                  <a:pt x="11355380" y="6518272"/>
                </a:lnTo>
                <a:lnTo>
                  <a:pt x="11355380" y="6391272"/>
                </a:lnTo>
                <a:lnTo>
                  <a:pt x="11322187" y="6391272"/>
                </a:lnTo>
                <a:lnTo>
                  <a:pt x="11322187" y="6482577"/>
                </a:lnTo>
                <a:lnTo>
                  <a:pt x="11255800" y="6391272"/>
                </a:lnTo>
                <a:close/>
                <a:moveTo>
                  <a:pt x="10968030" y="6391272"/>
                </a:moveTo>
                <a:lnTo>
                  <a:pt x="10968030" y="6518272"/>
                </a:lnTo>
                <a:lnTo>
                  <a:pt x="11002955" y="6518272"/>
                </a:lnTo>
                <a:lnTo>
                  <a:pt x="11002955" y="6391272"/>
                </a:lnTo>
                <a:close/>
                <a:moveTo>
                  <a:pt x="10798167" y="6391272"/>
                </a:moveTo>
                <a:lnTo>
                  <a:pt x="10798167" y="6518272"/>
                </a:lnTo>
                <a:lnTo>
                  <a:pt x="10832210" y="6518272"/>
                </a:lnTo>
                <a:lnTo>
                  <a:pt x="10832210" y="6468299"/>
                </a:lnTo>
                <a:lnTo>
                  <a:pt x="10871986" y="6468299"/>
                </a:lnTo>
                <a:lnTo>
                  <a:pt x="10907462" y="6518272"/>
                </a:lnTo>
                <a:lnTo>
                  <a:pt x="10945805" y="6518272"/>
                </a:lnTo>
                <a:lnTo>
                  <a:pt x="10905670" y="6465293"/>
                </a:lnTo>
                <a:cubicBezTo>
                  <a:pt x="10926454" y="6461536"/>
                  <a:pt x="10938280" y="6449136"/>
                  <a:pt x="10938280" y="6429598"/>
                </a:cubicBezTo>
                <a:cubicBezTo>
                  <a:pt x="10938280" y="6402920"/>
                  <a:pt x="10920004" y="6391272"/>
                  <a:pt x="10881661" y="6391272"/>
                </a:cubicBezTo>
                <a:close/>
                <a:moveTo>
                  <a:pt x="10728317" y="6391272"/>
                </a:moveTo>
                <a:lnTo>
                  <a:pt x="10728317" y="6518272"/>
                </a:lnTo>
                <a:lnTo>
                  <a:pt x="10763242" y="6518272"/>
                </a:lnTo>
                <a:lnTo>
                  <a:pt x="10763242" y="6391272"/>
                </a:lnTo>
                <a:close/>
                <a:moveTo>
                  <a:pt x="10604321" y="6391272"/>
                </a:moveTo>
                <a:cubicBezTo>
                  <a:pt x="10565734" y="6391272"/>
                  <a:pt x="10547342" y="6402544"/>
                  <a:pt x="10547342" y="6429973"/>
                </a:cubicBezTo>
                <a:cubicBezTo>
                  <a:pt x="10547342" y="6455524"/>
                  <a:pt x="10564291" y="6466420"/>
                  <a:pt x="10601436" y="6466420"/>
                </a:cubicBezTo>
                <a:lnTo>
                  <a:pt x="10641466" y="6466420"/>
                </a:lnTo>
                <a:cubicBezTo>
                  <a:pt x="10658055" y="6466420"/>
                  <a:pt x="10665628" y="6469802"/>
                  <a:pt x="10665628" y="6481074"/>
                </a:cubicBezTo>
                <a:cubicBezTo>
                  <a:pt x="10665628" y="6491970"/>
                  <a:pt x="10657333" y="6495352"/>
                  <a:pt x="10639302" y="6495352"/>
                </a:cubicBezTo>
                <a:lnTo>
                  <a:pt x="10553833" y="6495352"/>
                </a:lnTo>
                <a:lnTo>
                  <a:pt x="10553833" y="6518272"/>
                </a:lnTo>
                <a:lnTo>
                  <a:pt x="10644711" y="6518272"/>
                </a:lnTo>
                <a:cubicBezTo>
                  <a:pt x="10682938" y="6518272"/>
                  <a:pt x="10701330" y="6507000"/>
                  <a:pt x="10701330" y="6480323"/>
                </a:cubicBezTo>
                <a:cubicBezTo>
                  <a:pt x="10701330" y="6453645"/>
                  <a:pt x="10685823" y="6444252"/>
                  <a:pt x="10649760" y="6444252"/>
                </a:cubicBezTo>
                <a:lnTo>
                  <a:pt x="10604321" y="6444252"/>
                </a:lnTo>
                <a:cubicBezTo>
                  <a:pt x="10590257" y="6444252"/>
                  <a:pt x="10583044" y="6439743"/>
                  <a:pt x="10583044" y="6430349"/>
                </a:cubicBezTo>
                <a:cubicBezTo>
                  <a:pt x="10583044" y="6418701"/>
                  <a:pt x="10591339" y="6413817"/>
                  <a:pt x="10609009" y="6413817"/>
                </a:cubicBezTo>
                <a:lnTo>
                  <a:pt x="10693396" y="6413817"/>
                </a:lnTo>
                <a:lnTo>
                  <a:pt x="10693396" y="6391272"/>
                </a:lnTo>
                <a:close/>
                <a:moveTo>
                  <a:pt x="10490061" y="6391272"/>
                </a:moveTo>
                <a:lnTo>
                  <a:pt x="10490061" y="6482682"/>
                </a:lnTo>
                <a:lnTo>
                  <a:pt x="10423841" y="6391647"/>
                </a:lnTo>
                <a:lnTo>
                  <a:pt x="10380655" y="6391647"/>
                </a:lnTo>
                <a:lnTo>
                  <a:pt x="10380655" y="6518272"/>
                </a:lnTo>
                <a:lnTo>
                  <a:pt x="10414124" y="6518272"/>
                </a:lnTo>
                <a:lnTo>
                  <a:pt x="10414124" y="6422367"/>
                </a:lnTo>
                <a:lnTo>
                  <a:pt x="10483942" y="6518272"/>
                </a:lnTo>
                <a:lnTo>
                  <a:pt x="10523170" y="6518272"/>
                </a:lnTo>
                <a:lnTo>
                  <a:pt x="10523530" y="6391272"/>
                </a:lnTo>
                <a:close/>
                <a:moveTo>
                  <a:pt x="10293755" y="6391272"/>
                </a:moveTo>
                <a:cubicBezTo>
                  <a:pt x="10241355" y="6391272"/>
                  <a:pt x="10217142" y="6411938"/>
                  <a:pt x="10217142" y="6457027"/>
                </a:cubicBezTo>
                <a:cubicBezTo>
                  <a:pt x="10217142" y="6479947"/>
                  <a:pt x="10225454" y="6496479"/>
                  <a:pt x="10242077" y="6507000"/>
                </a:cubicBezTo>
                <a:cubicBezTo>
                  <a:pt x="10257978" y="6516769"/>
                  <a:pt x="10273156" y="6518272"/>
                  <a:pt x="10293032" y="6518272"/>
                </a:cubicBezTo>
                <a:lnTo>
                  <a:pt x="10350492" y="6518272"/>
                </a:lnTo>
                <a:lnTo>
                  <a:pt x="10350492" y="6496104"/>
                </a:lnTo>
                <a:lnTo>
                  <a:pt x="10294478" y="6496104"/>
                </a:lnTo>
                <a:cubicBezTo>
                  <a:pt x="10267374" y="6496104"/>
                  <a:pt x="10255810" y="6487837"/>
                  <a:pt x="10255810" y="6464917"/>
                </a:cubicBezTo>
                <a:lnTo>
                  <a:pt x="10350492" y="6464917"/>
                </a:lnTo>
                <a:lnTo>
                  <a:pt x="10350492" y="6442749"/>
                </a:lnTo>
                <a:lnTo>
                  <a:pt x="10255810" y="6442749"/>
                </a:lnTo>
                <a:cubicBezTo>
                  <a:pt x="10257255" y="6422834"/>
                  <a:pt x="10269904" y="6413441"/>
                  <a:pt x="10294478" y="6413441"/>
                </a:cubicBezTo>
                <a:lnTo>
                  <a:pt x="10350492" y="6413441"/>
                </a:lnTo>
                <a:lnTo>
                  <a:pt x="10350492" y="6391272"/>
                </a:lnTo>
                <a:close/>
                <a:moveTo>
                  <a:pt x="10104126" y="6391272"/>
                </a:moveTo>
                <a:cubicBezTo>
                  <a:pt x="10065629" y="6391272"/>
                  <a:pt x="10047280" y="6402544"/>
                  <a:pt x="10047280" y="6429973"/>
                </a:cubicBezTo>
                <a:cubicBezTo>
                  <a:pt x="10047280" y="6455524"/>
                  <a:pt x="10064190" y="6466420"/>
                  <a:pt x="10101248" y="6466420"/>
                </a:cubicBezTo>
                <a:lnTo>
                  <a:pt x="10141184" y="6466420"/>
                </a:lnTo>
                <a:cubicBezTo>
                  <a:pt x="10157734" y="6466420"/>
                  <a:pt x="10165649" y="6469802"/>
                  <a:pt x="10165649" y="6481074"/>
                </a:cubicBezTo>
                <a:cubicBezTo>
                  <a:pt x="10165649" y="6491970"/>
                  <a:pt x="10157014" y="6495352"/>
                  <a:pt x="10139025" y="6495352"/>
                </a:cubicBezTo>
                <a:lnTo>
                  <a:pt x="10053756" y="6495352"/>
                </a:lnTo>
                <a:lnTo>
                  <a:pt x="10053756" y="6518272"/>
                </a:lnTo>
                <a:lnTo>
                  <a:pt x="10144422" y="6518272"/>
                </a:lnTo>
                <a:cubicBezTo>
                  <a:pt x="10182919" y="6518272"/>
                  <a:pt x="10201268" y="6507000"/>
                  <a:pt x="10201268" y="6480323"/>
                </a:cubicBezTo>
                <a:cubicBezTo>
                  <a:pt x="10201268" y="6453645"/>
                  <a:pt x="10185437" y="6444252"/>
                  <a:pt x="10149459" y="6444252"/>
                </a:cubicBezTo>
                <a:lnTo>
                  <a:pt x="10104486" y="6444252"/>
                </a:lnTo>
                <a:cubicBezTo>
                  <a:pt x="10090094" y="6444252"/>
                  <a:pt x="10082899" y="6439743"/>
                  <a:pt x="10082899" y="6430349"/>
                </a:cubicBezTo>
                <a:cubicBezTo>
                  <a:pt x="10082899" y="6418701"/>
                  <a:pt x="10091174" y="6413817"/>
                  <a:pt x="10109163" y="6413817"/>
                </a:cubicBezTo>
                <a:lnTo>
                  <a:pt x="10193353" y="6413817"/>
                </a:lnTo>
                <a:lnTo>
                  <a:pt x="10193353" y="6391272"/>
                </a:lnTo>
                <a:close/>
                <a:moveTo>
                  <a:pt x="11099976" y="6389684"/>
                </a:moveTo>
                <a:cubicBezTo>
                  <a:pt x="11050930" y="6391539"/>
                  <a:pt x="11026767" y="6412307"/>
                  <a:pt x="11026767" y="6453474"/>
                </a:cubicBezTo>
                <a:cubicBezTo>
                  <a:pt x="11026767" y="6498720"/>
                  <a:pt x="11052011" y="6519859"/>
                  <a:pt x="11107910" y="6519859"/>
                </a:cubicBezTo>
                <a:cubicBezTo>
                  <a:pt x="11163087" y="6519859"/>
                  <a:pt x="11188692" y="6498720"/>
                  <a:pt x="11188692" y="6454586"/>
                </a:cubicBezTo>
                <a:cubicBezTo>
                  <a:pt x="11188692" y="6412307"/>
                  <a:pt x="11165611" y="6391539"/>
                  <a:pt x="11115844" y="6389684"/>
                </a:cubicBezTo>
                <a:close/>
                <a:moveTo>
                  <a:pt x="0" y="0"/>
                </a:moveTo>
                <a:lnTo>
                  <a:pt x="12188817" y="0"/>
                </a:lnTo>
                <a:lnTo>
                  <a:pt x="12188817" y="6857997"/>
                </a:lnTo>
                <a:lnTo>
                  <a:pt x="0" y="6857997"/>
                </a:lnTo>
                <a:lnTo>
                  <a:pt x="0" y="6237284"/>
                </a:lnTo>
                <a:lnTo>
                  <a:pt x="6095992" y="6237284"/>
                </a:lnTo>
                <a:lnTo>
                  <a:pt x="6095992" y="3141660"/>
                </a:lnTo>
                <a:lnTo>
                  <a:pt x="0" y="3141660"/>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dirty="0"/>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noProof="0" dirty="0"/>
              <a:t>Add Title / </a:t>
            </a:r>
            <a:r>
              <a:rPr lang="en-US" noProof="0" dirty="0" err="1"/>
              <a:t>Titel</a:t>
            </a:r>
            <a:r>
              <a:rPr lang="en-US" noProof="0" dirty="0"/>
              <a:t> </a:t>
            </a:r>
            <a:r>
              <a:rPr lang="en-US" noProof="0" dirty="0" err="1"/>
              <a:t>hinzufügen</a:t>
            </a:r>
            <a:endParaRPr lang="en-US" noProof="0" dirty="0"/>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dirty="0"/>
              <a:t>Add text / Text </a:t>
            </a:r>
            <a:r>
              <a:rPr lang="en-US" noProof="0" dirty="0" err="1"/>
              <a:t>hinzufügen</a:t>
            </a:r>
            <a:endParaRPr lang="en-US" noProof="0" dirty="0"/>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3" name="Title 2"/>
          <p:cNvSpPr>
            <a:spLocks noGrp="1"/>
          </p:cNvSpPr>
          <p:nvPr>
            <p:ph type="title" hasCustomPrompt="1"/>
          </p:nvPr>
        </p:nvSpPr>
        <p:spPr/>
        <p:txBody>
          <a:bodyPr/>
          <a:lstStyle>
            <a:lvl1pPr>
              <a:defRPr/>
            </a:lvl1pPr>
          </a:lstStyle>
          <a:p>
            <a:r>
              <a:rPr lang="en-US" noProof="0" dirty="0"/>
              <a:t>Add Title / </a:t>
            </a:r>
            <a:r>
              <a:rPr lang="en-US" noProof="0" dirty="0" err="1"/>
              <a:t>Titel</a:t>
            </a:r>
            <a:r>
              <a:rPr lang="en-US" noProof="0" dirty="0"/>
              <a:t> </a:t>
            </a:r>
            <a:r>
              <a:rPr lang="en-US" noProof="0" dirty="0" err="1"/>
              <a:t>hinzufügen</a:t>
            </a:r>
            <a:r>
              <a:rPr lang="en-US" noProof="0" dirty="0"/>
              <a:t> </a:t>
            </a:r>
            <a:endParaRPr lang="en-US" dirty="0"/>
          </a:p>
        </p:txBody>
      </p:sp>
      <p:sp>
        <p:nvSpPr>
          <p:cNvPr id="4" name="Foliennummernplatzhalter 3">
            <a:extLst>
              <a:ext uri="{FF2B5EF4-FFF2-40B4-BE49-F238E27FC236}">
                <a16:creationId xmlns:a16="http://schemas.microsoft.com/office/drawing/2014/main" id="{AEF54E00-BB23-4EC2-8E86-2D2A729E305F}"/>
              </a:ext>
            </a:extLst>
          </p:cNvPr>
          <p:cNvSpPr>
            <a:spLocks noGrp="1"/>
          </p:cNvSpPr>
          <p:nvPr>
            <p:ph type="sldNum" sz="quarter" idx="15"/>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330595514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Text (righ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28097" cy="288001"/>
            <a:chOff x="731952" y="6335059"/>
            <a:chExt cx="10728097" cy="288001"/>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7" y="6345196"/>
              <a:ext cx="1500502" cy="277864"/>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Freihandform: Form 12">
            <a:extLst>
              <a:ext uri="{FF2B5EF4-FFF2-40B4-BE49-F238E27FC236}">
                <a16:creationId xmlns:a16="http://schemas.microsoft.com/office/drawing/2014/main" id="{70EDE6A1-7166-4499-937E-ABB44C87EE0F}"/>
              </a:ext>
            </a:extLst>
          </p:cNvPr>
          <p:cNvSpPr>
            <a:spLocks noGrp="1"/>
          </p:cNvSpPr>
          <p:nvPr>
            <p:ph type="pic" sz="quarter" idx="14"/>
          </p:nvPr>
        </p:nvSpPr>
        <p:spPr>
          <a:xfrm>
            <a:off x="9" y="4"/>
            <a:ext cx="12188817" cy="6857997"/>
          </a:xfrm>
          <a:custGeom>
            <a:avLst/>
            <a:gdLst>
              <a:gd name="connsiteX0" fmla="*/ 2164817 w 12188817"/>
              <a:gd name="connsiteY0" fmla="*/ 6506714 h 6857997"/>
              <a:gd name="connsiteX1" fmla="*/ 2164817 w 12188817"/>
              <a:gd name="connsiteY1" fmla="*/ 6521015 h 6857997"/>
              <a:gd name="connsiteX2" fmla="*/ 2170608 w 12188817"/>
              <a:gd name="connsiteY2" fmla="*/ 6521015 h 6857997"/>
              <a:gd name="connsiteX3" fmla="*/ 2168864 w 12188817"/>
              <a:gd name="connsiteY3" fmla="*/ 6530887 h 6857997"/>
              <a:gd name="connsiteX4" fmla="*/ 2164120 w 12188817"/>
              <a:gd name="connsiteY4" fmla="*/ 6535875 h 6857997"/>
              <a:gd name="connsiteX5" fmla="*/ 2166980 w 12188817"/>
              <a:gd name="connsiteY5" fmla="*/ 6541247 h 6857997"/>
              <a:gd name="connsiteX6" fmla="*/ 2174096 w 12188817"/>
              <a:gd name="connsiteY6" fmla="*/ 6534026 h 6857997"/>
              <a:gd name="connsiteX7" fmla="*/ 2176538 w 12188817"/>
              <a:gd name="connsiteY7" fmla="*/ 6521015 h 6857997"/>
              <a:gd name="connsiteX8" fmla="*/ 2176538 w 12188817"/>
              <a:gd name="connsiteY8" fmla="*/ 6506714 h 6857997"/>
              <a:gd name="connsiteX9" fmla="*/ 6291674 w 12188817"/>
              <a:gd name="connsiteY9" fmla="*/ 6483831 h 6857997"/>
              <a:gd name="connsiteX10" fmla="*/ 6291674 w 12188817"/>
              <a:gd name="connsiteY10" fmla="*/ 6488436 h 6857997"/>
              <a:gd name="connsiteX11" fmla="*/ 6289442 w 12188817"/>
              <a:gd name="connsiteY11" fmla="*/ 6502354 h 6857997"/>
              <a:gd name="connsiteX12" fmla="*/ 6282709 w 12188817"/>
              <a:gd name="connsiteY12" fmla="*/ 6509993 h 6857997"/>
              <a:gd name="connsiteX13" fmla="*/ 6272698 w 12188817"/>
              <a:gd name="connsiteY13" fmla="*/ 6512853 h 6857997"/>
              <a:gd name="connsiteX14" fmla="*/ 6263629 w 12188817"/>
              <a:gd name="connsiteY14" fmla="*/ 6509679 h 6857997"/>
              <a:gd name="connsiteX15" fmla="*/ 6260350 w 12188817"/>
              <a:gd name="connsiteY15" fmla="*/ 6501203 h 6857997"/>
              <a:gd name="connsiteX16" fmla="*/ 6261780 w 12188817"/>
              <a:gd name="connsiteY16" fmla="*/ 6495168 h 6857997"/>
              <a:gd name="connsiteX17" fmla="*/ 6265792 w 12188817"/>
              <a:gd name="connsiteY17" fmla="*/ 6491122 h 6857997"/>
              <a:gd name="connsiteX18" fmla="*/ 6274861 w 12188817"/>
              <a:gd name="connsiteY18" fmla="*/ 6488575 h 6857997"/>
              <a:gd name="connsiteX19" fmla="*/ 6291674 w 12188817"/>
              <a:gd name="connsiteY19" fmla="*/ 6483831 h 6857997"/>
              <a:gd name="connsiteX20" fmla="*/ 2657736 w 12188817"/>
              <a:gd name="connsiteY20" fmla="*/ 6483831 h 6857997"/>
              <a:gd name="connsiteX21" fmla="*/ 2657736 w 12188817"/>
              <a:gd name="connsiteY21" fmla="*/ 6488436 h 6857997"/>
              <a:gd name="connsiteX22" fmla="*/ 2655504 w 12188817"/>
              <a:gd name="connsiteY22" fmla="*/ 6502354 h 6857997"/>
              <a:gd name="connsiteX23" fmla="*/ 2648771 w 12188817"/>
              <a:gd name="connsiteY23" fmla="*/ 6509993 h 6857997"/>
              <a:gd name="connsiteX24" fmla="*/ 2638760 w 12188817"/>
              <a:gd name="connsiteY24" fmla="*/ 6512853 h 6857997"/>
              <a:gd name="connsiteX25" fmla="*/ 2629691 w 12188817"/>
              <a:gd name="connsiteY25" fmla="*/ 6509679 h 6857997"/>
              <a:gd name="connsiteX26" fmla="*/ 2626412 w 12188817"/>
              <a:gd name="connsiteY26" fmla="*/ 6501203 h 6857997"/>
              <a:gd name="connsiteX27" fmla="*/ 2627843 w 12188817"/>
              <a:gd name="connsiteY27" fmla="*/ 6495168 h 6857997"/>
              <a:gd name="connsiteX28" fmla="*/ 2631854 w 12188817"/>
              <a:gd name="connsiteY28" fmla="*/ 6491122 h 6857997"/>
              <a:gd name="connsiteX29" fmla="*/ 2640923 w 12188817"/>
              <a:gd name="connsiteY29" fmla="*/ 6488575 h 6857997"/>
              <a:gd name="connsiteX30" fmla="*/ 2657736 w 12188817"/>
              <a:gd name="connsiteY30" fmla="*/ 6483831 h 6857997"/>
              <a:gd name="connsiteX31" fmla="*/ 6087291 w 12188817"/>
              <a:gd name="connsiteY31" fmla="*/ 6455577 h 6857997"/>
              <a:gd name="connsiteX32" fmla="*/ 6099918 w 12188817"/>
              <a:gd name="connsiteY32" fmla="*/ 6462484 h 6857997"/>
              <a:gd name="connsiteX33" fmla="*/ 6104034 w 12188817"/>
              <a:gd name="connsiteY33" fmla="*/ 6476855 h 6857997"/>
              <a:gd name="connsiteX34" fmla="*/ 6070131 w 12188817"/>
              <a:gd name="connsiteY34" fmla="*/ 6476855 h 6857997"/>
              <a:gd name="connsiteX35" fmla="*/ 6075502 w 12188817"/>
              <a:gd name="connsiteY35" fmla="*/ 6461333 h 6857997"/>
              <a:gd name="connsiteX36" fmla="*/ 6087291 w 12188817"/>
              <a:gd name="connsiteY36" fmla="*/ 6455577 h 6857997"/>
              <a:gd name="connsiteX37" fmla="*/ 6018394 w 12188817"/>
              <a:gd name="connsiteY37" fmla="*/ 6455577 h 6857997"/>
              <a:gd name="connsiteX38" fmla="*/ 6030544 w 12188817"/>
              <a:gd name="connsiteY38" fmla="*/ 6462728 h 6857997"/>
              <a:gd name="connsiteX39" fmla="*/ 6035357 w 12188817"/>
              <a:gd name="connsiteY39" fmla="*/ 6485436 h 6857997"/>
              <a:gd name="connsiteX40" fmla="*/ 6030544 w 12188817"/>
              <a:gd name="connsiteY40" fmla="*/ 6505667 h 6857997"/>
              <a:gd name="connsiteX41" fmla="*/ 6019162 w 12188817"/>
              <a:gd name="connsiteY41" fmla="*/ 6512365 h 6857997"/>
              <a:gd name="connsiteX42" fmla="*/ 6007540 w 12188817"/>
              <a:gd name="connsiteY42" fmla="*/ 6505388 h 6857997"/>
              <a:gd name="connsiteX43" fmla="*/ 6002550 w 12188817"/>
              <a:gd name="connsiteY43" fmla="*/ 6484041 h 6857997"/>
              <a:gd name="connsiteX44" fmla="*/ 6007226 w 12188817"/>
              <a:gd name="connsiteY44" fmla="*/ 6462449 h 6857997"/>
              <a:gd name="connsiteX45" fmla="*/ 6018394 w 12188817"/>
              <a:gd name="connsiteY45" fmla="*/ 6455577 h 6857997"/>
              <a:gd name="connsiteX46" fmla="*/ 5829559 w 12188817"/>
              <a:gd name="connsiteY46" fmla="*/ 6455577 h 6857997"/>
              <a:gd name="connsiteX47" fmla="*/ 5842534 w 12188817"/>
              <a:gd name="connsiteY47" fmla="*/ 6462597 h 6857997"/>
              <a:gd name="connsiteX48" fmla="*/ 5847769 w 12188817"/>
              <a:gd name="connsiteY48" fmla="*/ 6483936 h 6857997"/>
              <a:gd name="connsiteX49" fmla="*/ 5842571 w 12188817"/>
              <a:gd name="connsiteY49" fmla="*/ 6505275 h 6857997"/>
              <a:gd name="connsiteX50" fmla="*/ 5830117 w 12188817"/>
              <a:gd name="connsiteY50" fmla="*/ 6512365 h 6857997"/>
              <a:gd name="connsiteX51" fmla="*/ 5817142 w 12188817"/>
              <a:gd name="connsiteY51" fmla="*/ 6505345 h 6857997"/>
              <a:gd name="connsiteX52" fmla="*/ 5811909 w 12188817"/>
              <a:gd name="connsiteY52" fmla="*/ 6483936 h 6857997"/>
              <a:gd name="connsiteX53" fmla="*/ 5817070 w 12188817"/>
              <a:gd name="connsiteY53" fmla="*/ 6462632 h 6857997"/>
              <a:gd name="connsiteX54" fmla="*/ 5829559 w 12188817"/>
              <a:gd name="connsiteY54" fmla="*/ 6455577 h 6857997"/>
              <a:gd name="connsiteX55" fmla="*/ 2774981 w 12188817"/>
              <a:gd name="connsiteY55" fmla="*/ 6455577 h 6857997"/>
              <a:gd name="connsiteX56" fmla="*/ 2787127 w 12188817"/>
              <a:gd name="connsiteY56" fmla="*/ 6462728 h 6857997"/>
              <a:gd name="connsiteX57" fmla="*/ 2791944 w 12188817"/>
              <a:gd name="connsiteY57" fmla="*/ 6485436 h 6857997"/>
              <a:gd name="connsiteX58" fmla="*/ 2787127 w 12188817"/>
              <a:gd name="connsiteY58" fmla="*/ 6505667 h 6857997"/>
              <a:gd name="connsiteX59" fmla="*/ 2775749 w 12188817"/>
              <a:gd name="connsiteY59" fmla="*/ 6512365 h 6857997"/>
              <a:gd name="connsiteX60" fmla="*/ 2764126 w 12188817"/>
              <a:gd name="connsiteY60" fmla="*/ 6505388 h 6857997"/>
              <a:gd name="connsiteX61" fmla="*/ 2759134 w 12188817"/>
              <a:gd name="connsiteY61" fmla="*/ 6484041 h 6857997"/>
              <a:gd name="connsiteX62" fmla="*/ 2763811 w 12188817"/>
              <a:gd name="connsiteY62" fmla="*/ 6462449 h 6857997"/>
              <a:gd name="connsiteX63" fmla="*/ 2774981 w 12188817"/>
              <a:gd name="connsiteY63" fmla="*/ 6455577 h 6857997"/>
              <a:gd name="connsiteX64" fmla="*/ 2510503 w 12188817"/>
              <a:gd name="connsiteY64" fmla="*/ 6455577 h 6857997"/>
              <a:gd name="connsiteX65" fmla="*/ 2523130 w 12188817"/>
              <a:gd name="connsiteY65" fmla="*/ 6462484 h 6857997"/>
              <a:gd name="connsiteX66" fmla="*/ 2527246 w 12188817"/>
              <a:gd name="connsiteY66" fmla="*/ 6476855 h 6857997"/>
              <a:gd name="connsiteX67" fmla="*/ 2493341 w 12188817"/>
              <a:gd name="connsiteY67" fmla="*/ 6476855 h 6857997"/>
              <a:gd name="connsiteX68" fmla="*/ 2498713 w 12188817"/>
              <a:gd name="connsiteY68" fmla="*/ 6461333 h 6857997"/>
              <a:gd name="connsiteX69" fmla="*/ 2510503 w 12188817"/>
              <a:gd name="connsiteY69" fmla="*/ 6455577 h 6857997"/>
              <a:gd name="connsiteX70" fmla="*/ 1871770 w 12188817"/>
              <a:gd name="connsiteY70" fmla="*/ 6455577 h 6857997"/>
              <a:gd name="connsiteX71" fmla="*/ 1884746 w 12188817"/>
              <a:gd name="connsiteY71" fmla="*/ 6462597 h 6857997"/>
              <a:gd name="connsiteX72" fmla="*/ 1889978 w 12188817"/>
              <a:gd name="connsiteY72" fmla="*/ 6483936 h 6857997"/>
              <a:gd name="connsiteX73" fmla="*/ 1884781 w 12188817"/>
              <a:gd name="connsiteY73" fmla="*/ 6505275 h 6857997"/>
              <a:gd name="connsiteX74" fmla="*/ 1872328 w 12188817"/>
              <a:gd name="connsiteY74" fmla="*/ 6512365 h 6857997"/>
              <a:gd name="connsiteX75" fmla="*/ 1859352 w 12188817"/>
              <a:gd name="connsiteY75" fmla="*/ 6505345 h 6857997"/>
              <a:gd name="connsiteX76" fmla="*/ 1854120 w 12188817"/>
              <a:gd name="connsiteY76" fmla="*/ 6483936 h 6857997"/>
              <a:gd name="connsiteX77" fmla="*/ 1859282 w 12188817"/>
              <a:gd name="connsiteY77" fmla="*/ 6462632 h 6857997"/>
              <a:gd name="connsiteX78" fmla="*/ 1871770 w 12188817"/>
              <a:gd name="connsiteY78" fmla="*/ 6455577 h 6857997"/>
              <a:gd name="connsiteX79" fmla="*/ 1586578 w 12188817"/>
              <a:gd name="connsiteY79" fmla="*/ 6455577 h 6857997"/>
              <a:gd name="connsiteX80" fmla="*/ 1599205 w 12188817"/>
              <a:gd name="connsiteY80" fmla="*/ 6462484 h 6857997"/>
              <a:gd name="connsiteX81" fmla="*/ 1603321 w 12188817"/>
              <a:gd name="connsiteY81" fmla="*/ 6476855 h 6857997"/>
              <a:gd name="connsiteX82" fmla="*/ 1569416 w 12188817"/>
              <a:gd name="connsiteY82" fmla="*/ 6476855 h 6857997"/>
              <a:gd name="connsiteX83" fmla="*/ 1574788 w 12188817"/>
              <a:gd name="connsiteY83" fmla="*/ 6461333 h 6857997"/>
              <a:gd name="connsiteX84" fmla="*/ 1586578 w 12188817"/>
              <a:gd name="connsiteY84" fmla="*/ 6455577 h 6857997"/>
              <a:gd name="connsiteX85" fmla="*/ 1317679 w 12188817"/>
              <a:gd name="connsiteY85" fmla="*/ 6455577 h 6857997"/>
              <a:gd name="connsiteX86" fmla="*/ 1329914 w 12188817"/>
              <a:gd name="connsiteY86" fmla="*/ 6462397 h 6857997"/>
              <a:gd name="connsiteX87" fmla="*/ 1334947 w 12188817"/>
              <a:gd name="connsiteY87" fmla="*/ 6483204 h 6857997"/>
              <a:gd name="connsiteX88" fmla="*/ 1330053 w 12188817"/>
              <a:gd name="connsiteY88" fmla="*/ 6504116 h 6857997"/>
              <a:gd name="connsiteX89" fmla="*/ 1318169 w 12188817"/>
              <a:gd name="connsiteY89" fmla="*/ 6510690 h 6857997"/>
              <a:gd name="connsiteX90" fmla="*/ 1306354 w 12188817"/>
              <a:gd name="connsiteY90" fmla="*/ 6503976 h 6857997"/>
              <a:gd name="connsiteX91" fmla="*/ 1301530 w 12188817"/>
              <a:gd name="connsiteY91" fmla="*/ 6482644 h 6857997"/>
              <a:gd name="connsiteX92" fmla="*/ 1306389 w 12188817"/>
              <a:gd name="connsiteY92" fmla="*/ 6462397 h 6857997"/>
              <a:gd name="connsiteX93" fmla="*/ 1317679 w 12188817"/>
              <a:gd name="connsiteY93" fmla="*/ 6455577 h 6857997"/>
              <a:gd name="connsiteX94" fmla="*/ 1071670 w 12188817"/>
              <a:gd name="connsiteY94" fmla="*/ 6455577 h 6857997"/>
              <a:gd name="connsiteX95" fmla="*/ 1084646 w 12188817"/>
              <a:gd name="connsiteY95" fmla="*/ 6462597 h 6857997"/>
              <a:gd name="connsiteX96" fmla="*/ 1089878 w 12188817"/>
              <a:gd name="connsiteY96" fmla="*/ 6483936 h 6857997"/>
              <a:gd name="connsiteX97" fmla="*/ 1084681 w 12188817"/>
              <a:gd name="connsiteY97" fmla="*/ 6505275 h 6857997"/>
              <a:gd name="connsiteX98" fmla="*/ 1072228 w 12188817"/>
              <a:gd name="connsiteY98" fmla="*/ 6512365 h 6857997"/>
              <a:gd name="connsiteX99" fmla="*/ 1059252 w 12188817"/>
              <a:gd name="connsiteY99" fmla="*/ 6505345 h 6857997"/>
              <a:gd name="connsiteX100" fmla="*/ 1054020 w 12188817"/>
              <a:gd name="connsiteY100" fmla="*/ 6483936 h 6857997"/>
              <a:gd name="connsiteX101" fmla="*/ 1059182 w 12188817"/>
              <a:gd name="connsiteY101" fmla="*/ 6462632 h 6857997"/>
              <a:gd name="connsiteX102" fmla="*/ 1071670 w 12188817"/>
              <a:gd name="connsiteY102" fmla="*/ 6455577 h 6857997"/>
              <a:gd name="connsiteX103" fmla="*/ 1139782 w 12188817"/>
              <a:gd name="connsiteY103" fmla="*/ 6455089 h 6857997"/>
              <a:gd name="connsiteX104" fmla="*/ 1151472 w 12188817"/>
              <a:gd name="connsiteY104" fmla="*/ 6462065 h 6857997"/>
              <a:gd name="connsiteX105" fmla="*/ 1156274 w 12188817"/>
              <a:gd name="connsiteY105" fmla="*/ 6483552 h 6857997"/>
              <a:gd name="connsiteX106" fmla="*/ 1151334 w 12188817"/>
              <a:gd name="connsiteY106" fmla="*/ 6505319 h 6857997"/>
              <a:gd name="connsiteX107" fmla="*/ 1139852 w 12188817"/>
              <a:gd name="connsiteY107" fmla="*/ 6512365 h 6857997"/>
              <a:gd name="connsiteX108" fmla="*/ 1128229 w 12188817"/>
              <a:gd name="connsiteY108" fmla="*/ 6505563 h 6857997"/>
              <a:gd name="connsiteX109" fmla="*/ 1123428 w 12188817"/>
              <a:gd name="connsiteY109" fmla="*/ 6484390 h 6857997"/>
              <a:gd name="connsiteX110" fmla="*/ 1128508 w 12188817"/>
              <a:gd name="connsiteY110" fmla="*/ 6462589 h 6857997"/>
              <a:gd name="connsiteX111" fmla="*/ 1139782 w 12188817"/>
              <a:gd name="connsiteY111" fmla="*/ 6455089 h 6857997"/>
              <a:gd name="connsiteX112" fmla="*/ 6224380 w 12188817"/>
              <a:gd name="connsiteY112" fmla="*/ 6446927 h 6857997"/>
              <a:gd name="connsiteX113" fmla="*/ 6224380 w 12188817"/>
              <a:gd name="connsiteY113" fmla="*/ 6521015 h 6857997"/>
              <a:gd name="connsiteX114" fmla="*/ 6234636 w 12188817"/>
              <a:gd name="connsiteY114" fmla="*/ 6521015 h 6857997"/>
              <a:gd name="connsiteX115" fmla="*/ 6234636 w 12188817"/>
              <a:gd name="connsiteY115" fmla="*/ 6446927 h 6857997"/>
              <a:gd name="connsiteX116" fmla="*/ 5967205 w 12188817"/>
              <a:gd name="connsiteY116" fmla="*/ 6446927 h 6857997"/>
              <a:gd name="connsiteX117" fmla="*/ 5967205 w 12188817"/>
              <a:gd name="connsiteY117" fmla="*/ 6521015 h 6857997"/>
              <a:gd name="connsiteX118" fmla="*/ 5977462 w 12188817"/>
              <a:gd name="connsiteY118" fmla="*/ 6521015 h 6857997"/>
              <a:gd name="connsiteX119" fmla="*/ 5977462 w 12188817"/>
              <a:gd name="connsiteY119" fmla="*/ 6446927 h 6857997"/>
              <a:gd name="connsiteX120" fmla="*/ 2380892 w 12188817"/>
              <a:gd name="connsiteY120" fmla="*/ 6446927 h 6857997"/>
              <a:gd name="connsiteX121" fmla="*/ 2380892 w 12188817"/>
              <a:gd name="connsiteY121" fmla="*/ 6521015 h 6857997"/>
              <a:gd name="connsiteX122" fmla="*/ 2391148 w 12188817"/>
              <a:gd name="connsiteY122" fmla="*/ 6521015 h 6857997"/>
              <a:gd name="connsiteX123" fmla="*/ 2391148 w 12188817"/>
              <a:gd name="connsiteY123" fmla="*/ 6446927 h 6857997"/>
              <a:gd name="connsiteX124" fmla="*/ 2287703 w 12188817"/>
              <a:gd name="connsiteY124" fmla="*/ 6446927 h 6857997"/>
              <a:gd name="connsiteX125" fmla="*/ 2306367 w 12188817"/>
              <a:gd name="connsiteY125" fmla="*/ 6521015 h 6857997"/>
              <a:gd name="connsiteX126" fmla="*/ 2317108 w 12188817"/>
              <a:gd name="connsiteY126" fmla="*/ 6521015 h 6857997"/>
              <a:gd name="connsiteX127" fmla="*/ 2329386 w 12188817"/>
              <a:gd name="connsiteY127" fmla="*/ 6464019 h 6857997"/>
              <a:gd name="connsiteX128" fmla="*/ 2331689 w 12188817"/>
              <a:gd name="connsiteY128" fmla="*/ 6476646 h 6857997"/>
              <a:gd name="connsiteX129" fmla="*/ 2341385 w 12188817"/>
              <a:gd name="connsiteY129" fmla="*/ 6521015 h 6857997"/>
              <a:gd name="connsiteX130" fmla="*/ 2352104 w 12188817"/>
              <a:gd name="connsiteY130" fmla="*/ 6521015 h 6857997"/>
              <a:gd name="connsiteX131" fmla="*/ 2371070 w 12188817"/>
              <a:gd name="connsiteY131" fmla="*/ 6446927 h 6857997"/>
              <a:gd name="connsiteX132" fmla="*/ 2361025 w 12188817"/>
              <a:gd name="connsiteY132" fmla="*/ 6446927 h 6857997"/>
              <a:gd name="connsiteX133" fmla="*/ 2350655 w 12188817"/>
              <a:gd name="connsiteY133" fmla="*/ 6489761 h 6857997"/>
              <a:gd name="connsiteX134" fmla="*/ 2347176 w 12188817"/>
              <a:gd name="connsiteY134" fmla="*/ 6504063 h 6857997"/>
              <a:gd name="connsiteX135" fmla="*/ 2344116 w 12188817"/>
              <a:gd name="connsiteY135" fmla="*/ 6489901 h 6857997"/>
              <a:gd name="connsiteX136" fmla="*/ 2335078 w 12188817"/>
              <a:gd name="connsiteY136" fmla="*/ 6446927 h 6857997"/>
              <a:gd name="connsiteX137" fmla="*/ 2324448 w 12188817"/>
              <a:gd name="connsiteY137" fmla="*/ 6446927 h 6857997"/>
              <a:gd name="connsiteX138" fmla="*/ 2314810 w 12188817"/>
              <a:gd name="connsiteY138" fmla="*/ 6490319 h 6857997"/>
              <a:gd name="connsiteX139" fmla="*/ 2311597 w 12188817"/>
              <a:gd name="connsiteY139" fmla="*/ 6505598 h 6857997"/>
              <a:gd name="connsiteX140" fmla="*/ 2308021 w 12188817"/>
              <a:gd name="connsiteY140" fmla="*/ 6489692 h 6857997"/>
              <a:gd name="connsiteX141" fmla="*/ 2298346 w 12188817"/>
              <a:gd name="connsiteY141" fmla="*/ 6446927 h 6857997"/>
              <a:gd name="connsiteX142" fmla="*/ 1818918 w 12188817"/>
              <a:gd name="connsiteY142" fmla="*/ 6446927 h 6857997"/>
              <a:gd name="connsiteX143" fmla="*/ 1818918 w 12188817"/>
              <a:gd name="connsiteY143" fmla="*/ 6521015 h 6857997"/>
              <a:gd name="connsiteX144" fmla="*/ 1829173 w 12188817"/>
              <a:gd name="connsiteY144" fmla="*/ 6521015 h 6857997"/>
              <a:gd name="connsiteX145" fmla="*/ 1829173 w 12188817"/>
              <a:gd name="connsiteY145" fmla="*/ 6446927 h 6857997"/>
              <a:gd name="connsiteX146" fmla="*/ 1752242 w 12188817"/>
              <a:gd name="connsiteY146" fmla="*/ 6446927 h 6857997"/>
              <a:gd name="connsiteX147" fmla="*/ 1752242 w 12188817"/>
              <a:gd name="connsiteY147" fmla="*/ 6521015 h 6857997"/>
              <a:gd name="connsiteX148" fmla="*/ 1762498 w 12188817"/>
              <a:gd name="connsiteY148" fmla="*/ 6521015 h 6857997"/>
              <a:gd name="connsiteX149" fmla="*/ 1762498 w 12188817"/>
              <a:gd name="connsiteY149" fmla="*/ 6446927 h 6857997"/>
              <a:gd name="connsiteX150" fmla="*/ 1266468 w 12188817"/>
              <a:gd name="connsiteY150" fmla="*/ 6446927 h 6857997"/>
              <a:gd name="connsiteX151" fmla="*/ 1266468 w 12188817"/>
              <a:gd name="connsiteY151" fmla="*/ 6521015 h 6857997"/>
              <a:gd name="connsiteX152" fmla="*/ 1276723 w 12188817"/>
              <a:gd name="connsiteY152" fmla="*/ 6521015 h 6857997"/>
              <a:gd name="connsiteX153" fmla="*/ 1276723 w 12188817"/>
              <a:gd name="connsiteY153" fmla="*/ 6446927 h 6857997"/>
              <a:gd name="connsiteX154" fmla="*/ 6278768 w 12188817"/>
              <a:gd name="connsiteY154" fmla="*/ 6445252 h 6857997"/>
              <a:gd name="connsiteX155" fmla="*/ 6259897 w 12188817"/>
              <a:gd name="connsiteY155" fmla="*/ 6450694 h 6857997"/>
              <a:gd name="connsiteX156" fmla="*/ 6251142 w 12188817"/>
              <a:gd name="connsiteY156" fmla="*/ 6468065 h 6857997"/>
              <a:gd name="connsiteX157" fmla="*/ 6261257 w 12188817"/>
              <a:gd name="connsiteY157" fmla="*/ 6469739 h 6857997"/>
              <a:gd name="connsiteX158" fmla="*/ 6266489 w 12188817"/>
              <a:gd name="connsiteY158" fmla="*/ 6458557 h 6857997"/>
              <a:gd name="connsiteX159" fmla="*/ 6277233 w 12188817"/>
              <a:gd name="connsiteY159" fmla="*/ 6455577 h 6857997"/>
              <a:gd name="connsiteX160" fmla="*/ 6289023 w 12188817"/>
              <a:gd name="connsiteY160" fmla="*/ 6460042 h 6857997"/>
              <a:gd name="connsiteX161" fmla="*/ 6291744 w 12188817"/>
              <a:gd name="connsiteY161" fmla="*/ 6470716 h 6857997"/>
              <a:gd name="connsiteX162" fmla="*/ 6291674 w 12188817"/>
              <a:gd name="connsiteY162" fmla="*/ 6473925 h 6857997"/>
              <a:gd name="connsiteX163" fmla="*/ 6273256 w 12188817"/>
              <a:gd name="connsiteY163" fmla="*/ 6478320 h 6857997"/>
              <a:gd name="connsiteX164" fmla="*/ 6259304 w 12188817"/>
              <a:gd name="connsiteY164" fmla="*/ 6482436 h 6857997"/>
              <a:gd name="connsiteX165" fmla="*/ 6252048 w 12188817"/>
              <a:gd name="connsiteY165" fmla="*/ 6490180 h 6857997"/>
              <a:gd name="connsiteX166" fmla="*/ 6249397 w 12188817"/>
              <a:gd name="connsiteY166" fmla="*/ 6501551 h 6857997"/>
              <a:gd name="connsiteX167" fmla="*/ 6255048 w 12188817"/>
              <a:gd name="connsiteY167" fmla="*/ 6516969 h 6857997"/>
              <a:gd name="connsiteX168" fmla="*/ 6270187 w 12188817"/>
              <a:gd name="connsiteY168" fmla="*/ 6522690 h 6857997"/>
              <a:gd name="connsiteX169" fmla="*/ 6281768 w 12188817"/>
              <a:gd name="connsiteY169" fmla="*/ 6519968 h 6857997"/>
              <a:gd name="connsiteX170" fmla="*/ 6292511 w 12188817"/>
              <a:gd name="connsiteY170" fmla="*/ 6511875 h 6857997"/>
              <a:gd name="connsiteX171" fmla="*/ 6294604 w 12188817"/>
              <a:gd name="connsiteY171" fmla="*/ 6521015 h 6857997"/>
              <a:gd name="connsiteX172" fmla="*/ 6305348 w 12188817"/>
              <a:gd name="connsiteY172" fmla="*/ 6521015 h 6857997"/>
              <a:gd name="connsiteX173" fmla="*/ 6302731 w 12188817"/>
              <a:gd name="connsiteY173" fmla="*/ 6512120 h 6857997"/>
              <a:gd name="connsiteX174" fmla="*/ 6302069 w 12188817"/>
              <a:gd name="connsiteY174" fmla="*/ 6489971 h 6857997"/>
              <a:gd name="connsiteX175" fmla="*/ 6302069 w 12188817"/>
              <a:gd name="connsiteY175" fmla="*/ 6473227 h 6857997"/>
              <a:gd name="connsiteX176" fmla="*/ 6300639 w 12188817"/>
              <a:gd name="connsiteY176" fmla="*/ 6457740 h 6857997"/>
              <a:gd name="connsiteX177" fmla="*/ 6293767 w 12188817"/>
              <a:gd name="connsiteY177" fmla="*/ 6448845 h 6857997"/>
              <a:gd name="connsiteX178" fmla="*/ 6278768 w 12188817"/>
              <a:gd name="connsiteY178" fmla="*/ 6445252 h 6857997"/>
              <a:gd name="connsiteX179" fmla="*/ 6157700 w 12188817"/>
              <a:gd name="connsiteY179" fmla="*/ 6445252 h 6857997"/>
              <a:gd name="connsiteX180" fmla="*/ 6146592 w 12188817"/>
              <a:gd name="connsiteY180" fmla="*/ 6448270 h 6857997"/>
              <a:gd name="connsiteX181" fmla="*/ 6138409 w 12188817"/>
              <a:gd name="connsiteY181" fmla="*/ 6457392 h 6857997"/>
              <a:gd name="connsiteX182" fmla="*/ 6138409 w 12188817"/>
              <a:gd name="connsiteY182" fmla="*/ 6446927 h 6857997"/>
              <a:gd name="connsiteX183" fmla="*/ 6129130 w 12188817"/>
              <a:gd name="connsiteY183" fmla="*/ 6446927 h 6857997"/>
              <a:gd name="connsiteX184" fmla="*/ 6129130 w 12188817"/>
              <a:gd name="connsiteY184" fmla="*/ 6521015 h 6857997"/>
              <a:gd name="connsiteX185" fmla="*/ 6139386 w 12188817"/>
              <a:gd name="connsiteY185" fmla="*/ 6521015 h 6857997"/>
              <a:gd name="connsiteX186" fmla="*/ 6139386 w 12188817"/>
              <a:gd name="connsiteY186" fmla="*/ 6480509 h 6857997"/>
              <a:gd name="connsiteX187" fmla="*/ 6143781 w 12188817"/>
              <a:gd name="connsiteY187" fmla="*/ 6461583 h 6857997"/>
              <a:gd name="connsiteX188" fmla="*/ 6155571 w 12188817"/>
              <a:gd name="connsiteY188" fmla="*/ 6456066 h 6857997"/>
              <a:gd name="connsiteX189" fmla="*/ 6162442 w 12188817"/>
              <a:gd name="connsiteY189" fmla="*/ 6458126 h 6857997"/>
              <a:gd name="connsiteX190" fmla="*/ 6166803 w 12188817"/>
              <a:gd name="connsiteY190" fmla="*/ 6463957 h 6857997"/>
              <a:gd name="connsiteX191" fmla="*/ 6168198 w 12188817"/>
              <a:gd name="connsiteY191" fmla="*/ 6475900 h 6857997"/>
              <a:gd name="connsiteX192" fmla="*/ 6168198 w 12188817"/>
              <a:gd name="connsiteY192" fmla="*/ 6521015 h 6857997"/>
              <a:gd name="connsiteX193" fmla="*/ 6178453 w 12188817"/>
              <a:gd name="connsiteY193" fmla="*/ 6521015 h 6857997"/>
              <a:gd name="connsiteX194" fmla="*/ 6178453 w 12188817"/>
              <a:gd name="connsiteY194" fmla="*/ 6475460 h 6857997"/>
              <a:gd name="connsiteX195" fmla="*/ 6177199 w 12188817"/>
              <a:gd name="connsiteY195" fmla="*/ 6460252 h 6857997"/>
              <a:gd name="connsiteX196" fmla="*/ 6173404 w 12188817"/>
              <a:gd name="connsiteY196" fmla="*/ 6452194 h 6857997"/>
              <a:gd name="connsiteX197" fmla="*/ 6166718 w 12188817"/>
              <a:gd name="connsiteY197" fmla="*/ 6447171 h 6857997"/>
              <a:gd name="connsiteX198" fmla="*/ 6157700 w 12188817"/>
              <a:gd name="connsiteY198" fmla="*/ 6445252 h 6857997"/>
              <a:gd name="connsiteX199" fmla="*/ 6087364 w 12188817"/>
              <a:gd name="connsiteY199" fmla="*/ 6445252 h 6857997"/>
              <a:gd name="connsiteX200" fmla="*/ 6066956 w 12188817"/>
              <a:gd name="connsiteY200" fmla="*/ 6455333 h 6857997"/>
              <a:gd name="connsiteX201" fmla="*/ 6058897 w 12188817"/>
              <a:gd name="connsiteY201" fmla="*/ 6484599 h 6857997"/>
              <a:gd name="connsiteX202" fmla="*/ 6066885 w 12188817"/>
              <a:gd name="connsiteY202" fmla="*/ 6512888 h 6857997"/>
              <a:gd name="connsiteX203" fmla="*/ 6087781 w 12188817"/>
              <a:gd name="connsiteY203" fmla="*/ 6522690 h 6857997"/>
              <a:gd name="connsiteX204" fmla="*/ 6104976 w 12188817"/>
              <a:gd name="connsiteY204" fmla="*/ 6516655 h 6857997"/>
              <a:gd name="connsiteX205" fmla="*/ 6114569 w 12188817"/>
              <a:gd name="connsiteY205" fmla="*/ 6498761 h 6857997"/>
              <a:gd name="connsiteX206" fmla="*/ 6103965 w 12188817"/>
              <a:gd name="connsiteY206" fmla="*/ 6497156 h 6857997"/>
              <a:gd name="connsiteX207" fmla="*/ 6087849 w 12188817"/>
              <a:gd name="connsiteY207" fmla="*/ 6512365 h 6857997"/>
              <a:gd name="connsiteX208" fmla="*/ 6075292 w 12188817"/>
              <a:gd name="connsiteY208" fmla="*/ 6506016 h 6857997"/>
              <a:gd name="connsiteX209" fmla="*/ 6069506 w 12188817"/>
              <a:gd name="connsiteY209" fmla="*/ 6487180 h 6857997"/>
              <a:gd name="connsiteX210" fmla="*/ 6114848 w 12188817"/>
              <a:gd name="connsiteY210" fmla="*/ 6487180 h 6857997"/>
              <a:gd name="connsiteX211" fmla="*/ 6114917 w 12188817"/>
              <a:gd name="connsiteY211" fmla="*/ 6483831 h 6857997"/>
              <a:gd name="connsiteX212" fmla="*/ 6107034 w 12188817"/>
              <a:gd name="connsiteY212" fmla="*/ 6455159 h 6857997"/>
              <a:gd name="connsiteX213" fmla="*/ 6087364 w 12188817"/>
              <a:gd name="connsiteY213" fmla="*/ 6445252 h 6857997"/>
              <a:gd name="connsiteX214" fmla="*/ 5900526 w 12188817"/>
              <a:gd name="connsiteY214" fmla="*/ 6445252 h 6857997"/>
              <a:gd name="connsiteX215" fmla="*/ 5889417 w 12188817"/>
              <a:gd name="connsiteY215" fmla="*/ 6448270 h 6857997"/>
              <a:gd name="connsiteX216" fmla="*/ 5881236 w 12188817"/>
              <a:gd name="connsiteY216" fmla="*/ 6457392 h 6857997"/>
              <a:gd name="connsiteX217" fmla="*/ 5881236 w 12188817"/>
              <a:gd name="connsiteY217" fmla="*/ 6446927 h 6857997"/>
              <a:gd name="connsiteX218" fmla="*/ 5871957 w 12188817"/>
              <a:gd name="connsiteY218" fmla="*/ 6446927 h 6857997"/>
              <a:gd name="connsiteX219" fmla="*/ 5871957 w 12188817"/>
              <a:gd name="connsiteY219" fmla="*/ 6521015 h 6857997"/>
              <a:gd name="connsiteX220" fmla="*/ 5882211 w 12188817"/>
              <a:gd name="connsiteY220" fmla="*/ 6521015 h 6857997"/>
              <a:gd name="connsiteX221" fmla="*/ 5882211 w 12188817"/>
              <a:gd name="connsiteY221" fmla="*/ 6480509 h 6857997"/>
              <a:gd name="connsiteX222" fmla="*/ 5886608 w 12188817"/>
              <a:gd name="connsiteY222" fmla="*/ 6461583 h 6857997"/>
              <a:gd name="connsiteX223" fmla="*/ 5898396 w 12188817"/>
              <a:gd name="connsiteY223" fmla="*/ 6456066 h 6857997"/>
              <a:gd name="connsiteX224" fmla="*/ 5905268 w 12188817"/>
              <a:gd name="connsiteY224" fmla="*/ 6458126 h 6857997"/>
              <a:gd name="connsiteX225" fmla="*/ 5909630 w 12188817"/>
              <a:gd name="connsiteY225" fmla="*/ 6463957 h 6857997"/>
              <a:gd name="connsiteX226" fmla="*/ 5911024 w 12188817"/>
              <a:gd name="connsiteY226" fmla="*/ 6475900 h 6857997"/>
              <a:gd name="connsiteX227" fmla="*/ 5911024 w 12188817"/>
              <a:gd name="connsiteY227" fmla="*/ 6521015 h 6857997"/>
              <a:gd name="connsiteX228" fmla="*/ 5921278 w 12188817"/>
              <a:gd name="connsiteY228" fmla="*/ 6521015 h 6857997"/>
              <a:gd name="connsiteX229" fmla="*/ 5921278 w 12188817"/>
              <a:gd name="connsiteY229" fmla="*/ 6475460 h 6857997"/>
              <a:gd name="connsiteX230" fmla="*/ 5920026 w 12188817"/>
              <a:gd name="connsiteY230" fmla="*/ 6460252 h 6857997"/>
              <a:gd name="connsiteX231" fmla="*/ 5916230 w 12188817"/>
              <a:gd name="connsiteY231" fmla="*/ 6452194 h 6857997"/>
              <a:gd name="connsiteX232" fmla="*/ 5909545 w 12188817"/>
              <a:gd name="connsiteY232" fmla="*/ 6447171 h 6857997"/>
              <a:gd name="connsiteX233" fmla="*/ 5900526 w 12188817"/>
              <a:gd name="connsiteY233" fmla="*/ 6445252 h 6857997"/>
              <a:gd name="connsiteX234" fmla="*/ 5829838 w 12188817"/>
              <a:gd name="connsiteY234" fmla="*/ 6445252 h 6857997"/>
              <a:gd name="connsiteX235" fmla="*/ 5809433 w 12188817"/>
              <a:gd name="connsiteY235" fmla="*/ 6455019 h 6857997"/>
              <a:gd name="connsiteX236" fmla="*/ 5801376 w 12188817"/>
              <a:gd name="connsiteY236" fmla="*/ 6483971 h 6857997"/>
              <a:gd name="connsiteX237" fmla="*/ 5809502 w 12188817"/>
              <a:gd name="connsiteY237" fmla="*/ 6512888 h 6857997"/>
              <a:gd name="connsiteX238" fmla="*/ 5829838 w 12188817"/>
              <a:gd name="connsiteY238" fmla="*/ 6522690 h 6857997"/>
              <a:gd name="connsiteX239" fmla="*/ 5850280 w 12188817"/>
              <a:gd name="connsiteY239" fmla="*/ 6512923 h 6857997"/>
              <a:gd name="connsiteX240" fmla="*/ 5858301 w 12188817"/>
              <a:gd name="connsiteY240" fmla="*/ 6483204 h 6857997"/>
              <a:gd name="connsiteX241" fmla="*/ 5850139 w 12188817"/>
              <a:gd name="connsiteY241" fmla="*/ 6455019 h 6857997"/>
              <a:gd name="connsiteX242" fmla="*/ 5829838 w 12188817"/>
              <a:gd name="connsiteY242" fmla="*/ 6445252 h 6857997"/>
              <a:gd name="connsiteX243" fmla="*/ 2714262 w 12188817"/>
              <a:gd name="connsiteY243" fmla="*/ 6445252 h 6857997"/>
              <a:gd name="connsiteX244" fmla="*/ 2703154 w 12188817"/>
              <a:gd name="connsiteY244" fmla="*/ 6448270 h 6857997"/>
              <a:gd name="connsiteX245" fmla="*/ 2694971 w 12188817"/>
              <a:gd name="connsiteY245" fmla="*/ 6457392 h 6857997"/>
              <a:gd name="connsiteX246" fmla="*/ 2694971 w 12188817"/>
              <a:gd name="connsiteY246" fmla="*/ 6446927 h 6857997"/>
              <a:gd name="connsiteX247" fmla="*/ 2685692 w 12188817"/>
              <a:gd name="connsiteY247" fmla="*/ 6446927 h 6857997"/>
              <a:gd name="connsiteX248" fmla="*/ 2685692 w 12188817"/>
              <a:gd name="connsiteY248" fmla="*/ 6521015 h 6857997"/>
              <a:gd name="connsiteX249" fmla="*/ 2695948 w 12188817"/>
              <a:gd name="connsiteY249" fmla="*/ 6521015 h 6857997"/>
              <a:gd name="connsiteX250" fmla="*/ 2695948 w 12188817"/>
              <a:gd name="connsiteY250" fmla="*/ 6480509 h 6857997"/>
              <a:gd name="connsiteX251" fmla="*/ 2700343 w 12188817"/>
              <a:gd name="connsiteY251" fmla="*/ 6461583 h 6857997"/>
              <a:gd name="connsiteX252" fmla="*/ 2712133 w 12188817"/>
              <a:gd name="connsiteY252" fmla="*/ 6456066 h 6857997"/>
              <a:gd name="connsiteX253" fmla="*/ 2719004 w 12188817"/>
              <a:gd name="connsiteY253" fmla="*/ 6458126 h 6857997"/>
              <a:gd name="connsiteX254" fmla="*/ 2723365 w 12188817"/>
              <a:gd name="connsiteY254" fmla="*/ 6463957 h 6857997"/>
              <a:gd name="connsiteX255" fmla="*/ 2724760 w 12188817"/>
              <a:gd name="connsiteY255" fmla="*/ 6475900 h 6857997"/>
              <a:gd name="connsiteX256" fmla="*/ 2724760 w 12188817"/>
              <a:gd name="connsiteY256" fmla="*/ 6521015 h 6857997"/>
              <a:gd name="connsiteX257" fmla="*/ 2735015 w 12188817"/>
              <a:gd name="connsiteY257" fmla="*/ 6521015 h 6857997"/>
              <a:gd name="connsiteX258" fmla="*/ 2735015 w 12188817"/>
              <a:gd name="connsiteY258" fmla="*/ 6475460 h 6857997"/>
              <a:gd name="connsiteX259" fmla="*/ 2733761 w 12188817"/>
              <a:gd name="connsiteY259" fmla="*/ 6460252 h 6857997"/>
              <a:gd name="connsiteX260" fmla="*/ 2729966 w 12188817"/>
              <a:gd name="connsiteY260" fmla="*/ 6452194 h 6857997"/>
              <a:gd name="connsiteX261" fmla="*/ 2723280 w 12188817"/>
              <a:gd name="connsiteY261" fmla="*/ 6447171 h 6857997"/>
              <a:gd name="connsiteX262" fmla="*/ 2714262 w 12188817"/>
              <a:gd name="connsiteY262" fmla="*/ 6445252 h 6857997"/>
              <a:gd name="connsiteX263" fmla="*/ 2644830 w 12188817"/>
              <a:gd name="connsiteY263" fmla="*/ 6445252 h 6857997"/>
              <a:gd name="connsiteX264" fmla="*/ 2625959 w 12188817"/>
              <a:gd name="connsiteY264" fmla="*/ 6450694 h 6857997"/>
              <a:gd name="connsiteX265" fmla="*/ 2617204 w 12188817"/>
              <a:gd name="connsiteY265" fmla="*/ 6468065 h 6857997"/>
              <a:gd name="connsiteX266" fmla="*/ 2627319 w 12188817"/>
              <a:gd name="connsiteY266" fmla="*/ 6469739 h 6857997"/>
              <a:gd name="connsiteX267" fmla="*/ 2632552 w 12188817"/>
              <a:gd name="connsiteY267" fmla="*/ 6458557 h 6857997"/>
              <a:gd name="connsiteX268" fmla="*/ 2643295 w 12188817"/>
              <a:gd name="connsiteY268" fmla="*/ 6455577 h 6857997"/>
              <a:gd name="connsiteX269" fmla="*/ 2655085 w 12188817"/>
              <a:gd name="connsiteY269" fmla="*/ 6460042 h 6857997"/>
              <a:gd name="connsiteX270" fmla="*/ 2657806 w 12188817"/>
              <a:gd name="connsiteY270" fmla="*/ 6470716 h 6857997"/>
              <a:gd name="connsiteX271" fmla="*/ 2657736 w 12188817"/>
              <a:gd name="connsiteY271" fmla="*/ 6473925 h 6857997"/>
              <a:gd name="connsiteX272" fmla="*/ 2639319 w 12188817"/>
              <a:gd name="connsiteY272" fmla="*/ 6478320 h 6857997"/>
              <a:gd name="connsiteX273" fmla="*/ 2625366 w 12188817"/>
              <a:gd name="connsiteY273" fmla="*/ 6482436 h 6857997"/>
              <a:gd name="connsiteX274" fmla="*/ 2618110 w 12188817"/>
              <a:gd name="connsiteY274" fmla="*/ 6490180 h 6857997"/>
              <a:gd name="connsiteX275" fmla="*/ 2615460 w 12188817"/>
              <a:gd name="connsiteY275" fmla="*/ 6501551 h 6857997"/>
              <a:gd name="connsiteX276" fmla="*/ 2621110 w 12188817"/>
              <a:gd name="connsiteY276" fmla="*/ 6516969 h 6857997"/>
              <a:gd name="connsiteX277" fmla="*/ 2636249 w 12188817"/>
              <a:gd name="connsiteY277" fmla="*/ 6522690 h 6857997"/>
              <a:gd name="connsiteX278" fmla="*/ 2647830 w 12188817"/>
              <a:gd name="connsiteY278" fmla="*/ 6519968 h 6857997"/>
              <a:gd name="connsiteX279" fmla="*/ 2658573 w 12188817"/>
              <a:gd name="connsiteY279" fmla="*/ 6511875 h 6857997"/>
              <a:gd name="connsiteX280" fmla="*/ 2660666 w 12188817"/>
              <a:gd name="connsiteY280" fmla="*/ 6521015 h 6857997"/>
              <a:gd name="connsiteX281" fmla="*/ 2671410 w 12188817"/>
              <a:gd name="connsiteY281" fmla="*/ 6521015 h 6857997"/>
              <a:gd name="connsiteX282" fmla="*/ 2668793 w 12188817"/>
              <a:gd name="connsiteY282" fmla="*/ 6512120 h 6857997"/>
              <a:gd name="connsiteX283" fmla="*/ 2668131 w 12188817"/>
              <a:gd name="connsiteY283" fmla="*/ 6489971 h 6857997"/>
              <a:gd name="connsiteX284" fmla="*/ 2668131 w 12188817"/>
              <a:gd name="connsiteY284" fmla="*/ 6473227 h 6857997"/>
              <a:gd name="connsiteX285" fmla="*/ 2666701 w 12188817"/>
              <a:gd name="connsiteY285" fmla="*/ 6457740 h 6857997"/>
              <a:gd name="connsiteX286" fmla="*/ 2659829 w 12188817"/>
              <a:gd name="connsiteY286" fmla="*/ 6448845 h 6857997"/>
              <a:gd name="connsiteX287" fmla="*/ 2644830 w 12188817"/>
              <a:gd name="connsiteY287" fmla="*/ 6445252 h 6857997"/>
              <a:gd name="connsiteX288" fmla="*/ 2574806 w 12188817"/>
              <a:gd name="connsiteY288" fmla="*/ 6445252 h 6857997"/>
              <a:gd name="connsiteX289" fmla="*/ 2568144 w 12188817"/>
              <a:gd name="connsiteY289" fmla="*/ 6447799 h 6857997"/>
              <a:gd name="connsiteX290" fmla="*/ 2561621 w 12188817"/>
              <a:gd name="connsiteY290" fmla="*/ 6458159 h 6857997"/>
              <a:gd name="connsiteX291" fmla="*/ 2561621 w 12188817"/>
              <a:gd name="connsiteY291" fmla="*/ 6446927 h 6857997"/>
              <a:gd name="connsiteX292" fmla="*/ 2552342 w 12188817"/>
              <a:gd name="connsiteY292" fmla="*/ 6446927 h 6857997"/>
              <a:gd name="connsiteX293" fmla="*/ 2552342 w 12188817"/>
              <a:gd name="connsiteY293" fmla="*/ 6521015 h 6857997"/>
              <a:gd name="connsiteX294" fmla="*/ 2562598 w 12188817"/>
              <a:gd name="connsiteY294" fmla="*/ 6521015 h 6857997"/>
              <a:gd name="connsiteX295" fmla="*/ 2562598 w 12188817"/>
              <a:gd name="connsiteY295" fmla="*/ 6482227 h 6857997"/>
              <a:gd name="connsiteX296" fmla="*/ 2564551 w 12188817"/>
              <a:gd name="connsiteY296" fmla="*/ 6466949 h 6857997"/>
              <a:gd name="connsiteX297" fmla="*/ 2568388 w 12188817"/>
              <a:gd name="connsiteY297" fmla="*/ 6460531 h 6857997"/>
              <a:gd name="connsiteX298" fmla="*/ 2574388 w 12188817"/>
              <a:gd name="connsiteY298" fmla="*/ 6458228 h 6857997"/>
              <a:gd name="connsiteX299" fmla="*/ 2581852 w 12188817"/>
              <a:gd name="connsiteY299" fmla="*/ 6460949 h 6857997"/>
              <a:gd name="connsiteX300" fmla="*/ 2585340 w 12188817"/>
              <a:gd name="connsiteY300" fmla="*/ 6449299 h 6857997"/>
              <a:gd name="connsiteX301" fmla="*/ 2574806 w 12188817"/>
              <a:gd name="connsiteY301" fmla="*/ 6445252 h 6857997"/>
              <a:gd name="connsiteX302" fmla="*/ 2510573 w 12188817"/>
              <a:gd name="connsiteY302" fmla="*/ 6445252 h 6857997"/>
              <a:gd name="connsiteX303" fmla="*/ 2490167 w 12188817"/>
              <a:gd name="connsiteY303" fmla="*/ 6455333 h 6857997"/>
              <a:gd name="connsiteX304" fmla="*/ 2482110 w 12188817"/>
              <a:gd name="connsiteY304" fmla="*/ 6484599 h 6857997"/>
              <a:gd name="connsiteX305" fmla="*/ 2490097 w 12188817"/>
              <a:gd name="connsiteY305" fmla="*/ 6512888 h 6857997"/>
              <a:gd name="connsiteX306" fmla="*/ 2510992 w 12188817"/>
              <a:gd name="connsiteY306" fmla="*/ 6522690 h 6857997"/>
              <a:gd name="connsiteX307" fmla="*/ 2528188 w 12188817"/>
              <a:gd name="connsiteY307" fmla="*/ 6516655 h 6857997"/>
              <a:gd name="connsiteX308" fmla="*/ 2537781 w 12188817"/>
              <a:gd name="connsiteY308" fmla="*/ 6498761 h 6857997"/>
              <a:gd name="connsiteX309" fmla="*/ 2527176 w 12188817"/>
              <a:gd name="connsiteY309" fmla="*/ 6497156 h 6857997"/>
              <a:gd name="connsiteX310" fmla="*/ 2511061 w 12188817"/>
              <a:gd name="connsiteY310" fmla="*/ 6512365 h 6857997"/>
              <a:gd name="connsiteX311" fmla="*/ 2498504 w 12188817"/>
              <a:gd name="connsiteY311" fmla="*/ 6506016 h 6857997"/>
              <a:gd name="connsiteX312" fmla="*/ 2492714 w 12188817"/>
              <a:gd name="connsiteY312" fmla="*/ 6487180 h 6857997"/>
              <a:gd name="connsiteX313" fmla="*/ 2538060 w 12188817"/>
              <a:gd name="connsiteY313" fmla="*/ 6487180 h 6857997"/>
              <a:gd name="connsiteX314" fmla="*/ 2538129 w 12188817"/>
              <a:gd name="connsiteY314" fmla="*/ 6483831 h 6857997"/>
              <a:gd name="connsiteX315" fmla="*/ 2530246 w 12188817"/>
              <a:gd name="connsiteY315" fmla="*/ 6455159 h 6857997"/>
              <a:gd name="connsiteX316" fmla="*/ 2510573 w 12188817"/>
              <a:gd name="connsiteY316" fmla="*/ 6445252 h 6857997"/>
              <a:gd name="connsiteX317" fmla="*/ 1942737 w 12188817"/>
              <a:gd name="connsiteY317" fmla="*/ 6445252 h 6857997"/>
              <a:gd name="connsiteX318" fmla="*/ 1931629 w 12188817"/>
              <a:gd name="connsiteY318" fmla="*/ 6448270 h 6857997"/>
              <a:gd name="connsiteX319" fmla="*/ 1923446 w 12188817"/>
              <a:gd name="connsiteY319" fmla="*/ 6457392 h 6857997"/>
              <a:gd name="connsiteX320" fmla="*/ 1923446 w 12188817"/>
              <a:gd name="connsiteY320" fmla="*/ 6446927 h 6857997"/>
              <a:gd name="connsiteX321" fmla="*/ 1914167 w 12188817"/>
              <a:gd name="connsiteY321" fmla="*/ 6446927 h 6857997"/>
              <a:gd name="connsiteX322" fmla="*/ 1914167 w 12188817"/>
              <a:gd name="connsiteY322" fmla="*/ 6521015 h 6857997"/>
              <a:gd name="connsiteX323" fmla="*/ 1924423 w 12188817"/>
              <a:gd name="connsiteY323" fmla="*/ 6521015 h 6857997"/>
              <a:gd name="connsiteX324" fmla="*/ 1924423 w 12188817"/>
              <a:gd name="connsiteY324" fmla="*/ 6480509 h 6857997"/>
              <a:gd name="connsiteX325" fmla="*/ 1928818 w 12188817"/>
              <a:gd name="connsiteY325" fmla="*/ 6461583 h 6857997"/>
              <a:gd name="connsiteX326" fmla="*/ 1940608 w 12188817"/>
              <a:gd name="connsiteY326" fmla="*/ 6456066 h 6857997"/>
              <a:gd name="connsiteX327" fmla="*/ 1947479 w 12188817"/>
              <a:gd name="connsiteY327" fmla="*/ 6458126 h 6857997"/>
              <a:gd name="connsiteX328" fmla="*/ 1951840 w 12188817"/>
              <a:gd name="connsiteY328" fmla="*/ 6463957 h 6857997"/>
              <a:gd name="connsiteX329" fmla="*/ 1953235 w 12188817"/>
              <a:gd name="connsiteY329" fmla="*/ 6475900 h 6857997"/>
              <a:gd name="connsiteX330" fmla="*/ 1953235 w 12188817"/>
              <a:gd name="connsiteY330" fmla="*/ 6521015 h 6857997"/>
              <a:gd name="connsiteX331" fmla="*/ 1963490 w 12188817"/>
              <a:gd name="connsiteY331" fmla="*/ 6521015 h 6857997"/>
              <a:gd name="connsiteX332" fmla="*/ 1963490 w 12188817"/>
              <a:gd name="connsiteY332" fmla="*/ 6475460 h 6857997"/>
              <a:gd name="connsiteX333" fmla="*/ 1962236 w 12188817"/>
              <a:gd name="connsiteY333" fmla="*/ 6460252 h 6857997"/>
              <a:gd name="connsiteX334" fmla="*/ 1958441 w 12188817"/>
              <a:gd name="connsiteY334" fmla="*/ 6452194 h 6857997"/>
              <a:gd name="connsiteX335" fmla="*/ 1951755 w 12188817"/>
              <a:gd name="connsiteY335" fmla="*/ 6447171 h 6857997"/>
              <a:gd name="connsiteX336" fmla="*/ 1942737 w 12188817"/>
              <a:gd name="connsiteY336" fmla="*/ 6445252 h 6857997"/>
              <a:gd name="connsiteX337" fmla="*/ 1872049 w 12188817"/>
              <a:gd name="connsiteY337" fmla="*/ 6445252 h 6857997"/>
              <a:gd name="connsiteX338" fmla="*/ 1851643 w 12188817"/>
              <a:gd name="connsiteY338" fmla="*/ 6455019 h 6857997"/>
              <a:gd name="connsiteX339" fmla="*/ 1843586 w 12188817"/>
              <a:gd name="connsiteY339" fmla="*/ 6483971 h 6857997"/>
              <a:gd name="connsiteX340" fmla="*/ 1851713 w 12188817"/>
              <a:gd name="connsiteY340" fmla="*/ 6512888 h 6857997"/>
              <a:gd name="connsiteX341" fmla="*/ 1872049 w 12188817"/>
              <a:gd name="connsiteY341" fmla="*/ 6522690 h 6857997"/>
              <a:gd name="connsiteX342" fmla="*/ 1892490 w 12188817"/>
              <a:gd name="connsiteY342" fmla="*/ 6512923 h 6857997"/>
              <a:gd name="connsiteX343" fmla="*/ 1900512 w 12188817"/>
              <a:gd name="connsiteY343" fmla="*/ 6483204 h 6857997"/>
              <a:gd name="connsiteX344" fmla="*/ 1892350 w 12188817"/>
              <a:gd name="connsiteY344" fmla="*/ 6455019 h 6857997"/>
              <a:gd name="connsiteX345" fmla="*/ 1872049 w 12188817"/>
              <a:gd name="connsiteY345" fmla="*/ 6445252 h 6857997"/>
              <a:gd name="connsiteX346" fmla="*/ 1803281 w 12188817"/>
              <a:gd name="connsiteY346" fmla="*/ 6445252 h 6857997"/>
              <a:gd name="connsiteX347" fmla="*/ 1796619 w 12188817"/>
              <a:gd name="connsiteY347" fmla="*/ 6447799 h 6857997"/>
              <a:gd name="connsiteX348" fmla="*/ 1790096 w 12188817"/>
              <a:gd name="connsiteY348" fmla="*/ 6458159 h 6857997"/>
              <a:gd name="connsiteX349" fmla="*/ 1790096 w 12188817"/>
              <a:gd name="connsiteY349" fmla="*/ 6446927 h 6857997"/>
              <a:gd name="connsiteX350" fmla="*/ 1780818 w 12188817"/>
              <a:gd name="connsiteY350" fmla="*/ 6446927 h 6857997"/>
              <a:gd name="connsiteX351" fmla="*/ 1780818 w 12188817"/>
              <a:gd name="connsiteY351" fmla="*/ 6521015 h 6857997"/>
              <a:gd name="connsiteX352" fmla="*/ 1791073 w 12188817"/>
              <a:gd name="connsiteY352" fmla="*/ 6521015 h 6857997"/>
              <a:gd name="connsiteX353" fmla="*/ 1791073 w 12188817"/>
              <a:gd name="connsiteY353" fmla="*/ 6482227 h 6857997"/>
              <a:gd name="connsiteX354" fmla="*/ 1793026 w 12188817"/>
              <a:gd name="connsiteY354" fmla="*/ 6466949 h 6857997"/>
              <a:gd name="connsiteX355" fmla="*/ 1796863 w 12188817"/>
              <a:gd name="connsiteY355" fmla="*/ 6460531 h 6857997"/>
              <a:gd name="connsiteX356" fmla="*/ 1802863 w 12188817"/>
              <a:gd name="connsiteY356" fmla="*/ 6458228 h 6857997"/>
              <a:gd name="connsiteX357" fmla="*/ 1810327 w 12188817"/>
              <a:gd name="connsiteY357" fmla="*/ 6460949 h 6857997"/>
              <a:gd name="connsiteX358" fmla="*/ 1813815 w 12188817"/>
              <a:gd name="connsiteY358" fmla="*/ 6449299 h 6857997"/>
              <a:gd name="connsiteX359" fmla="*/ 1803281 w 12188817"/>
              <a:gd name="connsiteY359" fmla="*/ 6445252 h 6857997"/>
              <a:gd name="connsiteX360" fmla="*/ 1715742 w 12188817"/>
              <a:gd name="connsiteY360" fmla="*/ 6445252 h 6857997"/>
              <a:gd name="connsiteX361" fmla="*/ 1698930 w 12188817"/>
              <a:gd name="connsiteY361" fmla="*/ 6451182 h 6857997"/>
              <a:gd name="connsiteX362" fmla="*/ 1692860 w 12188817"/>
              <a:gd name="connsiteY362" fmla="*/ 6466600 h 6857997"/>
              <a:gd name="connsiteX363" fmla="*/ 1695092 w 12188817"/>
              <a:gd name="connsiteY363" fmla="*/ 6476437 h 6857997"/>
              <a:gd name="connsiteX364" fmla="*/ 1701371 w 12188817"/>
              <a:gd name="connsiteY364" fmla="*/ 6483343 h 6857997"/>
              <a:gd name="connsiteX365" fmla="*/ 1717417 w 12188817"/>
              <a:gd name="connsiteY365" fmla="*/ 6489622 h 6857997"/>
              <a:gd name="connsiteX366" fmla="*/ 1727881 w 12188817"/>
              <a:gd name="connsiteY366" fmla="*/ 6493808 h 6857997"/>
              <a:gd name="connsiteX367" fmla="*/ 1731021 w 12188817"/>
              <a:gd name="connsiteY367" fmla="*/ 6500644 h 6857997"/>
              <a:gd name="connsiteX368" fmla="*/ 1727367 w 12188817"/>
              <a:gd name="connsiteY368" fmla="*/ 6509051 h 6857997"/>
              <a:gd name="connsiteX369" fmla="*/ 1717031 w 12188817"/>
              <a:gd name="connsiteY369" fmla="*/ 6512365 h 6857997"/>
              <a:gd name="connsiteX370" fmla="*/ 1706313 w 12188817"/>
              <a:gd name="connsiteY370" fmla="*/ 6508545 h 6857997"/>
              <a:gd name="connsiteX371" fmla="*/ 1701371 w 12188817"/>
              <a:gd name="connsiteY371" fmla="*/ 6496877 h 6857997"/>
              <a:gd name="connsiteX372" fmla="*/ 1691116 w 12188817"/>
              <a:gd name="connsiteY372" fmla="*/ 6498831 h 6857997"/>
              <a:gd name="connsiteX373" fmla="*/ 1716440 w 12188817"/>
              <a:gd name="connsiteY373" fmla="*/ 6522690 h 6857997"/>
              <a:gd name="connsiteX374" fmla="*/ 1734823 w 12188817"/>
              <a:gd name="connsiteY374" fmla="*/ 6516120 h 6857997"/>
              <a:gd name="connsiteX375" fmla="*/ 1741555 w 12188817"/>
              <a:gd name="connsiteY375" fmla="*/ 6498929 h 6857997"/>
              <a:gd name="connsiteX376" fmla="*/ 1739470 w 12188817"/>
              <a:gd name="connsiteY376" fmla="*/ 6489040 h 6857997"/>
              <a:gd name="connsiteX377" fmla="*/ 1733631 w 12188817"/>
              <a:gd name="connsiteY377" fmla="*/ 6482471 h 6857997"/>
              <a:gd name="connsiteX378" fmla="*/ 1717094 w 12188817"/>
              <a:gd name="connsiteY378" fmla="*/ 6476004 h 6857997"/>
              <a:gd name="connsiteX379" fmla="*/ 1705911 w 12188817"/>
              <a:gd name="connsiteY379" fmla="*/ 6471558 h 6857997"/>
              <a:gd name="connsiteX380" fmla="*/ 1702766 w 12188817"/>
              <a:gd name="connsiteY380" fmla="*/ 6465096 h 6857997"/>
              <a:gd name="connsiteX381" fmla="*/ 1706045 w 12188817"/>
              <a:gd name="connsiteY381" fmla="*/ 6458252 h 6857997"/>
              <a:gd name="connsiteX382" fmla="*/ 1716021 w 12188817"/>
              <a:gd name="connsiteY382" fmla="*/ 6455577 h 6857997"/>
              <a:gd name="connsiteX383" fmla="*/ 1729207 w 12188817"/>
              <a:gd name="connsiteY383" fmla="*/ 6467716 h 6857997"/>
              <a:gd name="connsiteX384" fmla="*/ 1739252 w 12188817"/>
              <a:gd name="connsiteY384" fmla="*/ 6466042 h 6857997"/>
              <a:gd name="connsiteX385" fmla="*/ 1735485 w 12188817"/>
              <a:gd name="connsiteY385" fmla="*/ 6454252 h 6857997"/>
              <a:gd name="connsiteX386" fmla="*/ 1727637 w 12188817"/>
              <a:gd name="connsiteY386" fmla="*/ 6447694 h 6857997"/>
              <a:gd name="connsiteX387" fmla="*/ 1715742 w 12188817"/>
              <a:gd name="connsiteY387" fmla="*/ 6445252 h 6857997"/>
              <a:gd name="connsiteX388" fmla="*/ 1656986 w 12188817"/>
              <a:gd name="connsiteY388" fmla="*/ 6445252 h 6857997"/>
              <a:gd name="connsiteX389" fmla="*/ 1645879 w 12188817"/>
              <a:gd name="connsiteY389" fmla="*/ 6448270 h 6857997"/>
              <a:gd name="connsiteX390" fmla="*/ 1637696 w 12188817"/>
              <a:gd name="connsiteY390" fmla="*/ 6457392 h 6857997"/>
              <a:gd name="connsiteX391" fmla="*/ 1637696 w 12188817"/>
              <a:gd name="connsiteY391" fmla="*/ 6446927 h 6857997"/>
              <a:gd name="connsiteX392" fmla="*/ 1628418 w 12188817"/>
              <a:gd name="connsiteY392" fmla="*/ 6446927 h 6857997"/>
              <a:gd name="connsiteX393" fmla="*/ 1628418 w 12188817"/>
              <a:gd name="connsiteY393" fmla="*/ 6521015 h 6857997"/>
              <a:gd name="connsiteX394" fmla="*/ 1638673 w 12188817"/>
              <a:gd name="connsiteY394" fmla="*/ 6521015 h 6857997"/>
              <a:gd name="connsiteX395" fmla="*/ 1638673 w 12188817"/>
              <a:gd name="connsiteY395" fmla="*/ 6480509 h 6857997"/>
              <a:gd name="connsiteX396" fmla="*/ 1643068 w 12188817"/>
              <a:gd name="connsiteY396" fmla="*/ 6461583 h 6857997"/>
              <a:gd name="connsiteX397" fmla="*/ 1654858 w 12188817"/>
              <a:gd name="connsiteY397" fmla="*/ 6456066 h 6857997"/>
              <a:gd name="connsiteX398" fmla="*/ 1661729 w 12188817"/>
              <a:gd name="connsiteY398" fmla="*/ 6458126 h 6857997"/>
              <a:gd name="connsiteX399" fmla="*/ 1666089 w 12188817"/>
              <a:gd name="connsiteY399" fmla="*/ 6463957 h 6857997"/>
              <a:gd name="connsiteX400" fmla="*/ 1667485 w 12188817"/>
              <a:gd name="connsiteY400" fmla="*/ 6475900 h 6857997"/>
              <a:gd name="connsiteX401" fmla="*/ 1667485 w 12188817"/>
              <a:gd name="connsiteY401" fmla="*/ 6521015 h 6857997"/>
              <a:gd name="connsiteX402" fmla="*/ 1677740 w 12188817"/>
              <a:gd name="connsiteY402" fmla="*/ 6521015 h 6857997"/>
              <a:gd name="connsiteX403" fmla="*/ 1677740 w 12188817"/>
              <a:gd name="connsiteY403" fmla="*/ 6475460 h 6857997"/>
              <a:gd name="connsiteX404" fmla="*/ 1676487 w 12188817"/>
              <a:gd name="connsiteY404" fmla="*/ 6460252 h 6857997"/>
              <a:gd name="connsiteX405" fmla="*/ 1672691 w 12188817"/>
              <a:gd name="connsiteY405" fmla="*/ 6452194 h 6857997"/>
              <a:gd name="connsiteX406" fmla="*/ 1666005 w 12188817"/>
              <a:gd name="connsiteY406" fmla="*/ 6447171 h 6857997"/>
              <a:gd name="connsiteX407" fmla="*/ 1656986 w 12188817"/>
              <a:gd name="connsiteY407" fmla="*/ 6445252 h 6857997"/>
              <a:gd name="connsiteX408" fmla="*/ 1586648 w 12188817"/>
              <a:gd name="connsiteY408" fmla="*/ 6445252 h 6857997"/>
              <a:gd name="connsiteX409" fmla="*/ 1566242 w 12188817"/>
              <a:gd name="connsiteY409" fmla="*/ 6455333 h 6857997"/>
              <a:gd name="connsiteX410" fmla="*/ 1558184 w 12188817"/>
              <a:gd name="connsiteY410" fmla="*/ 6484599 h 6857997"/>
              <a:gd name="connsiteX411" fmla="*/ 1566172 w 12188817"/>
              <a:gd name="connsiteY411" fmla="*/ 6512888 h 6857997"/>
              <a:gd name="connsiteX412" fmla="*/ 1587067 w 12188817"/>
              <a:gd name="connsiteY412" fmla="*/ 6522690 h 6857997"/>
              <a:gd name="connsiteX413" fmla="*/ 1604263 w 12188817"/>
              <a:gd name="connsiteY413" fmla="*/ 6516655 h 6857997"/>
              <a:gd name="connsiteX414" fmla="*/ 1613856 w 12188817"/>
              <a:gd name="connsiteY414" fmla="*/ 6498761 h 6857997"/>
              <a:gd name="connsiteX415" fmla="*/ 1603252 w 12188817"/>
              <a:gd name="connsiteY415" fmla="*/ 6497156 h 6857997"/>
              <a:gd name="connsiteX416" fmla="*/ 1587136 w 12188817"/>
              <a:gd name="connsiteY416" fmla="*/ 6512365 h 6857997"/>
              <a:gd name="connsiteX417" fmla="*/ 1574579 w 12188817"/>
              <a:gd name="connsiteY417" fmla="*/ 6506016 h 6857997"/>
              <a:gd name="connsiteX418" fmla="*/ 1568788 w 12188817"/>
              <a:gd name="connsiteY418" fmla="*/ 6487180 h 6857997"/>
              <a:gd name="connsiteX419" fmla="*/ 1614135 w 12188817"/>
              <a:gd name="connsiteY419" fmla="*/ 6487180 h 6857997"/>
              <a:gd name="connsiteX420" fmla="*/ 1614204 w 12188817"/>
              <a:gd name="connsiteY420" fmla="*/ 6483831 h 6857997"/>
              <a:gd name="connsiteX421" fmla="*/ 1606321 w 12188817"/>
              <a:gd name="connsiteY421" fmla="*/ 6455159 h 6857997"/>
              <a:gd name="connsiteX422" fmla="*/ 1586648 w 12188817"/>
              <a:gd name="connsiteY422" fmla="*/ 6445252 h 6857997"/>
              <a:gd name="connsiteX423" fmla="*/ 1317367 w 12188817"/>
              <a:gd name="connsiteY423" fmla="*/ 6445252 h 6857997"/>
              <a:gd name="connsiteX424" fmla="*/ 1304147 w 12188817"/>
              <a:gd name="connsiteY424" fmla="*/ 6449438 h 6857997"/>
              <a:gd name="connsiteX425" fmla="*/ 1294624 w 12188817"/>
              <a:gd name="connsiteY425" fmla="*/ 6462554 h 6857997"/>
              <a:gd name="connsiteX426" fmla="*/ 1290996 w 12188817"/>
              <a:gd name="connsiteY426" fmla="*/ 6483413 h 6857997"/>
              <a:gd name="connsiteX427" fmla="*/ 1299228 w 12188817"/>
              <a:gd name="connsiteY427" fmla="*/ 6511807 h 6857997"/>
              <a:gd name="connsiteX428" fmla="*/ 1317297 w 12188817"/>
              <a:gd name="connsiteY428" fmla="*/ 6521015 h 6857997"/>
              <a:gd name="connsiteX429" fmla="*/ 1326575 w 12188817"/>
              <a:gd name="connsiteY429" fmla="*/ 6518590 h 6857997"/>
              <a:gd name="connsiteX430" fmla="*/ 1334110 w 12188817"/>
              <a:gd name="connsiteY430" fmla="*/ 6511384 h 6857997"/>
              <a:gd name="connsiteX431" fmla="*/ 1333203 w 12188817"/>
              <a:gd name="connsiteY431" fmla="*/ 6527850 h 6857997"/>
              <a:gd name="connsiteX432" fmla="*/ 1327727 w 12188817"/>
              <a:gd name="connsiteY432" fmla="*/ 6537514 h 6857997"/>
              <a:gd name="connsiteX433" fmla="*/ 1316948 w 12188817"/>
              <a:gd name="connsiteY433" fmla="*/ 6540758 h 6857997"/>
              <a:gd name="connsiteX434" fmla="*/ 1307251 w 12188817"/>
              <a:gd name="connsiteY434" fmla="*/ 6537846 h 6857997"/>
              <a:gd name="connsiteX435" fmla="*/ 1303065 w 12188817"/>
              <a:gd name="connsiteY435" fmla="*/ 6528968 h 6857997"/>
              <a:gd name="connsiteX436" fmla="*/ 1293019 w 12188817"/>
              <a:gd name="connsiteY436" fmla="*/ 6527154 h 6857997"/>
              <a:gd name="connsiteX437" fmla="*/ 1299159 w 12188817"/>
              <a:gd name="connsiteY437" fmla="*/ 6544735 h 6857997"/>
              <a:gd name="connsiteX438" fmla="*/ 1317297 w 12188817"/>
              <a:gd name="connsiteY438" fmla="*/ 6551083 h 6857997"/>
              <a:gd name="connsiteX439" fmla="*/ 1332575 w 12188817"/>
              <a:gd name="connsiteY439" fmla="*/ 6546863 h 6857997"/>
              <a:gd name="connsiteX440" fmla="*/ 1341714 w 12188817"/>
              <a:gd name="connsiteY440" fmla="*/ 6535352 h 6857997"/>
              <a:gd name="connsiteX441" fmla="*/ 1344505 w 12188817"/>
              <a:gd name="connsiteY441" fmla="*/ 6510969 h 6857997"/>
              <a:gd name="connsiteX442" fmla="*/ 1344505 w 12188817"/>
              <a:gd name="connsiteY442" fmla="*/ 6446927 h 6857997"/>
              <a:gd name="connsiteX443" fmla="*/ 1335017 w 12188817"/>
              <a:gd name="connsiteY443" fmla="*/ 6446927 h 6857997"/>
              <a:gd name="connsiteX444" fmla="*/ 1335017 w 12188817"/>
              <a:gd name="connsiteY444" fmla="*/ 6455787 h 6857997"/>
              <a:gd name="connsiteX445" fmla="*/ 1327168 w 12188817"/>
              <a:gd name="connsiteY445" fmla="*/ 6447886 h 6857997"/>
              <a:gd name="connsiteX446" fmla="*/ 1317367 w 12188817"/>
              <a:gd name="connsiteY446" fmla="*/ 6445252 h 6857997"/>
              <a:gd name="connsiteX447" fmla="*/ 1250831 w 12188817"/>
              <a:gd name="connsiteY447" fmla="*/ 6445252 h 6857997"/>
              <a:gd name="connsiteX448" fmla="*/ 1244169 w 12188817"/>
              <a:gd name="connsiteY448" fmla="*/ 6447799 h 6857997"/>
              <a:gd name="connsiteX449" fmla="*/ 1237646 w 12188817"/>
              <a:gd name="connsiteY449" fmla="*/ 6458159 h 6857997"/>
              <a:gd name="connsiteX450" fmla="*/ 1237646 w 12188817"/>
              <a:gd name="connsiteY450" fmla="*/ 6446927 h 6857997"/>
              <a:gd name="connsiteX451" fmla="*/ 1230693 w 12188817"/>
              <a:gd name="connsiteY451" fmla="*/ 6446927 h 6857997"/>
              <a:gd name="connsiteX452" fmla="*/ 1228368 w 12188817"/>
              <a:gd name="connsiteY452" fmla="*/ 6446927 h 6857997"/>
              <a:gd name="connsiteX453" fmla="*/ 1220369 w 12188817"/>
              <a:gd name="connsiteY453" fmla="*/ 6446927 h 6857997"/>
              <a:gd name="connsiteX454" fmla="*/ 1207392 w 12188817"/>
              <a:gd name="connsiteY454" fmla="*/ 6490086 h 6857997"/>
              <a:gd name="connsiteX455" fmla="*/ 1203206 w 12188817"/>
              <a:gd name="connsiteY455" fmla="*/ 6506960 h 6857997"/>
              <a:gd name="connsiteX456" fmla="*/ 1198811 w 12188817"/>
              <a:gd name="connsiteY456" fmla="*/ 6489808 h 6857997"/>
              <a:gd name="connsiteX457" fmla="*/ 1186114 w 12188817"/>
              <a:gd name="connsiteY457" fmla="*/ 6446927 h 6857997"/>
              <a:gd name="connsiteX458" fmla="*/ 1175022 w 12188817"/>
              <a:gd name="connsiteY458" fmla="*/ 6446927 h 6857997"/>
              <a:gd name="connsiteX459" fmla="*/ 1198132 w 12188817"/>
              <a:gd name="connsiteY459" fmla="*/ 6521125 h 6857997"/>
              <a:gd name="connsiteX460" fmla="*/ 1194080 w 12188817"/>
              <a:gd name="connsiteY460" fmla="*/ 6533431 h 6857997"/>
              <a:gd name="connsiteX461" fmla="*/ 1190554 w 12188817"/>
              <a:gd name="connsiteY461" fmla="*/ 6537549 h 6857997"/>
              <a:gd name="connsiteX462" fmla="*/ 1185143 w 12188817"/>
              <a:gd name="connsiteY462" fmla="*/ 6538875 h 6857997"/>
              <a:gd name="connsiteX463" fmla="*/ 1179277 w 12188817"/>
              <a:gd name="connsiteY463" fmla="*/ 6537758 h 6857997"/>
              <a:gd name="connsiteX464" fmla="*/ 1180394 w 12188817"/>
              <a:gd name="connsiteY464" fmla="*/ 6549548 h 6857997"/>
              <a:gd name="connsiteX465" fmla="*/ 1187032 w 12188817"/>
              <a:gd name="connsiteY465" fmla="*/ 6551083 h 6857997"/>
              <a:gd name="connsiteX466" fmla="*/ 1194543 w 12188817"/>
              <a:gd name="connsiteY466" fmla="*/ 6548921 h 6857997"/>
              <a:gd name="connsiteX467" fmla="*/ 1200483 w 12188817"/>
              <a:gd name="connsiteY467" fmla="*/ 6541840 h 6857997"/>
              <a:gd name="connsiteX468" fmla="*/ 1207645 w 12188817"/>
              <a:gd name="connsiteY468" fmla="*/ 6522271 h 6857997"/>
              <a:gd name="connsiteX469" fmla="*/ 1228368 w 12188817"/>
              <a:gd name="connsiteY469" fmla="*/ 6454529 h 6857997"/>
              <a:gd name="connsiteX470" fmla="*/ 1228368 w 12188817"/>
              <a:gd name="connsiteY470" fmla="*/ 6521015 h 6857997"/>
              <a:gd name="connsiteX471" fmla="*/ 1238623 w 12188817"/>
              <a:gd name="connsiteY471" fmla="*/ 6521015 h 6857997"/>
              <a:gd name="connsiteX472" fmla="*/ 1238623 w 12188817"/>
              <a:gd name="connsiteY472" fmla="*/ 6482227 h 6857997"/>
              <a:gd name="connsiteX473" fmla="*/ 1240576 w 12188817"/>
              <a:gd name="connsiteY473" fmla="*/ 6466949 h 6857997"/>
              <a:gd name="connsiteX474" fmla="*/ 1244413 w 12188817"/>
              <a:gd name="connsiteY474" fmla="*/ 6460531 h 6857997"/>
              <a:gd name="connsiteX475" fmla="*/ 1250413 w 12188817"/>
              <a:gd name="connsiteY475" fmla="*/ 6458228 h 6857997"/>
              <a:gd name="connsiteX476" fmla="*/ 1257877 w 12188817"/>
              <a:gd name="connsiteY476" fmla="*/ 6460949 h 6857997"/>
              <a:gd name="connsiteX477" fmla="*/ 1261365 w 12188817"/>
              <a:gd name="connsiteY477" fmla="*/ 6449299 h 6857997"/>
              <a:gd name="connsiteX478" fmla="*/ 1250831 w 12188817"/>
              <a:gd name="connsiteY478" fmla="*/ 6445252 h 6857997"/>
              <a:gd name="connsiteX479" fmla="*/ 1141038 w 12188817"/>
              <a:gd name="connsiteY479" fmla="*/ 6445252 h 6857997"/>
              <a:gd name="connsiteX480" fmla="*/ 1131286 w 12188817"/>
              <a:gd name="connsiteY480" fmla="*/ 6447903 h 6857997"/>
              <a:gd name="connsiteX481" fmla="*/ 1123555 w 12188817"/>
              <a:gd name="connsiteY481" fmla="*/ 6456554 h 6857997"/>
              <a:gd name="connsiteX482" fmla="*/ 1123555 w 12188817"/>
              <a:gd name="connsiteY482" fmla="*/ 6446927 h 6857997"/>
              <a:gd name="connsiteX483" fmla="*/ 1114068 w 12188817"/>
              <a:gd name="connsiteY483" fmla="*/ 6446927 h 6857997"/>
              <a:gd name="connsiteX484" fmla="*/ 1114068 w 12188817"/>
              <a:gd name="connsiteY484" fmla="*/ 6549409 h 6857997"/>
              <a:gd name="connsiteX485" fmla="*/ 1124323 w 12188817"/>
              <a:gd name="connsiteY485" fmla="*/ 6549409 h 6857997"/>
              <a:gd name="connsiteX486" fmla="*/ 1124323 w 12188817"/>
              <a:gd name="connsiteY486" fmla="*/ 6513341 h 6857997"/>
              <a:gd name="connsiteX487" fmla="*/ 1131439 w 12188817"/>
              <a:gd name="connsiteY487" fmla="*/ 6520248 h 6857997"/>
              <a:gd name="connsiteX488" fmla="*/ 1140298 w 12188817"/>
              <a:gd name="connsiteY488" fmla="*/ 6522690 h 6857997"/>
              <a:gd name="connsiteX489" fmla="*/ 1158890 w 12188817"/>
              <a:gd name="connsiteY489" fmla="*/ 6512469 h 6857997"/>
              <a:gd name="connsiteX490" fmla="*/ 1166808 w 12188817"/>
              <a:gd name="connsiteY490" fmla="*/ 6483343 h 6857997"/>
              <a:gd name="connsiteX491" fmla="*/ 1163291 w 12188817"/>
              <a:gd name="connsiteY491" fmla="*/ 6462449 h 6857997"/>
              <a:gd name="connsiteX492" fmla="*/ 1153993 w 12188817"/>
              <a:gd name="connsiteY492" fmla="*/ 6449508 h 6857997"/>
              <a:gd name="connsiteX493" fmla="*/ 1141038 w 12188817"/>
              <a:gd name="connsiteY493" fmla="*/ 6445252 h 6857997"/>
              <a:gd name="connsiteX494" fmla="*/ 1071949 w 12188817"/>
              <a:gd name="connsiteY494" fmla="*/ 6445252 h 6857997"/>
              <a:gd name="connsiteX495" fmla="*/ 1051543 w 12188817"/>
              <a:gd name="connsiteY495" fmla="*/ 6455019 h 6857997"/>
              <a:gd name="connsiteX496" fmla="*/ 1043486 w 12188817"/>
              <a:gd name="connsiteY496" fmla="*/ 6483971 h 6857997"/>
              <a:gd name="connsiteX497" fmla="*/ 1051613 w 12188817"/>
              <a:gd name="connsiteY497" fmla="*/ 6512888 h 6857997"/>
              <a:gd name="connsiteX498" fmla="*/ 1071949 w 12188817"/>
              <a:gd name="connsiteY498" fmla="*/ 6522690 h 6857997"/>
              <a:gd name="connsiteX499" fmla="*/ 1092390 w 12188817"/>
              <a:gd name="connsiteY499" fmla="*/ 6512923 h 6857997"/>
              <a:gd name="connsiteX500" fmla="*/ 1100412 w 12188817"/>
              <a:gd name="connsiteY500" fmla="*/ 6483204 h 6857997"/>
              <a:gd name="connsiteX501" fmla="*/ 1092250 w 12188817"/>
              <a:gd name="connsiteY501" fmla="*/ 6455019 h 6857997"/>
              <a:gd name="connsiteX502" fmla="*/ 1071949 w 12188817"/>
              <a:gd name="connsiteY502" fmla="*/ 6445252 h 6857997"/>
              <a:gd name="connsiteX503" fmla="*/ 883892 w 12188817"/>
              <a:gd name="connsiteY503" fmla="*/ 6440020 h 6857997"/>
              <a:gd name="connsiteX504" fmla="*/ 867086 w 12188817"/>
              <a:gd name="connsiteY504" fmla="*/ 6447642 h 6857997"/>
              <a:gd name="connsiteX505" fmla="*/ 860692 w 12188817"/>
              <a:gd name="connsiteY505" fmla="*/ 6469809 h 6857997"/>
              <a:gd name="connsiteX506" fmla="*/ 867156 w 12188817"/>
              <a:gd name="connsiteY506" fmla="*/ 6492115 h 6857997"/>
              <a:gd name="connsiteX507" fmla="*/ 883401 w 12188817"/>
              <a:gd name="connsiteY507" fmla="*/ 6499877 h 6857997"/>
              <a:gd name="connsiteX508" fmla="*/ 896713 w 12188817"/>
              <a:gd name="connsiteY508" fmla="*/ 6494819 h 6857997"/>
              <a:gd name="connsiteX509" fmla="*/ 904155 w 12188817"/>
              <a:gd name="connsiteY509" fmla="*/ 6480762 h 6857997"/>
              <a:gd name="connsiteX510" fmla="*/ 897178 w 12188817"/>
              <a:gd name="connsiteY510" fmla="*/ 6478250 h 6857997"/>
              <a:gd name="connsiteX511" fmla="*/ 891863 w 12188817"/>
              <a:gd name="connsiteY511" fmla="*/ 6488192 h 6857997"/>
              <a:gd name="connsiteX512" fmla="*/ 882842 w 12188817"/>
              <a:gd name="connsiteY512" fmla="*/ 6491715 h 6857997"/>
              <a:gd name="connsiteX513" fmla="*/ 872562 w 12188817"/>
              <a:gd name="connsiteY513" fmla="*/ 6486326 h 6857997"/>
              <a:gd name="connsiteX514" fmla="*/ 868436 w 12188817"/>
              <a:gd name="connsiteY514" fmla="*/ 6470300 h 6857997"/>
              <a:gd name="connsiteX515" fmla="*/ 872772 w 12188817"/>
              <a:gd name="connsiteY515" fmla="*/ 6453502 h 6857997"/>
              <a:gd name="connsiteX516" fmla="*/ 883613 w 12188817"/>
              <a:gd name="connsiteY516" fmla="*/ 6447834 h 6857997"/>
              <a:gd name="connsiteX517" fmla="*/ 891341 w 12188817"/>
              <a:gd name="connsiteY517" fmla="*/ 6450520 h 6857997"/>
              <a:gd name="connsiteX518" fmla="*/ 896481 w 12188817"/>
              <a:gd name="connsiteY518" fmla="*/ 6458507 h 6857997"/>
              <a:gd name="connsiteX519" fmla="*/ 903317 w 12188817"/>
              <a:gd name="connsiteY519" fmla="*/ 6456484 h 6857997"/>
              <a:gd name="connsiteX520" fmla="*/ 896260 w 12188817"/>
              <a:gd name="connsiteY520" fmla="*/ 6444346 h 6857997"/>
              <a:gd name="connsiteX521" fmla="*/ 883892 w 12188817"/>
              <a:gd name="connsiteY521" fmla="*/ 6440020 h 6857997"/>
              <a:gd name="connsiteX522" fmla="*/ 2030135 w 12188817"/>
              <a:gd name="connsiteY522" fmla="*/ 6429486 h 6857997"/>
              <a:gd name="connsiteX523" fmla="*/ 2036063 w 12188817"/>
              <a:gd name="connsiteY523" fmla="*/ 6450694 h 6857997"/>
              <a:gd name="connsiteX524" fmla="*/ 2044779 w 12188817"/>
              <a:gd name="connsiteY524" fmla="*/ 6479018 h 6857997"/>
              <a:gd name="connsiteX525" fmla="*/ 2016211 w 12188817"/>
              <a:gd name="connsiteY525" fmla="*/ 6479018 h 6857997"/>
              <a:gd name="connsiteX526" fmla="*/ 2025540 w 12188817"/>
              <a:gd name="connsiteY526" fmla="*/ 6449020 h 6857997"/>
              <a:gd name="connsiteX527" fmla="*/ 2030135 w 12188817"/>
              <a:gd name="connsiteY527" fmla="*/ 6429486 h 6857997"/>
              <a:gd name="connsiteX528" fmla="*/ 883226 w 12188817"/>
              <a:gd name="connsiteY528" fmla="*/ 6425649 h 6857997"/>
              <a:gd name="connsiteX529" fmla="*/ 907922 w 12188817"/>
              <a:gd name="connsiteY529" fmla="*/ 6437738 h 6857997"/>
              <a:gd name="connsiteX530" fmla="*/ 919223 w 12188817"/>
              <a:gd name="connsiteY530" fmla="*/ 6469670 h 6857997"/>
              <a:gd name="connsiteX531" fmla="*/ 909317 w 12188817"/>
              <a:gd name="connsiteY531" fmla="*/ 6499925 h 6857997"/>
              <a:gd name="connsiteX532" fmla="*/ 883226 w 12188817"/>
              <a:gd name="connsiteY532" fmla="*/ 6513620 h 6857997"/>
              <a:gd name="connsiteX533" fmla="*/ 858530 w 12188817"/>
              <a:gd name="connsiteY533" fmla="*/ 6501603 h 6857997"/>
              <a:gd name="connsiteX534" fmla="*/ 847228 w 12188817"/>
              <a:gd name="connsiteY534" fmla="*/ 6469670 h 6857997"/>
              <a:gd name="connsiteX535" fmla="*/ 857134 w 12188817"/>
              <a:gd name="connsiteY535" fmla="*/ 6439344 h 6857997"/>
              <a:gd name="connsiteX536" fmla="*/ 883226 w 12188817"/>
              <a:gd name="connsiteY536" fmla="*/ 6425649 h 6857997"/>
              <a:gd name="connsiteX537" fmla="*/ 6208293 w 12188817"/>
              <a:gd name="connsiteY537" fmla="*/ 6421045 h 6857997"/>
              <a:gd name="connsiteX538" fmla="*/ 6198038 w 12188817"/>
              <a:gd name="connsiteY538" fmla="*/ 6428579 h 6857997"/>
              <a:gd name="connsiteX539" fmla="*/ 6198038 w 12188817"/>
              <a:gd name="connsiteY539" fmla="*/ 6446927 h 6857997"/>
              <a:gd name="connsiteX540" fmla="*/ 6190503 w 12188817"/>
              <a:gd name="connsiteY540" fmla="*/ 6446927 h 6857997"/>
              <a:gd name="connsiteX541" fmla="*/ 6190503 w 12188817"/>
              <a:gd name="connsiteY541" fmla="*/ 6456694 h 6857997"/>
              <a:gd name="connsiteX542" fmla="*/ 6198038 w 12188817"/>
              <a:gd name="connsiteY542" fmla="*/ 6456694 h 6857997"/>
              <a:gd name="connsiteX543" fmla="*/ 6198038 w 12188817"/>
              <a:gd name="connsiteY543" fmla="*/ 6499319 h 6857997"/>
              <a:gd name="connsiteX544" fmla="*/ 6199259 w 12188817"/>
              <a:gd name="connsiteY544" fmla="*/ 6514039 h 6857997"/>
              <a:gd name="connsiteX545" fmla="*/ 6203758 w 12188817"/>
              <a:gd name="connsiteY545" fmla="*/ 6519864 h 6857997"/>
              <a:gd name="connsiteX546" fmla="*/ 6212409 w 12188817"/>
              <a:gd name="connsiteY546" fmla="*/ 6521992 h 6857997"/>
              <a:gd name="connsiteX547" fmla="*/ 6220083 w 12188817"/>
              <a:gd name="connsiteY547" fmla="*/ 6520876 h 6857997"/>
              <a:gd name="connsiteX548" fmla="*/ 6218688 w 12188817"/>
              <a:gd name="connsiteY548" fmla="*/ 6509783 h 6857997"/>
              <a:gd name="connsiteX549" fmla="*/ 6214153 w 12188817"/>
              <a:gd name="connsiteY549" fmla="*/ 6510272 h 6857997"/>
              <a:gd name="connsiteX550" fmla="*/ 6209200 w 12188817"/>
              <a:gd name="connsiteY550" fmla="*/ 6507760 h 6857997"/>
              <a:gd name="connsiteX551" fmla="*/ 6208293 w 12188817"/>
              <a:gd name="connsiteY551" fmla="*/ 6500017 h 6857997"/>
              <a:gd name="connsiteX552" fmla="*/ 6208293 w 12188817"/>
              <a:gd name="connsiteY552" fmla="*/ 6456694 h 6857997"/>
              <a:gd name="connsiteX553" fmla="*/ 6218688 w 12188817"/>
              <a:gd name="connsiteY553" fmla="*/ 6456694 h 6857997"/>
              <a:gd name="connsiteX554" fmla="*/ 6218688 w 12188817"/>
              <a:gd name="connsiteY554" fmla="*/ 6446927 h 6857997"/>
              <a:gd name="connsiteX555" fmla="*/ 6208293 w 12188817"/>
              <a:gd name="connsiteY555" fmla="*/ 6446927 h 6857997"/>
              <a:gd name="connsiteX556" fmla="*/ 2421955 w 12188817"/>
              <a:gd name="connsiteY556" fmla="*/ 6421045 h 6857997"/>
              <a:gd name="connsiteX557" fmla="*/ 2411700 w 12188817"/>
              <a:gd name="connsiteY557" fmla="*/ 6428579 h 6857997"/>
              <a:gd name="connsiteX558" fmla="*/ 2411700 w 12188817"/>
              <a:gd name="connsiteY558" fmla="*/ 6446927 h 6857997"/>
              <a:gd name="connsiteX559" fmla="*/ 2404165 w 12188817"/>
              <a:gd name="connsiteY559" fmla="*/ 6446927 h 6857997"/>
              <a:gd name="connsiteX560" fmla="*/ 2404165 w 12188817"/>
              <a:gd name="connsiteY560" fmla="*/ 6456694 h 6857997"/>
              <a:gd name="connsiteX561" fmla="*/ 2411700 w 12188817"/>
              <a:gd name="connsiteY561" fmla="*/ 6456694 h 6857997"/>
              <a:gd name="connsiteX562" fmla="*/ 2411700 w 12188817"/>
              <a:gd name="connsiteY562" fmla="*/ 6499319 h 6857997"/>
              <a:gd name="connsiteX563" fmla="*/ 2412921 w 12188817"/>
              <a:gd name="connsiteY563" fmla="*/ 6514039 h 6857997"/>
              <a:gd name="connsiteX564" fmla="*/ 2417421 w 12188817"/>
              <a:gd name="connsiteY564" fmla="*/ 6519864 h 6857997"/>
              <a:gd name="connsiteX565" fmla="*/ 2426071 w 12188817"/>
              <a:gd name="connsiteY565" fmla="*/ 6521992 h 6857997"/>
              <a:gd name="connsiteX566" fmla="*/ 2432786 w 12188817"/>
              <a:gd name="connsiteY566" fmla="*/ 6521015 h 6857997"/>
              <a:gd name="connsiteX567" fmla="*/ 2486528 w 12188817"/>
              <a:gd name="connsiteY567" fmla="*/ 6521015 h 6857997"/>
              <a:gd name="connsiteX568" fmla="*/ 2486528 w 12188817"/>
              <a:gd name="connsiteY568" fmla="*/ 6510202 h 6857997"/>
              <a:gd name="connsiteX569" fmla="*/ 2458405 w 12188817"/>
              <a:gd name="connsiteY569" fmla="*/ 6510202 h 6857997"/>
              <a:gd name="connsiteX570" fmla="*/ 2445424 w 12188817"/>
              <a:gd name="connsiteY570" fmla="*/ 6510830 h 6857997"/>
              <a:gd name="connsiteX571" fmla="*/ 2451786 w 12188817"/>
              <a:gd name="connsiteY571" fmla="*/ 6502249 h 6857997"/>
              <a:gd name="connsiteX572" fmla="*/ 2484784 w 12188817"/>
              <a:gd name="connsiteY572" fmla="*/ 6455229 h 6857997"/>
              <a:gd name="connsiteX573" fmla="*/ 2484784 w 12188817"/>
              <a:gd name="connsiteY573" fmla="*/ 6446927 h 6857997"/>
              <a:gd name="connsiteX574" fmla="*/ 2435043 w 12188817"/>
              <a:gd name="connsiteY574" fmla="*/ 6446927 h 6857997"/>
              <a:gd name="connsiteX575" fmla="*/ 2435043 w 12188817"/>
              <a:gd name="connsiteY575" fmla="*/ 6457112 h 6857997"/>
              <a:gd name="connsiteX576" fmla="*/ 2459828 w 12188817"/>
              <a:gd name="connsiteY576" fmla="*/ 6457112 h 6857997"/>
              <a:gd name="connsiteX577" fmla="*/ 2471487 w 12188817"/>
              <a:gd name="connsiteY577" fmla="*/ 6456694 h 6857997"/>
              <a:gd name="connsiteX578" fmla="*/ 2432740 w 12188817"/>
              <a:gd name="connsiteY578" fmla="*/ 6510830 h 6857997"/>
              <a:gd name="connsiteX579" fmla="*/ 2432740 w 12188817"/>
              <a:gd name="connsiteY579" fmla="*/ 6512889 h 6857997"/>
              <a:gd name="connsiteX580" fmla="*/ 2432350 w 12188817"/>
              <a:gd name="connsiteY580" fmla="*/ 6509783 h 6857997"/>
              <a:gd name="connsiteX581" fmla="*/ 2427815 w 12188817"/>
              <a:gd name="connsiteY581" fmla="*/ 6510272 h 6857997"/>
              <a:gd name="connsiteX582" fmla="*/ 2422862 w 12188817"/>
              <a:gd name="connsiteY582" fmla="*/ 6507760 h 6857997"/>
              <a:gd name="connsiteX583" fmla="*/ 2421955 w 12188817"/>
              <a:gd name="connsiteY583" fmla="*/ 6500017 h 6857997"/>
              <a:gd name="connsiteX584" fmla="*/ 2421955 w 12188817"/>
              <a:gd name="connsiteY584" fmla="*/ 6456694 h 6857997"/>
              <a:gd name="connsiteX585" fmla="*/ 2432350 w 12188817"/>
              <a:gd name="connsiteY585" fmla="*/ 6456694 h 6857997"/>
              <a:gd name="connsiteX586" fmla="*/ 2432350 w 12188817"/>
              <a:gd name="connsiteY586" fmla="*/ 6446927 h 6857997"/>
              <a:gd name="connsiteX587" fmla="*/ 2421955 w 12188817"/>
              <a:gd name="connsiteY587" fmla="*/ 6446927 h 6857997"/>
              <a:gd name="connsiteX588" fmla="*/ 1440880 w 12188817"/>
              <a:gd name="connsiteY588" fmla="*/ 6421045 h 6857997"/>
              <a:gd name="connsiteX589" fmla="*/ 1430625 w 12188817"/>
              <a:gd name="connsiteY589" fmla="*/ 6428579 h 6857997"/>
              <a:gd name="connsiteX590" fmla="*/ 1430625 w 12188817"/>
              <a:gd name="connsiteY590" fmla="*/ 6446927 h 6857997"/>
              <a:gd name="connsiteX591" fmla="*/ 1423090 w 12188817"/>
              <a:gd name="connsiteY591" fmla="*/ 6446927 h 6857997"/>
              <a:gd name="connsiteX592" fmla="*/ 1423090 w 12188817"/>
              <a:gd name="connsiteY592" fmla="*/ 6456694 h 6857997"/>
              <a:gd name="connsiteX593" fmla="*/ 1430625 w 12188817"/>
              <a:gd name="connsiteY593" fmla="*/ 6456694 h 6857997"/>
              <a:gd name="connsiteX594" fmla="*/ 1430625 w 12188817"/>
              <a:gd name="connsiteY594" fmla="*/ 6499319 h 6857997"/>
              <a:gd name="connsiteX595" fmla="*/ 1431846 w 12188817"/>
              <a:gd name="connsiteY595" fmla="*/ 6514039 h 6857997"/>
              <a:gd name="connsiteX596" fmla="*/ 1436345 w 12188817"/>
              <a:gd name="connsiteY596" fmla="*/ 6519864 h 6857997"/>
              <a:gd name="connsiteX597" fmla="*/ 1444996 w 12188817"/>
              <a:gd name="connsiteY597" fmla="*/ 6521992 h 6857997"/>
              <a:gd name="connsiteX598" fmla="*/ 1452670 w 12188817"/>
              <a:gd name="connsiteY598" fmla="*/ 6520876 h 6857997"/>
              <a:gd name="connsiteX599" fmla="*/ 1451275 w 12188817"/>
              <a:gd name="connsiteY599" fmla="*/ 6509783 h 6857997"/>
              <a:gd name="connsiteX600" fmla="*/ 1446740 w 12188817"/>
              <a:gd name="connsiteY600" fmla="*/ 6510272 h 6857997"/>
              <a:gd name="connsiteX601" fmla="*/ 1441787 w 12188817"/>
              <a:gd name="connsiteY601" fmla="*/ 6507760 h 6857997"/>
              <a:gd name="connsiteX602" fmla="*/ 1440880 w 12188817"/>
              <a:gd name="connsiteY602" fmla="*/ 6500017 h 6857997"/>
              <a:gd name="connsiteX603" fmla="*/ 1440880 w 12188817"/>
              <a:gd name="connsiteY603" fmla="*/ 6456694 h 6857997"/>
              <a:gd name="connsiteX604" fmla="*/ 1451275 w 12188817"/>
              <a:gd name="connsiteY604" fmla="*/ 6456694 h 6857997"/>
              <a:gd name="connsiteX605" fmla="*/ 1451275 w 12188817"/>
              <a:gd name="connsiteY605" fmla="*/ 6446927 h 6857997"/>
              <a:gd name="connsiteX606" fmla="*/ 1440880 w 12188817"/>
              <a:gd name="connsiteY606" fmla="*/ 6446927 h 6857997"/>
              <a:gd name="connsiteX607" fmla="*/ 6319282 w 12188817"/>
              <a:gd name="connsiteY607" fmla="*/ 6418742 h 6857997"/>
              <a:gd name="connsiteX608" fmla="*/ 6319282 w 12188817"/>
              <a:gd name="connsiteY608" fmla="*/ 6521015 h 6857997"/>
              <a:gd name="connsiteX609" fmla="*/ 6329537 w 12188817"/>
              <a:gd name="connsiteY609" fmla="*/ 6521015 h 6857997"/>
              <a:gd name="connsiteX610" fmla="*/ 6329537 w 12188817"/>
              <a:gd name="connsiteY610" fmla="*/ 6418742 h 6857997"/>
              <a:gd name="connsiteX611" fmla="*/ 6224380 w 12188817"/>
              <a:gd name="connsiteY611" fmla="*/ 6418742 h 6857997"/>
              <a:gd name="connsiteX612" fmla="*/ 6224380 w 12188817"/>
              <a:gd name="connsiteY612" fmla="*/ 6433183 h 6857997"/>
              <a:gd name="connsiteX613" fmla="*/ 6234636 w 12188817"/>
              <a:gd name="connsiteY613" fmla="*/ 6433183 h 6857997"/>
              <a:gd name="connsiteX614" fmla="*/ 6234636 w 12188817"/>
              <a:gd name="connsiteY614" fmla="*/ 6418742 h 6857997"/>
              <a:gd name="connsiteX615" fmla="*/ 6034361 w 12188817"/>
              <a:gd name="connsiteY615" fmla="*/ 6418742 h 6857997"/>
              <a:gd name="connsiteX616" fmla="*/ 6034361 w 12188817"/>
              <a:gd name="connsiteY616" fmla="*/ 6455438 h 6857997"/>
              <a:gd name="connsiteX617" fmla="*/ 6027153 w 12188817"/>
              <a:gd name="connsiteY617" fmla="*/ 6447938 h 6857997"/>
              <a:gd name="connsiteX618" fmla="*/ 6017716 w 12188817"/>
              <a:gd name="connsiteY618" fmla="*/ 6445252 h 6857997"/>
              <a:gd name="connsiteX619" fmla="*/ 6004794 w 12188817"/>
              <a:gd name="connsiteY619" fmla="*/ 6449508 h 6857997"/>
              <a:gd name="connsiteX620" fmla="*/ 5995495 w 12188817"/>
              <a:gd name="connsiteY620" fmla="*/ 6462554 h 6857997"/>
              <a:gd name="connsiteX621" fmla="*/ 5992013 w 12188817"/>
              <a:gd name="connsiteY621" fmla="*/ 6483971 h 6857997"/>
              <a:gd name="connsiteX622" fmla="*/ 5999862 w 12188817"/>
              <a:gd name="connsiteY622" fmla="*/ 6512539 h 6857997"/>
              <a:gd name="connsiteX623" fmla="*/ 6018454 w 12188817"/>
              <a:gd name="connsiteY623" fmla="*/ 6522690 h 6857997"/>
              <a:gd name="connsiteX624" fmla="*/ 6027944 w 12188817"/>
              <a:gd name="connsiteY624" fmla="*/ 6519864 h 6857997"/>
              <a:gd name="connsiteX625" fmla="*/ 6035129 w 12188817"/>
              <a:gd name="connsiteY625" fmla="*/ 6511667 h 6857997"/>
              <a:gd name="connsiteX626" fmla="*/ 6035129 w 12188817"/>
              <a:gd name="connsiteY626" fmla="*/ 6521015 h 6857997"/>
              <a:gd name="connsiteX627" fmla="*/ 6044755 w 12188817"/>
              <a:gd name="connsiteY627" fmla="*/ 6521015 h 6857997"/>
              <a:gd name="connsiteX628" fmla="*/ 6044755 w 12188817"/>
              <a:gd name="connsiteY628" fmla="*/ 6418742 h 6857997"/>
              <a:gd name="connsiteX629" fmla="*/ 2790947 w 12188817"/>
              <a:gd name="connsiteY629" fmla="*/ 6418742 h 6857997"/>
              <a:gd name="connsiteX630" fmla="*/ 2790947 w 12188817"/>
              <a:gd name="connsiteY630" fmla="*/ 6455438 h 6857997"/>
              <a:gd name="connsiteX631" fmla="*/ 2783737 w 12188817"/>
              <a:gd name="connsiteY631" fmla="*/ 6447938 h 6857997"/>
              <a:gd name="connsiteX632" fmla="*/ 2774300 w 12188817"/>
              <a:gd name="connsiteY632" fmla="*/ 6445252 h 6857997"/>
              <a:gd name="connsiteX633" fmla="*/ 2761380 w 12188817"/>
              <a:gd name="connsiteY633" fmla="*/ 6449508 h 6857997"/>
              <a:gd name="connsiteX634" fmla="*/ 2752082 w 12188817"/>
              <a:gd name="connsiteY634" fmla="*/ 6462554 h 6857997"/>
              <a:gd name="connsiteX635" fmla="*/ 2748600 w 12188817"/>
              <a:gd name="connsiteY635" fmla="*/ 6483971 h 6857997"/>
              <a:gd name="connsiteX636" fmla="*/ 2756449 w 12188817"/>
              <a:gd name="connsiteY636" fmla="*/ 6512539 h 6857997"/>
              <a:gd name="connsiteX637" fmla="*/ 2775041 w 12188817"/>
              <a:gd name="connsiteY637" fmla="*/ 6522690 h 6857997"/>
              <a:gd name="connsiteX638" fmla="*/ 2784528 w 12188817"/>
              <a:gd name="connsiteY638" fmla="*/ 6519864 h 6857997"/>
              <a:gd name="connsiteX639" fmla="*/ 2791714 w 12188817"/>
              <a:gd name="connsiteY639" fmla="*/ 6511667 h 6857997"/>
              <a:gd name="connsiteX640" fmla="*/ 2791714 w 12188817"/>
              <a:gd name="connsiteY640" fmla="*/ 6521015 h 6857997"/>
              <a:gd name="connsiteX641" fmla="*/ 2801341 w 12188817"/>
              <a:gd name="connsiteY641" fmla="*/ 6521015 h 6857997"/>
              <a:gd name="connsiteX642" fmla="*/ 2801341 w 12188817"/>
              <a:gd name="connsiteY642" fmla="*/ 6418742 h 6857997"/>
              <a:gd name="connsiteX643" fmla="*/ 2590094 w 12188817"/>
              <a:gd name="connsiteY643" fmla="*/ 6418742 h 6857997"/>
              <a:gd name="connsiteX644" fmla="*/ 2590094 w 12188817"/>
              <a:gd name="connsiteY644" fmla="*/ 6521015 h 6857997"/>
              <a:gd name="connsiteX645" fmla="*/ 2600349 w 12188817"/>
              <a:gd name="connsiteY645" fmla="*/ 6521015 h 6857997"/>
              <a:gd name="connsiteX646" fmla="*/ 2600349 w 12188817"/>
              <a:gd name="connsiteY646" fmla="*/ 6418742 h 6857997"/>
              <a:gd name="connsiteX647" fmla="*/ 2380892 w 12188817"/>
              <a:gd name="connsiteY647" fmla="*/ 6418742 h 6857997"/>
              <a:gd name="connsiteX648" fmla="*/ 2380892 w 12188817"/>
              <a:gd name="connsiteY648" fmla="*/ 6433183 h 6857997"/>
              <a:gd name="connsiteX649" fmla="*/ 2391148 w 12188817"/>
              <a:gd name="connsiteY649" fmla="*/ 6433183 h 6857997"/>
              <a:gd name="connsiteX650" fmla="*/ 2391148 w 12188817"/>
              <a:gd name="connsiteY650" fmla="*/ 6418742 h 6857997"/>
              <a:gd name="connsiteX651" fmla="*/ 2024493 w 12188817"/>
              <a:gd name="connsiteY651" fmla="*/ 6418742 h 6857997"/>
              <a:gd name="connsiteX652" fmla="*/ 1992149 w 12188817"/>
              <a:gd name="connsiteY652" fmla="*/ 6521015 h 6857997"/>
              <a:gd name="connsiteX653" fmla="*/ 2003850 w 12188817"/>
              <a:gd name="connsiteY653" fmla="*/ 6521015 h 6857997"/>
              <a:gd name="connsiteX654" fmla="*/ 2012966 w 12188817"/>
              <a:gd name="connsiteY654" fmla="*/ 6490040 h 6857997"/>
              <a:gd name="connsiteX655" fmla="*/ 2048249 w 12188817"/>
              <a:gd name="connsiteY655" fmla="*/ 6490040 h 6857997"/>
              <a:gd name="connsiteX656" fmla="*/ 2058004 w 12188817"/>
              <a:gd name="connsiteY656" fmla="*/ 6521015 h 6857997"/>
              <a:gd name="connsiteX657" fmla="*/ 2070702 w 12188817"/>
              <a:gd name="connsiteY657" fmla="*/ 6521015 h 6857997"/>
              <a:gd name="connsiteX658" fmla="*/ 2036357 w 12188817"/>
              <a:gd name="connsiteY658" fmla="*/ 6418742 h 6857997"/>
              <a:gd name="connsiteX659" fmla="*/ 1818918 w 12188817"/>
              <a:gd name="connsiteY659" fmla="*/ 6418742 h 6857997"/>
              <a:gd name="connsiteX660" fmla="*/ 1818918 w 12188817"/>
              <a:gd name="connsiteY660" fmla="*/ 6433183 h 6857997"/>
              <a:gd name="connsiteX661" fmla="*/ 1829173 w 12188817"/>
              <a:gd name="connsiteY661" fmla="*/ 6433183 h 6857997"/>
              <a:gd name="connsiteX662" fmla="*/ 1829173 w 12188817"/>
              <a:gd name="connsiteY662" fmla="*/ 6418742 h 6857997"/>
              <a:gd name="connsiteX663" fmla="*/ 1752242 w 12188817"/>
              <a:gd name="connsiteY663" fmla="*/ 6418742 h 6857997"/>
              <a:gd name="connsiteX664" fmla="*/ 1752242 w 12188817"/>
              <a:gd name="connsiteY664" fmla="*/ 6433183 h 6857997"/>
              <a:gd name="connsiteX665" fmla="*/ 1762498 w 12188817"/>
              <a:gd name="connsiteY665" fmla="*/ 6433183 h 6857997"/>
              <a:gd name="connsiteX666" fmla="*/ 1762498 w 12188817"/>
              <a:gd name="connsiteY666" fmla="*/ 6418742 h 6857997"/>
              <a:gd name="connsiteX667" fmla="*/ 1361717 w 12188817"/>
              <a:gd name="connsiteY667" fmla="*/ 6418742 h 6857997"/>
              <a:gd name="connsiteX668" fmla="*/ 1361717 w 12188817"/>
              <a:gd name="connsiteY668" fmla="*/ 6521015 h 6857997"/>
              <a:gd name="connsiteX669" fmla="*/ 1371973 w 12188817"/>
              <a:gd name="connsiteY669" fmla="*/ 6521015 h 6857997"/>
              <a:gd name="connsiteX670" fmla="*/ 1371973 w 12188817"/>
              <a:gd name="connsiteY670" fmla="*/ 6480483 h 6857997"/>
              <a:gd name="connsiteX671" fmla="*/ 1376682 w 12188817"/>
              <a:gd name="connsiteY671" fmla="*/ 6461437 h 6857997"/>
              <a:gd name="connsiteX672" fmla="*/ 1388088 w 12188817"/>
              <a:gd name="connsiteY672" fmla="*/ 6456066 h 6857997"/>
              <a:gd name="connsiteX673" fmla="*/ 1397506 w 12188817"/>
              <a:gd name="connsiteY673" fmla="*/ 6460252 h 6857997"/>
              <a:gd name="connsiteX674" fmla="*/ 1400924 w 12188817"/>
              <a:gd name="connsiteY674" fmla="*/ 6474065 h 6857997"/>
              <a:gd name="connsiteX675" fmla="*/ 1400924 w 12188817"/>
              <a:gd name="connsiteY675" fmla="*/ 6521015 h 6857997"/>
              <a:gd name="connsiteX676" fmla="*/ 1411180 w 12188817"/>
              <a:gd name="connsiteY676" fmla="*/ 6521015 h 6857997"/>
              <a:gd name="connsiteX677" fmla="*/ 1411180 w 12188817"/>
              <a:gd name="connsiteY677" fmla="*/ 6474065 h 6857997"/>
              <a:gd name="connsiteX678" fmla="*/ 1405564 w 12188817"/>
              <a:gd name="connsiteY678" fmla="*/ 6451426 h 6857997"/>
              <a:gd name="connsiteX679" fmla="*/ 1390251 w 12188817"/>
              <a:gd name="connsiteY679" fmla="*/ 6445252 h 6857997"/>
              <a:gd name="connsiteX680" fmla="*/ 1380170 w 12188817"/>
              <a:gd name="connsiteY680" fmla="*/ 6447799 h 6857997"/>
              <a:gd name="connsiteX681" fmla="*/ 1371973 w 12188817"/>
              <a:gd name="connsiteY681" fmla="*/ 6455438 h 6857997"/>
              <a:gd name="connsiteX682" fmla="*/ 1371973 w 12188817"/>
              <a:gd name="connsiteY682" fmla="*/ 6418742 h 6857997"/>
              <a:gd name="connsiteX683" fmla="*/ 1266468 w 12188817"/>
              <a:gd name="connsiteY683" fmla="*/ 6418742 h 6857997"/>
              <a:gd name="connsiteX684" fmla="*/ 1266468 w 12188817"/>
              <a:gd name="connsiteY684" fmla="*/ 6433183 h 6857997"/>
              <a:gd name="connsiteX685" fmla="*/ 1276723 w 12188817"/>
              <a:gd name="connsiteY685" fmla="*/ 6433183 h 6857997"/>
              <a:gd name="connsiteX686" fmla="*/ 1276723 w 12188817"/>
              <a:gd name="connsiteY686" fmla="*/ 6418742 h 6857997"/>
              <a:gd name="connsiteX687" fmla="*/ 5958280 w 12188817"/>
              <a:gd name="connsiteY687" fmla="*/ 6416998 h 6857997"/>
              <a:gd name="connsiteX688" fmla="*/ 5948873 w 12188817"/>
              <a:gd name="connsiteY688" fmla="*/ 6419301 h 6857997"/>
              <a:gd name="connsiteX689" fmla="*/ 5943312 w 12188817"/>
              <a:gd name="connsiteY689" fmla="*/ 6425963 h 6857997"/>
              <a:gd name="connsiteX690" fmla="*/ 5941493 w 12188817"/>
              <a:gd name="connsiteY690" fmla="*/ 6439044 h 6857997"/>
              <a:gd name="connsiteX691" fmla="*/ 5941493 w 12188817"/>
              <a:gd name="connsiteY691" fmla="*/ 6446927 h 6857997"/>
              <a:gd name="connsiteX692" fmla="*/ 5932354 w 12188817"/>
              <a:gd name="connsiteY692" fmla="*/ 6446927 h 6857997"/>
              <a:gd name="connsiteX693" fmla="*/ 5932354 w 12188817"/>
              <a:gd name="connsiteY693" fmla="*/ 6456694 h 6857997"/>
              <a:gd name="connsiteX694" fmla="*/ 5941493 w 12188817"/>
              <a:gd name="connsiteY694" fmla="*/ 6456694 h 6857997"/>
              <a:gd name="connsiteX695" fmla="*/ 5941493 w 12188817"/>
              <a:gd name="connsiteY695" fmla="*/ 6521015 h 6857997"/>
              <a:gd name="connsiteX696" fmla="*/ 5951746 w 12188817"/>
              <a:gd name="connsiteY696" fmla="*/ 6521015 h 6857997"/>
              <a:gd name="connsiteX697" fmla="*/ 5951746 w 12188817"/>
              <a:gd name="connsiteY697" fmla="*/ 6456694 h 6857997"/>
              <a:gd name="connsiteX698" fmla="*/ 5963606 w 12188817"/>
              <a:gd name="connsiteY698" fmla="*/ 6456694 h 6857997"/>
              <a:gd name="connsiteX699" fmla="*/ 5963606 w 12188817"/>
              <a:gd name="connsiteY699" fmla="*/ 6446927 h 6857997"/>
              <a:gd name="connsiteX700" fmla="*/ 5951746 w 12188817"/>
              <a:gd name="connsiteY700" fmla="*/ 6446927 h 6857997"/>
              <a:gd name="connsiteX701" fmla="*/ 5951746 w 12188817"/>
              <a:gd name="connsiteY701" fmla="*/ 6440090 h 6857997"/>
              <a:gd name="connsiteX702" fmla="*/ 5953734 w 12188817"/>
              <a:gd name="connsiteY702" fmla="*/ 6430916 h 6857997"/>
              <a:gd name="connsiteX703" fmla="*/ 5960327 w 12188817"/>
              <a:gd name="connsiteY703" fmla="*/ 6428509 h 6857997"/>
              <a:gd name="connsiteX704" fmla="*/ 5966397 w 12188817"/>
              <a:gd name="connsiteY704" fmla="*/ 6429207 h 6857997"/>
              <a:gd name="connsiteX705" fmla="*/ 5967205 w 12188817"/>
              <a:gd name="connsiteY705" fmla="*/ 6423469 h 6857997"/>
              <a:gd name="connsiteX706" fmla="*/ 5967205 w 12188817"/>
              <a:gd name="connsiteY706" fmla="*/ 6433183 h 6857997"/>
              <a:gd name="connsiteX707" fmla="*/ 5977462 w 12188817"/>
              <a:gd name="connsiteY707" fmla="*/ 6433183 h 6857997"/>
              <a:gd name="connsiteX708" fmla="*/ 5977462 w 12188817"/>
              <a:gd name="connsiteY708" fmla="*/ 6418742 h 6857997"/>
              <a:gd name="connsiteX709" fmla="*/ 5967872 w 12188817"/>
              <a:gd name="connsiteY709" fmla="*/ 6418742 h 6857997"/>
              <a:gd name="connsiteX710" fmla="*/ 5967933 w 12188817"/>
              <a:gd name="connsiteY710" fmla="*/ 6418324 h 6857997"/>
              <a:gd name="connsiteX711" fmla="*/ 5958280 w 12188817"/>
              <a:gd name="connsiteY711" fmla="*/ 6416998 h 6857997"/>
              <a:gd name="connsiteX712" fmla="*/ 883226 w 12188817"/>
              <a:gd name="connsiteY712" fmla="*/ 6416998 h 6857997"/>
              <a:gd name="connsiteX713" fmla="*/ 862262 w 12188817"/>
              <a:gd name="connsiteY713" fmla="*/ 6423591 h 6857997"/>
              <a:gd name="connsiteX714" fmla="*/ 846181 w 12188817"/>
              <a:gd name="connsiteY714" fmla="*/ 6442532 h 6857997"/>
              <a:gd name="connsiteX715" fmla="*/ 840042 w 12188817"/>
              <a:gd name="connsiteY715" fmla="*/ 6469670 h 6857997"/>
              <a:gd name="connsiteX716" fmla="*/ 852460 w 12188817"/>
              <a:gd name="connsiteY716" fmla="*/ 6506539 h 6857997"/>
              <a:gd name="connsiteX717" fmla="*/ 883226 w 12188817"/>
              <a:gd name="connsiteY717" fmla="*/ 6522271 h 6857997"/>
              <a:gd name="connsiteX718" fmla="*/ 904190 w 12188817"/>
              <a:gd name="connsiteY718" fmla="*/ 6515678 h 6857997"/>
              <a:gd name="connsiteX719" fmla="*/ 920270 w 12188817"/>
              <a:gd name="connsiteY719" fmla="*/ 6496738 h 6857997"/>
              <a:gd name="connsiteX720" fmla="*/ 926409 w 12188817"/>
              <a:gd name="connsiteY720" fmla="*/ 6469670 h 6857997"/>
              <a:gd name="connsiteX721" fmla="*/ 913991 w 12188817"/>
              <a:gd name="connsiteY721" fmla="*/ 6432765 h 6857997"/>
              <a:gd name="connsiteX722" fmla="*/ 883226 w 12188817"/>
              <a:gd name="connsiteY722" fmla="*/ 6416998 h 6857997"/>
              <a:gd name="connsiteX723" fmla="*/ 5757199 w 12188817"/>
              <a:gd name="connsiteY723" fmla="*/ 6416929 h 6857997"/>
              <a:gd name="connsiteX724" fmla="*/ 5737086 w 12188817"/>
              <a:gd name="connsiteY724" fmla="*/ 6422897 h 6857997"/>
              <a:gd name="connsiteX725" fmla="*/ 5722805 w 12188817"/>
              <a:gd name="connsiteY725" fmla="*/ 6440559 h 6857997"/>
              <a:gd name="connsiteX726" fmla="*/ 5717534 w 12188817"/>
              <a:gd name="connsiteY726" fmla="*/ 6469146 h 6857997"/>
              <a:gd name="connsiteX727" fmla="*/ 5722800 w 12188817"/>
              <a:gd name="connsiteY727" fmla="*/ 6498815 h 6857997"/>
              <a:gd name="connsiteX728" fmla="*/ 5736335 w 12188817"/>
              <a:gd name="connsiteY728" fmla="*/ 6517070 h 6857997"/>
              <a:gd name="connsiteX729" fmla="*/ 5756253 w 12188817"/>
              <a:gd name="connsiteY729" fmla="*/ 6522759 h 6857997"/>
              <a:gd name="connsiteX730" fmla="*/ 5778751 w 12188817"/>
              <a:gd name="connsiteY730" fmla="*/ 6514283 h 6857997"/>
              <a:gd name="connsiteX731" fmla="*/ 5791692 w 12188817"/>
              <a:gd name="connsiteY731" fmla="*/ 6488575 h 6857997"/>
              <a:gd name="connsiteX732" fmla="*/ 5780529 w 12188817"/>
              <a:gd name="connsiteY732" fmla="*/ 6485157 h 6857997"/>
              <a:gd name="connsiteX733" fmla="*/ 5771703 w 12188817"/>
              <a:gd name="connsiteY733" fmla="*/ 6504726 h 6857997"/>
              <a:gd name="connsiteX734" fmla="*/ 5756044 w 12188817"/>
              <a:gd name="connsiteY734" fmla="*/ 6511179 h 6857997"/>
              <a:gd name="connsiteX735" fmla="*/ 5736369 w 12188817"/>
              <a:gd name="connsiteY735" fmla="*/ 6500671 h 6857997"/>
              <a:gd name="connsiteX736" fmla="*/ 5728974 w 12188817"/>
              <a:gd name="connsiteY736" fmla="*/ 6469145 h 6857997"/>
              <a:gd name="connsiteX737" fmla="*/ 5732644 w 12188817"/>
              <a:gd name="connsiteY737" fmla="*/ 6446175 h 6857997"/>
              <a:gd name="connsiteX738" fmla="*/ 5742457 w 12188817"/>
              <a:gd name="connsiteY738" fmla="*/ 6432804 h 6857997"/>
              <a:gd name="connsiteX739" fmla="*/ 5756988 w 12188817"/>
              <a:gd name="connsiteY739" fmla="*/ 6428509 h 6857997"/>
              <a:gd name="connsiteX740" fmla="*/ 5779412 w 12188817"/>
              <a:gd name="connsiteY740" fmla="*/ 6449787 h 6857997"/>
              <a:gd name="connsiteX741" fmla="*/ 5790296 w 12188817"/>
              <a:gd name="connsiteY741" fmla="*/ 6446648 h 6857997"/>
              <a:gd name="connsiteX742" fmla="*/ 5778076 w 12188817"/>
              <a:gd name="connsiteY742" fmla="*/ 6424480 h 6857997"/>
              <a:gd name="connsiteX743" fmla="*/ 5757199 w 12188817"/>
              <a:gd name="connsiteY743" fmla="*/ 6416929 h 6857997"/>
              <a:gd name="connsiteX744" fmla="*/ 2249524 w 12188817"/>
              <a:gd name="connsiteY744" fmla="*/ 6416929 h 6857997"/>
              <a:gd name="connsiteX745" fmla="*/ 2227897 w 12188817"/>
              <a:gd name="connsiteY745" fmla="*/ 6424812 h 6857997"/>
              <a:gd name="connsiteX746" fmla="*/ 2219874 w 12188817"/>
              <a:gd name="connsiteY746" fmla="*/ 6445113 h 6857997"/>
              <a:gd name="connsiteX747" fmla="*/ 2222665 w 12188817"/>
              <a:gd name="connsiteY747" fmla="*/ 6457496 h 6857997"/>
              <a:gd name="connsiteX748" fmla="*/ 2230478 w 12188817"/>
              <a:gd name="connsiteY748" fmla="*/ 6466530 h 6857997"/>
              <a:gd name="connsiteX749" fmla="*/ 2247361 w 12188817"/>
              <a:gd name="connsiteY749" fmla="*/ 6473609 h 6857997"/>
              <a:gd name="connsiteX750" fmla="*/ 2264697 w 12188817"/>
              <a:gd name="connsiteY750" fmla="*/ 6479711 h 6857997"/>
              <a:gd name="connsiteX751" fmla="*/ 2270697 w 12188817"/>
              <a:gd name="connsiteY751" fmla="*/ 6485246 h 6857997"/>
              <a:gd name="connsiteX752" fmla="*/ 2272685 w 12188817"/>
              <a:gd name="connsiteY752" fmla="*/ 6493147 h 6857997"/>
              <a:gd name="connsiteX753" fmla="*/ 2267209 w 12188817"/>
              <a:gd name="connsiteY753" fmla="*/ 6505713 h 6857997"/>
              <a:gd name="connsiteX754" fmla="*/ 2251826 w 12188817"/>
              <a:gd name="connsiteY754" fmla="*/ 6510551 h 6857997"/>
              <a:gd name="connsiteX755" fmla="*/ 2239408 w 12188817"/>
              <a:gd name="connsiteY755" fmla="*/ 6507690 h 6857997"/>
              <a:gd name="connsiteX756" fmla="*/ 2230932 w 12188817"/>
              <a:gd name="connsiteY756" fmla="*/ 6500121 h 6857997"/>
              <a:gd name="connsiteX757" fmla="*/ 2227130 w 12188817"/>
              <a:gd name="connsiteY757" fmla="*/ 6486971 h 6857997"/>
              <a:gd name="connsiteX758" fmla="*/ 2216665 w 12188817"/>
              <a:gd name="connsiteY758" fmla="*/ 6488087 h 6857997"/>
              <a:gd name="connsiteX759" fmla="*/ 2226258 w 12188817"/>
              <a:gd name="connsiteY759" fmla="*/ 6513411 h 6857997"/>
              <a:gd name="connsiteX760" fmla="*/ 2251059 w 12188817"/>
              <a:gd name="connsiteY760" fmla="*/ 6522759 h 6857997"/>
              <a:gd name="connsiteX761" fmla="*/ 2268116 w 12188817"/>
              <a:gd name="connsiteY761" fmla="*/ 6518996 h 6857997"/>
              <a:gd name="connsiteX762" fmla="*/ 2279313 w 12188817"/>
              <a:gd name="connsiteY762" fmla="*/ 6508020 h 6857997"/>
              <a:gd name="connsiteX763" fmla="*/ 2283429 w 12188817"/>
              <a:gd name="connsiteY763" fmla="*/ 6492028 h 6857997"/>
              <a:gd name="connsiteX764" fmla="*/ 2279514 w 12188817"/>
              <a:gd name="connsiteY764" fmla="*/ 6476800 h 6857997"/>
              <a:gd name="connsiteX765" fmla="*/ 2267928 w 12188817"/>
              <a:gd name="connsiteY765" fmla="*/ 6466500 h 6857997"/>
              <a:gd name="connsiteX766" fmla="*/ 2250496 w 12188817"/>
              <a:gd name="connsiteY766" fmla="*/ 6460543 h 6857997"/>
              <a:gd name="connsiteX767" fmla="*/ 2234177 w 12188817"/>
              <a:gd name="connsiteY767" fmla="*/ 6453621 h 6857997"/>
              <a:gd name="connsiteX768" fmla="*/ 2230548 w 12188817"/>
              <a:gd name="connsiteY768" fmla="*/ 6443995 h 6857997"/>
              <a:gd name="connsiteX769" fmla="*/ 2235501 w 12188817"/>
              <a:gd name="connsiteY769" fmla="*/ 6433078 h 6857997"/>
              <a:gd name="connsiteX770" fmla="*/ 2249873 w 12188817"/>
              <a:gd name="connsiteY770" fmla="*/ 6428858 h 6857997"/>
              <a:gd name="connsiteX771" fmla="*/ 2264279 w 12188817"/>
              <a:gd name="connsiteY771" fmla="*/ 6433672 h 6857997"/>
              <a:gd name="connsiteX772" fmla="*/ 2270243 w 12188817"/>
              <a:gd name="connsiteY772" fmla="*/ 6448462 h 6857997"/>
              <a:gd name="connsiteX773" fmla="*/ 2280917 w 12188817"/>
              <a:gd name="connsiteY773" fmla="*/ 6447485 h 6857997"/>
              <a:gd name="connsiteX774" fmla="*/ 2276766 w 12188817"/>
              <a:gd name="connsiteY774" fmla="*/ 6431230 h 6857997"/>
              <a:gd name="connsiteX775" fmla="*/ 2265883 w 12188817"/>
              <a:gd name="connsiteY775" fmla="*/ 6420626 h 6857997"/>
              <a:gd name="connsiteX776" fmla="*/ 2249524 w 12188817"/>
              <a:gd name="connsiteY776" fmla="*/ 6416929 h 6857997"/>
              <a:gd name="connsiteX777" fmla="*/ 2107518 w 12188817"/>
              <a:gd name="connsiteY777" fmla="*/ 6416929 h 6857997"/>
              <a:gd name="connsiteX778" fmla="*/ 2085892 w 12188817"/>
              <a:gd name="connsiteY778" fmla="*/ 6422827 h 6857997"/>
              <a:gd name="connsiteX779" fmla="*/ 2071102 w 12188817"/>
              <a:gd name="connsiteY779" fmla="*/ 6441152 h 6857997"/>
              <a:gd name="connsiteX780" fmla="*/ 2065451 w 12188817"/>
              <a:gd name="connsiteY780" fmla="*/ 6470332 h 6857997"/>
              <a:gd name="connsiteX781" fmla="*/ 2071067 w 12188817"/>
              <a:gd name="connsiteY781" fmla="*/ 6498675 h 6857997"/>
              <a:gd name="connsiteX782" fmla="*/ 2086310 w 12188817"/>
              <a:gd name="connsiteY782" fmla="*/ 6516616 h 6857997"/>
              <a:gd name="connsiteX783" fmla="*/ 2108216 w 12188817"/>
              <a:gd name="connsiteY783" fmla="*/ 6522759 h 6857997"/>
              <a:gd name="connsiteX784" fmla="*/ 2126145 w 12188817"/>
              <a:gd name="connsiteY784" fmla="*/ 6518748 h 6857997"/>
              <a:gd name="connsiteX785" fmla="*/ 2143028 w 12188817"/>
              <a:gd name="connsiteY785" fmla="*/ 6506784 h 6857997"/>
              <a:gd name="connsiteX786" fmla="*/ 2143028 w 12188817"/>
              <a:gd name="connsiteY786" fmla="*/ 6468763 h 6857997"/>
              <a:gd name="connsiteX787" fmla="*/ 2107518 w 12188817"/>
              <a:gd name="connsiteY787" fmla="*/ 6468832 h 6857997"/>
              <a:gd name="connsiteX788" fmla="*/ 2107518 w 12188817"/>
              <a:gd name="connsiteY788" fmla="*/ 6480901 h 6857997"/>
              <a:gd name="connsiteX789" fmla="*/ 2132145 w 12188817"/>
              <a:gd name="connsiteY789" fmla="*/ 6480901 h 6857997"/>
              <a:gd name="connsiteX790" fmla="*/ 2132145 w 12188817"/>
              <a:gd name="connsiteY790" fmla="*/ 6499947 h 6857997"/>
              <a:gd name="connsiteX791" fmla="*/ 2121227 w 12188817"/>
              <a:gd name="connsiteY791" fmla="*/ 6507411 h 6857997"/>
              <a:gd name="connsiteX792" fmla="*/ 2107798 w 12188817"/>
              <a:gd name="connsiteY792" fmla="*/ 6510551 h 6857997"/>
              <a:gd name="connsiteX793" fmla="*/ 2085473 w 12188817"/>
              <a:gd name="connsiteY793" fmla="*/ 6500322 h 6857997"/>
              <a:gd name="connsiteX794" fmla="*/ 2076892 w 12188817"/>
              <a:gd name="connsiteY794" fmla="*/ 6469565 h 6857997"/>
              <a:gd name="connsiteX795" fmla="*/ 2080904 w 12188817"/>
              <a:gd name="connsiteY795" fmla="*/ 6446733 h 6857997"/>
              <a:gd name="connsiteX796" fmla="*/ 2091508 w 12188817"/>
              <a:gd name="connsiteY796" fmla="*/ 6432943 h 6857997"/>
              <a:gd name="connsiteX797" fmla="*/ 2107239 w 12188817"/>
              <a:gd name="connsiteY797" fmla="*/ 6428509 h 6857997"/>
              <a:gd name="connsiteX798" fmla="*/ 2118541 w 12188817"/>
              <a:gd name="connsiteY798" fmla="*/ 6430951 h 6857997"/>
              <a:gd name="connsiteX799" fmla="*/ 2126634 w 12188817"/>
              <a:gd name="connsiteY799" fmla="*/ 6437683 h 6857997"/>
              <a:gd name="connsiteX800" fmla="*/ 2131726 w 12188817"/>
              <a:gd name="connsiteY800" fmla="*/ 6450624 h 6857997"/>
              <a:gd name="connsiteX801" fmla="*/ 2141702 w 12188817"/>
              <a:gd name="connsiteY801" fmla="*/ 6447276 h 6857997"/>
              <a:gd name="connsiteX802" fmla="*/ 2135005 w 12188817"/>
              <a:gd name="connsiteY802" fmla="*/ 6430044 h 6857997"/>
              <a:gd name="connsiteX803" fmla="*/ 2123634 w 12188817"/>
              <a:gd name="connsiteY803" fmla="*/ 6420347 h 6857997"/>
              <a:gd name="connsiteX804" fmla="*/ 2107518 w 12188817"/>
              <a:gd name="connsiteY804" fmla="*/ 6416929 h 6857997"/>
              <a:gd name="connsiteX805" fmla="*/ 1516099 w 12188817"/>
              <a:gd name="connsiteY805" fmla="*/ 6416929 h 6857997"/>
              <a:gd name="connsiteX806" fmla="*/ 1494472 w 12188817"/>
              <a:gd name="connsiteY806" fmla="*/ 6424812 h 6857997"/>
              <a:gd name="connsiteX807" fmla="*/ 1486449 w 12188817"/>
              <a:gd name="connsiteY807" fmla="*/ 6445113 h 6857997"/>
              <a:gd name="connsiteX808" fmla="*/ 1489240 w 12188817"/>
              <a:gd name="connsiteY808" fmla="*/ 6457496 h 6857997"/>
              <a:gd name="connsiteX809" fmla="*/ 1497053 w 12188817"/>
              <a:gd name="connsiteY809" fmla="*/ 6466530 h 6857997"/>
              <a:gd name="connsiteX810" fmla="*/ 1513936 w 12188817"/>
              <a:gd name="connsiteY810" fmla="*/ 6473609 h 6857997"/>
              <a:gd name="connsiteX811" fmla="*/ 1531272 w 12188817"/>
              <a:gd name="connsiteY811" fmla="*/ 6479711 h 6857997"/>
              <a:gd name="connsiteX812" fmla="*/ 1537272 w 12188817"/>
              <a:gd name="connsiteY812" fmla="*/ 6485246 h 6857997"/>
              <a:gd name="connsiteX813" fmla="*/ 1539260 w 12188817"/>
              <a:gd name="connsiteY813" fmla="*/ 6493147 h 6857997"/>
              <a:gd name="connsiteX814" fmla="*/ 1533784 w 12188817"/>
              <a:gd name="connsiteY814" fmla="*/ 6505713 h 6857997"/>
              <a:gd name="connsiteX815" fmla="*/ 1518401 w 12188817"/>
              <a:gd name="connsiteY815" fmla="*/ 6510551 h 6857997"/>
              <a:gd name="connsiteX816" fmla="*/ 1505983 w 12188817"/>
              <a:gd name="connsiteY816" fmla="*/ 6507690 h 6857997"/>
              <a:gd name="connsiteX817" fmla="*/ 1497507 w 12188817"/>
              <a:gd name="connsiteY817" fmla="*/ 6500121 h 6857997"/>
              <a:gd name="connsiteX818" fmla="*/ 1493705 w 12188817"/>
              <a:gd name="connsiteY818" fmla="*/ 6486971 h 6857997"/>
              <a:gd name="connsiteX819" fmla="*/ 1483240 w 12188817"/>
              <a:gd name="connsiteY819" fmla="*/ 6488087 h 6857997"/>
              <a:gd name="connsiteX820" fmla="*/ 1492833 w 12188817"/>
              <a:gd name="connsiteY820" fmla="*/ 6513411 h 6857997"/>
              <a:gd name="connsiteX821" fmla="*/ 1517633 w 12188817"/>
              <a:gd name="connsiteY821" fmla="*/ 6522759 h 6857997"/>
              <a:gd name="connsiteX822" fmla="*/ 1534691 w 12188817"/>
              <a:gd name="connsiteY822" fmla="*/ 6518996 h 6857997"/>
              <a:gd name="connsiteX823" fmla="*/ 1545887 w 12188817"/>
              <a:gd name="connsiteY823" fmla="*/ 6508020 h 6857997"/>
              <a:gd name="connsiteX824" fmla="*/ 1550004 w 12188817"/>
              <a:gd name="connsiteY824" fmla="*/ 6492028 h 6857997"/>
              <a:gd name="connsiteX825" fmla="*/ 1546089 w 12188817"/>
              <a:gd name="connsiteY825" fmla="*/ 6476800 h 6857997"/>
              <a:gd name="connsiteX826" fmla="*/ 1534503 w 12188817"/>
              <a:gd name="connsiteY826" fmla="*/ 6466500 h 6857997"/>
              <a:gd name="connsiteX827" fmla="*/ 1517071 w 12188817"/>
              <a:gd name="connsiteY827" fmla="*/ 6460543 h 6857997"/>
              <a:gd name="connsiteX828" fmla="*/ 1500752 w 12188817"/>
              <a:gd name="connsiteY828" fmla="*/ 6453621 h 6857997"/>
              <a:gd name="connsiteX829" fmla="*/ 1497123 w 12188817"/>
              <a:gd name="connsiteY829" fmla="*/ 6443995 h 6857997"/>
              <a:gd name="connsiteX830" fmla="*/ 1502076 w 12188817"/>
              <a:gd name="connsiteY830" fmla="*/ 6433078 h 6857997"/>
              <a:gd name="connsiteX831" fmla="*/ 1516448 w 12188817"/>
              <a:gd name="connsiteY831" fmla="*/ 6428858 h 6857997"/>
              <a:gd name="connsiteX832" fmla="*/ 1530854 w 12188817"/>
              <a:gd name="connsiteY832" fmla="*/ 6433672 h 6857997"/>
              <a:gd name="connsiteX833" fmla="*/ 1536818 w 12188817"/>
              <a:gd name="connsiteY833" fmla="*/ 6448462 h 6857997"/>
              <a:gd name="connsiteX834" fmla="*/ 1547492 w 12188817"/>
              <a:gd name="connsiteY834" fmla="*/ 6447485 h 6857997"/>
              <a:gd name="connsiteX835" fmla="*/ 1543341 w 12188817"/>
              <a:gd name="connsiteY835" fmla="*/ 6431230 h 6857997"/>
              <a:gd name="connsiteX836" fmla="*/ 1532458 w 12188817"/>
              <a:gd name="connsiteY836" fmla="*/ 6420626 h 6857997"/>
              <a:gd name="connsiteX837" fmla="*/ 1516099 w 12188817"/>
              <a:gd name="connsiteY837" fmla="*/ 6416929 h 6857997"/>
              <a:gd name="connsiteX838" fmla="*/ 999308 w 12188817"/>
              <a:gd name="connsiteY838" fmla="*/ 6416929 h 6857997"/>
              <a:gd name="connsiteX839" fmla="*/ 979197 w 12188817"/>
              <a:gd name="connsiteY839" fmla="*/ 6422897 h 6857997"/>
              <a:gd name="connsiteX840" fmla="*/ 964916 w 12188817"/>
              <a:gd name="connsiteY840" fmla="*/ 6440559 h 6857997"/>
              <a:gd name="connsiteX841" fmla="*/ 959644 w 12188817"/>
              <a:gd name="connsiteY841" fmla="*/ 6469146 h 6857997"/>
              <a:gd name="connsiteX842" fmla="*/ 964911 w 12188817"/>
              <a:gd name="connsiteY842" fmla="*/ 6498815 h 6857997"/>
              <a:gd name="connsiteX843" fmla="*/ 978445 w 12188817"/>
              <a:gd name="connsiteY843" fmla="*/ 6517070 h 6857997"/>
              <a:gd name="connsiteX844" fmla="*/ 998363 w 12188817"/>
              <a:gd name="connsiteY844" fmla="*/ 6522759 h 6857997"/>
              <a:gd name="connsiteX845" fmla="*/ 1020862 w 12188817"/>
              <a:gd name="connsiteY845" fmla="*/ 6514283 h 6857997"/>
              <a:gd name="connsiteX846" fmla="*/ 1033803 w 12188817"/>
              <a:gd name="connsiteY846" fmla="*/ 6488575 h 6857997"/>
              <a:gd name="connsiteX847" fmla="*/ 1022640 w 12188817"/>
              <a:gd name="connsiteY847" fmla="*/ 6485157 h 6857997"/>
              <a:gd name="connsiteX848" fmla="*/ 1013815 w 12188817"/>
              <a:gd name="connsiteY848" fmla="*/ 6504726 h 6857997"/>
              <a:gd name="connsiteX849" fmla="*/ 998154 w 12188817"/>
              <a:gd name="connsiteY849" fmla="*/ 6511179 h 6857997"/>
              <a:gd name="connsiteX850" fmla="*/ 978480 w 12188817"/>
              <a:gd name="connsiteY850" fmla="*/ 6500671 h 6857997"/>
              <a:gd name="connsiteX851" fmla="*/ 971086 w 12188817"/>
              <a:gd name="connsiteY851" fmla="*/ 6469145 h 6857997"/>
              <a:gd name="connsiteX852" fmla="*/ 974753 w 12188817"/>
              <a:gd name="connsiteY852" fmla="*/ 6446175 h 6857997"/>
              <a:gd name="connsiteX853" fmla="*/ 984568 w 12188817"/>
              <a:gd name="connsiteY853" fmla="*/ 6432804 h 6857997"/>
              <a:gd name="connsiteX854" fmla="*/ 999100 w 12188817"/>
              <a:gd name="connsiteY854" fmla="*/ 6428509 h 6857997"/>
              <a:gd name="connsiteX855" fmla="*/ 1021524 w 12188817"/>
              <a:gd name="connsiteY855" fmla="*/ 6449787 h 6857997"/>
              <a:gd name="connsiteX856" fmla="*/ 1032407 w 12188817"/>
              <a:gd name="connsiteY856" fmla="*/ 6446648 h 6857997"/>
              <a:gd name="connsiteX857" fmla="*/ 1020187 w 12188817"/>
              <a:gd name="connsiteY857" fmla="*/ 6424480 h 6857997"/>
              <a:gd name="connsiteX858" fmla="*/ 999308 w 12188817"/>
              <a:gd name="connsiteY858" fmla="*/ 6416929 h 6857997"/>
              <a:gd name="connsiteX859" fmla="*/ 10831505 w 12188817"/>
              <a:gd name="connsiteY859" fmla="*/ 6415084 h 6857997"/>
              <a:gd name="connsiteX860" fmla="*/ 10873860 w 12188817"/>
              <a:gd name="connsiteY860" fmla="*/ 6415084 h 6857997"/>
              <a:gd name="connsiteX861" fmla="*/ 10904530 w 12188817"/>
              <a:gd name="connsiteY861" fmla="*/ 6430343 h 6857997"/>
              <a:gd name="connsiteX862" fmla="*/ 10873860 w 12188817"/>
              <a:gd name="connsiteY862" fmla="*/ 6445247 h 6857997"/>
              <a:gd name="connsiteX863" fmla="*/ 10831505 w 12188817"/>
              <a:gd name="connsiteY863" fmla="*/ 6445247 h 6857997"/>
              <a:gd name="connsiteX864" fmla="*/ 11108524 w 12188817"/>
              <a:gd name="connsiteY864" fmla="*/ 6410322 h 6857997"/>
              <a:gd name="connsiteX865" fmla="*/ 11152180 w 12188817"/>
              <a:gd name="connsiteY865" fmla="*/ 6454961 h 6857997"/>
              <a:gd name="connsiteX866" fmla="*/ 11108524 w 12188817"/>
              <a:gd name="connsiteY866" fmla="*/ 6499222 h 6857997"/>
              <a:gd name="connsiteX867" fmla="*/ 11064867 w 12188817"/>
              <a:gd name="connsiteY867" fmla="*/ 6453827 h 6857997"/>
              <a:gd name="connsiteX868" fmla="*/ 11108524 w 12188817"/>
              <a:gd name="connsiteY868" fmla="*/ 6410322 h 6857997"/>
              <a:gd name="connsiteX869" fmla="*/ 11212505 w 12188817"/>
              <a:gd name="connsiteY869" fmla="*/ 6391272 h 6857997"/>
              <a:gd name="connsiteX870" fmla="*/ 11212505 w 12188817"/>
              <a:gd name="connsiteY870" fmla="*/ 6518272 h 6857997"/>
              <a:gd name="connsiteX871" fmla="*/ 11246059 w 12188817"/>
              <a:gd name="connsiteY871" fmla="*/ 6518272 h 6857997"/>
              <a:gd name="connsiteX872" fmla="*/ 11246059 w 12188817"/>
              <a:gd name="connsiteY872" fmla="*/ 6422083 h 6857997"/>
              <a:gd name="connsiteX873" fmla="*/ 11315692 w 12188817"/>
              <a:gd name="connsiteY873" fmla="*/ 6518272 h 6857997"/>
              <a:gd name="connsiteX874" fmla="*/ 11355380 w 12188817"/>
              <a:gd name="connsiteY874" fmla="*/ 6518272 h 6857997"/>
              <a:gd name="connsiteX875" fmla="*/ 11355380 w 12188817"/>
              <a:gd name="connsiteY875" fmla="*/ 6391272 h 6857997"/>
              <a:gd name="connsiteX876" fmla="*/ 11322187 w 12188817"/>
              <a:gd name="connsiteY876" fmla="*/ 6391272 h 6857997"/>
              <a:gd name="connsiteX877" fmla="*/ 11322187 w 12188817"/>
              <a:gd name="connsiteY877" fmla="*/ 6482577 h 6857997"/>
              <a:gd name="connsiteX878" fmla="*/ 11255800 w 12188817"/>
              <a:gd name="connsiteY878" fmla="*/ 6391272 h 6857997"/>
              <a:gd name="connsiteX879" fmla="*/ 10968030 w 12188817"/>
              <a:gd name="connsiteY879" fmla="*/ 6391272 h 6857997"/>
              <a:gd name="connsiteX880" fmla="*/ 10968030 w 12188817"/>
              <a:gd name="connsiteY880" fmla="*/ 6518272 h 6857997"/>
              <a:gd name="connsiteX881" fmla="*/ 11002955 w 12188817"/>
              <a:gd name="connsiteY881" fmla="*/ 6518272 h 6857997"/>
              <a:gd name="connsiteX882" fmla="*/ 11002955 w 12188817"/>
              <a:gd name="connsiteY882" fmla="*/ 6391272 h 6857997"/>
              <a:gd name="connsiteX883" fmla="*/ 10798167 w 12188817"/>
              <a:gd name="connsiteY883" fmla="*/ 6391272 h 6857997"/>
              <a:gd name="connsiteX884" fmla="*/ 10798167 w 12188817"/>
              <a:gd name="connsiteY884" fmla="*/ 6518272 h 6857997"/>
              <a:gd name="connsiteX885" fmla="*/ 10832210 w 12188817"/>
              <a:gd name="connsiteY885" fmla="*/ 6518272 h 6857997"/>
              <a:gd name="connsiteX886" fmla="*/ 10832210 w 12188817"/>
              <a:gd name="connsiteY886" fmla="*/ 6468299 h 6857997"/>
              <a:gd name="connsiteX887" fmla="*/ 10871986 w 12188817"/>
              <a:gd name="connsiteY887" fmla="*/ 6468299 h 6857997"/>
              <a:gd name="connsiteX888" fmla="*/ 10907462 w 12188817"/>
              <a:gd name="connsiteY888" fmla="*/ 6518272 h 6857997"/>
              <a:gd name="connsiteX889" fmla="*/ 10945805 w 12188817"/>
              <a:gd name="connsiteY889" fmla="*/ 6518272 h 6857997"/>
              <a:gd name="connsiteX890" fmla="*/ 10905670 w 12188817"/>
              <a:gd name="connsiteY890" fmla="*/ 6465293 h 6857997"/>
              <a:gd name="connsiteX891" fmla="*/ 10938280 w 12188817"/>
              <a:gd name="connsiteY891" fmla="*/ 6429598 h 6857997"/>
              <a:gd name="connsiteX892" fmla="*/ 10881661 w 12188817"/>
              <a:gd name="connsiteY892" fmla="*/ 6391272 h 6857997"/>
              <a:gd name="connsiteX893" fmla="*/ 10728317 w 12188817"/>
              <a:gd name="connsiteY893" fmla="*/ 6391272 h 6857997"/>
              <a:gd name="connsiteX894" fmla="*/ 10728317 w 12188817"/>
              <a:gd name="connsiteY894" fmla="*/ 6518272 h 6857997"/>
              <a:gd name="connsiteX895" fmla="*/ 10763242 w 12188817"/>
              <a:gd name="connsiteY895" fmla="*/ 6518272 h 6857997"/>
              <a:gd name="connsiteX896" fmla="*/ 10763242 w 12188817"/>
              <a:gd name="connsiteY896" fmla="*/ 6391272 h 6857997"/>
              <a:gd name="connsiteX897" fmla="*/ 10604321 w 12188817"/>
              <a:gd name="connsiteY897" fmla="*/ 6391272 h 6857997"/>
              <a:gd name="connsiteX898" fmla="*/ 10547342 w 12188817"/>
              <a:gd name="connsiteY898" fmla="*/ 6429973 h 6857997"/>
              <a:gd name="connsiteX899" fmla="*/ 10601436 w 12188817"/>
              <a:gd name="connsiteY899" fmla="*/ 6466420 h 6857997"/>
              <a:gd name="connsiteX900" fmla="*/ 10641466 w 12188817"/>
              <a:gd name="connsiteY900" fmla="*/ 6466420 h 6857997"/>
              <a:gd name="connsiteX901" fmla="*/ 10665628 w 12188817"/>
              <a:gd name="connsiteY901" fmla="*/ 6481074 h 6857997"/>
              <a:gd name="connsiteX902" fmla="*/ 10639302 w 12188817"/>
              <a:gd name="connsiteY902" fmla="*/ 6495352 h 6857997"/>
              <a:gd name="connsiteX903" fmla="*/ 10553833 w 12188817"/>
              <a:gd name="connsiteY903" fmla="*/ 6495352 h 6857997"/>
              <a:gd name="connsiteX904" fmla="*/ 10553833 w 12188817"/>
              <a:gd name="connsiteY904" fmla="*/ 6518272 h 6857997"/>
              <a:gd name="connsiteX905" fmla="*/ 10644711 w 12188817"/>
              <a:gd name="connsiteY905" fmla="*/ 6518272 h 6857997"/>
              <a:gd name="connsiteX906" fmla="*/ 10701330 w 12188817"/>
              <a:gd name="connsiteY906" fmla="*/ 6480323 h 6857997"/>
              <a:gd name="connsiteX907" fmla="*/ 10649760 w 12188817"/>
              <a:gd name="connsiteY907" fmla="*/ 6444252 h 6857997"/>
              <a:gd name="connsiteX908" fmla="*/ 10604321 w 12188817"/>
              <a:gd name="connsiteY908" fmla="*/ 6444252 h 6857997"/>
              <a:gd name="connsiteX909" fmla="*/ 10583044 w 12188817"/>
              <a:gd name="connsiteY909" fmla="*/ 6430349 h 6857997"/>
              <a:gd name="connsiteX910" fmla="*/ 10609009 w 12188817"/>
              <a:gd name="connsiteY910" fmla="*/ 6413817 h 6857997"/>
              <a:gd name="connsiteX911" fmla="*/ 10693396 w 12188817"/>
              <a:gd name="connsiteY911" fmla="*/ 6413817 h 6857997"/>
              <a:gd name="connsiteX912" fmla="*/ 10693396 w 12188817"/>
              <a:gd name="connsiteY912" fmla="*/ 6391272 h 6857997"/>
              <a:gd name="connsiteX913" fmla="*/ 10490061 w 12188817"/>
              <a:gd name="connsiteY913" fmla="*/ 6391272 h 6857997"/>
              <a:gd name="connsiteX914" fmla="*/ 10490061 w 12188817"/>
              <a:gd name="connsiteY914" fmla="*/ 6482682 h 6857997"/>
              <a:gd name="connsiteX915" fmla="*/ 10423841 w 12188817"/>
              <a:gd name="connsiteY915" fmla="*/ 6391647 h 6857997"/>
              <a:gd name="connsiteX916" fmla="*/ 10380655 w 12188817"/>
              <a:gd name="connsiteY916" fmla="*/ 6391647 h 6857997"/>
              <a:gd name="connsiteX917" fmla="*/ 10380655 w 12188817"/>
              <a:gd name="connsiteY917" fmla="*/ 6518272 h 6857997"/>
              <a:gd name="connsiteX918" fmla="*/ 10414124 w 12188817"/>
              <a:gd name="connsiteY918" fmla="*/ 6518272 h 6857997"/>
              <a:gd name="connsiteX919" fmla="*/ 10414124 w 12188817"/>
              <a:gd name="connsiteY919" fmla="*/ 6422367 h 6857997"/>
              <a:gd name="connsiteX920" fmla="*/ 10483942 w 12188817"/>
              <a:gd name="connsiteY920" fmla="*/ 6518272 h 6857997"/>
              <a:gd name="connsiteX921" fmla="*/ 10523170 w 12188817"/>
              <a:gd name="connsiteY921" fmla="*/ 6518272 h 6857997"/>
              <a:gd name="connsiteX922" fmla="*/ 10523530 w 12188817"/>
              <a:gd name="connsiteY922" fmla="*/ 6391272 h 6857997"/>
              <a:gd name="connsiteX923" fmla="*/ 10293755 w 12188817"/>
              <a:gd name="connsiteY923" fmla="*/ 6391272 h 6857997"/>
              <a:gd name="connsiteX924" fmla="*/ 10217142 w 12188817"/>
              <a:gd name="connsiteY924" fmla="*/ 6457027 h 6857997"/>
              <a:gd name="connsiteX925" fmla="*/ 10242077 w 12188817"/>
              <a:gd name="connsiteY925" fmla="*/ 6507000 h 6857997"/>
              <a:gd name="connsiteX926" fmla="*/ 10293032 w 12188817"/>
              <a:gd name="connsiteY926" fmla="*/ 6518272 h 6857997"/>
              <a:gd name="connsiteX927" fmla="*/ 10350492 w 12188817"/>
              <a:gd name="connsiteY927" fmla="*/ 6518272 h 6857997"/>
              <a:gd name="connsiteX928" fmla="*/ 10350492 w 12188817"/>
              <a:gd name="connsiteY928" fmla="*/ 6496104 h 6857997"/>
              <a:gd name="connsiteX929" fmla="*/ 10294478 w 12188817"/>
              <a:gd name="connsiteY929" fmla="*/ 6496104 h 6857997"/>
              <a:gd name="connsiteX930" fmla="*/ 10255810 w 12188817"/>
              <a:gd name="connsiteY930" fmla="*/ 6464917 h 6857997"/>
              <a:gd name="connsiteX931" fmla="*/ 10350492 w 12188817"/>
              <a:gd name="connsiteY931" fmla="*/ 6464917 h 6857997"/>
              <a:gd name="connsiteX932" fmla="*/ 10350492 w 12188817"/>
              <a:gd name="connsiteY932" fmla="*/ 6442749 h 6857997"/>
              <a:gd name="connsiteX933" fmla="*/ 10255810 w 12188817"/>
              <a:gd name="connsiteY933" fmla="*/ 6442749 h 6857997"/>
              <a:gd name="connsiteX934" fmla="*/ 10294478 w 12188817"/>
              <a:gd name="connsiteY934" fmla="*/ 6413441 h 6857997"/>
              <a:gd name="connsiteX935" fmla="*/ 10350492 w 12188817"/>
              <a:gd name="connsiteY935" fmla="*/ 6413441 h 6857997"/>
              <a:gd name="connsiteX936" fmla="*/ 10350492 w 12188817"/>
              <a:gd name="connsiteY936" fmla="*/ 6391272 h 6857997"/>
              <a:gd name="connsiteX937" fmla="*/ 10104126 w 12188817"/>
              <a:gd name="connsiteY937" fmla="*/ 6391272 h 6857997"/>
              <a:gd name="connsiteX938" fmla="*/ 10047280 w 12188817"/>
              <a:gd name="connsiteY938" fmla="*/ 6429973 h 6857997"/>
              <a:gd name="connsiteX939" fmla="*/ 10101248 w 12188817"/>
              <a:gd name="connsiteY939" fmla="*/ 6466420 h 6857997"/>
              <a:gd name="connsiteX940" fmla="*/ 10141184 w 12188817"/>
              <a:gd name="connsiteY940" fmla="*/ 6466420 h 6857997"/>
              <a:gd name="connsiteX941" fmla="*/ 10165649 w 12188817"/>
              <a:gd name="connsiteY941" fmla="*/ 6481074 h 6857997"/>
              <a:gd name="connsiteX942" fmla="*/ 10139025 w 12188817"/>
              <a:gd name="connsiteY942" fmla="*/ 6495352 h 6857997"/>
              <a:gd name="connsiteX943" fmla="*/ 10053756 w 12188817"/>
              <a:gd name="connsiteY943" fmla="*/ 6495352 h 6857997"/>
              <a:gd name="connsiteX944" fmla="*/ 10053756 w 12188817"/>
              <a:gd name="connsiteY944" fmla="*/ 6518272 h 6857997"/>
              <a:gd name="connsiteX945" fmla="*/ 10144422 w 12188817"/>
              <a:gd name="connsiteY945" fmla="*/ 6518272 h 6857997"/>
              <a:gd name="connsiteX946" fmla="*/ 10201268 w 12188817"/>
              <a:gd name="connsiteY946" fmla="*/ 6480323 h 6857997"/>
              <a:gd name="connsiteX947" fmla="*/ 10149459 w 12188817"/>
              <a:gd name="connsiteY947" fmla="*/ 6444252 h 6857997"/>
              <a:gd name="connsiteX948" fmla="*/ 10104486 w 12188817"/>
              <a:gd name="connsiteY948" fmla="*/ 6444252 h 6857997"/>
              <a:gd name="connsiteX949" fmla="*/ 10082899 w 12188817"/>
              <a:gd name="connsiteY949" fmla="*/ 6430349 h 6857997"/>
              <a:gd name="connsiteX950" fmla="*/ 10109163 w 12188817"/>
              <a:gd name="connsiteY950" fmla="*/ 6413817 h 6857997"/>
              <a:gd name="connsiteX951" fmla="*/ 10193353 w 12188817"/>
              <a:gd name="connsiteY951" fmla="*/ 6413817 h 6857997"/>
              <a:gd name="connsiteX952" fmla="*/ 10193353 w 12188817"/>
              <a:gd name="connsiteY952" fmla="*/ 6391272 h 6857997"/>
              <a:gd name="connsiteX953" fmla="*/ 11099976 w 12188817"/>
              <a:gd name="connsiteY953" fmla="*/ 6389684 h 6857997"/>
              <a:gd name="connsiteX954" fmla="*/ 11026767 w 12188817"/>
              <a:gd name="connsiteY954" fmla="*/ 6453474 h 6857997"/>
              <a:gd name="connsiteX955" fmla="*/ 11107910 w 12188817"/>
              <a:gd name="connsiteY955" fmla="*/ 6519859 h 6857997"/>
              <a:gd name="connsiteX956" fmla="*/ 11188692 w 12188817"/>
              <a:gd name="connsiteY956" fmla="*/ 6454586 h 6857997"/>
              <a:gd name="connsiteX957" fmla="*/ 11115844 w 12188817"/>
              <a:gd name="connsiteY957" fmla="*/ 6389684 h 6857997"/>
              <a:gd name="connsiteX958" fmla="*/ 0 w 12188817"/>
              <a:gd name="connsiteY958" fmla="*/ 0 h 6857997"/>
              <a:gd name="connsiteX959" fmla="*/ 12188817 w 12188817"/>
              <a:gd name="connsiteY959" fmla="*/ 0 h 6857997"/>
              <a:gd name="connsiteX960" fmla="*/ 12188817 w 12188817"/>
              <a:gd name="connsiteY960" fmla="*/ 3067874 h 6857997"/>
              <a:gd name="connsiteX961" fmla="*/ 12188817 w 12188817"/>
              <a:gd name="connsiteY961" fmla="*/ 3141660 h 6857997"/>
              <a:gd name="connsiteX962" fmla="*/ 12188817 w 12188817"/>
              <a:gd name="connsiteY962" fmla="*/ 6237284 h 6857997"/>
              <a:gd name="connsiteX963" fmla="*/ 12188817 w 12188817"/>
              <a:gd name="connsiteY963" fmla="*/ 6282150 h 6857997"/>
              <a:gd name="connsiteX964" fmla="*/ 12188817 w 12188817"/>
              <a:gd name="connsiteY964" fmla="*/ 6857997 h 6857997"/>
              <a:gd name="connsiteX965" fmla="*/ 0 w 12188817"/>
              <a:gd name="connsiteY965"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Lst>
            <a:rect l="l" t="t" r="r" b="b"/>
            <a:pathLst>
              <a:path w="12188817" h="6857997">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4" y="6483831"/>
                </a:moveTo>
                <a:lnTo>
                  <a:pt x="6291674" y="6488436"/>
                </a:lnTo>
                <a:cubicBezTo>
                  <a:pt x="6291674" y="6494528"/>
                  <a:pt x="6290930" y="6499168"/>
                  <a:pt x="6289442" y="6502354"/>
                </a:cubicBezTo>
                <a:cubicBezTo>
                  <a:pt x="6287953" y="6505539"/>
                  <a:pt x="6285709" y="6508086"/>
                  <a:pt x="6282709" y="6509993"/>
                </a:cubicBezTo>
                <a:cubicBezTo>
                  <a:pt x="6279710" y="6511900"/>
                  <a:pt x="6276373" y="6512853"/>
                  <a:pt x="6272698" y="6512853"/>
                </a:cubicBezTo>
                <a:cubicBezTo>
                  <a:pt x="6268838" y="6512853"/>
                  <a:pt x="6265815" y="6511795"/>
                  <a:pt x="6263629" y="6509679"/>
                </a:cubicBezTo>
                <a:cubicBezTo>
                  <a:pt x="6261443" y="6507563"/>
                  <a:pt x="6260350" y="6504737"/>
                  <a:pt x="6260350" y="6501203"/>
                </a:cubicBezTo>
                <a:cubicBezTo>
                  <a:pt x="6260350" y="6498924"/>
                  <a:pt x="6260827" y="6496912"/>
                  <a:pt x="6261780" y="6495168"/>
                </a:cubicBezTo>
                <a:cubicBezTo>
                  <a:pt x="6262734" y="6493424"/>
                  <a:pt x="6264071" y="6492075"/>
                  <a:pt x="6265792" y="6491122"/>
                </a:cubicBezTo>
                <a:cubicBezTo>
                  <a:pt x="6267513" y="6490168"/>
                  <a:pt x="6270536" y="6489320"/>
                  <a:pt x="6274861" y="6488575"/>
                </a:cubicBezTo>
                <a:cubicBezTo>
                  <a:pt x="6282302" y="6487273"/>
                  <a:pt x="6287907" y="6485692"/>
                  <a:pt x="6291674"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1" y="6455577"/>
                </a:moveTo>
                <a:cubicBezTo>
                  <a:pt x="6092407" y="6455577"/>
                  <a:pt x="6096616" y="6457880"/>
                  <a:pt x="6099918" y="6462484"/>
                </a:cubicBezTo>
                <a:cubicBezTo>
                  <a:pt x="6102197" y="6465647"/>
                  <a:pt x="6103569" y="6470437"/>
                  <a:pt x="6104034" y="6476855"/>
                </a:cubicBezTo>
                <a:lnTo>
                  <a:pt x="6070131" y="6476855"/>
                </a:lnTo>
                <a:cubicBezTo>
                  <a:pt x="6070457" y="6470344"/>
                  <a:pt x="6072247" y="6465170"/>
                  <a:pt x="6075502" y="6461333"/>
                </a:cubicBezTo>
                <a:cubicBezTo>
                  <a:pt x="6078757" y="6457496"/>
                  <a:pt x="6082689" y="6455577"/>
                  <a:pt x="6087291" y="6455577"/>
                </a:cubicBezTo>
                <a:close/>
                <a:moveTo>
                  <a:pt x="6018394" y="6455577"/>
                </a:moveTo>
                <a:cubicBezTo>
                  <a:pt x="6023280" y="6455577"/>
                  <a:pt x="6027331" y="6457961"/>
                  <a:pt x="6030544" y="6462728"/>
                </a:cubicBezTo>
                <a:cubicBezTo>
                  <a:pt x="6033753" y="6467495"/>
                  <a:pt x="6035357" y="6475065"/>
                  <a:pt x="6035357" y="6485436"/>
                </a:cubicBezTo>
                <a:cubicBezTo>
                  <a:pt x="6035357" y="6494459"/>
                  <a:pt x="6033753" y="6501203"/>
                  <a:pt x="6030544" y="6505667"/>
                </a:cubicBezTo>
                <a:cubicBezTo>
                  <a:pt x="6027331" y="6510132"/>
                  <a:pt x="6023537" y="6512365"/>
                  <a:pt x="6019162" y="6512365"/>
                </a:cubicBezTo>
                <a:cubicBezTo>
                  <a:pt x="6014741" y="6512365"/>
                  <a:pt x="6010868" y="6510039"/>
                  <a:pt x="6007540" y="6505388"/>
                </a:cubicBezTo>
                <a:cubicBezTo>
                  <a:pt x="6004214" y="6500737"/>
                  <a:pt x="6002550" y="6493622"/>
                  <a:pt x="6002550" y="6484041"/>
                </a:cubicBezTo>
                <a:cubicBezTo>
                  <a:pt x="6002550" y="6474227"/>
                  <a:pt x="6004108" y="6467030"/>
                  <a:pt x="6007226" y="6462449"/>
                </a:cubicBezTo>
                <a:cubicBezTo>
                  <a:pt x="6010344" y="6457868"/>
                  <a:pt x="6014066" y="6455577"/>
                  <a:pt x="6018394" y="6455577"/>
                </a:cubicBezTo>
                <a:close/>
                <a:moveTo>
                  <a:pt x="5829559" y="6455577"/>
                </a:moveTo>
                <a:cubicBezTo>
                  <a:pt x="5834723" y="6455577"/>
                  <a:pt x="5839049" y="6457917"/>
                  <a:pt x="5842534" y="6462597"/>
                </a:cubicBezTo>
                <a:cubicBezTo>
                  <a:pt x="5846022" y="6467277"/>
                  <a:pt x="5847769" y="6474390"/>
                  <a:pt x="5847769" y="6483936"/>
                </a:cubicBezTo>
                <a:cubicBezTo>
                  <a:pt x="5847769" y="6493436"/>
                  <a:pt x="5846035" y="6500548"/>
                  <a:pt x="5842571" y="6505275"/>
                </a:cubicBezTo>
                <a:cubicBezTo>
                  <a:pt x="5839105" y="6510001"/>
                  <a:pt x="5834955" y="6512365"/>
                  <a:pt x="5830117" y="6512365"/>
                </a:cubicBezTo>
                <a:cubicBezTo>
                  <a:pt x="5824956" y="6512365"/>
                  <a:pt x="5820628" y="6510025"/>
                  <a:pt x="5817142" y="6505345"/>
                </a:cubicBezTo>
                <a:cubicBezTo>
                  <a:pt x="5813654" y="6500665"/>
                  <a:pt x="5811909" y="6493529"/>
                  <a:pt x="5811909" y="6483936"/>
                </a:cubicBezTo>
                <a:cubicBezTo>
                  <a:pt x="5811909" y="6474437"/>
                  <a:pt x="5813630" y="6467335"/>
                  <a:pt x="5817070" y="6462632"/>
                </a:cubicBezTo>
                <a:cubicBezTo>
                  <a:pt x="5820513" y="6457929"/>
                  <a:pt x="5824677" y="6455577"/>
                  <a:pt x="5829559"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0" y="6446927"/>
                </a:moveTo>
                <a:lnTo>
                  <a:pt x="6224380" y="6521015"/>
                </a:lnTo>
                <a:lnTo>
                  <a:pt x="6234636" y="6521015"/>
                </a:lnTo>
                <a:lnTo>
                  <a:pt x="6234636" y="6446927"/>
                </a:lnTo>
                <a:close/>
                <a:moveTo>
                  <a:pt x="5967205" y="6446927"/>
                </a:moveTo>
                <a:lnTo>
                  <a:pt x="5967205" y="6521015"/>
                </a:lnTo>
                <a:lnTo>
                  <a:pt x="5977462" y="6521015"/>
                </a:lnTo>
                <a:lnTo>
                  <a:pt x="5977462"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68" y="6445252"/>
                </a:moveTo>
                <a:cubicBezTo>
                  <a:pt x="6270582" y="6445252"/>
                  <a:pt x="6264292" y="6447066"/>
                  <a:pt x="6259897" y="6450694"/>
                </a:cubicBezTo>
                <a:cubicBezTo>
                  <a:pt x="6255502" y="6454322"/>
                  <a:pt x="6252583" y="6460112"/>
                  <a:pt x="6251142" y="6468065"/>
                </a:cubicBezTo>
                <a:lnTo>
                  <a:pt x="6261257" y="6469739"/>
                </a:lnTo>
                <a:cubicBezTo>
                  <a:pt x="6262373" y="6464271"/>
                  <a:pt x="6264118" y="6460543"/>
                  <a:pt x="6266489" y="6458557"/>
                </a:cubicBezTo>
                <a:cubicBezTo>
                  <a:pt x="6268861" y="6456571"/>
                  <a:pt x="6272443" y="6455577"/>
                  <a:pt x="6277233" y="6455577"/>
                </a:cubicBezTo>
                <a:cubicBezTo>
                  <a:pt x="6282535" y="6455577"/>
                  <a:pt x="6286465" y="6457066"/>
                  <a:pt x="6289023" y="6460042"/>
                </a:cubicBezTo>
                <a:cubicBezTo>
                  <a:pt x="6290837" y="6462089"/>
                  <a:pt x="6291744" y="6465647"/>
                  <a:pt x="6291744" y="6470716"/>
                </a:cubicBezTo>
                <a:lnTo>
                  <a:pt x="6291674" y="6473925"/>
                </a:lnTo>
                <a:cubicBezTo>
                  <a:pt x="6287767" y="6475626"/>
                  <a:pt x="6281628" y="6477091"/>
                  <a:pt x="6273256" y="6478320"/>
                </a:cubicBezTo>
                <a:cubicBezTo>
                  <a:pt x="6267024" y="6479204"/>
                  <a:pt x="6262373" y="6480576"/>
                  <a:pt x="6259304" y="6482436"/>
                </a:cubicBezTo>
                <a:cubicBezTo>
                  <a:pt x="6256234" y="6484297"/>
                  <a:pt x="6253816" y="6486878"/>
                  <a:pt x="6252048" y="6490180"/>
                </a:cubicBezTo>
                <a:cubicBezTo>
                  <a:pt x="6250281" y="6493482"/>
                  <a:pt x="6249397" y="6497273"/>
                  <a:pt x="6249397" y="6501551"/>
                </a:cubicBezTo>
                <a:cubicBezTo>
                  <a:pt x="6249397" y="6508016"/>
                  <a:pt x="6251281" y="6513155"/>
                  <a:pt x="6255048" y="6516969"/>
                </a:cubicBezTo>
                <a:cubicBezTo>
                  <a:pt x="6258816" y="6520783"/>
                  <a:pt x="6263862" y="6522690"/>
                  <a:pt x="6270187" y="6522690"/>
                </a:cubicBezTo>
                <a:cubicBezTo>
                  <a:pt x="6274187" y="6522690"/>
                  <a:pt x="6278047" y="6521782"/>
                  <a:pt x="6281768" y="6519968"/>
                </a:cubicBezTo>
                <a:cubicBezTo>
                  <a:pt x="6285488" y="6518154"/>
                  <a:pt x="6289069" y="6515456"/>
                  <a:pt x="6292511" y="6511875"/>
                </a:cubicBezTo>
                <a:cubicBezTo>
                  <a:pt x="6292837" y="6515411"/>
                  <a:pt x="6293534" y="6518457"/>
                  <a:pt x="6294604" y="6521015"/>
                </a:cubicBezTo>
                <a:lnTo>
                  <a:pt x="6305348" y="6521015"/>
                </a:lnTo>
                <a:cubicBezTo>
                  <a:pt x="6304045" y="6518132"/>
                  <a:pt x="6303173" y="6515167"/>
                  <a:pt x="6302731" y="6512120"/>
                </a:cubicBezTo>
                <a:cubicBezTo>
                  <a:pt x="6302290" y="6509074"/>
                  <a:pt x="6302069" y="6501691"/>
                  <a:pt x="6302069" y="6489971"/>
                </a:cubicBezTo>
                <a:lnTo>
                  <a:pt x="6302069" y="6473227"/>
                </a:lnTo>
                <a:cubicBezTo>
                  <a:pt x="6302069" y="6466437"/>
                  <a:pt x="6301592" y="6461275"/>
                  <a:pt x="6300639" y="6457740"/>
                </a:cubicBezTo>
                <a:cubicBezTo>
                  <a:pt x="6299685" y="6454205"/>
                  <a:pt x="6297395" y="6451240"/>
                  <a:pt x="6293767" y="6448845"/>
                </a:cubicBezTo>
                <a:cubicBezTo>
                  <a:pt x="6290139" y="6446450"/>
                  <a:pt x="6285139" y="6445252"/>
                  <a:pt x="6278768" y="6445252"/>
                </a:cubicBezTo>
                <a:close/>
                <a:moveTo>
                  <a:pt x="6157700" y="6445252"/>
                </a:moveTo>
                <a:cubicBezTo>
                  <a:pt x="6153521" y="6445252"/>
                  <a:pt x="6149818" y="6446258"/>
                  <a:pt x="6146592" y="6448270"/>
                </a:cubicBezTo>
                <a:cubicBezTo>
                  <a:pt x="6143365" y="6450282"/>
                  <a:pt x="6140638" y="6453323"/>
                  <a:pt x="6138409" y="6457392"/>
                </a:cubicBezTo>
                <a:lnTo>
                  <a:pt x="6138409" y="6446927"/>
                </a:lnTo>
                <a:lnTo>
                  <a:pt x="6129130" y="6446927"/>
                </a:lnTo>
                <a:lnTo>
                  <a:pt x="6129130" y="6521015"/>
                </a:lnTo>
                <a:lnTo>
                  <a:pt x="6139386" y="6521015"/>
                </a:lnTo>
                <a:lnTo>
                  <a:pt x="6139386" y="6480509"/>
                </a:lnTo>
                <a:cubicBezTo>
                  <a:pt x="6139386" y="6471570"/>
                  <a:pt x="6140851" y="6465261"/>
                  <a:pt x="6143781" y="6461583"/>
                </a:cubicBezTo>
                <a:cubicBezTo>
                  <a:pt x="6146711" y="6457905"/>
                  <a:pt x="6150641" y="6456066"/>
                  <a:pt x="6155571" y="6456066"/>
                </a:cubicBezTo>
                <a:cubicBezTo>
                  <a:pt x="6158175" y="6456066"/>
                  <a:pt x="6160466" y="6456752"/>
                  <a:pt x="6162442" y="6458126"/>
                </a:cubicBezTo>
                <a:cubicBezTo>
                  <a:pt x="6164419" y="6459499"/>
                  <a:pt x="6165872" y="6461443"/>
                  <a:pt x="6166803" y="6463957"/>
                </a:cubicBezTo>
                <a:cubicBezTo>
                  <a:pt x="6167733" y="6466471"/>
                  <a:pt x="6168198" y="6470452"/>
                  <a:pt x="6168198" y="6475900"/>
                </a:cubicBezTo>
                <a:lnTo>
                  <a:pt x="6168198" y="6521015"/>
                </a:lnTo>
                <a:lnTo>
                  <a:pt x="6178453" y="6521015"/>
                </a:lnTo>
                <a:lnTo>
                  <a:pt x="6178453" y="6475460"/>
                </a:lnTo>
                <a:cubicBezTo>
                  <a:pt x="6178453" y="6468623"/>
                  <a:pt x="6178035" y="6463554"/>
                  <a:pt x="6177199" y="6460252"/>
                </a:cubicBezTo>
                <a:cubicBezTo>
                  <a:pt x="6176364" y="6456949"/>
                  <a:pt x="6175099" y="6454264"/>
                  <a:pt x="6173404" y="6452194"/>
                </a:cubicBezTo>
                <a:cubicBezTo>
                  <a:pt x="6171709" y="6450124"/>
                  <a:pt x="6169481" y="6448450"/>
                  <a:pt x="6166718" y="6447171"/>
                </a:cubicBezTo>
                <a:cubicBezTo>
                  <a:pt x="6163956" y="6445892"/>
                  <a:pt x="6160949" y="6445252"/>
                  <a:pt x="6157700" y="6445252"/>
                </a:cubicBezTo>
                <a:close/>
                <a:moveTo>
                  <a:pt x="6087364" y="6445252"/>
                </a:moveTo>
                <a:cubicBezTo>
                  <a:pt x="6079131" y="6445252"/>
                  <a:pt x="6072328" y="6448613"/>
                  <a:pt x="6066956" y="6455333"/>
                </a:cubicBezTo>
                <a:cubicBezTo>
                  <a:pt x="6061584" y="6462054"/>
                  <a:pt x="6058897" y="6471809"/>
                  <a:pt x="6058897" y="6484599"/>
                </a:cubicBezTo>
                <a:cubicBezTo>
                  <a:pt x="6058897" y="6496924"/>
                  <a:pt x="6061560" y="6506353"/>
                  <a:pt x="6066885" y="6512888"/>
                </a:cubicBezTo>
                <a:cubicBezTo>
                  <a:pt x="6072212" y="6519422"/>
                  <a:pt x="6079175" y="6522690"/>
                  <a:pt x="6087781" y="6522690"/>
                </a:cubicBezTo>
                <a:cubicBezTo>
                  <a:pt x="6094617" y="6522690"/>
                  <a:pt x="6100348" y="6520678"/>
                  <a:pt x="6104976" y="6516655"/>
                </a:cubicBezTo>
                <a:cubicBezTo>
                  <a:pt x="6109604" y="6512632"/>
                  <a:pt x="6112801" y="6506667"/>
                  <a:pt x="6114569" y="6498761"/>
                </a:cubicBezTo>
                <a:lnTo>
                  <a:pt x="6103965" y="6497156"/>
                </a:lnTo>
                <a:cubicBezTo>
                  <a:pt x="6100941" y="6507295"/>
                  <a:pt x="6095570" y="6512365"/>
                  <a:pt x="6087849" y="6512365"/>
                </a:cubicBezTo>
                <a:cubicBezTo>
                  <a:pt x="6082919" y="6512365"/>
                  <a:pt x="6078734" y="6510248"/>
                  <a:pt x="6075292" y="6506016"/>
                </a:cubicBezTo>
                <a:cubicBezTo>
                  <a:pt x="6071853" y="6501784"/>
                  <a:pt x="6069920" y="6495505"/>
                  <a:pt x="6069506" y="6487180"/>
                </a:cubicBezTo>
                <a:lnTo>
                  <a:pt x="6114848" y="6487180"/>
                </a:lnTo>
                <a:lnTo>
                  <a:pt x="6114917" y="6483831"/>
                </a:lnTo>
                <a:cubicBezTo>
                  <a:pt x="6114917" y="6471321"/>
                  <a:pt x="6112290" y="6461763"/>
                  <a:pt x="6107034" y="6455159"/>
                </a:cubicBezTo>
                <a:cubicBezTo>
                  <a:pt x="6101779" y="6448555"/>
                  <a:pt x="6095221" y="6445252"/>
                  <a:pt x="6087364" y="6445252"/>
                </a:cubicBezTo>
                <a:close/>
                <a:moveTo>
                  <a:pt x="5900526" y="6445252"/>
                </a:moveTo>
                <a:cubicBezTo>
                  <a:pt x="5896346" y="6445252"/>
                  <a:pt x="5892645" y="6446258"/>
                  <a:pt x="5889417" y="6448270"/>
                </a:cubicBezTo>
                <a:cubicBezTo>
                  <a:pt x="5886191" y="6450282"/>
                  <a:pt x="5883465" y="6453323"/>
                  <a:pt x="5881236" y="6457392"/>
                </a:cubicBezTo>
                <a:lnTo>
                  <a:pt x="5881236" y="6446927"/>
                </a:lnTo>
                <a:lnTo>
                  <a:pt x="5871957" y="6446927"/>
                </a:lnTo>
                <a:lnTo>
                  <a:pt x="5871957" y="6521015"/>
                </a:lnTo>
                <a:lnTo>
                  <a:pt x="5882211" y="6521015"/>
                </a:lnTo>
                <a:lnTo>
                  <a:pt x="5882211" y="6480509"/>
                </a:lnTo>
                <a:cubicBezTo>
                  <a:pt x="5882211" y="6471570"/>
                  <a:pt x="5883676" y="6465261"/>
                  <a:pt x="5886608" y="6461583"/>
                </a:cubicBezTo>
                <a:cubicBezTo>
                  <a:pt x="5889538" y="6457905"/>
                  <a:pt x="5893467" y="6456066"/>
                  <a:pt x="5898396" y="6456066"/>
                </a:cubicBezTo>
                <a:cubicBezTo>
                  <a:pt x="5901002" y="6456066"/>
                  <a:pt x="5903292" y="6456752"/>
                  <a:pt x="5905268" y="6458126"/>
                </a:cubicBezTo>
                <a:cubicBezTo>
                  <a:pt x="5907246" y="6459499"/>
                  <a:pt x="5908697" y="6461443"/>
                  <a:pt x="5909630" y="6463957"/>
                </a:cubicBezTo>
                <a:cubicBezTo>
                  <a:pt x="5910559" y="6466471"/>
                  <a:pt x="5911024" y="6470452"/>
                  <a:pt x="5911024" y="6475900"/>
                </a:cubicBezTo>
                <a:lnTo>
                  <a:pt x="5911024" y="6521015"/>
                </a:lnTo>
                <a:lnTo>
                  <a:pt x="5921278" y="6521015"/>
                </a:lnTo>
                <a:lnTo>
                  <a:pt x="5921278" y="6475460"/>
                </a:lnTo>
                <a:cubicBezTo>
                  <a:pt x="5921278" y="6468623"/>
                  <a:pt x="5920860" y="6463554"/>
                  <a:pt x="5920026" y="6460252"/>
                </a:cubicBezTo>
                <a:cubicBezTo>
                  <a:pt x="5919190" y="6456949"/>
                  <a:pt x="5917925" y="6454264"/>
                  <a:pt x="5916230" y="6452194"/>
                </a:cubicBezTo>
                <a:cubicBezTo>
                  <a:pt x="5914534" y="6450124"/>
                  <a:pt x="5912308" y="6448450"/>
                  <a:pt x="5909545" y="6447171"/>
                </a:cubicBezTo>
                <a:cubicBezTo>
                  <a:pt x="5906783" y="6445892"/>
                  <a:pt x="5903776" y="6445252"/>
                  <a:pt x="5900526" y="6445252"/>
                </a:cubicBezTo>
                <a:close/>
                <a:moveTo>
                  <a:pt x="5829838" y="6445252"/>
                </a:moveTo>
                <a:cubicBezTo>
                  <a:pt x="5821607" y="6445252"/>
                  <a:pt x="5814805" y="6448508"/>
                  <a:pt x="5809433" y="6455019"/>
                </a:cubicBezTo>
                <a:cubicBezTo>
                  <a:pt x="5804061" y="6461531"/>
                  <a:pt x="5801376" y="6471181"/>
                  <a:pt x="5801376" y="6483971"/>
                </a:cubicBezTo>
                <a:cubicBezTo>
                  <a:pt x="5801376" y="6496714"/>
                  <a:pt x="5804085" y="6506353"/>
                  <a:pt x="5809502" y="6512888"/>
                </a:cubicBezTo>
                <a:cubicBezTo>
                  <a:pt x="5814920" y="6519422"/>
                  <a:pt x="5821700" y="6522690"/>
                  <a:pt x="5829838" y="6522690"/>
                </a:cubicBezTo>
                <a:cubicBezTo>
                  <a:pt x="5838116" y="6522690"/>
                  <a:pt x="5844931" y="6519434"/>
                  <a:pt x="5850280" y="6512923"/>
                </a:cubicBezTo>
                <a:cubicBezTo>
                  <a:pt x="5855626" y="6506411"/>
                  <a:pt x="5858301" y="6496505"/>
                  <a:pt x="5858301" y="6483204"/>
                </a:cubicBezTo>
                <a:cubicBezTo>
                  <a:pt x="5858301" y="6470925"/>
                  <a:pt x="5855581" y="6461531"/>
                  <a:pt x="5850139" y="6455019"/>
                </a:cubicBezTo>
                <a:cubicBezTo>
                  <a:pt x="5844697" y="6448508"/>
                  <a:pt x="5837932" y="6445252"/>
                  <a:pt x="5829838"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3" y="6421045"/>
                </a:moveTo>
                <a:lnTo>
                  <a:pt x="6198038" y="6428579"/>
                </a:lnTo>
                <a:lnTo>
                  <a:pt x="6198038" y="6446927"/>
                </a:lnTo>
                <a:lnTo>
                  <a:pt x="6190503" y="6446927"/>
                </a:lnTo>
                <a:lnTo>
                  <a:pt x="6190503" y="6456694"/>
                </a:lnTo>
                <a:lnTo>
                  <a:pt x="6198038" y="6456694"/>
                </a:lnTo>
                <a:lnTo>
                  <a:pt x="6198038" y="6499319"/>
                </a:lnTo>
                <a:cubicBezTo>
                  <a:pt x="6198038" y="6506667"/>
                  <a:pt x="6198445" y="6511574"/>
                  <a:pt x="6199259" y="6514039"/>
                </a:cubicBezTo>
                <a:cubicBezTo>
                  <a:pt x="6200073" y="6516504"/>
                  <a:pt x="6201573" y="6518446"/>
                  <a:pt x="6203758" y="6519864"/>
                </a:cubicBezTo>
                <a:cubicBezTo>
                  <a:pt x="6205944" y="6521283"/>
                  <a:pt x="6208828" y="6521992"/>
                  <a:pt x="6212409" y="6521992"/>
                </a:cubicBezTo>
                <a:cubicBezTo>
                  <a:pt x="6214688" y="6521992"/>
                  <a:pt x="6217246" y="6521620"/>
                  <a:pt x="6220083" y="6520876"/>
                </a:cubicBezTo>
                <a:lnTo>
                  <a:pt x="6218688" y="6509783"/>
                </a:lnTo>
                <a:cubicBezTo>
                  <a:pt x="6216827" y="6510109"/>
                  <a:pt x="6215316" y="6510272"/>
                  <a:pt x="6214153" y="6510272"/>
                </a:cubicBezTo>
                <a:cubicBezTo>
                  <a:pt x="6211735" y="6510272"/>
                  <a:pt x="6210084" y="6509435"/>
                  <a:pt x="6209200" y="6507760"/>
                </a:cubicBezTo>
                <a:cubicBezTo>
                  <a:pt x="6208595" y="6506598"/>
                  <a:pt x="6208293" y="6504016"/>
                  <a:pt x="6208293" y="6500017"/>
                </a:cubicBezTo>
                <a:lnTo>
                  <a:pt x="6208293" y="6456694"/>
                </a:lnTo>
                <a:lnTo>
                  <a:pt x="6218688" y="6456694"/>
                </a:lnTo>
                <a:lnTo>
                  <a:pt x="6218688" y="6446927"/>
                </a:lnTo>
                <a:lnTo>
                  <a:pt x="6208293"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2" y="6418742"/>
                </a:moveTo>
                <a:lnTo>
                  <a:pt x="6319282" y="6521015"/>
                </a:lnTo>
                <a:lnTo>
                  <a:pt x="6329537" y="6521015"/>
                </a:lnTo>
                <a:lnTo>
                  <a:pt x="6329537" y="6418742"/>
                </a:lnTo>
                <a:close/>
                <a:moveTo>
                  <a:pt x="6224380" y="6418742"/>
                </a:moveTo>
                <a:lnTo>
                  <a:pt x="6224380" y="6433183"/>
                </a:lnTo>
                <a:lnTo>
                  <a:pt x="6234636" y="6433183"/>
                </a:lnTo>
                <a:lnTo>
                  <a:pt x="6234636" y="6418742"/>
                </a:lnTo>
                <a:close/>
                <a:moveTo>
                  <a:pt x="6034361" y="6418742"/>
                </a:moveTo>
                <a:lnTo>
                  <a:pt x="6034361" y="6455438"/>
                </a:lnTo>
                <a:cubicBezTo>
                  <a:pt x="6032457" y="6452229"/>
                  <a:pt x="6030052" y="6449729"/>
                  <a:pt x="6027153" y="6447938"/>
                </a:cubicBezTo>
                <a:cubicBezTo>
                  <a:pt x="6024249" y="6446148"/>
                  <a:pt x="6021105" y="6445252"/>
                  <a:pt x="6017716" y="6445252"/>
                </a:cubicBezTo>
                <a:cubicBezTo>
                  <a:pt x="6012977" y="6445252"/>
                  <a:pt x="6008671" y="6446671"/>
                  <a:pt x="6004794" y="6449508"/>
                </a:cubicBezTo>
                <a:cubicBezTo>
                  <a:pt x="6000918" y="6452345"/>
                  <a:pt x="5997817" y="6456694"/>
                  <a:pt x="5995495" y="6462554"/>
                </a:cubicBezTo>
                <a:cubicBezTo>
                  <a:pt x="5993174" y="6468414"/>
                  <a:pt x="5992013" y="6475553"/>
                  <a:pt x="5992013" y="6483971"/>
                </a:cubicBezTo>
                <a:cubicBezTo>
                  <a:pt x="5992013" y="6496249"/>
                  <a:pt x="5994629" y="6505772"/>
                  <a:pt x="5999862" y="6512539"/>
                </a:cubicBezTo>
                <a:cubicBezTo>
                  <a:pt x="6005094" y="6519306"/>
                  <a:pt x="6011292" y="6522690"/>
                  <a:pt x="6018454" y="6522690"/>
                </a:cubicBezTo>
                <a:cubicBezTo>
                  <a:pt x="6021849" y="6522690"/>
                  <a:pt x="6025011" y="6521748"/>
                  <a:pt x="6027944" y="6519864"/>
                </a:cubicBezTo>
                <a:cubicBezTo>
                  <a:pt x="6030873" y="6517981"/>
                  <a:pt x="6033267" y="6515248"/>
                  <a:pt x="6035129" y="6511667"/>
                </a:cubicBezTo>
                <a:lnTo>
                  <a:pt x="6035129" y="6521015"/>
                </a:lnTo>
                <a:lnTo>
                  <a:pt x="6044755" y="6521015"/>
                </a:lnTo>
                <a:lnTo>
                  <a:pt x="6044755"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0" y="6416998"/>
                </a:moveTo>
                <a:cubicBezTo>
                  <a:pt x="5954504" y="6416998"/>
                  <a:pt x="5951367" y="6417766"/>
                  <a:pt x="5948873" y="6419301"/>
                </a:cubicBezTo>
                <a:cubicBezTo>
                  <a:pt x="5946376" y="6420835"/>
                  <a:pt x="5944524" y="6423056"/>
                  <a:pt x="5943312" y="6425963"/>
                </a:cubicBezTo>
                <a:cubicBezTo>
                  <a:pt x="5942098" y="6428870"/>
                  <a:pt x="5941493" y="6433230"/>
                  <a:pt x="5941493" y="6439044"/>
                </a:cubicBezTo>
                <a:lnTo>
                  <a:pt x="5941493" y="6446927"/>
                </a:lnTo>
                <a:lnTo>
                  <a:pt x="5932354" y="6446927"/>
                </a:lnTo>
                <a:lnTo>
                  <a:pt x="5932354" y="6456694"/>
                </a:lnTo>
                <a:lnTo>
                  <a:pt x="5941493" y="6456694"/>
                </a:lnTo>
                <a:lnTo>
                  <a:pt x="5941493" y="6521015"/>
                </a:lnTo>
                <a:lnTo>
                  <a:pt x="5951746" y="6521015"/>
                </a:lnTo>
                <a:lnTo>
                  <a:pt x="5951746" y="6456694"/>
                </a:lnTo>
                <a:lnTo>
                  <a:pt x="5963606" y="6456694"/>
                </a:lnTo>
                <a:lnTo>
                  <a:pt x="5963606" y="6446927"/>
                </a:lnTo>
                <a:lnTo>
                  <a:pt x="5951746" y="6446927"/>
                </a:lnTo>
                <a:lnTo>
                  <a:pt x="5951746" y="6440090"/>
                </a:lnTo>
                <a:cubicBezTo>
                  <a:pt x="5951746" y="6435579"/>
                  <a:pt x="5952412" y="6432521"/>
                  <a:pt x="5953734" y="6430916"/>
                </a:cubicBezTo>
                <a:cubicBezTo>
                  <a:pt x="5955060" y="6429312"/>
                  <a:pt x="5957262" y="6428509"/>
                  <a:pt x="5960327" y="6428509"/>
                </a:cubicBezTo>
                <a:cubicBezTo>
                  <a:pt x="5962235" y="6428509"/>
                  <a:pt x="5964257" y="6428742"/>
                  <a:pt x="5966397" y="6429207"/>
                </a:cubicBezTo>
                <a:lnTo>
                  <a:pt x="5967205" y="6423469"/>
                </a:lnTo>
                <a:lnTo>
                  <a:pt x="5967205" y="6433183"/>
                </a:lnTo>
                <a:lnTo>
                  <a:pt x="5977462" y="6433183"/>
                </a:lnTo>
                <a:lnTo>
                  <a:pt x="5977462" y="6418742"/>
                </a:lnTo>
                <a:lnTo>
                  <a:pt x="5967872" y="6418742"/>
                </a:lnTo>
                <a:lnTo>
                  <a:pt x="5967933" y="6418324"/>
                </a:lnTo>
                <a:cubicBezTo>
                  <a:pt x="5964433" y="6417440"/>
                  <a:pt x="5961216" y="6416998"/>
                  <a:pt x="5958280"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1" y="6418918"/>
                  <a:pt x="5737086" y="6422897"/>
                </a:cubicBezTo>
                <a:cubicBezTo>
                  <a:pt x="5731080" y="6426876"/>
                  <a:pt x="5726321" y="6432763"/>
                  <a:pt x="5722805" y="6440559"/>
                </a:cubicBezTo>
                <a:cubicBezTo>
                  <a:pt x="5719290" y="6448354"/>
                  <a:pt x="5717534" y="6457883"/>
                  <a:pt x="5717534" y="6469146"/>
                </a:cubicBezTo>
                <a:cubicBezTo>
                  <a:pt x="5717534" y="6480548"/>
                  <a:pt x="5719288" y="6490438"/>
                  <a:pt x="5722800" y="6498815"/>
                </a:cubicBezTo>
                <a:cubicBezTo>
                  <a:pt x="5726311" y="6507192"/>
                  <a:pt x="5730823" y="6513277"/>
                  <a:pt x="5736335" y="6517070"/>
                </a:cubicBezTo>
                <a:cubicBezTo>
                  <a:pt x="5741846" y="6520863"/>
                  <a:pt x="5748485" y="6522759"/>
                  <a:pt x="5756253" y="6522759"/>
                </a:cubicBezTo>
                <a:cubicBezTo>
                  <a:pt x="5765089" y="6522759"/>
                  <a:pt x="5772589" y="6519934"/>
                  <a:pt x="5778751" y="6514283"/>
                </a:cubicBezTo>
                <a:cubicBezTo>
                  <a:pt x="5784913" y="6508632"/>
                  <a:pt x="5789228" y="6500063"/>
                  <a:pt x="5791692" y="6488575"/>
                </a:cubicBezTo>
                <a:lnTo>
                  <a:pt x="5780529" y="6485157"/>
                </a:lnTo>
                <a:cubicBezTo>
                  <a:pt x="5779042" y="6493901"/>
                  <a:pt x="5776100" y="6500423"/>
                  <a:pt x="5771703" y="6504726"/>
                </a:cubicBezTo>
                <a:cubicBezTo>
                  <a:pt x="5767310" y="6509028"/>
                  <a:pt x="5762088" y="6511179"/>
                  <a:pt x="5756044" y="6511179"/>
                </a:cubicBezTo>
                <a:cubicBezTo>
                  <a:pt x="5747858" y="6511179"/>
                  <a:pt x="5741300" y="6507676"/>
                  <a:pt x="5736369" y="6500671"/>
                </a:cubicBezTo>
                <a:cubicBezTo>
                  <a:pt x="5731440" y="6493665"/>
                  <a:pt x="5728974" y="6483157"/>
                  <a:pt x="5728974" y="6469145"/>
                </a:cubicBezTo>
                <a:cubicBezTo>
                  <a:pt x="5728974" y="6459883"/>
                  <a:pt x="5730198" y="6452226"/>
                  <a:pt x="5732644" y="6446175"/>
                </a:cubicBezTo>
                <a:cubicBezTo>
                  <a:pt x="5735088" y="6440123"/>
                  <a:pt x="5738360" y="6435666"/>
                  <a:pt x="5742457" y="6432804"/>
                </a:cubicBezTo>
                <a:cubicBezTo>
                  <a:pt x="5746557" y="6429941"/>
                  <a:pt x="5751400" y="6428509"/>
                  <a:pt x="5756988" y="6428509"/>
                </a:cubicBezTo>
                <a:cubicBezTo>
                  <a:pt x="5768213" y="6428509"/>
                  <a:pt x="5775687" y="6435602"/>
                  <a:pt x="5779412" y="6449787"/>
                </a:cubicBezTo>
                <a:lnTo>
                  <a:pt x="5790296" y="6446648"/>
                </a:lnTo>
                <a:cubicBezTo>
                  <a:pt x="5787969" y="6436903"/>
                  <a:pt x="5783896" y="6429514"/>
                  <a:pt x="5778076" y="6424480"/>
                </a:cubicBezTo>
                <a:cubicBezTo>
                  <a:pt x="5772257" y="6419446"/>
                  <a:pt x="5765297"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5" y="6415084"/>
                </a:moveTo>
                <a:lnTo>
                  <a:pt x="10873860" y="6415084"/>
                </a:lnTo>
                <a:cubicBezTo>
                  <a:pt x="10894306" y="6415084"/>
                  <a:pt x="10904530" y="6417923"/>
                  <a:pt x="10904530" y="6430343"/>
                </a:cubicBezTo>
                <a:cubicBezTo>
                  <a:pt x="10904530" y="6442408"/>
                  <a:pt x="10894306" y="6445247"/>
                  <a:pt x="10873860" y="6445247"/>
                </a:cubicBezTo>
                <a:lnTo>
                  <a:pt x="10831505" y="6445247"/>
                </a:lnTo>
                <a:close/>
                <a:moveTo>
                  <a:pt x="11108524" y="6410322"/>
                </a:moveTo>
                <a:cubicBezTo>
                  <a:pt x="11138470" y="6410322"/>
                  <a:pt x="11152180" y="6424698"/>
                  <a:pt x="11152180" y="6454961"/>
                </a:cubicBezTo>
                <a:cubicBezTo>
                  <a:pt x="11152180" y="6484847"/>
                  <a:pt x="11138470" y="6499222"/>
                  <a:pt x="11108524" y="6499222"/>
                </a:cubicBezTo>
                <a:cubicBezTo>
                  <a:pt x="11077856" y="6499222"/>
                  <a:pt x="11064867" y="6484847"/>
                  <a:pt x="11064867" y="6453827"/>
                </a:cubicBezTo>
                <a:cubicBezTo>
                  <a:pt x="11064867" y="6424698"/>
                  <a:pt x="11078938" y="6410322"/>
                  <a:pt x="11108524" y="6410322"/>
                </a:cubicBezTo>
                <a:close/>
                <a:moveTo>
                  <a:pt x="11212505" y="6391272"/>
                </a:moveTo>
                <a:lnTo>
                  <a:pt x="11212505" y="6518272"/>
                </a:lnTo>
                <a:lnTo>
                  <a:pt x="11246059" y="6518272"/>
                </a:lnTo>
                <a:lnTo>
                  <a:pt x="11246059" y="6422083"/>
                </a:lnTo>
                <a:lnTo>
                  <a:pt x="11315692" y="6518272"/>
                </a:lnTo>
                <a:lnTo>
                  <a:pt x="11355380" y="6518272"/>
                </a:lnTo>
                <a:lnTo>
                  <a:pt x="11355380" y="6391272"/>
                </a:lnTo>
                <a:lnTo>
                  <a:pt x="11322187" y="6391272"/>
                </a:lnTo>
                <a:lnTo>
                  <a:pt x="11322187" y="6482577"/>
                </a:lnTo>
                <a:lnTo>
                  <a:pt x="11255800" y="6391272"/>
                </a:lnTo>
                <a:close/>
                <a:moveTo>
                  <a:pt x="10968030" y="6391272"/>
                </a:moveTo>
                <a:lnTo>
                  <a:pt x="10968030" y="6518272"/>
                </a:lnTo>
                <a:lnTo>
                  <a:pt x="11002955" y="6518272"/>
                </a:lnTo>
                <a:lnTo>
                  <a:pt x="11002955" y="6391272"/>
                </a:lnTo>
                <a:close/>
                <a:moveTo>
                  <a:pt x="10798167" y="6391272"/>
                </a:moveTo>
                <a:lnTo>
                  <a:pt x="10798167" y="6518272"/>
                </a:lnTo>
                <a:lnTo>
                  <a:pt x="10832210" y="6518272"/>
                </a:lnTo>
                <a:lnTo>
                  <a:pt x="10832210" y="6468299"/>
                </a:lnTo>
                <a:lnTo>
                  <a:pt x="10871986" y="6468299"/>
                </a:lnTo>
                <a:lnTo>
                  <a:pt x="10907462" y="6518272"/>
                </a:lnTo>
                <a:lnTo>
                  <a:pt x="10945805" y="6518272"/>
                </a:lnTo>
                <a:lnTo>
                  <a:pt x="10905670" y="6465293"/>
                </a:lnTo>
                <a:cubicBezTo>
                  <a:pt x="10926454" y="6461536"/>
                  <a:pt x="10938280" y="6449136"/>
                  <a:pt x="10938280" y="6429598"/>
                </a:cubicBezTo>
                <a:cubicBezTo>
                  <a:pt x="10938280" y="6402920"/>
                  <a:pt x="10920004" y="6391272"/>
                  <a:pt x="10881661" y="6391272"/>
                </a:cubicBezTo>
                <a:close/>
                <a:moveTo>
                  <a:pt x="10728317" y="6391272"/>
                </a:moveTo>
                <a:lnTo>
                  <a:pt x="10728317" y="6518272"/>
                </a:lnTo>
                <a:lnTo>
                  <a:pt x="10763242" y="6518272"/>
                </a:lnTo>
                <a:lnTo>
                  <a:pt x="10763242" y="6391272"/>
                </a:lnTo>
                <a:close/>
                <a:moveTo>
                  <a:pt x="10604321" y="6391272"/>
                </a:moveTo>
                <a:cubicBezTo>
                  <a:pt x="10565734" y="6391272"/>
                  <a:pt x="10547342" y="6402544"/>
                  <a:pt x="10547342" y="6429973"/>
                </a:cubicBezTo>
                <a:cubicBezTo>
                  <a:pt x="10547342" y="6455524"/>
                  <a:pt x="10564291" y="6466420"/>
                  <a:pt x="10601436" y="6466420"/>
                </a:cubicBezTo>
                <a:lnTo>
                  <a:pt x="10641466" y="6466420"/>
                </a:lnTo>
                <a:cubicBezTo>
                  <a:pt x="10658055" y="6466420"/>
                  <a:pt x="10665628" y="6469802"/>
                  <a:pt x="10665628" y="6481074"/>
                </a:cubicBezTo>
                <a:cubicBezTo>
                  <a:pt x="10665628" y="6491970"/>
                  <a:pt x="10657333" y="6495352"/>
                  <a:pt x="10639302" y="6495352"/>
                </a:cubicBezTo>
                <a:lnTo>
                  <a:pt x="10553833" y="6495352"/>
                </a:lnTo>
                <a:lnTo>
                  <a:pt x="10553833" y="6518272"/>
                </a:lnTo>
                <a:lnTo>
                  <a:pt x="10644711" y="6518272"/>
                </a:lnTo>
                <a:cubicBezTo>
                  <a:pt x="10682938" y="6518272"/>
                  <a:pt x="10701330" y="6507000"/>
                  <a:pt x="10701330" y="6480323"/>
                </a:cubicBezTo>
                <a:cubicBezTo>
                  <a:pt x="10701330" y="6453645"/>
                  <a:pt x="10685823" y="6444252"/>
                  <a:pt x="10649760" y="6444252"/>
                </a:cubicBezTo>
                <a:lnTo>
                  <a:pt x="10604321" y="6444252"/>
                </a:lnTo>
                <a:cubicBezTo>
                  <a:pt x="10590257" y="6444252"/>
                  <a:pt x="10583044" y="6439743"/>
                  <a:pt x="10583044" y="6430349"/>
                </a:cubicBezTo>
                <a:cubicBezTo>
                  <a:pt x="10583044" y="6418701"/>
                  <a:pt x="10591339" y="6413817"/>
                  <a:pt x="10609009" y="6413817"/>
                </a:cubicBezTo>
                <a:lnTo>
                  <a:pt x="10693396" y="6413817"/>
                </a:lnTo>
                <a:lnTo>
                  <a:pt x="10693396" y="6391272"/>
                </a:lnTo>
                <a:close/>
                <a:moveTo>
                  <a:pt x="10490061" y="6391272"/>
                </a:moveTo>
                <a:lnTo>
                  <a:pt x="10490061" y="6482682"/>
                </a:lnTo>
                <a:lnTo>
                  <a:pt x="10423841" y="6391647"/>
                </a:lnTo>
                <a:lnTo>
                  <a:pt x="10380655" y="6391647"/>
                </a:lnTo>
                <a:lnTo>
                  <a:pt x="10380655" y="6518272"/>
                </a:lnTo>
                <a:lnTo>
                  <a:pt x="10414124" y="6518272"/>
                </a:lnTo>
                <a:lnTo>
                  <a:pt x="10414124" y="6422367"/>
                </a:lnTo>
                <a:lnTo>
                  <a:pt x="10483942" y="6518272"/>
                </a:lnTo>
                <a:lnTo>
                  <a:pt x="10523170" y="6518272"/>
                </a:lnTo>
                <a:lnTo>
                  <a:pt x="10523530" y="6391272"/>
                </a:lnTo>
                <a:close/>
                <a:moveTo>
                  <a:pt x="10293755" y="6391272"/>
                </a:moveTo>
                <a:cubicBezTo>
                  <a:pt x="10241355" y="6391272"/>
                  <a:pt x="10217142" y="6411938"/>
                  <a:pt x="10217142" y="6457027"/>
                </a:cubicBezTo>
                <a:cubicBezTo>
                  <a:pt x="10217142" y="6479947"/>
                  <a:pt x="10225454" y="6496479"/>
                  <a:pt x="10242077" y="6507000"/>
                </a:cubicBezTo>
                <a:cubicBezTo>
                  <a:pt x="10257978" y="6516769"/>
                  <a:pt x="10273156" y="6518272"/>
                  <a:pt x="10293032" y="6518272"/>
                </a:cubicBezTo>
                <a:lnTo>
                  <a:pt x="10350492" y="6518272"/>
                </a:lnTo>
                <a:lnTo>
                  <a:pt x="10350492" y="6496104"/>
                </a:lnTo>
                <a:lnTo>
                  <a:pt x="10294478" y="6496104"/>
                </a:lnTo>
                <a:cubicBezTo>
                  <a:pt x="10267374" y="6496104"/>
                  <a:pt x="10255810" y="6487837"/>
                  <a:pt x="10255810" y="6464917"/>
                </a:cubicBezTo>
                <a:lnTo>
                  <a:pt x="10350492" y="6464917"/>
                </a:lnTo>
                <a:lnTo>
                  <a:pt x="10350492" y="6442749"/>
                </a:lnTo>
                <a:lnTo>
                  <a:pt x="10255810" y="6442749"/>
                </a:lnTo>
                <a:cubicBezTo>
                  <a:pt x="10257255" y="6422834"/>
                  <a:pt x="10269904" y="6413441"/>
                  <a:pt x="10294478" y="6413441"/>
                </a:cubicBezTo>
                <a:lnTo>
                  <a:pt x="10350492" y="6413441"/>
                </a:lnTo>
                <a:lnTo>
                  <a:pt x="10350492" y="6391272"/>
                </a:lnTo>
                <a:close/>
                <a:moveTo>
                  <a:pt x="10104126" y="6391272"/>
                </a:moveTo>
                <a:cubicBezTo>
                  <a:pt x="10065629" y="6391272"/>
                  <a:pt x="10047280" y="6402544"/>
                  <a:pt x="10047280" y="6429973"/>
                </a:cubicBezTo>
                <a:cubicBezTo>
                  <a:pt x="10047280" y="6455524"/>
                  <a:pt x="10064190" y="6466420"/>
                  <a:pt x="10101248" y="6466420"/>
                </a:cubicBezTo>
                <a:lnTo>
                  <a:pt x="10141184" y="6466420"/>
                </a:lnTo>
                <a:cubicBezTo>
                  <a:pt x="10157734" y="6466420"/>
                  <a:pt x="10165649" y="6469802"/>
                  <a:pt x="10165649" y="6481074"/>
                </a:cubicBezTo>
                <a:cubicBezTo>
                  <a:pt x="10165649" y="6491970"/>
                  <a:pt x="10157014" y="6495352"/>
                  <a:pt x="10139025" y="6495352"/>
                </a:cubicBezTo>
                <a:lnTo>
                  <a:pt x="10053756" y="6495352"/>
                </a:lnTo>
                <a:lnTo>
                  <a:pt x="10053756" y="6518272"/>
                </a:lnTo>
                <a:lnTo>
                  <a:pt x="10144422" y="6518272"/>
                </a:lnTo>
                <a:cubicBezTo>
                  <a:pt x="10182919" y="6518272"/>
                  <a:pt x="10201268" y="6507000"/>
                  <a:pt x="10201268" y="6480323"/>
                </a:cubicBezTo>
                <a:cubicBezTo>
                  <a:pt x="10201268" y="6453645"/>
                  <a:pt x="10185437" y="6444252"/>
                  <a:pt x="10149459" y="6444252"/>
                </a:cubicBezTo>
                <a:lnTo>
                  <a:pt x="10104486" y="6444252"/>
                </a:lnTo>
                <a:cubicBezTo>
                  <a:pt x="10090094" y="6444252"/>
                  <a:pt x="10082899" y="6439743"/>
                  <a:pt x="10082899" y="6430349"/>
                </a:cubicBezTo>
                <a:cubicBezTo>
                  <a:pt x="10082899" y="6418701"/>
                  <a:pt x="10091174" y="6413817"/>
                  <a:pt x="10109163" y="6413817"/>
                </a:cubicBezTo>
                <a:lnTo>
                  <a:pt x="10193353" y="6413817"/>
                </a:lnTo>
                <a:lnTo>
                  <a:pt x="10193353" y="6391272"/>
                </a:lnTo>
                <a:close/>
                <a:moveTo>
                  <a:pt x="11099976" y="6389684"/>
                </a:moveTo>
                <a:cubicBezTo>
                  <a:pt x="11050930" y="6391539"/>
                  <a:pt x="11026767" y="6412307"/>
                  <a:pt x="11026767" y="6453474"/>
                </a:cubicBezTo>
                <a:cubicBezTo>
                  <a:pt x="11026767" y="6498720"/>
                  <a:pt x="11052011" y="6519859"/>
                  <a:pt x="11107910" y="6519859"/>
                </a:cubicBezTo>
                <a:cubicBezTo>
                  <a:pt x="11163087" y="6519859"/>
                  <a:pt x="11188692" y="6498720"/>
                  <a:pt x="11188692" y="6454586"/>
                </a:cubicBezTo>
                <a:cubicBezTo>
                  <a:pt x="11188692" y="6412307"/>
                  <a:pt x="11165611" y="6391539"/>
                  <a:pt x="11115844" y="6389684"/>
                </a:cubicBezTo>
                <a:close/>
                <a:moveTo>
                  <a:pt x="0" y="0"/>
                </a:moveTo>
                <a:lnTo>
                  <a:pt x="12188817" y="0"/>
                </a:lnTo>
                <a:lnTo>
                  <a:pt x="12188817" y="3067874"/>
                </a:lnTo>
                <a:lnTo>
                  <a:pt x="12188817" y="3141660"/>
                </a:lnTo>
                <a:lnTo>
                  <a:pt x="12188817" y="6237284"/>
                </a:lnTo>
                <a:lnTo>
                  <a:pt x="12188817" y="6282150"/>
                </a:lnTo>
                <a:lnTo>
                  <a:pt x="12188817" y="6857997"/>
                </a:lnTo>
                <a:lnTo>
                  <a:pt x="0" y="6857997"/>
                </a:lnTo>
                <a:close/>
              </a:path>
            </a:pathLst>
          </a:custGeom>
          <a:noFill/>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en-US" dirty="0"/>
          </a:p>
        </p:txBody>
      </p:sp>
      <p:sp>
        <p:nvSpPr>
          <p:cNvPr id="4" name="Textplatzhalter 3"/>
          <p:cNvSpPr>
            <a:spLocks noGrp="1"/>
          </p:cNvSpPr>
          <p:nvPr>
            <p:ph type="body" sz="quarter" idx="10" hasCustomPrompt="1"/>
          </p:nvPr>
        </p:nvSpPr>
        <p:spPr>
          <a:xfrm>
            <a:off x="6211925"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dirty="0"/>
              <a:t>Add text (make this text bold if it should be a subtitle) / </a:t>
            </a:r>
            <a:r>
              <a:rPr lang="de-CH" noProof="0" dirty="0"/>
              <a:t>Text hinzufügen (bei einem Untertitel kann der Text fett gemacht werden)</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 / </a:t>
            </a:r>
            <a:r>
              <a:rPr lang="en-US" noProof="0" dirty="0" err="1"/>
              <a:t>Titel</a:t>
            </a:r>
            <a:r>
              <a:rPr lang="en-US" noProof="0" dirty="0"/>
              <a:t> </a:t>
            </a:r>
            <a:r>
              <a:rPr lang="en-US" noProof="0" dirty="0" err="1"/>
              <a:t>hinzufügen</a:t>
            </a:r>
            <a:r>
              <a:rPr lang="en-US" noProof="0" dirty="0"/>
              <a:t> </a:t>
            </a:r>
          </a:p>
        </p:txBody>
      </p:sp>
      <p:sp>
        <p:nvSpPr>
          <p:cNvPr id="2" name="Foliennummernplatzhalter 1">
            <a:extLst>
              <a:ext uri="{FF2B5EF4-FFF2-40B4-BE49-F238E27FC236}">
                <a16:creationId xmlns:a16="http://schemas.microsoft.com/office/drawing/2014/main" id="{71406AED-DD5D-4B1A-A9D0-79DC92F588B0}"/>
              </a:ext>
            </a:extLst>
          </p:cNvPr>
          <p:cNvSpPr>
            <a:spLocks noGrp="1"/>
          </p:cNvSpPr>
          <p:nvPr>
            <p:ph type="sldNum" sz="quarter" idx="15"/>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4199932455"/>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13" name="Gruppieren 12">
            <a:extLst>
              <a:ext uri="{FF2B5EF4-FFF2-40B4-BE49-F238E27FC236}">
                <a16:creationId xmlns:a16="http://schemas.microsoft.com/office/drawing/2014/main" id="{906009DE-D329-49BF-8615-66D00944F9C7}"/>
              </a:ext>
            </a:extLst>
          </p:cNvPr>
          <p:cNvGrpSpPr/>
          <p:nvPr userDrawn="1"/>
        </p:nvGrpSpPr>
        <p:grpSpPr>
          <a:xfrm>
            <a:off x="731952" y="6335059"/>
            <a:ext cx="10728097" cy="288001"/>
            <a:chOff x="731952" y="6335059"/>
            <a:chExt cx="10728097" cy="288001"/>
          </a:xfrm>
        </p:grpSpPr>
        <p:sp>
          <p:nvSpPr>
            <p:cNvPr id="14" name="Rechteck 13">
              <a:extLst>
                <a:ext uri="{FF2B5EF4-FFF2-40B4-BE49-F238E27FC236}">
                  <a16:creationId xmlns:a16="http://schemas.microsoft.com/office/drawing/2014/main" id="{205F7CF4-E508-4A3F-B067-98D56CDC106E}"/>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hteck 14">
              <a:extLst>
                <a:ext uri="{FF2B5EF4-FFF2-40B4-BE49-F238E27FC236}">
                  <a16:creationId xmlns:a16="http://schemas.microsoft.com/office/drawing/2014/main" id="{C07DCEA7-4DDC-41F8-8103-3A03B48957AD}"/>
                </a:ext>
              </a:extLst>
            </p:cNvPr>
            <p:cNvSpPr/>
            <p:nvPr userDrawn="1"/>
          </p:nvSpPr>
          <p:spPr>
            <a:xfrm>
              <a:off x="9959547" y="6345196"/>
              <a:ext cx="1500502" cy="277864"/>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Freihandform: Form 15">
            <a:extLst>
              <a:ext uri="{FF2B5EF4-FFF2-40B4-BE49-F238E27FC236}">
                <a16:creationId xmlns:a16="http://schemas.microsoft.com/office/drawing/2014/main" id="{7453F4FF-2834-4B03-8C6D-56CD163CBBEE}"/>
              </a:ext>
            </a:extLst>
          </p:cNvPr>
          <p:cNvSpPr>
            <a:spLocks noGrp="1"/>
          </p:cNvSpPr>
          <p:nvPr>
            <p:ph type="pic" sz="quarter" idx="14"/>
          </p:nvPr>
        </p:nvSpPr>
        <p:spPr>
          <a:xfrm>
            <a:off x="9" y="4"/>
            <a:ext cx="12188817" cy="6857997"/>
          </a:xfrm>
          <a:custGeom>
            <a:avLst/>
            <a:gdLst>
              <a:gd name="connsiteX0" fmla="*/ 2164817 w 12188817"/>
              <a:gd name="connsiteY0" fmla="*/ 6506714 h 6857997"/>
              <a:gd name="connsiteX1" fmla="*/ 2164817 w 12188817"/>
              <a:gd name="connsiteY1" fmla="*/ 6521015 h 6857997"/>
              <a:gd name="connsiteX2" fmla="*/ 2170608 w 12188817"/>
              <a:gd name="connsiteY2" fmla="*/ 6521015 h 6857997"/>
              <a:gd name="connsiteX3" fmla="*/ 2168864 w 12188817"/>
              <a:gd name="connsiteY3" fmla="*/ 6530887 h 6857997"/>
              <a:gd name="connsiteX4" fmla="*/ 2164120 w 12188817"/>
              <a:gd name="connsiteY4" fmla="*/ 6535875 h 6857997"/>
              <a:gd name="connsiteX5" fmla="*/ 2166980 w 12188817"/>
              <a:gd name="connsiteY5" fmla="*/ 6541247 h 6857997"/>
              <a:gd name="connsiteX6" fmla="*/ 2174096 w 12188817"/>
              <a:gd name="connsiteY6" fmla="*/ 6534026 h 6857997"/>
              <a:gd name="connsiteX7" fmla="*/ 2176538 w 12188817"/>
              <a:gd name="connsiteY7" fmla="*/ 6521015 h 6857997"/>
              <a:gd name="connsiteX8" fmla="*/ 2176538 w 12188817"/>
              <a:gd name="connsiteY8" fmla="*/ 6506714 h 6857997"/>
              <a:gd name="connsiteX9" fmla="*/ 6291674 w 12188817"/>
              <a:gd name="connsiteY9" fmla="*/ 6483831 h 6857997"/>
              <a:gd name="connsiteX10" fmla="*/ 6291674 w 12188817"/>
              <a:gd name="connsiteY10" fmla="*/ 6488436 h 6857997"/>
              <a:gd name="connsiteX11" fmla="*/ 6289442 w 12188817"/>
              <a:gd name="connsiteY11" fmla="*/ 6502354 h 6857997"/>
              <a:gd name="connsiteX12" fmla="*/ 6282709 w 12188817"/>
              <a:gd name="connsiteY12" fmla="*/ 6509993 h 6857997"/>
              <a:gd name="connsiteX13" fmla="*/ 6272698 w 12188817"/>
              <a:gd name="connsiteY13" fmla="*/ 6512853 h 6857997"/>
              <a:gd name="connsiteX14" fmla="*/ 6263629 w 12188817"/>
              <a:gd name="connsiteY14" fmla="*/ 6509679 h 6857997"/>
              <a:gd name="connsiteX15" fmla="*/ 6260350 w 12188817"/>
              <a:gd name="connsiteY15" fmla="*/ 6501203 h 6857997"/>
              <a:gd name="connsiteX16" fmla="*/ 6261780 w 12188817"/>
              <a:gd name="connsiteY16" fmla="*/ 6495168 h 6857997"/>
              <a:gd name="connsiteX17" fmla="*/ 6265792 w 12188817"/>
              <a:gd name="connsiteY17" fmla="*/ 6491122 h 6857997"/>
              <a:gd name="connsiteX18" fmla="*/ 6274861 w 12188817"/>
              <a:gd name="connsiteY18" fmla="*/ 6488575 h 6857997"/>
              <a:gd name="connsiteX19" fmla="*/ 6291674 w 12188817"/>
              <a:gd name="connsiteY19" fmla="*/ 6483831 h 6857997"/>
              <a:gd name="connsiteX20" fmla="*/ 2657736 w 12188817"/>
              <a:gd name="connsiteY20" fmla="*/ 6483831 h 6857997"/>
              <a:gd name="connsiteX21" fmla="*/ 2657736 w 12188817"/>
              <a:gd name="connsiteY21" fmla="*/ 6488436 h 6857997"/>
              <a:gd name="connsiteX22" fmla="*/ 2655504 w 12188817"/>
              <a:gd name="connsiteY22" fmla="*/ 6502354 h 6857997"/>
              <a:gd name="connsiteX23" fmla="*/ 2648771 w 12188817"/>
              <a:gd name="connsiteY23" fmla="*/ 6509993 h 6857997"/>
              <a:gd name="connsiteX24" fmla="*/ 2638760 w 12188817"/>
              <a:gd name="connsiteY24" fmla="*/ 6512853 h 6857997"/>
              <a:gd name="connsiteX25" fmla="*/ 2629691 w 12188817"/>
              <a:gd name="connsiteY25" fmla="*/ 6509679 h 6857997"/>
              <a:gd name="connsiteX26" fmla="*/ 2626412 w 12188817"/>
              <a:gd name="connsiteY26" fmla="*/ 6501203 h 6857997"/>
              <a:gd name="connsiteX27" fmla="*/ 2627843 w 12188817"/>
              <a:gd name="connsiteY27" fmla="*/ 6495168 h 6857997"/>
              <a:gd name="connsiteX28" fmla="*/ 2631854 w 12188817"/>
              <a:gd name="connsiteY28" fmla="*/ 6491122 h 6857997"/>
              <a:gd name="connsiteX29" fmla="*/ 2640923 w 12188817"/>
              <a:gd name="connsiteY29" fmla="*/ 6488575 h 6857997"/>
              <a:gd name="connsiteX30" fmla="*/ 2657736 w 12188817"/>
              <a:gd name="connsiteY30" fmla="*/ 6483831 h 6857997"/>
              <a:gd name="connsiteX31" fmla="*/ 6087291 w 12188817"/>
              <a:gd name="connsiteY31" fmla="*/ 6455577 h 6857997"/>
              <a:gd name="connsiteX32" fmla="*/ 6099918 w 12188817"/>
              <a:gd name="connsiteY32" fmla="*/ 6462484 h 6857997"/>
              <a:gd name="connsiteX33" fmla="*/ 6104034 w 12188817"/>
              <a:gd name="connsiteY33" fmla="*/ 6476855 h 6857997"/>
              <a:gd name="connsiteX34" fmla="*/ 6070131 w 12188817"/>
              <a:gd name="connsiteY34" fmla="*/ 6476855 h 6857997"/>
              <a:gd name="connsiteX35" fmla="*/ 6075502 w 12188817"/>
              <a:gd name="connsiteY35" fmla="*/ 6461333 h 6857997"/>
              <a:gd name="connsiteX36" fmla="*/ 6087291 w 12188817"/>
              <a:gd name="connsiteY36" fmla="*/ 6455577 h 6857997"/>
              <a:gd name="connsiteX37" fmla="*/ 6018394 w 12188817"/>
              <a:gd name="connsiteY37" fmla="*/ 6455577 h 6857997"/>
              <a:gd name="connsiteX38" fmla="*/ 6030544 w 12188817"/>
              <a:gd name="connsiteY38" fmla="*/ 6462728 h 6857997"/>
              <a:gd name="connsiteX39" fmla="*/ 6035357 w 12188817"/>
              <a:gd name="connsiteY39" fmla="*/ 6485436 h 6857997"/>
              <a:gd name="connsiteX40" fmla="*/ 6030544 w 12188817"/>
              <a:gd name="connsiteY40" fmla="*/ 6505667 h 6857997"/>
              <a:gd name="connsiteX41" fmla="*/ 6019162 w 12188817"/>
              <a:gd name="connsiteY41" fmla="*/ 6512365 h 6857997"/>
              <a:gd name="connsiteX42" fmla="*/ 6007540 w 12188817"/>
              <a:gd name="connsiteY42" fmla="*/ 6505388 h 6857997"/>
              <a:gd name="connsiteX43" fmla="*/ 6002550 w 12188817"/>
              <a:gd name="connsiteY43" fmla="*/ 6484041 h 6857997"/>
              <a:gd name="connsiteX44" fmla="*/ 6007226 w 12188817"/>
              <a:gd name="connsiteY44" fmla="*/ 6462449 h 6857997"/>
              <a:gd name="connsiteX45" fmla="*/ 6018394 w 12188817"/>
              <a:gd name="connsiteY45" fmla="*/ 6455577 h 6857997"/>
              <a:gd name="connsiteX46" fmla="*/ 5829559 w 12188817"/>
              <a:gd name="connsiteY46" fmla="*/ 6455577 h 6857997"/>
              <a:gd name="connsiteX47" fmla="*/ 5842534 w 12188817"/>
              <a:gd name="connsiteY47" fmla="*/ 6462597 h 6857997"/>
              <a:gd name="connsiteX48" fmla="*/ 5847769 w 12188817"/>
              <a:gd name="connsiteY48" fmla="*/ 6483936 h 6857997"/>
              <a:gd name="connsiteX49" fmla="*/ 5842571 w 12188817"/>
              <a:gd name="connsiteY49" fmla="*/ 6505275 h 6857997"/>
              <a:gd name="connsiteX50" fmla="*/ 5830117 w 12188817"/>
              <a:gd name="connsiteY50" fmla="*/ 6512365 h 6857997"/>
              <a:gd name="connsiteX51" fmla="*/ 5817142 w 12188817"/>
              <a:gd name="connsiteY51" fmla="*/ 6505345 h 6857997"/>
              <a:gd name="connsiteX52" fmla="*/ 5811909 w 12188817"/>
              <a:gd name="connsiteY52" fmla="*/ 6483936 h 6857997"/>
              <a:gd name="connsiteX53" fmla="*/ 5817070 w 12188817"/>
              <a:gd name="connsiteY53" fmla="*/ 6462632 h 6857997"/>
              <a:gd name="connsiteX54" fmla="*/ 5829559 w 12188817"/>
              <a:gd name="connsiteY54" fmla="*/ 6455577 h 6857997"/>
              <a:gd name="connsiteX55" fmla="*/ 2774981 w 12188817"/>
              <a:gd name="connsiteY55" fmla="*/ 6455577 h 6857997"/>
              <a:gd name="connsiteX56" fmla="*/ 2787127 w 12188817"/>
              <a:gd name="connsiteY56" fmla="*/ 6462728 h 6857997"/>
              <a:gd name="connsiteX57" fmla="*/ 2791944 w 12188817"/>
              <a:gd name="connsiteY57" fmla="*/ 6485436 h 6857997"/>
              <a:gd name="connsiteX58" fmla="*/ 2787127 w 12188817"/>
              <a:gd name="connsiteY58" fmla="*/ 6505667 h 6857997"/>
              <a:gd name="connsiteX59" fmla="*/ 2775749 w 12188817"/>
              <a:gd name="connsiteY59" fmla="*/ 6512365 h 6857997"/>
              <a:gd name="connsiteX60" fmla="*/ 2764126 w 12188817"/>
              <a:gd name="connsiteY60" fmla="*/ 6505388 h 6857997"/>
              <a:gd name="connsiteX61" fmla="*/ 2759134 w 12188817"/>
              <a:gd name="connsiteY61" fmla="*/ 6484041 h 6857997"/>
              <a:gd name="connsiteX62" fmla="*/ 2763811 w 12188817"/>
              <a:gd name="connsiteY62" fmla="*/ 6462449 h 6857997"/>
              <a:gd name="connsiteX63" fmla="*/ 2774981 w 12188817"/>
              <a:gd name="connsiteY63" fmla="*/ 6455577 h 6857997"/>
              <a:gd name="connsiteX64" fmla="*/ 2510503 w 12188817"/>
              <a:gd name="connsiteY64" fmla="*/ 6455577 h 6857997"/>
              <a:gd name="connsiteX65" fmla="*/ 2523130 w 12188817"/>
              <a:gd name="connsiteY65" fmla="*/ 6462484 h 6857997"/>
              <a:gd name="connsiteX66" fmla="*/ 2527246 w 12188817"/>
              <a:gd name="connsiteY66" fmla="*/ 6476855 h 6857997"/>
              <a:gd name="connsiteX67" fmla="*/ 2493341 w 12188817"/>
              <a:gd name="connsiteY67" fmla="*/ 6476855 h 6857997"/>
              <a:gd name="connsiteX68" fmla="*/ 2498713 w 12188817"/>
              <a:gd name="connsiteY68" fmla="*/ 6461333 h 6857997"/>
              <a:gd name="connsiteX69" fmla="*/ 2510503 w 12188817"/>
              <a:gd name="connsiteY69" fmla="*/ 6455577 h 6857997"/>
              <a:gd name="connsiteX70" fmla="*/ 1871770 w 12188817"/>
              <a:gd name="connsiteY70" fmla="*/ 6455577 h 6857997"/>
              <a:gd name="connsiteX71" fmla="*/ 1884746 w 12188817"/>
              <a:gd name="connsiteY71" fmla="*/ 6462597 h 6857997"/>
              <a:gd name="connsiteX72" fmla="*/ 1889978 w 12188817"/>
              <a:gd name="connsiteY72" fmla="*/ 6483936 h 6857997"/>
              <a:gd name="connsiteX73" fmla="*/ 1884781 w 12188817"/>
              <a:gd name="connsiteY73" fmla="*/ 6505275 h 6857997"/>
              <a:gd name="connsiteX74" fmla="*/ 1872328 w 12188817"/>
              <a:gd name="connsiteY74" fmla="*/ 6512365 h 6857997"/>
              <a:gd name="connsiteX75" fmla="*/ 1859352 w 12188817"/>
              <a:gd name="connsiteY75" fmla="*/ 6505345 h 6857997"/>
              <a:gd name="connsiteX76" fmla="*/ 1854120 w 12188817"/>
              <a:gd name="connsiteY76" fmla="*/ 6483936 h 6857997"/>
              <a:gd name="connsiteX77" fmla="*/ 1859282 w 12188817"/>
              <a:gd name="connsiteY77" fmla="*/ 6462632 h 6857997"/>
              <a:gd name="connsiteX78" fmla="*/ 1871770 w 12188817"/>
              <a:gd name="connsiteY78" fmla="*/ 6455577 h 6857997"/>
              <a:gd name="connsiteX79" fmla="*/ 1586578 w 12188817"/>
              <a:gd name="connsiteY79" fmla="*/ 6455577 h 6857997"/>
              <a:gd name="connsiteX80" fmla="*/ 1599205 w 12188817"/>
              <a:gd name="connsiteY80" fmla="*/ 6462484 h 6857997"/>
              <a:gd name="connsiteX81" fmla="*/ 1603321 w 12188817"/>
              <a:gd name="connsiteY81" fmla="*/ 6476855 h 6857997"/>
              <a:gd name="connsiteX82" fmla="*/ 1569416 w 12188817"/>
              <a:gd name="connsiteY82" fmla="*/ 6476855 h 6857997"/>
              <a:gd name="connsiteX83" fmla="*/ 1574788 w 12188817"/>
              <a:gd name="connsiteY83" fmla="*/ 6461333 h 6857997"/>
              <a:gd name="connsiteX84" fmla="*/ 1586578 w 12188817"/>
              <a:gd name="connsiteY84" fmla="*/ 6455577 h 6857997"/>
              <a:gd name="connsiteX85" fmla="*/ 1317679 w 12188817"/>
              <a:gd name="connsiteY85" fmla="*/ 6455577 h 6857997"/>
              <a:gd name="connsiteX86" fmla="*/ 1329914 w 12188817"/>
              <a:gd name="connsiteY86" fmla="*/ 6462397 h 6857997"/>
              <a:gd name="connsiteX87" fmla="*/ 1334947 w 12188817"/>
              <a:gd name="connsiteY87" fmla="*/ 6483204 h 6857997"/>
              <a:gd name="connsiteX88" fmla="*/ 1330053 w 12188817"/>
              <a:gd name="connsiteY88" fmla="*/ 6504116 h 6857997"/>
              <a:gd name="connsiteX89" fmla="*/ 1318169 w 12188817"/>
              <a:gd name="connsiteY89" fmla="*/ 6510690 h 6857997"/>
              <a:gd name="connsiteX90" fmla="*/ 1306354 w 12188817"/>
              <a:gd name="connsiteY90" fmla="*/ 6503976 h 6857997"/>
              <a:gd name="connsiteX91" fmla="*/ 1301530 w 12188817"/>
              <a:gd name="connsiteY91" fmla="*/ 6482644 h 6857997"/>
              <a:gd name="connsiteX92" fmla="*/ 1306389 w 12188817"/>
              <a:gd name="connsiteY92" fmla="*/ 6462397 h 6857997"/>
              <a:gd name="connsiteX93" fmla="*/ 1317679 w 12188817"/>
              <a:gd name="connsiteY93" fmla="*/ 6455577 h 6857997"/>
              <a:gd name="connsiteX94" fmla="*/ 1071670 w 12188817"/>
              <a:gd name="connsiteY94" fmla="*/ 6455577 h 6857997"/>
              <a:gd name="connsiteX95" fmla="*/ 1084646 w 12188817"/>
              <a:gd name="connsiteY95" fmla="*/ 6462597 h 6857997"/>
              <a:gd name="connsiteX96" fmla="*/ 1089878 w 12188817"/>
              <a:gd name="connsiteY96" fmla="*/ 6483936 h 6857997"/>
              <a:gd name="connsiteX97" fmla="*/ 1084681 w 12188817"/>
              <a:gd name="connsiteY97" fmla="*/ 6505275 h 6857997"/>
              <a:gd name="connsiteX98" fmla="*/ 1072228 w 12188817"/>
              <a:gd name="connsiteY98" fmla="*/ 6512365 h 6857997"/>
              <a:gd name="connsiteX99" fmla="*/ 1059252 w 12188817"/>
              <a:gd name="connsiteY99" fmla="*/ 6505345 h 6857997"/>
              <a:gd name="connsiteX100" fmla="*/ 1054020 w 12188817"/>
              <a:gd name="connsiteY100" fmla="*/ 6483936 h 6857997"/>
              <a:gd name="connsiteX101" fmla="*/ 1059182 w 12188817"/>
              <a:gd name="connsiteY101" fmla="*/ 6462632 h 6857997"/>
              <a:gd name="connsiteX102" fmla="*/ 1071670 w 12188817"/>
              <a:gd name="connsiteY102" fmla="*/ 6455577 h 6857997"/>
              <a:gd name="connsiteX103" fmla="*/ 1139782 w 12188817"/>
              <a:gd name="connsiteY103" fmla="*/ 6455089 h 6857997"/>
              <a:gd name="connsiteX104" fmla="*/ 1151472 w 12188817"/>
              <a:gd name="connsiteY104" fmla="*/ 6462065 h 6857997"/>
              <a:gd name="connsiteX105" fmla="*/ 1156274 w 12188817"/>
              <a:gd name="connsiteY105" fmla="*/ 6483552 h 6857997"/>
              <a:gd name="connsiteX106" fmla="*/ 1151334 w 12188817"/>
              <a:gd name="connsiteY106" fmla="*/ 6505319 h 6857997"/>
              <a:gd name="connsiteX107" fmla="*/ 1139852 w 12188817"/>
              <a:gd name="connsiteY107" fmla="*/ 6512365 h 6857997"/>
              <a:gd name="connsiteX108" fmla="*/ 1128229 w 12188817"/>
              <a:gd name="connsiteY108" fmla="*/ 6505563 h 6857997"/>
              <a:gd name="connsiteX109" fmla="*/ 1123428 w 12188817"/>
              <a:gd name="connsiteY109" fmla="*/ 6484390 h 6857997"/>
              <a:gd name="connsiteX110" fmla="*/ 1128508 w 12188817"/>
              <a:gd name="connsiteY110" fmla="*/ 6462589 h 6857997"/>
              <a:gd name="connsiteX111" fmla="*/ 1139782 w 12188817"/>
              <a:gd name="connsiteY111" fmla="*/ 6455089 h 6857997"/>
              <a:gd name="connsiteX112" fmla="*/ 6224380 w 12188817"/>
              <a:gd name="connsiteY112" fmla="*/ 6446927 h 6857997"/>
              <a:gd name="connsiteX113" fmla="*/ 6224380 w 12188817"/>
              <a:gd name="connsiteY113" fmla="*/ 6521015 h 6857997"/>
              <a:gd name="connsiteX114" fmla="*/ 6234636 w 12188817"/>
              <a:gd name="connsiteY114" fmla="*/ 6521015 h 6857997"/>
              <a:gd name="connsiteX115" fmla="*/ 6234636 w 12188817"/>
              <a:gd name="connsiteY115" fmla="*/ 6446927 h 6857997"/>
              <a:gd name="connsiteX116" fmla="*/ 5967205 w 12188817"/>
              <a:gd name="connsiteY116" fmla="*/ 6446927 h 6857997"/>
              <a:gd name="connsiteX117" fmla="*/ 5967205 w 12188817"/>
              <a:gd name="connsiteY117" fmla="*/ 6521015 h 6857997"/>
              <a:gd name="connsiteX118" fmla="*/ 5977462 w 12188817"/>
              <a:gd name="connsiteY118" fmla="*/ 6521015 h 6857997"/>
              <a:gd name="connsiteX119" fmla="*/ 5977462 w 12188817"/>
              <a:gd name="connsiteY119" fmla="*/ 6446927 h 6857997"/>
              <a:gd name="connsiteX120" fmla="*/ 2380892 w 12188817"/>
              <a:gd name="connsiteY120" fmla="*/ 6446927 h 6857997"/>
              <a:gd name="connsiteX121" fmla="*/ 2380892 w 12188817"/>
              <a:gd name="connsiteY121" fmla="*/ 6521015 h 6857997"/>
              <a:gd name="connsiteX122" fmla="*/ 2391148 w 12188817"/>
              <a:gd name="connsiteY122" fmla="*/ 6521015 h 6857997"/>
              <a:gd name="connsiteX123" fmla="*/ 2391148 w 12188817"/>
              <a:gd name="connsiteY123" fmla="*/ 6446927 h 6857997"/>
              <a:gd name="connsiteX124" fmla="*/ 2287703 w 12188817"/>
              <a:gd name="connsiteY124" fmla="*/ 6446927 h 6857997"/>
              <a:gd name="connsiteX125" fmla="*/ 2306367 w 12188817"/>
              <a:gd name="connsiteY125" fmla="*/ 6521015 h 6857997"/>
              <a:gd name="connsiteX126" fmla="*/ 2317108 w 12188817"/>
              <a:gd name="connsiteY126" fmla="*/ 6521015 h 6857997"/>
              <a:gd name="connsiteX127" fmla="*/ 2329386 w 12188817"/>
              <a:gd name="connsiteY127" fmla="*/ 6464019 h 6857997"/>
              <a:gd name="connsiteX128" fmla="*/ 2331689 w 12188817"/>
              <a:gd name="connsiteY128" fmla="*/ 6476646 h 6857997"/>
              <a:gd name="connsiteX129" fmla="*/ 2341385 w 12188817"/>
              <a:gd name="connsiteY129" fmla="*/ 6521015 h 6857997"/>
              <a:gd name="connsiteX130" fmla="*/ 2352104 w 12188817"/>
              <a:gd name="connsiteY130" fmla="*/ 6521015 h 6857997"/>
              <a:gd name="connsiteX131" fmla="*/ 2371070 w 12188817"/>
              <a:gd name="connsiteY131" fmla="*/ 6446927 h 6857997"/>
              <a:gd name="connsiteX132" fmla="*/ 2361025 w 12188817"/>
              <a:gd name="connsiteY132" fmla="*/ 6446927 h 6857997"/>
              <a:gd name="connsiteX133" fmla="*/ 2350655 w 12188817"/>
              <a:gd name="connsiteY133" fmla="*/ 6489761 h 6857997"/>
              <a:gd name="connsiteX134" fmla="*/ 2347176 w 12188817"/>
              <a:gd name="connsiteY134" fmla="*/ 6504063 h 6857997"/>
              <a:gd name="connsiteX135" fmla="*/ 2344116 w 12188817"/>
              <a:gd name="connsiteY135" fmla="*/ 6489901 h 6857997"/>
              <a:gd name="connsiteX136" fmla="*/ 2335078 w 12188817"/>
              <a:gd name="connsiteY136" fmla="*/ 6446927 h 6857997"/>
              <a:gd name="connsiteX137" fmla="*/ 2324448 w 12188817"/>
              <a:gd name="connsiteY137" fmla="*/ 6446927 h 6857997"/>
              <a:gd name="connsiteX138" fmla="*/ 2314810 w 12188817"/>
              <a:gd name="connsiteY138" fmla="*/ 6490319 h 6857997"/>
              <a:gd name="connsiteX139" fmla="*/ 2311597 w 12188817"/>
              <a:gd name="connsiteY139" fmla="*/ 6505598 h 6857997"/>
              <a:gd name="connsiteX140" fmla="*/ 2308021 w 12188817"/>
              <a:gd name="connsiteY140" fmla="*/ 6489692 h 6857997"/>
              <a:gd name="connsiteX141" fmla="*/ 2298346 w 12188817"/>
              <a:gd name="connsiteY141" fmla="*/ 6446927 h 6857997"/>
              <a:gd name="connsiteX142" fmla="*/ 1818918 w 12188817"/>
              <a:gd name="connsiteY142" fmla="*/ 6446927 h 6857997"/>
              <a:gd name="connsiteX143" fmla="*/ 1818918 w 12188817"/>
              <a:gd name="connsiteY143" fmla="*/ 6521015 h 6857997"/>
              <a:gd name="connsiteX144" fmla="*/ 1829173 w 12188817"/>
              <a:gd name="connsiteY144" fmla="*/ 6521015 h 6857997"/>
              <a:gd name="connsiteX145" fmla="*/ 1829173 w 12188817"/>
              <a:gd name="connsiteY145" fmla="*/ 6446927 h 6857997"/>
              <a:gd name="connsiteX146" fmla="*/ 1752242 w 12188817"/>
              <a:gd name="connsiteY146" fmla="*/ 6446927 h 6857997"/>
              <a:gd name="connsiteX147" fmla="*/ 1752242 w 12188817"/>
              <a:gd name="connsiteY147" fmla="*/ 6521015 h 6857997"/>
              <a:gd name="connsiteX148" fmla="*/ 1762498 w 12188817"/>
              <a:gd name="connsiteY148" fmla="*/ 6521015 h 6857997"/>
              <a:gd name="connsiteX149" fmla="*/ 1762498 w 12188817"/>
              <a:gd name="connsiteY149" fmla="*/ 6446927 h 6857997"/>
              <a:gd name="connsiteX150" fmla="*/ 1266468 w 12188817"/>
              <a:gd name="connsiteY150" fmla="*/ 6446927 h 6857997"/>
              <a:gd name="connsiteX151" fmla="*/ 1266468 w 12188817"/>
              <a:gd name="connsiteY151" fmla="*/ 6521015 h 6857997"/>
              <a:gd name="connsiteX152" fmla="*/ 1276723 w 12188817"/>
              <a:gd name="connsiteY152" fmla="*/ 6521015 h 6857997"/>
              <a:gd name="connsiteX153" fmla="*/ 1276723 w 12188817"/>
              <a:gd name="connsiteY153" fmla="*/ 6446927 h 6857997"/>
              <a:gd name="connsiteX154" fmla="*/ 6278768 w 12188817"/>
              <a:gd name="connsiteY154" fmla="*/ 6445252 h 6857997"/>
              <a:gd name="connsiteX155" fmla="*/ 6259897 w 12188817"/>
              <a:gd name="connsiteY155" fmla="*/ 6450694 h 6857997"/>
              <a:gd name="connsiteX156" fmla="*/ 6251142 w 12188817"/>
              <a:gd name="connsiteY156" fmla="*/ 6468065 h 6857997"/>
              <a:gd name="connsiteX157" fmla="*/ 6261257 w 12188817"/>
              <a:gd name="connsiteY157" fmla="*/ 6469739 h 6857997"/>
              <a:gd name="connsiteX158" fmla="*/ 6266489 w 12188817"/>
              <a:gd name="connsiteY158" fmla="*/ 6458557 h 6857997"/>
              <a:gd name="connsiteX159" fmla="*/ 6277233 w 12188817"/>
              <a:gd name="connsiteY159" fmla="*/ 6455577 h 6857997"/>
              <a:gd name="connsiteX160" fmla="*/ 6289023 w 12188817"/>
              <a:gd name="connsiteY160" fmla="*/ 6460042 h 6857997"/>
              <a:gd name="connsiteX161" fmla="*/ 6291744 w 12188817"/>
              <a:gd name="connsiteY161" fmla="*/ 6470716 h 6857997"/>
              <a:gd name="connsiteX162" fmla="*/ 6291674 w 12188817"/>
              <a:gd name="connsiteY162" fmla="*/ 6473925 h 6857997"/>
              <a:gd name="connsiteX163" fmla="*/ 6273256 w 12188817"/>
              <a:gd name="connsiteY163" fmla="*/ 6478320 h 6857997"/>
              <a:gd name="connsiteX164" fmla="*/ 6259304 w 12188817"/>
              <a:gd name="connsiteY164" fmla="*/ 6482436 h 6857997"/>
              <a:gd name="connsiteX165" fmla="*/ 6252048 w 12188817"/>
              <a:gd name="connsiteY165" fmla="*/ 6490180 h 6857997"/>
              <a:gd name="connsiteX166" fmla="*/ 6249397 w 12188817"/>
              <a:gd name="connsiteY166" fmla="*/ 6501551 h 6857997"/>
              <a:gd name="connsiteX167" fmla="*/ 6255048 w 12188817"/>
              <a:gd name="connsiteY167" fmla="*/ 6516969 h 6857997"/>
              <a:gd name="connsiteX168" fmla="*/ 6270187 w 12188817"/>
              <a:gd name="connsiteY168" fmla="*/ 6522690 h 6857997"/>
              <a:gd name="connsiteX169" fmla="*/ 6281768 w 12188817"/>
              <a:gd name="connsiteY169" fmla="*/ 6519968 h 6857997"/>
              <a:gd name="connsiteX170" fmla="*/ 6292511 w 12188817"/>
              <a:gd name="connsiteY170" fmla="*/ 6511875 h 6857997"/>
              <a:gd name="connsiteX171" fmla="*/ 6294604 w 12188817"/>
              <a:gd name="connsiteY171" fmla="*/ 6521015 h 6857997"/>
              <a:gd name="connsiteX172" fmla="*/ 6305348 w 12188817"/>
              <a:gd name="connsiteY172" fmla="*/ 6521015 h 6857997"/>
              <a:gd name="connsiteX173" fmla="*/ 6302731 w 12188817"/>
              <a:gd name="connsiteY173" fmla="*/ 6512120 h 6857997"/>
              <a:gd name="connsiteX174" fmla="*/ 6302069 w 12188817"/>
              <a:gd name="connsiteY174" fmla="*/ 6489971 h 6857997"/>
              <a:gd name="connsiteX175" fmla="*/ 6302069 w 12188817"/>
              <a:gd name="connsiteY175" fmla="*/ 6473227 h 6857997"/>
              <a:gd name="connsiteX176" fmla="*/ 6300639 w 12188817"/>
              <a:gd name="connsiteY176" fmla="*/ 6457740 h 6857997"/>
              <a:gd name="connsiteX177" fmla="*/ 6293767 w 12188817"/>
              <a:gd name="connsiteY177" fmla="*/ 6448845 h 6857997"/>
              <a:gd name="connsiteX178" fmla="*/ 6278768 w 12188817"/>
              <a:gd name="connsiteY178" fmla="*/ 6445252 h 6857997"/>
              <a:gd name="connsiteX179" fmla="*/ 6157700 w 12188817"/>
              <a:gd name="connsiteY179" fmla="*/ 6445252 h 6857997"/>
              <a:gd name="connsiteX180" fmla="*/ 6146592 w 12188817"/>
              <a:gd name="connsiteY180" fmla="*/ 6448270 h 6857997"/>
              <a:gd name="connsiteX181" fmla="*/ 6138409 w 12188817"/>
              <a:gd name="connsiteY181" fmla="*/ 6457392 h 6857997"/>
              <a:gd name="connsiteX182" fmla="*/ 6138409 w 12188817"/>
              <a:gd name="connsiteY182" fmla="*/ 6446927 h 6857997"/>
              <a:gd name="connsiteX183" fmla="*/ 6129130 w 12188817"/>
              <a:gd name="connsiteY183" fmla="*/ 6446927 h 6857997"/>
              <a:gd name="connsiteX184" fmla="*/ 6129130 w 12188817"/>
              <a:gd name="connsiteY184" fmla="*/ 6521015 h 6857997"/>
              <a:gd name="connsiteX185" fmla="*/ 6139386 w 12188817"/>
              <a:gd name="connsiteY185" fmla="*/ 6521015 h 6857997"/>
              <a:gd name="connsiteX186" fmla="*/ 6139386 w 12188817"/>
              <a:gd name="connsiteY186" fmla="*/ 6480509 h 6857997"/>
              <a:gd name="connsiteX187" fmla="*/ 6143781 w 12188817"/>
              <a:gd name="connsiteY187" fmla="*/ 6461583 h 6857997"/>
              <a:gd name="connsiteX188" fmla="*/ 6155571 w 12188817"/>
              <a:gd name="connsiteY188" fmla="*/ 6456066 h 6857997"/>
              <a:gd name="connsiteX189" fmla="*/ 6162442 w 12188817"/>
              <a:gd name="connsiteY189" fmla="*/ 6458126 h 6857997"/>
              <a:gd name="connsiteX190" fmla="*/ 6166803 w 12188817"/>
              <a:gd name="connsiteY190" fmla="*/ 6463957 h 6857997"/>
              <a:gd name="connsiteX191" fmla="*/ 6168198 w 12188817"/>
              <a:gd name="connsiteY191" fmla="*/ 6475900 h 6857997"/>
              <a:gd name="connsiteX192" fmla="*/ 6168198 w 12188817"/>
              <a:gd name="connsiteY192" fmla="*/ 6521015 h 6857997"/>
              <a:gd name="connsiteX193" fmla="*/ 6178453 w 12188817"/>
              <a:gd name="connsiteY193" fmla="*/ 6521015 h 6857997"/>
              <a:gd name="connsiteX194" fmla="*/ 6178453 w 12188817"/>
              <a:gd name="connsiteY194" fmla="*/ 6475460 h 6857997"/>
              <a:gd name="connsiteX195" fmla="*/ 6177199 w 12188817"/>
              <a:gd name="connsiteY195" fmla="*/ 6460252 h 6857997"/>
              <a:gd name="connsiteX196" fmla="*/ 6173404 w 12188817"/>
              <a:gd name="connsiteY196" fmla="*/ 6452194 h 6857997"/>
              <a:gd name="connsiteX197" fmla="*/ 6166718 w 12188817"/>
              <a:gd name="connsiteY197" fmla="*/ 6447171 h 6857997"/>
              <a:gd name="connsiteX198" fmla="*/ 6157700 w 12188817"/>
              <a:gd name="connsiteY198" fmla="*/ 6445252 h 6857997"/>
              <a:gd name="connsiteX199" fmla="*/ 6087364 w 12188817"/>
              <a:gd name="connsiteY199" fmla="*/ 6445252 h 6857997"/>
              <a:gd name="connsiteX200" fmla="*/ 6066956 w 12188817"/>
              <a:gd name="connsiteY200" fmla="*/ 6455333 h 6857997"/>
              <a:gd name="connsiteX201" fmla="*/ 6058897 w 12188817"/>
              <a:gd name="connsiteY201" fmla="*/ 6484599 h 6857997"/>
              <a:gd name="connsiteX202" fmla="*/ 6066885 w 12188817"/>
              <a:gd name="connsiteY202" fmla="*/ 6512888 h 6857997"/>
              <a:gd name="connsiteX203" fmla="*/ 6087781 w 12188817"/>
              <a:gd name="connsiteY203" fmla="*/ 6522690 h 6857997"/>
              <a:gd name="connsiteX204" fmla="*/ 6104976 w 12188817"/>
              <a:gd name="connsiteY204" fmla="*/ 6516655 h 6857997"/>
              <a:gd name="connsiteX205" fmla="*/ 6114569 w 12188817"/>
              <a:gd name="connsiteY205" fmla="*/ 6498761 h 6857997"/>
              <a:gd name="connsiteX206" fmla="*/ 6103965 w 12188817"/>
              <a:gd name="connsiteY206" fmla="*/ 6497156 h 6857997"/>
              <a:gd name="connsiteX207" fmla="*/ 6087849 w 12188817"/>
              <a:gd name="connsiteY207" fmla="*/ 6512365 h 6857997"/>
              <a:gd name="connsiteX208" fmla="*/ 6075292 w 12188817"/>
              <a:gd name="connsiteY208" fmla="*/ 6506016 h 6857997"/>
              <a:gd name="connsiteX209" fmla="*/ 6069506 w 12188817"/>
              <a:gd name="connsiteY209" fmla="*/ 6487180 h 6857997"/>
              <a:gd name="connsiteX210" fmla="*/ 6114848 w 12188817"/>
              <a:gd name="connsiteY210" fmla="*/ 6487180 h 6857997"/>
              <a:gd name="connsiteX211" fmla="*/ 6114917 w 12188817"/>
              <a:gd name="connsiteY211" fmla="*/ 6483831 h 6857997"/>
              <a:gd name="connsiteX212" fmla="*/ 6107034 w 12188817"/>
              <a:gd name="connsiteY212" fmla="*/ 6455159 h 6857997"/>
              <a:gd name="connsiteX213" fmla="*/ 6087364 w 12188817"/>
              <a:gd name="connsiteY213" fmla="*/ 6445252 h 6857997"/>
              <a:gd name="connsiteX214" fmla="*/ 5900526 w 12188817"/>
              <a:gd name="connsiteY214" fmla="*/ 6445252 h 6857997"/>
              <a:gd name="connsiteX215" fmla="*/ 5889417 w 12188817"/>
              <a:gd name="connsiteY215" fmla="*/ 6448270 h 6857997"/>
              <a:gd name="connsiteX216" fmla="*/ 5881236 w 12188817"/>
              <a:gd name="connsiteY216" fmla="*/ 6457392 h 6857997"/>
              <a:gd name="connsiteX217" fmla="*/ 5881236 w 12188817"/>
              <a:gd name="connsiteY217" fmla="*/ 6446927 h 6857997"/>
              <a:gd name="connsiteX218" fmla="*/ 5871957 w 12188817"/>
              <a:gd name="connsiteY218" fmla="*/ 6446927 h 6857997"/>
              <a:gd name="connsiteX219" fmla="*/ 5871957 w 12188817"/>
              <a:gd name="connsiteY219" fmla="*/ 6521015 h 6857997"/>
              <a:gd name="connsiteX220" fmla="*/ 5882211 w 12188817"/>
              <a:gd name="connsiteY220" fmla="*/ 6521015 h 6857997"/>
              <a:gd name="connsiteX221" fmla="*/ 5882211 w 12188817"/>
              <a:gd name="connsiteY221" fmla="*/ 6480509 h 6857997"/>
              <a:gd name="connsiteX222" fmla="*/ 5886608 w 12188817"/>
              <a:gd name="connsiteY222" fmla="*/ 6461583 h 6857997"/>
              <a:gd name="connsiteX223" fmla="*/ 5898396 w 12188817"/>
              <a:gd name="connsiteY223" fmla="*/ 6456066 h 6857997"/>
              <a:gd name="connsiteX224" fmla="*/ 5905268 w 12188817"/>
              <a:gd name="connsiteY224" fmla="*/ 6458126 h 6857997"/>
              <a:gd name="connsiteX225" fmla="*/ 5909630 w 12188817"/>
              <a:gd name="connsiteY225" fmla="*/ 6463957 h 6857997"/>
              <a:gd name="connsiteX226" fmla="*/ 5911024 w 12188817"/>
              <a:gd name="connsiteY226" fmla="*/ 6475900 h 6857997"/>
              <a:gd name="connsiteX227" fmla="*/ 5911024 w 12188817"/>
              <a:gd name="connsiteY227" fmla="*/ 6521015 h 6857997"/>
              <a:gd name="connsiteX228" fmla="*/ 5921278 w 12188817"/>
              <a:gd name="connsiteY228" fmla="*/ 6521015 h 6857997"/>
              <a:gd name="connsiteX229" fmla="*/ 5921278 w 12188817"/>
              <a:gd name="connsiteY229" fmla="*/ 6475460 h 6857997"/>
              <a:gd name="connsiteX230" fmla="*/ 5920026 w 12188817"/>
              <a:gd name="connsiteY230" fmla="*/ 6460252 h 6857997"/>
              <a:gd name="connsiteX231" fmla="*/ 5916230 w 12188817"/>
              <a:gd name="connsiteY231" fmla="*/ 6452194 h 6857997"/>
              <a:gd name="connsiteX232" fmla="*/ 5909545 w 12188817"/>
              <a:gd name="connsiteY232" fmla="*/ 6447171 h 6857997"/>
              <a:gd name="connsiteX233" fmla="*/ 5900526 w 12188817"/>
              <a:gd name="connsiteY233" fmla="*/ 6445252 h 6857997"/>
              <a:gd name="connsiteX234" fmla="*/ 5829838 w 12188817"/>
              <a:gd name="connsiteY234" fmla="*/ 6445252 h 6857997"/>
              <a:gd name="connsiteX235" fmla="*/ 5809433 w 12188817"/>
              <a:gd name="connsiteY235" fmla="*/ 6455019 h 6857997"/>
              <a:gd name="connsiteX236" fmla="*/ 5801376 w 12188817"/>
              <a:gd name="connsiteY236" fmla="*/ 6483971 h 6857997"/>
              <a:gd name="connsiteX237" fmla="*/ 5809502 w 12188817"/>
              <a:gd name="connsiteY237" fmla="*/ 6512888 h 6857997"/>
              <a:gd name="connsiteX238" fmla="*/ 5829838 w 12188817"/>
              <a:gd name="connsiteY238" fmla="*/ 6522690 h 6857997"/>
              <a:gd name="connsiteX239" fmla="*/ 5850280 w 12188817"/>
              <a:gd name="connsiteY239" fmla="*/ 6512923 h 6857997"/>
              <a:gd name="connsiteX240" fmla="*/ 5858301 w 12188817"/>
              <a:gd name="connsiteY240" fmla="*/ 6483204 h 6857997"/>
              <a:gd name="connsiteX241" fmla="*/ 5850139 w 12188817"/>
              <a:gd name="connsiteY241" fmla="*/ 6455019 h 6857997"/>
              <a:gd name="connsiteX242" fmla="*/ 5829838 w 12188817"/>
              <a:gd name="connsiteY242" fmla="*/ 6445252 h 6857997"/>
              <a:gd name="connsiteX243" fmla="*/ 2714262 w 12188817"/>
              <a:gd name="connsiteY243" fmla="*/ 6445252 h 6857997"/>
              <a:gd name="connsiteX244" fmla="*/ 2703154 w 12188817"/>
              <a:gd name="connsiteY244" fmla="*/ 6448270 h 6857997"/>
              <a:gd name="connsiteX245" fmla="*/ 2694971 w 12188817"/>
              <a:gd name="connsiteY245" fmla="*/ 6457392 h 6857997"/>
              <a:gd name="connsiteX246" fmla="*/ 2694971 w 12188817"/>
              <a:gd name="connsiteY246" fmla="*/ 6446927 h 6857997"/>
              <a:gd name="connsiteX247" fmla="*/ 2685692 w 12188817"/>
              <a:gd name="connsiteY247" fmla="*/ 6446927 h 6857997"/>
              <a:gd name="connsiteX248" fmla="*/ 2685692 w 12188817"/>
              <a:gd name="connsiteY248" fmla="*/ 6521015 h 6857997"/>
              <a:gd name="connsiteX249" fmla="*/ 2695948 w 12188817"/>
              <a:gd name="connsiteY249" fmla="*/ 6521015 h 6857997"/>
              <a:gd name="connsiteX250" fmla="*/ 2695948 w 12188817"/>
              <a:gd name="connsiteY250" fmla="*/ 6480509 h 6857997"/>
              <a:gd name="connsiteX251" fmla="*/ 2700343 w 12188817"/>
              <a:gd name="connsiteY251" fmla="*/ 6461583 h 6857997"/>
              <a:gd name="connsiteX252" fmla="*/ 2712133 w 12188817"/>
              <a:gd name="connsiteY252" fmla="*/ 6456066 h 6857997"/>
              <a:gd name="connsiteX253" fmla="*/ 2719004 w 12188817"/>
              <a:gd name="connsiteY253" fmla="*/ 6458126 h 6857997"/>
              <a:gd name="connsiteX254" fmla="*/ 2723365 w 12188817"/>
              <a:gd name="connsiteY254" fmla="*/ 6463957 h 6857997"/>
              <a:gd name="connsiteX255" fmla="*/ 2724760 w 12188817"/>
              <a:gd name="connsiteY255" fmla="*/ 6475900 h 6857997"/>
              <a:gd name="connsiteX256" fmla="*/ 2724760 w 12188817"/>
              <a:gd name="connsiteY256" fmla="*/ 6521015 h 6857997"/>
              <a:gd name="connsiteX257" fmla="*/ 2735015 w 12188817"/>
              <a:gd name="connsiteY257" fmla="*/ 6521015 h 6857997"/>
              <a:gd name="connsiteX258" fmla="*/ 2735015 w 12188817"/>
              <a:gd name="connsiteY258" fmla="*/ 6475460 h 6857997"/>
              <a:gd name="connsiteX259" fmla="*/ 2733761 w 12188817"/>
              <a:gd name="connsiteY259" fmla="*/ 6460252 h 6857997"/>
              <a:gd name="connsiteX260" fmla="*/ 2729966 w 12188817"/>
              <a:gd name="connsiteY260" fmla="*/ 6452194 h 6857997"/>
              <a:gd name="connsiteX261" fmla="*/ 2723280 w 12188817"/>
              <a:gd name="connsiteY261" fmla="*/ 6447171 h 6857997"/>
              <a:gd name="connsiteX262" fmla="*/ 2714262 w 12188817"/>
              <a:gd name="connsiteY262" fmla="*/ 6445252 h 6857997"/>
              <a:gd name="connsiteX263" fmla="*/ 2644830 w 12188817"/>
              <a:gd name="connsiteY263" fmla="*/ 6445252 h 6857997"/>
              <a:gd name="connsiteX264" fmla="*/ 2625959 w 12188817"/>
              <a:gd name="connsiteY264" fmla="*/ 6450694 h 6857997"/>
              <a:gd name="connsiteX265" fmla="*/ 2617204 w 12188817"/>
              <a:gd name="connsiteY265" fmla="*/ 6468065 h 6857997"/>
              <a:gd name="connsiteX266" fmla="*/ 2627319 w 12188817"/>
              <a:gd name="connsiteY266" fmla="*/ 6469739 h 6857997"/>
              <a:gd name="connsiteX267" fmla="*/ 2632552 w 12188817"/>
              <a:gd name="connsiteY267" fmla="*/ 6458557 h 6857997"/>
              <a:gd name="connsiteX268" fmla="*/ 2643295 w 12188817"/>
              <a:gd name="connsiteY268" fmla="*/ 6455577 h 6857997"/>
              <a:gd name="connsiteX269" fmla="*/ 2655085 w 12188817"/>
              <a:gd name="connsiteY269" fmla="*/ 6460042 h 6857997"/>
              <a:gd name="connsiteX270" fmla="*/ 2657806 w 12188817"/>
              <a:gd name="connsiteY270" fmla="*/ 6470716 h 6857997"/>
              <a:gd name="connsiteX271" fmla="*/ 2657736 w 12188817"/>
              <a:gd name="connsiteY271" fmla="*/ 6473925 h 6857997"/>
              <a:gd name="connsiteX272" fmla="*/ 2639319 w 12188817"/>
              <a:gd name="connsiteY272" fmla="*/ 6478320 h 6857997"/>
              <a:gd name="connsiteX273" fmla="*/ 2625366 w 12188817"/>
              <a:gd name="connsiteY273" fmla="*/ 6482436 h 6857997"/>
              <a:gd name="connsiteX274" fmla="*/ 2618110 w 12188817"/>
              <a:gd name="connsiteY274" fmla="*/ 6490180 h 6857997"/>
              <a:gd name="connsiteX275" fmla="*/ 2615460 w 12188817"/>
              <a:gd name="connsiteY275" fmla="*/ 6501551 h 6857997"/>
              <a:gd name="connsiteX276" fmla="*/ 2621110 w 12188817"/>
              <a:gd name="connsiteY276" fmla="*/ 6516969 h 6857997"/>
              <a:gd name="connsiteX277" fmla="*/ 2636249 w 12188817"/>
              <a:gd name="connsiteY277" fmla="*/ 6522690 h 6857997"/>
              <a:gd name="connsiteX278" fmla="*/ 2647830 w 12188817"/>
              <a:gd name="connsiteY278" fmla="*/ 6519968 h 6857997"/>
              <a:gd name="connsiteX279" fmla="*/ 2658573 w 12188817"/>
              <a:gd name="connsiteY279" fmla="*/ 6511875 h 6857997"/>
              <a:gd name="connsiteX280" fmla="*/ 2660666 w 12188817"/>
              <a:gd name="connsiteY280" fmla="*/ 6521015 h 6857997"/>
              <a:gd name="connsiteX281" fmla="*/ 2671410 w 12188817"/>
              <a:gd name="connsiteY281" fmla="*/ 6521015 h 6857997"/>
              <a:gd name="connsiteX282" fmla="*/ 2668793 w 12188817"/>
              <a:gd name="connsiteY282" fmla="*/ 6512120 h 6857997"/>
              <a:gd name="connsiteX283" fmla="*/ 2668131 w 12188817"/>
              <a:gd name="connsiteY283" fmla="*/ 6489971 h 6857997"/>
              <a:gd name="connsiteX284" fmla="*/ 2668131 w 12188817"/>
              <a:gd name="connsiteY284" fmla="*/ 6473227 h 6857997"/>
              <a:gd name="connsiteX285" fmla="*/ 2666701 w 12188817"/>
              <a:gd name="connsiteY285" fmla="*/ 6457740 h 6857997"/>
              <a:gd name="connsiteX286" fmla="*/ 2659829 w 12188817"/>
              <a:gd name="connsiteY286" fmla="*/ 6448845 h 6857997"/>
              <a:gd name="connsiteX287" fmla="*/ 2644830 w 12188817"/>
              <a:gd name="connsiteY287" fmla="*/ 6445252 h 6857997"/>
              <a:gd name="connsiteX288" fmla="*/ 2574806 w 12188817"/>
              <a:gd name="connsiteY288" fmla="*/ 6445252 h 6857997"/>
              <a:gd name="connsiteX289" fmla="*/ 2568144 w 12188817"/>
              <a:gd name="connsiteY289" fmla="*/ 6447799 h 6857997"/>
              <a:gd name="connsiteX290" fmla="*/ 2561621 w 12188817"/>
              <a:gd name="connsiteY290" fmla="*/ 6458159 h 6857997"/>
              <a:gd name="connsiteX291" fmla="*/ 2561621 w 12188817"/>
              <a:gd name="connsiteY291" fmla="*/ 6446927 h 6857997"/>
              <a:gd name="connsiteX292" fmla="*/ 2552342 w 12188817"/>
              <a:gd name="connsiteY292" fmla="*/ 6446927 h 6857997"/>
              <a:gd name="connsiteX293" fmla="*/ 2552342 w 12188817"/>
              <a:gd name="connsiteY293" fmla="*/ 6521015 h 6857997"/>
              <a:gd name="connsiteX294" fmla="*/ 2562598 w 12188817"/>
              <a:gd name="connsiteY294" fmla="*/ 6521015 h 6857997"/>
              <a:gd name="connsiteX295" fmla="*/ 2562598 w 12188817"/>
              <a:gd name="connsiteY295" fmla="*/ 6482227 h 6857997"/>
              <a:gd name="connsiteX296" fmla="*/ 2564551 w 12188817"/>
              <a:gd name="connsiteY296" fmla="*/ 6466949 h 6857997"/>
              <a:gd name="connsiteX297" fmla="*/ 2568388 w 12188817"/>
              <a:gd name="connsiteY297" fmla="*/ 6460531 h 6857997"/>
              <a:gd name="connsiteX298" fmla="*/ 2574388 w 12188817"/>
              <a:gd name="connsiteY298" fmla="*/ 6458228 h 6857997"/>
              <a:gd name="connsiteX299" fmla="*/ 2581852 w 12188817"/>
              <a:gd name="connsiteY299" fmla="*/ 6460949 h 6857997"/>
              <a:gd name="connsiteX300" fmla="*/ 2585340 w 12188817"/>
              <a:gd name="connsiteY300" fmla="*/ 6449299 h 6857997"/>
              <a:gd name="connsiteX301" fmla="*/ 2574806 w 12188817"/>
              <a:gd name="connsiteY301" fmla="*/ 6445252 h 6857997"/>
              <a:gd name="connsiteX302" fmla="*/ 2510573 w 12188817"/>
              <a:gd name="connsiteY302" fmla="*/ 6445252 h 6857997"/>
              <a:gd name="connsiteX303" fmla="*/ 2490167 w 12188817"/>
              <a:gd name="connsiteY303" fmla="*/ 6455333 h 6857997"/>
              <a:gd name="connsiteX304" fmla="*/ 2482110 w 12188817"/>
              <a:gd name="connsiteY304" fmla="*/ 6484599 h 6857997"/>
              <a:gd name="connsiteX305" fmla="*/ 2490097 w 12188817"/>
              <a:gd name="connsiteY305" fmla="*/ 6512888 h 6857997"/>
              <a:gd name="connsiteX306" fmla="*/ 2510992 w 12188817"/>
              <a:gd name="connsiteY306" fmla="*/ 6522690 h 6857997"/>
              <a:gd name="connsiteX307" fmla="*/ 2528188 w 12188817"/>
              <a:gd name="connsiteY307" fmla="*/ 6516655 h 6857997"/>
              <a:gd name="connsiteX308" fmla="*/ 2537781 w 12188817"/>
              <a:gd name="connsiteY308" fmla="*/ 6498761 h 6857997"/>
              <a:gd name="connsiteX309" fmla="*/ 2527176 w 12188817"/>
              <a:gd name="connsiteY309" fmla="*/ 6497156 h 6857997"/>
              <a:gd name="connsiteX310" fmla="*/ 2511061 w 12188817"/>
              <a:gd name="connsiteY310" fmla="*/ 6512365 h 6857997"/>
              <a:gd name="connsiteX311" fmla="*/ 2498504 w 12188817"/>
              <a:gd name="connsiteY311" fmla="*/ 6506016 h 6857997"/>
              <a:gd name="connsiteX312" fmla="*/ 2492714 w 12188817"/>
              <a:gd name="connsiteY312" fmla="*/ 6487180 h 6857997"/>
              <a:gd name="connsiteX313" fmla="*/ 2538060 w 12188817"/>
              <a:gd name="connsiteY313" fmla="*/ 6487180 h 6857997"/>
              <a:gd name="connsiteX314" fmla="*/ 2538129 w 12188817"/>
              <a:gd name="connsiteY314" fmla="*/ 6483831 h 6857997"/>
              <a:gd name="connsiteX315" fmla="*/ 2530246 w 12188817"/>
              <a:gd name="connsiteY315" fmla="*/ 6455159 h 6857997"/>
              <a:gd name="connsiteX316" fmla="*/ 2510573 w 12188817"/>
              <a:gd name="connsiteY316" fmla="*/ 6445252 h 6857997"/>
              <a:gd name="connsiteX317" fmla="*/ 1942737 w 12188817"/>
              <a:gd name="connsiteY317" fmla="*/ 6445252 h 6857997"/>
              <a:gd name="connsiteX318" fmla="*/ 1931629 w 12188817"/>
              <a:gd name="connsiteY318" fmla="*/ 6448270 h 6857997"/>
              <a:gd name="connsiteX319" fmla="*/ 1923446 w 12188817"/>
              <a:gd name="connsiteY319" fmla="*/ 6457392 h 6857997"/>
              <a:gd name="connsiteX320" fmla="*/ 1923446 w 12188817"/>
              <a:gd name="connsiteY320" fmla="*/ 6446927 h 6857997"/>
              <a:gd name="connsiteX321" fmla="*/ 1914167 w 12188817"/>
              <a:gd name="connsiteY321" fmla="*/ 6446927 h 6857997"/>
              <a:gd name="connsiteX322" fmla="*/ 1914167 w 12188817"/>
              <a:gd name="connsiteY322" fmla="*/ 6521015 h 6857997"/>
              <a:gd name="connsiteX323" fmla="*/ 1924423 w 12188817"/>
              <a:gd name="connsiteY323" fmla="*/ 6521015 h 6857997"/>
              <a:gd name="connsiteX324" fmla="*/ 1924423 w 12188817"/>
              <a:gd name="connsiteY324" fmla="*/ 6480509 h 6857997"/>
              <a:gd name="connsiteX325" fmla="*/ 1928818 w 12188817"/>
              <a:gd name="connsiteY325" fmla="*/ 6461583 h 6857997"/>
              <a:gd name="connsiteX326" fmla="*/ 1940608 w 12188817"/>
              <a:gd name="connsiteY326" fmla="*/ 6456066 h 6857997"/>
              <a:gd name="connsiteX327" fmla="*/ 1947479 w 12188817"/>
              <a:gd name="connsiteY327" fmla="*/ 6458126 h 6857997"/>
              <a:gd name="connsiteX328" fmla="*/ 1951840 w 12188817"/>
              <a:gd name="connsiteY328" fmla="*/ 6463957 h 6857997"/>
              <a:gd name="connsiteX329" fmla="*/ 1953235 w 12188817"/>
              <a:gd name="connsiteY329" fmla="*/ 6475900 h 6857997"/>
              <a:gd name="connsiteX330" fmla="*/ 1953235 w 12188817"/>
              <a:gd name="connsiteY330" fmla="*/ 6521015 h 6857997"/>
              <a:gd name="connsiteX331" fmla="*/ 1963490 w 12188817"/>
              <a:gd name="connsiteY331" fmla="*/ 6521015 h 6857997"/>
              <a:gd name="connsiteX332" fmla="*/ 1963490 w 12188817"/>
              <a:gd name="connsiteY332" fmla="*/ 6475460 h 6857997"/>
              <a:gd name="connsiteX333" fmla="*/ 1962236 w 12188817"/>
              <a:gd name="connsiteY333" fmla="*/ 6460252 h 6857997"/>
              <a:gd name="connsiteX334" fmla="*/ 1958441 w 12188817"/>
              <a:gd name="connsiteY334" fmla="*/ 6452194 h 6857997"/>
              <a:gd name="connsiteX335" fmla="*/ 1951755 w 12188817"/>
              <a:gd name="connsiteY335" fmla="*/ 6447171 h 6857997"/>
              <a:gd name="connsiteX336" fmla="*/ 1942737 w 12188817"/>
              <a:gd name="connsiteY336" fmla="*/ 6445252 h 6857997"/>
              <a:gd name="connsiteX337" fmla="*/ 1872049 w 12188817"/>
              <a:gd name="connsiteY337" fmla="*/ 6445252 h 6857997"/>
              <a:gd name="connsiteX338" fmla="*/ 1851643 w 12188817"/>
              <a:gd name="connsiteY338" fmla="*/ 6455019 h 6857997"/>
              <a:gd name="connsiteX339" fmla="*/ 1843586 w 12188817"/>
              <a:gd name="connsiteY339" fmla="*/ 6483971 h 6857997"/>
              <a:gd name="connsiteX340" fmla="*/ 1851713 w 12188817"/>
              <a:gd name="connsiteY340" fmla="*/ 6512888 h 6857997"/>
              <a:gd name="connsiteX341" fmla="*/ 1872049 w 12188817"/>
              <a:gd name="connsiteY341" fmla="*/ 6522690 h 6857997"/>
              <a:gd name="connsiteX342" fmla="*/ 1892490 w 12188817"/>
              <a:gd name="connsiteY342" fmla="*/ 6512923 h 6857997"/>
              <a:gd name="connsiteX343" fmla="*/ 1900512 w 12188817"/>
              <a:gd name="connsiteY343" fmla="*/ 6483204 h 6857997"/>
              <a:gd name="connsiteX344" fmla="*/ 1892350 w 12188817"/>
              <a:gd name="connsiteY344" fmla="*/ 6455019 h 6857997"/>
              <a:gd name="connsiteX345" fmla="*/ 1872049 w 12188817"/>
              <a:gd name="connsiteY345" fmla="*/ 6445252 h 6857997"/>
              <a:gd name="connsiteX346" fmla="*/ 1803281 w 12188817"/>
              <a:gd name="connsiteY346" fmla="*/ 6445252 h 6857997"/>
              <a:gd name="connsiteX347" fmla="*/ 1796619 w 12188817"/>
              <a:gd name="connsiteY347" fmla="*/ 6447799 h 6857997"/>
              <a:gd name="connsiteX348" fmla="*/ 1790096 w 12188817"/>
              <a:gd name="connsiteY348" fmla="*/ 6458159 h 6857997"/>
              <a:gd name="connsiteX349" fmla="*/ 1790096 w 12188817"/>
              <a:gd name="connsiteY349" fmla="*/ 6446927 h 6857997"/>
              <a:gd name="connsiteX350" fmla="*/ 1780818 w 12188817"/>
              <a:gd name="connsiteY350" fmla="*/ 6446927 h 6857997"/>
              <a:gd name="connsiteX351" fmla="*/ 1780818 w 12188817"/>
              <a:gd name="connsiteY351" fmla="*/ 6521015 h 6857997"/>
              <a:gd name="connsiteX352" fmla="*/ 1791073 w 12188817"/>
              <a:gd name="connsiteY352" fmla="*/ 6521015 h 6857997"/>
              <a:gd name="connsiteX353" fmla="*/ 1791073 w 12188817"/>
              <a:gd name="connsiteY353" fmla="*/ 6482227 h 6857997"/>
              <a:gd name="connsiteX354" fmla="*/ 1793026 w 12188817"/>
              <a:gd name="connsiteY354" fmla="*/ 6466949 h 6857997"/>
              <a:gd name="connsiteX355" fmla="*/ 1796863 w 12188817"/>
              <a:gd name="connsiteY355" fmla="*/ 6460531 h 6857997"/>
              <a:gd name="connsiteX356" fmla="*/ 1802863 w 12188817"/>
              <a:gd name="connsiteY356" fmla="*/ 6458228 h 6857997"/>
              <a:gd name="connsiteX357" fmla="*/ 1810327 w 12188817"/>
              <a:gd name="connsiteY357" fmla="*/ 6460949 h 6857997"/>
              <a:gd name="connsiteX358" fmla="*/ 1813815 w 12188817"/>
              <a:gd name="connsiteY358" fmla="*/ 6449299 h 6857997"/>
              <a:gd name="connsiteX359" fmla="*/ 1803281 w 12188817"/>
              <a:gd name="connsiteY359" fmla="*/ 6445252 h 6857997"/>
              <a:gd name="connsiteX360" fmla="*/ 1715742 w 12188817"/>
              <a:gd name="connsiteY360" fmla="*/ 6445252 h 6857997"/>
              <a:gd name="connsiteX361" fmla="*/ 1698930 w 12188817"/>
              <a:gd name="connsiteY361" fmla="*/ 6451182 h 6857997"/>
              <a:gd name="connsiteX362" fmla="*/ 1692860 w 12188817"/>
              <a:gd name="connsiteY362" fmla="*/ 6466600 h 6857997"/>
              <a:gd name="connsiteX363" fmla="*/ 1695092 w 12188817"/>
              <a:gd name="connsiteY363" fmla="*/ 6476437 h 6857997"/>
              <a:gd name="connsiteX364" fmla="*/ 1701371 w 12188817"/>
              <a:gd name="connsiteY364" fmla="*/ 6483343 h 6857997"/>
              <a:gd name="connsiteX365" fmla="*/ 1717417 w 12188817"/>
              <a:gd name="connsiteY365" fmla="*/ 6489622 h 6857997"/>
              <a:gd name="connsiteX366" fmla="*/ 1727881 w 12188817"/>
              <a:gd name="connsiteY366" fmla="*/ 6493808 h 6857997"/>
              <a:gd name="connsiteX367" fmla="*/ 1731021 w 12188817"/>
              <a:gd name="connsiteY367" fmla="*/ 6500644 h 6857997"/>
              <a:gd name="connsiteX368" fmla="*/ 1727367 w 12188817"/>
              <a:gd name="connsiteY368" fmla="*/ 6509051 h 6857997"/>
              <a:gd name="connsiteX369" fmla="*/ 1717031 w 12188817"/>
              <a:gd name="connsiteY369" fmla="*/ 6512365 h 6857997"/>
              <a:gd name="connsiteX370" fmla="*/ 1706313 w 12188817"/>
              <a:gd name="connsiteY370" fmla="*/ 6508545 h 6857997"/>
              <a:gd name="connsiteX371" fmla="*/ 1701371 w 12188817"/>
              <a:gd name="connsiteY371" fmla="*/ 6496877 h 6857997"/>
              <a:gd name="connsiteX372" fmla="*/ 1691116 w 12188817"/>
              <a:gd name="connsiteY372" fmla="*/ 6498831 h 6857997"/>
              <a:gd name="connsiteX373" fmla="*/ 1716440 w 12188817"/>
              <a:gd name="connsiteY373" fmla="*/ 6522690 h 6857997"/>
              <a:gd name="connsiteX374" fmla="*/ 1734823 w 12188817"/>
              <a:gd name="connsiteY374" fmla="*/ 6516120 h 6857997"/>
              <a:gd name="connsiteX375" fmla="*/ 1741555 w 12188817"/>
              <a:gd name="connsiteY375" fmla="*/ 6498929 h 6857997"/>
              <a:gd name="connsiteX376" fmla="*/ 1739470 w 12188817"/>
              <a:gd name="connsiteY376" fmla="*/ 6489040 h 6857997"/>
              <a:gd name="connsiteX377" fmla="*/ 1733631 w 12188817"/>
              <a:gd name="connsiteY377" fmla="*/ 6482471 h 6857997"/>
              <a:gd name="connsiteX378" fmla="*/ 1717094 w 12188817"/>
              <a:gd name="connsiteY378" fmla="*/ 6476004 h 6857997"/>
              <a:gd name="connsiteX379" fmla="*/ 1705911 w 12188817"/>
              <a:gd name="connsiteY379" fmla="*/ 6471558 h 6857997"/>
              <a:gd name="connsiteX380" fmla="*/ 1702766 w 12188817"/>
              <a:gd name="connsiteY380" fmla="*/ 6465096 h 6857997"/>
              <a:gd name="connsiteX381" fmla="*/ 1706045 w 12188817"/>
              <a:gd name="connsiteY381" fmla="*/ 6458252 h 6857997"/>
              <a:gd name="connsiteX382" fmla="*/ 1716021 w 12188817"/>
              <a:gd name="connsiteY382" fmla="*/ 6455577 h 6857997"/>
              <a:gd name="connsiteX383" fmla="*/ 1729207 w 12188817"/>
              <a:gd name="connsiteY383" fmla="*/ 6467716 h 6857997"/>
              <a:gd name="connsiteX384" fmla="*/ 1739252 w 12188817"/>
              <a:gd name="connsiteY384" fmla="*/ 6466042 h 6857997"/>
              <a:gd name="connsiteX385" fmla="*/ 1735485 w 12188817"/>
              <a:gd name="connsiteY385" fmla="*/ 6454252 h 6857997"/>
              <a:gd name="connsiteX386" fmla="*/ 1727637 w 12188817"/>
              <a:gd name="connsiteY386" fmla="*/ 6447694 h 6857997"/>
              <a:gd name="connsiteX387" fmla="*/ 1715742 w 12188817"/>
              <a:gd name="connsiteY387" fmla="*/ 6445252 h 6857997"/>
              <a:gd name="connsiteX388" fmla="*/ 1656986 w 12188817"/>
              <a:gd name="connsiteY388" fmla="*/ 6445252 h 6857997"/>
              <a:gd name="connsiteX389" fmla="*/ 1645879 w 12188817"/>
              <a:gd name="connsiteY389" fmla="*/ 6448270 h 6857997"/>
              <a:gd name="connsiteX390" fmla="*/ 1637696 w 12188817"/>
              <a:gd name="connsiteY390" fmla="*/ 6457392 h 6857997"/>
              <a:gd name="connsiteX391" fmla="*/ 1637696 w 12188817"/>
              <a:gd name="connsiteY391" fmla="*/ 6446927 h 6857997"/>
              <a:gd name="connsiteX392" fmla="*/ 1628418 w 12188817"/>
              <a:gd name="connsiteY392" fmla="*/ 6446927 h 6857997"/>
              <a:gd name="connsiteX393" fmla="*/ 1628418 w 12188817"/>
              <a:gd name="connsiteY393" fmla="*/ 6521015 h 6857997"/>
              <a:gd name="connsiteX394" fmla="*/ 1638673 w 12188817"/>
              <a:gd name="connsiteY394" fmla="*/ 6521015 h 6857997"/>
              <a:gd name="connsiteX395" fmla="*/ 1638673 w 12188817"/>
              <a:gd name="connsiteY395" fmla="*/ 6480509 h 6857997"/>
              <a:gd name="connsiteX396" fmla="*/ 1643068 w 12188817"/>
              <a:gd name="connsiteY396" fmla="*/ 6461583 h 6857997"/>
              <a:gd name="connsiteX397" fmla="*/ 1654858 w 12188817"/>
              <a:gd name="connsiteY397" fmla="*/ 6456066 h 6857997"/>
              <a:gd name="connsiteX398" fmla="*/ 1661729 w 12188817"/>
              <a:gd name="connsiteY398" fmla="*/ 6458126 h 6857997"/>
              <a:gd name="connsiteX399" fmla="*/ 1666089 w 12188817"/>
              <a:gd name="connsiteY399" fmla="*/ 6463957 h 6857997"/>
              <a:gd name="connsiteX400" fmla="*/ 1667485 w 12188817"/>
              <a:gd name="connsiteY400" fmla="*/ 6475900 h 6857997"/>
              <a:gd name="connsiteX401" fmla="*/ 1667485 w 12188817"/>
              <a:gd name="connsiteY401" fmla="*/ 6521015 h 6857997"/>
              <a:gd name="connsiteX402" fmla="*/ 1677740 w 12188817"/>
              <a:gd name="connsiteY402" fmla="*/ 6521015 h 6857997"/>
              <a:gd name="connsiteX403" fmla="*/ 1677740 w 12188817"/>
              <a:gd name="connsiteY403" fmla="*/ 6475460 h 6857997"/>
              <a:gd name="connsiteX404" fmla="*/ 1676487 w 12188817"/>
              <a:gd name="connsiteY404" fmla="*/ 6460252 h 6857997"/>
              <a:gd name="connsiteX405" fmla="*/ 1672691 w 12188817"/>
              <a:gd name="connsiteY405" fmla="*/ 6452194 h 6857997"/>
              <a:gd name="connsiteX406" fmla="*/ 1666005 w 12188817"/>
              <a:gd name="connsiteY406" fmla="*/ 6447171 h 6857997"/>
              <a:gd name="connsiteX407" fmla="*/ 1656986 w 12188817"/>
              <a:gd name="connsiteY407" fmla="*/ 6445252 h 6857997"/>
              <a:gd name="connsiteX408" fmla="*/ 1586648 w 12188817"/>
              <a:gd name="connsiteY408" fmla="*/ 6445252 h 6857997"/>
              <a:gd name="connsiteX409" fmla="*/ 1566242 w 12188817"/>
              <a:gd name="connsiteY409" fmla="*/ 6455333 h 6857997"/>
              <a:gd name="connsiteX410" fmla="*/ 1558184 w 12188817"/>
              <a:gd name="connsiteY410" fmla="*/ 6484599 h 6857997"/>
              <a:gd name="connsiteX411" fmla="*/ 1566172 w 12188817"/>
              <a:gd name="connsiteY411" fmla="*/ 6512888 h 6857997"/>
              <a:gd name="connsiteX412" fmla="*/ 1587067 w 12188817"/>
              <a:gd name="connsiteY412" fmla="*/ 6522690 h 6857997"/>
              <a:gd name="connsiteX413" fmla="*/ 1604263 w 12188817"/>
              <a:gd name="connsiteY413" fmla="*/ 6516655 h 6857997"/>
              <a:gd name="connsiteX414" fmla="*/ 1613856 w 12188817"/>
              <a:gd name="connsiteY414" fmla="*/ 6498761 h 6857997"/>
              <a:gd name="connsiteX415" fmla="*/ 1603252 w 12188817"/>
              <a:gd name="connsiteY415" fmla="*/ 6497156 h 6857997"/>
              <a:gd name="connsiteX416" fmla="*/ 1587136 w 12188817"/>
              <a:gd name="connsiteY416" fmla="*/ 6512365 h 6857997"/>
              <a:gd name="connsiteX417" fmla="*/ 1574579 w 12188817"/>
              <a:gd name="connsiteY417" fmla="*/ 6506016 h 6857997"/>
              <a:gd name="connsiteX418" fmla="*/ 1568788 w 12188817"/>
              <a:gd name="connsiteY418" fmla="*/ 6487180 h 6857997"/>
              <a:gd name="connsiteX419" fmla="*/ 1614135 w 12188817"/>
              <a:gd name="connsiteY419" fmla="*/ 6487180 h 6857997"/>
              <a:gd name="connsiteX420" fmla="*/ 1614204 w 12188817"/>
              <a:gd name="connsiteY420" fmla="*/ 6483831 h 6857997"/>
              <a:gd name="connsiteX421" fmla="*/ 1606321 w 12188817"/>
              <a:gd name="connsiteY421" fmla="*/ 6455159 h 6857997"/>
              <a:gd name="connsiteX422" fmla="*/ 1586648 w 12188817"/>
              <a:gd name="connsiteY422" fmla="*/ 6445252 h 6857997"/>
              <a:gd name="connsiteX423" fmla="*/ 1317367 w 12188817"/>
              <a:gd name="connsiteY423" fmla="*/ 6445252 h 6857997"/>
              <a:gd name="connsiteX424" fmla="*/ 1304147 w 12188817"/>
              <a:gd name="connsiteY424" fmla="*/ 6449438 h 6857997"/>
              <a:gd name="connsiteX425" fmla="*/ 1294624 w 12188817"/>
              <a:gd name="connsiteY425" fmla="*/ 6462554 h 6857997"/>
              <a:gd name="connsiteX426" fmla="*/ 1290996 w 12188817"/>
              <a:gd name="connsiteY426" fmla="*/ 6483413 h 6857997"/>
              <a:gd name="connsiteX427" fmla="*/ 1299228 w 12188817"/>
              <a:gd name="connsiteY427" fmla="*/ 6511807 h 6857997"/>
              <a:gd name="connsiteX428" fmla="*/ 1317297 w 12188817"/>
              <a:gd name="connsiteY428" fmla="*/ 6521015 h 6857997"/>
              <a:gd name="connsiteX429" fmla="*/ 1326575 w 12188817"/>
              <a:gd name="connsiteY429" fmla="*/ 6518590 h 6857997"/>
              <a:gd name="connsiteX430" fmla="*/ 1334110 w 12188817"/>
              <a:gd name="connsiteY430" fmla="*/ 6511384 h 6857997"/>
              <a:gd name="connsiteX431" fmla="*/ 1333203 w 12188817"/>
              <a:gd name="connsiteY431" fmla="*/ 6527850 h 6857997"/>
              <a:gd name="connsiteX432" fmla="*/ 1327727 w 12188817"/>
              <a:gd name="connsiteY432" fmla="*/ 6537514 h 6857997"/>
              <a:gd name="connsiteX433" fmla="*/ 1316948 w 12188817"/>
              <a:gd name="connsiteY433" fmla="*/ 6540758 h 6857997"/>
              <a:gd name="connsiteX434" fmla="*/ 1307251 w 12188817"/>
              <a:gd name="connsiteY434" fmla="*/ 6537846 h 6857997"/>
              <a:gd name="connsiteX435" fmla="*/ 1303065 w 12188817"/>
              <a:gd name="connsiteY435" fmla="*/ 6528968 h 6857997"/>
              <a:gd name="connsiteX436" fmla="*/ 1293019 w 12188817"/>
              <a:gd name="connsiteY436" fmla="*/ 6527154 h 6857997"/>
              <a:gd name="connsiteX437" fmla="*/ 1299159 w 12188817"/>
              <a:gd name="connsiteY437" fmla="*/ 6544735 h 6857997"/>
              <a:gd name="connsiteX438" fmla="*/ 1317297 w 12188817"/>
              <a:gd name="connsiteY438" fmla="*/ 6551083 h 6857997"/>
              <a:gd name="connsiteX439" fmla="*/ 1332575 w 12188817"/>
              <a:gd name="connsiteY439" fmla="*/ 6546863 h 6857997"/>
              <a:gd name="connsiteX440" fmla="*/ 1341714 w 12188817"/>
              <a:gd name="connsiteY440" fmla="*/ 6535352 h 6857997"/>
              <a:gd name="connsiteX441" fmla="*/ 1344505 w 12188817"/>
              <a:gd name="connsiteY441" fmla="*/ 6510969 h 6857997"/>
              <a:gd name="connsiteX442" fmla="*/ 1344505 w 12188817"/>
              <a:gd name="connsiteY442" fmla="*/ 6446927 h 6857997"/>
              <a:gd name="connsiteX443" fmla="*/ 1335017 w 12188817"/>
              <a:gd name="connsiteY443" fmla="*/ 6446927 h 6857997"/>
              <a:gd name="connsiteX444" fmla="*/ 1335017 w 12188817"/>
              <a:gd name="connsiteY444" fmla="*/ 6455787 h 6857997"/>
              <a:gd name="connsiteX445" fmla="*/ 1327168 w 12188817"/>
              <a:gd name="connsiteY445" fmla="*/ 6447886 h 6857997"/>
              <a:gd name="connsiteX446" fmla="*/ 1317367 w 12188817"/>
              <a:gd name="connsiteY446" fmla="*/ 6445252 h 6857997"/>
              <a:gd name="connsiteX447" fmla="*/ 1250831 w 12188817"/>
              <a:gd name="connsiteY447" fmla="*/ 6445252 h 6857997"/>
              <a:gd name="connsiteX448" fmla="*/ 1244169 w 12188817"/>
              <a:gd name="connsiteY448" fmla="*/ 6447799 h 6857997"/>
              <a:gd name="connsiteX449" fmla="*/ 1237646 w 12188817"/>
              <a:gd name="connsiteY449" fmla="*/ 6458159 h 6857997"/>
              <a:gd name="connsiteX450" fmla="*/ 1237646 w 12188817"/>
              <a:gd name="connsiteY450" fmla="*/ 6446927 h 6857997"/>
              <a:gd name="connsiteX451" fmla="*/ 1230693 w 12188817"/>
              <a:gd name="connsiteY451" fmla="*/ 6446927 h 6857997"/>
              <a:gd name="connsiteX452" fmla="*/ 1228368 w 12188817"/>
              <a:gd name="connsiteY452" fmla="*/ 6446927 h 6857997"/>
              <a:gd name="connsiteX453" fmla="*/ 1220369 w 12188817"/>
              <a:gd name="connsiteY453" fmla="*/ 6446927 h 6857997"/>
              <a:gd name="connsiteX454" fmla="*/ 1207392 w 12188817"/>
              <a:gd name="connsiteY454" fmla="*/ 6490086 h 6857997"/>
              <a:gd name="connsiteX455" fmla="*/ 1203206 w 12188817"/>
              <a:gd name="connsiteY455" fmla="*/ 6506960 h 6857997"/>
              <a:gd name="connsiteX456" fmla="*/ 1198811 w 12188817"/>
              <a:gd name="connsiteY456" fmla="*/ 6489808 h 6857997"/>
              <a:gd name="connsiteX457" fmla="*/ 1186114 w 12188817"/>
              <a:gd name="connsiteY457" fmla="*/ 6446927 h 6857997"/>
              <a:gd name="connsiteX458" fmla="*/ 1175022 w 12188817"/>
              <a:gd name="connsiteY458" fmla="*/ 6446927 h 6857997"/>
              <a:gd name="connsiteX459" fmla="*/ 1198132 w 12188817"/>
              <a:gd name="connsiteY459" fmla="*/ 6521125 h 6857997"/>
              <a:gd name="connsiteX460" fmla="*/ 1194080 w 12188817"/>
              <a:gd name="connsiteY460" fmla="*/ 6533431 h 6857997"/>
              <a:gd name="connsiteX461" fmla="*/ 1190554 w 12188817"/>
              <a:gd name="connsiteY461" fmla="*/ 6537549 h 6857997"/>
              <a:gd name="connsiteX462" fmla="*/ 1185143 w 12188817"/>
              <a:gd name="connsiteY462" fmla="*/ 6538875 h 6857997"/>
              <a:gd name="connsiteX463" fmla="*/ 1179277 w 12188817"/>
              <a:gd name="connsiteY463" fmla="*/ 6537758 h 6857997"/>
              <a:gd name="connsiteX464" fmla="*/ 1180394 w 12188817"/>
              <a:gd name="connsiteY464" fmla="*/ 6549548 h 6857997"/>
              <a:gd name="connsiteX465" fmla="*/ 1187032 w 12188817"/>
              <a:gd name="connsiteY465" fmla="*/ 6551083 h 6857997"/>
              <a:gd name="connsiteX466" fmla="*/ 1194543 w 12188817"/>
              <a:gd name="connsiteY466" fmla="*/ 6548921 h 6857997"/>
              <a:gd name="connsiteX467" fmla="*/ 1200483 w 12188817"/>
              <a:gd name="connsiteY467" fmla="*/ 6541840 h 6857997"/>
              <a:gd name="connsiteX468" fmla="*/ 1207645 w 12188817"/>
              <a:gd name="connsiteY468" fmla="*/ 6522271 h 6857997"/>
              <a:gd name="connsiteX469" fmla="*/ 1228368 w 12188817"/>
              <a:gd name="connsiteY469" fmla="*/ 6454529 h 6857997"/>
              <a:gd name="connsiteX470" fmla="*/ 1228368 w 12188817"/>
              <a:gd name="connsiteY470" fmla="*/ 6521015 h 6857997"/>
              <a:gd name="connsiteX471" fmla="*/ 1238623 w 12188817"/>
              <a:gd name="connsiteY471" fmla="*/ 6521015 h 6857997"/>
              <a:gd name="connsiteX472" fmla="*/ 1238623 w 12188817"/>
              <a:gd name="connsiteY472" fmla="*/ 6482227 h 6857997"/>
              <a:gd name="connsiteX473" fmla="*/ 1240576 w 12188817"/>
              <a:gd name="connsiteY473" fmla="*/ 6466949 h 6857997"/>
              <a:gd name="connsiteX474" fmla="*/ 1244413 w 12188817"/>
              <a:gd name="connsiteY474" fmla="*/ 6460531 h 6857997"/>
              <a:gd name="connsiteX475" fmla="*/ 1250413 w 12188817"/>
              <a:gd name="connsiteY475" fmla="*/ 6458228 h 6857997"/>
              <a:gd name="connsiteX476" fmla="*/ 1257877 w 12188817"/>
              <a:gd name="connsiteY476" fmla="*/ 6460949 h 6857997"/>
              <a:gd name="connsiteX477" fmla="*/ 1261365 w 12188817"/>
              <a:gd name="connsiteY477" fmla="*/ 6449299 h 6857997"/>
              <a:gd name="connsiteX478" fmla="*/ 1250831 w 12188817"/>
              <a:gd name="connsiteY478" fmla="*/ 6445252 h 6857997"/>
              <a:gd name="connsiteX479" fmla="*/ 1141038 w 12188817"/>
              <a:gd name="connsiteY479" fmla="*/ 6445252 h 6857997"/>
              <a:gd name="connsiteX480" fmla="*/ 1131286 w 12188817"/>
              <a:gd name="connsiteY480" fmla="*/ 6447903 h 6857997"/>
              <a:gd name="connsiteX481" fmla="*/ 1123555 w 12188817"/>
              <a:gd name="connsiteY481" fmla="*/ 6456554 h 6857997"/>
              <a:gd name="connsiteX482" fmla="*/ 1123555 w 12188817"/>
              <a:gd name="connsiteY482" fmla="*/ 6446927 h 6857997"/>
              <a:gd name="connsiteX483" fmla="*/ 1114068 w 12188817"/>
              <a:gd name="connsiteY483" fmla="*/ 6446927 h 6857997"/>
              <a:gd name="connsiteX484" fmla="*/ 1114068 w 12188817"/>
              <a:gd name="connsiteY484" fmla="*/ 6549409 h 6857997"/>
              <a:gd name="connsiteX485" fmla="*/ 1124323 w 12188817"/>
              <a:gd name="connsiteY485" fmla="*/ 6549409 h 6857997"/>
              <a:gd name="connsiteX486" fmla="*/ 1124323 w 12188817"/>
              <a:gd name="connsiteY486" fmla="*/ 6513341 h 6857997"/>
              <a:gd name="connsiteX487" fmla="*/ 1131439 w 12188817"/>
              <a:gd name="connsiteY487" fmla="*/ 6520248 h 6857997"/>
              <a:gd name="connsiteX488" fmla="*/ 1140298 w 12188817"/>
              <a:gd name="connsiteY488" fmla="*/ 6522690 h 6857997"/>
              <a:gd name="connsiteX489" fmla="*/ 1158890 w 12188817"/>
              <a:gd name="connsiteY489" fmla="*/ 6512469 h 6857997"/>
              <a:gd name="connsiteX490" fmla="*/ 1166808 w 12188817"/>
              <a:gd name="connsiteY490" fmla="*/ 6483343 h 6857997"/>
              <a:gd name="connsiteX491" fmla="*/ 1163291 w 12188817"/>
              <a:gd name="connsiteY491" fmla="*/ 6462449 h 6857997"/>
              <a:gd name="connsiteX492" fmla="*/ 1153993 w 12188817"/>
              <a:gd name="connsiteY492" fmla="*/ 6449508 h 6857997"/>
              <a:gd name="connsiteX493" fmla="*/ 1141038 w 12188817"/>
              <a:gd name="connsiteY493" fmla="*/ 6445252 h 6857997"/>
              <a:gd name="connsiteX494" fmla="*/ 1071949 w 12188817"/>
              <a:gd name="connsiteY494" fmla="*/ 6445252 h 6857997"/>
              <a:gd name="connsiteX495" fmla="*/ 1051543 w 12188817"/>
              <a:gd name="connsiteY495" fmla="*/ 6455019 h 6857997"/>
              <a:gd name="connsiteX496" fmla="*/ 1043486 w 12188817"/>
              <a:gd name="connsiteY496" fmla="*/ 6483971 h 6857997"/>
              <a:gd name="connsiteX497" fmla="*/ 1051613 w 12188817"/>
              <a:gd name="connsiteY497" fmla="*/ 6512888 h 6857997"/>
              <a:gd name="connsiteX498" fmla="*/ 1071949 w 12188817"/>
              <a:gd name="connsiteY498" fmla="*/ 6522690 h 6857997"/>
              <a:gd name="connsiteX499" fmla="*/ 1092390 w 12188817"/>
              <a:gd name="connsiteY499" fmla="*/ 6512923 h 6857997"/>
              <a:gd name="connsiteX500" fmla="*/ 1100412 w 12188817"/>
              <a:gd name="connsiteY500" fmla="*/ 6483204 h 6857997"/>
              <a:gd name="connsiteX501" fmla="*/ 1092250 w 12188817"/>
              <a:gd name="connsiteY501" fmla="*/ 6455019 h 6857997"/>
              <a:gd name="connsiteX502" fmla="*/ 1071949 w 12188817"/>
              <a:gd name="connsiteY502" fmla="*/ 6445252 h 6857997"/>
              <a:gd name="connsiteX503" fmla="*/ 883892 w 12188817"/>
              <a:gd name="connsiteY503" fmla="*/ 6440020 h 6857997"/>
              <a:gd name="connsiteX504" fmla="*/ 867086 w 12188817"/>
              <a:gd name="connsiteY504" fmla="*/ 6447642 h 6857997"/>
              <a:gd name="connsiteX505" fmla="*/ 860692 w 12188817"/>
              <a:gd name="connsiteY505" fmla="*/ 6469809 h 6857997"/>
              <a:gd name="connsiteX506" fmla="*/ 867156 w 12188817"/>
              <a:gd name="connsiteY506" fmla="*/ 6492115 h 6857997"/>
              <a:gd name="connsiteX507" fmla="*/ 883401 w 12188817"/>
              <a:gd name="connsiteY507" fmla="*/ 6499877 h 6857997"/>
              <a:gd name="connsiteX508" fmla="*/ 896713 w 12188817"/>
              <a:gd name="connsiteY508" fmla="*/ 6494819 h 6857997"/>
              <a:gd name="connsiteX509" fmla="*/ 904155 w 12188817"/>
              <a:gd name="connsiteY509" fmla="*/ 6480762 h 6857997"/>
              <a:gd name="connsiteX510" fmla="*/ 897178 w 12188817"/>
              <a:gd name="connsiteY510" fmla="*/ 6478250 h 6857997"/>
              <a:gd name="connsiteX511" fmla="*/ 891863 w 12188817"/>
              <a:gd name="connsiteY511" fmla="*/ 6488192 h 6857997"/>
              <a:gd name="connsiteX512" fmla="*/ 882842 w 12188817"/>
              <a:gd name="connsiteY512" fmla="*/ 6491715 h 6857997"/>
              <a:gd name="connsiteX513" fmla="*/ 872562 w 12188817"/>
              <a:gd name="connsiteY513" fmla="*/ 6486326 h 6857997"/>
              <a:gd name="connsiteX514" fmla="*/ 868436 w 12188817"/>
              <a:gd name="connsiteY514" fmla="*/ 6470300 h 6857997"/>
              <a:gd name="connsiteX515" fmla="*/ 872772 w 12188817"/>
              <a:gd name="connsiteY515" fmla="*/ 6453502 h 6857997"/>
              <a:gd name="connsiteX516" fmla="*/ 883613 w 12188817"/>
              <a:gd name="connsiteY516" fmla="*/ 6447834 h 6857997"/>
              <a:gd name="connsiteX517" fmla="*/ 891341 w 12188817"/>
              <a:gd name="connsiteY517" fmla="*/ 6450520 h 6857997"/>
              <a:gd name="connsiteX518" fmla="*/ 896481 w 12188817"/>
              <a:gd name="connsiteY518" fmla="*/ 6458507 h 6857997"/>
              <a:gd name="connsiteX519" fmla="*/ 903317 w 12188817"/>
              <a:gd name="connsiteY519" fmla="*/ 6456484 h 6857997"/>
              <a:gd name="connsiteX520" fmla="*/ 896260 w 12188817"/>
              <a:gd name="connsiteY520" fmla="*/ 6444346 h 6857997"/>
              <a:gd name="connsiteX521" fmla="*/ 883892 w 12188817"/>
              <a:gd name="connsiteY521" fmla="*/ 6440020 h 6857997"/>
              <a:gd name="connsiteX522" fmla="*/ 2030135 w 12188817"/>
              <a:gd name="connsiteY522" fmla="*/ 6429486 h 6857997"/>
              <a:gd name="connsiteX523" fmla="*/ 2036063 w 12188817"/>
              <a:gd name="connsiteY523" fmla="*/ 6450694 h 6857997"/>
              <a:gd name="connsiteX524" fmla="*/ 2044779 w 12188817"/>
              <a:gd name="connsiteY524" fmla="*/ 6479018 h 6857997"/>
              <a:gd name="connsiteX525" fmla="*/ 2016211 w 12188817"/>
              <a:gd name="connsiteY525" fmla="*/ 6479018 h 6857997"/>
              <a:gd name="connsiteX526" fmla="*/ 2025540 w 12188817"/>
              <a:gd name="connsiteY526" fmla="*/ 6449020 h 6857997"/>
              <a:gd name="connsiteX527" fmla="*/ 2030135 w 12188817"/>
              <a:gd name="connsiteY527" fmla="*/ 6429486 h 6857997"/>
              <a:gd name="connsiteX528" fmla="*/ 883226 w 12188817"/>
              <a:gd name="connsiteY528" fmla="*/ 6425649 h 6857997"/>
              <a:gd name="connsiteX529" fmla="*/ 907922 w 12188817"/>
              <a:gd name="connsiteY529" fmla="*/ 6437738 h 6857997"/>
              <a:gd name="connsiteX530" fmla="*/ 919223 w 12188817"/>
              <a:gd name="connsiteY530" fmla="*/ 6469670 h 6857997"/>
              <a:gd name="connsiteX531" fmla="*/ 909317 w 12188817"/>
              <a:gd name="connsiteY531" fmla="*/ 6499925 h 6857997"/>
              <a:gd name="connsiteX532" fmla="*/ 883226 w 12188817"/>
              <a:gd name="connsiteY532" fmla="*/ 6513620 h 6857997"/>
              <a:gd name="connsiteX533" fmla="*/ 858530 w 12188817"/>
              <a:gd name="connsiteY533" fmla="*/ 6501603 h 6857997"/>
              <a:gd name="connsiteX534" fmla="*/ 847228 w 12188817"/>
              <a:gd name="connsiteY534" fmla="*/ 6469670 h 6857997"/>
              <a:gd name="connsiteX535" fmla="*/ 857134 w 12188817"/>
              <a:gd name="connsiteY535" fmla="*/ 6439344 h 6857997"/>
              <a:gd name="connsiteX536" fmla="*/ 883226 w 12188817"/>
              <a:gd name="connsiteY536" fmla="*/ 6425649 h 6857997"/>
              <a:gd name="connsiteX537" fmla="*/ 6208293 w 12188817"/>
              <a:gd name="connsiteY537" fmla="*/ 6421045 h 6857997"/>
              <a:gd name="connsiteX538" fmla="*/ 6198038 w 12188817"/>
              <a:gd name="connsiteY538" fmla="*/ 6428579 h 6857997"/>
              <a:gd name="connsiteX539" fmla="*/ 6198038 w 12188817"/>
              <a:gd name="connsiteY539" fmla="*/ 6446927 h 6857997"/>
              <a:gd name="connsiteX540" fmla="*/ 6190503 w 12188817"/>
              <a:gd name="connsiteY540" fmla="*/ 6446927 h 6857997"/>
              <a:gd name="connsiteX541" fmla="*/ 6190503 w 12188817"/>
              <a:gd name="connsiteY541" fmla="*/ 6456694 h 6857997"/>
              <a:gd name="connsiteX542" fmla="*/ 6198038 w 12188817"/>
              <a:gd name="connsiteY542" fmla="*/ 6456694 h 6857997"/>
              <a:gd name="connsiteX543" fmla="*/ 6198038 w 12188817"/>
              <a:gd name="connsiteY543" fmla="*/ 6499319 h 6857997"/>
              <a:gd name="connsiteX544" fmla="*/ 6199259 w 12188817"/>
              <a:gd name="connsiteY544" fmla="*/ 6514039 h 6857997"/>
              <a:gd name="connsiteX545" fmla="*/ 6203758 w 12188817"/>
              <a:gd name="connsiteY545" fmla="*/ 6519864 h 6857997"/>
              <a:gd name="connsiteX546" fmla="*/ 6212409 w 12188817"/>
              <a:gd name="connsiteY546" fmla="*/ 6521992 h 6857997"/>
              <a:gd name="connsiteX547" fmla="*/ 6220083 w 12188817"/>
              <a:gd name="connsiteY547" fmla="*/ 6520876 h 6857997"/>
              <a:gd name="connsiteX548" fmla="*/ 6218688 w 12188817"/>
              <a:gd name="connsiteY548" fmla="*/ 6509783 h 6857997"/>
              <a:gd name="connsiteX549" fmla="*/ 6214153 w 12188817"/>
              <a:gd name="connsiteY549" fmla="*/ 6510272 h 6857997"/>
              <a:gd name="connsiteX550" fmla="*/ 6209200 w 12188817"/>
              <a:gd name="connsiteY550" fmla="*/ 6507760 h 6857997"/>
              <a:gd name="connsiteX551" fmla="*/ 6208293 w 12188817"/>
              <a:gd name="connsiteY551" fmla="*/ 6500017 h 6857997"/>
              <a:gd name="connsiteX552" fmla="*/ 6208293 w 12188817"/>
              <a:gd name="connsiteY552" fmla="*/ 6456694 h 6857997"/>
              <a:gd name="connsiteX553" fmla="*/ 6218688 w 12188817"/>
              <a:gd name="connsiteY553" fmla="*/ 6456694 h 6857997"/>
              <a:gd name="connsiteX554" fmla="*/ 6218688 w 12188817"/>
              <a:gd name="connsiteY554" fmla="*/ 6446927 h 6857997"/>
              <a:gd name="connsiteX555" fmla="*/ 6208293 w 12188817"/>
              <a:gd name="connsiteY555" fmla="*/ 6446927 h 6857997"/>
              <a:gd name="connsiteX556" fmla="*/ 2421955 w 12188817"/>
              <a:gd name="connsiteY556" fmla="*/ 6421045 h 6857997"/>
              <a:gd name="connsiteX557" fmla="*/ 2411700 w 12188817"/>
              <a:gd name="connsiteY557" fmla="*/ 6428579 h 6857997"/>
              <a:gd name="connsiteX558" fmla="*/ 2411700 w 12188817"/>
              <a:gd name="connsiteY558" fmla="*/ 6446927 h 6857997"/>
              <a:gd name="connsiteX559" fmla="*/ 2404165 w 12188817"/>
              <a:gd name="connsiteY559" fmla="*/ 6446927 h 6857997"/>
              <a:gd name="connsiteX560" fmla="*/ 2404165 w 12188817"/>
              <a:gd name="connsiteY560" fmla="*/ 6456694 h 6857997"/>
              <a:gd name="connsiteX561" fmla="*/ 2411700 w 12188817"/>
              <a:gd name="connsiteY561" fmla="*/ 6456694 h 6857997"/>
              <a:gd name="connsiteX562" fmla="*/ 2411700 w 12188817"/>
              <a:gd name="connsiteY562" fmla="*/ 6499319 h 6857997"/>
              <a:gd name="connsiteX563" fmla="*/ 2412921 w 12188817"/>
              <a:gd name="connsiteY563" fmla="*/ 6514039 h 6857997"/>
              <a:gd name="connsiteX564" fmla="*/ 2417421 w 12188817"/>
              <a:gd name="connsiteY564" fmla="*/ 6519864 h 6857997"/>
              <a:gd name="connsiteX565" fmla="*/ 2426071 w 12188817"/>
              <a:gd name="connsiteY565" fmla="*/ 6521992 h 6857997"/>
              <a:gd name="connsiteX566" fmla="*/ 2432786 w 12188817"/>
              <a:gd name="connsiteY566" fmla="*/ 6521015 h 6857997"/>
              <a:gd name="connsiteX567" fmla="*/ 2486528 w 12188817"/>
              <a:gd name="connsiteY567" fmla="*/ 6521015 h 6857997"/>
              <a:gd name="connsiteX568" fmla="*/ 2486528 w 12188817"/>
              <a:gd name="connsiteY568" fmla="*/ 6510202 h 6857997"/>
              <a:gd name="connsiteX569" fmla="*/ 2458405 w 12188817"/>
              <a:gd name="connsiteY569" fmla="*/ 6510202 h 6857997"/>
              <a:gd name="connsiteX570" fmla="*/ 2445424 w 12188817"/>
              <a:gd name="connsiteY570" fmla="*/ 6510830 h 6857997"/>
              <a:gd name="connsiteX571" fmla="*/ 2451786 w 12188817"/>
              <a:gd name="connsiteY571" fmla="*/ 6502249 h 6857997"/>
              <a:gd name="connsiteX572" fmla="*/ 2484784 w 12188817"/>
              <a:gd name="connsiteY572" fmla="*/ 6455229 h 6857997"/>
              <a:gd name="connsiteX573" fmla="*/ 2484784 w 12188817"/>
              <a:gd name="connsiteY573" fmla="*/ 6446927 h 6857997"/>
              <a:gd name="connsiteX574" fmla="*/ 2435043 w 12188817"/>
              <a:gd name="connsiteY574" fmla="*/ 6446927 h 6857997"/>
              <a:gd name="connsiteX575" fmla="*/ 2435043 w 12188817"/>
              <a:gd name="connsiteY575" fmla="*/ 6457112 h 6857997"/>
              <a:gd name="connsiteX576" fmla="*/ 2459828 w 12188817"/>
              <a:gd name="connsiteY576" fmla="*/ 6457112 h 6857997"/>
              <a:gd name="connsiteX577" fmla="*/ 2471487 w 12188817"/>
              <a:gd name="connsiteY577" fmla="*/ 6456694 h 6857997"/>
              <a:gd name="connsiteX578" fmla="*/ 2432740 w 12188817"/>
              <a:gd name="connsiteY578" fmla="*/ 6510830 h 6857997"/>
              <a:gd name="connsiteX579" fmla="*/ 2432740 w 12188817"/>
              <a:gd name="connsiteY579" fmla="*/ 6512889 h 6857997"/>
              <a:gd name="connsiteX580" fmla="*/ 2432350 w 12188817"/>
              <a:gd name="connsiteY580" fmla="*/ 6509783 h 6857997"/>
              <a:gd name="connsiteX581" fmla="*/ 2427815 w 12188817"/>
              <a:gd name="connsiteY581" fmla="*/ 6510272 h 6857997"/>
              <a:gd name="connsiteX582" fmla="*/ 2422862 w 12188817"/>
              <a:gd name="connsiteY582" fmla="*/ 6507760 h 6857997"/>
              <a:gd name="connsiteX583" fmla="*/ 2421955 w 12188817"/>
              <a:gd name="connsiteY583" fmla="*/ 6500017 h 6857997"/>
              <a:gd name="connsiteX584" fmla="*/ 2421955 w 12188817"/>
              <a:gd name="connsiteY584" fmla="*/ 6456694 h 6857997"/>
              <a:gd name="connsiteX585" fmla="*/ 2432350 w 12188817"/>
              <a:gd name="connsiteY585" fmla="*/ 6456694 h 6857997"/>
              <a:gd name="connsiteX586" fmla="*/ 2432350 w 12188817"/>
              <a:gd name="connsiteY586" fmla="*/ 6446927 h 6857997"/>
              <a:gd name="connsiteX587" fmla="*/ 2421955 w 12188817"/>
              <a:gd name="connsiteY587" fmla="*/ 6446927 h 6857997"/>
              <a:gd name="connsiteX588" fmla="*/ 1440880 w 12188817"/>
              <a:gd name="connsiteY588" fmla="*/ 6421045 h 6857997"/>
              <a:gd name="connsiteX589" fmla="*/ 1430625 w 12188817"/>
              <a:gd name="connsiteY589" fmla="*/ 6428579 h 6857997"/>
              <a:gd name="connsiteX590" fmla="*/ 1430625 w 12188817"/>
              <a:gd name="connsiteY590" fmla="*/ 6446927 h 6857997"/>
              <a:gd name="connsiteX591" fmla="*/ 1423090 w 12188817"/>
              <a:gd name="connsiteY591" fmla="*/ 6446927 h 6857997"/>
              <a:gd name="connsiteX592" fmla="*/ 1423090 w 12188817"/>
              <a:gd name="connsiteY592" fmla="*/ 6456694 h 6857997"/>
              <a:gd name="connsiteX593" fmla="*/ 1430625 w 12188817"/>
              <a:gd name="connsiteY593" fmla="*/ 6456694 h 6857997"/>
              <a:gd name="connsiteX594" fmla="*/ 1430625 w 12188817"/>
              <a:gd name="connsiteY594" fmla="*/ 6499319 h 6857997"/>
              <a:gd name="connsiteX595" fmla="*/ 1431846 w 12188817"/>
              <a:gd name="connsiteY595" fmla="*/ 6514039 h 6857997"/>
              <a:gd name="connsiteX596" fmla="*/ 1436345 w 12188817"/>
              <a:gd name="connsiteY596" fmla="*/ 6519864 h 6857997"/>
              <a:gd name="connsiteX597" fmla="*/ 1444996 w 12188817"/>
              <a:gd name="connsiteY597" fmla="*/ 6521992 h 6857997"/>
              <a:gd name="connsiteX598" fmla="*/ 1452670 w 12188817"/>
              <a:gd name="connsiteY598" fmla="*/ 6520876 h 6857997"/>
              <a:gd name="connsiteX599" fmla="*/ 1451275 w 12188817"/>
              <a:gd name="connsiteY599" fmla="*/ 6509783 h 6857997"/>
              <a:gd name="connsiteX600" fmla="*/ 1446740 w 12188817"/>
              <a:gd name="connsiteY600" fmla="*/ 6510272 h 6857997"/>
              <a:gd name="connsiteX601" fmla="*/ 1441787 w 12188817"/>
              <a:gd name="connsiteY601" fmla="*/ 6507760 h 6857997"/>
              <a:gd name="connsiteX602" fmla="*/ 1440880 w 12188817"/>
              <a:gd name="connsiteY602" fmla="*/ 6500017 h 6857997"/>
              <a:gd name="connsiteX603" fmla="*/ 1440880 w 12188817"/>
              <a:gd name="connsiteY603" fmla="*/ 6456694 h 6857997"/>
              <a:gd name="connsiteX604" fmla="*/ 1451275 w 12188817"/>
              <a:gd name="connsiteY604" fmla="*/ 6456694 h 6857997"/>
              <a:gd name="connsiteX605" fmla="*/ 1451275 w 12188817"/>
              <a:gd name="connsiteY605" fmla="*/ 6446927 h 6857997"/>
              <a:gd name="connsiteX606" fmla="*/ 1440880 w 12188817"/>
              <a:gd name="connsiteY606" fmla="*/ 6446927 h 6857997"/>
              <a:gd name="connsiteX607" fmla="*/ 6319282 w 12188817"/>
              <a:gd name="connsiteY607" fmla="*/ 6418742 h 6857997"/>
              <a:gd name="connsiteX608" fmla="*/ 6319282 w 12188817"/>
              <a:gd name="connsiteY608" fmla="*/ 6521015 h 6857997"/>
              <a:gd name="connsiteX609" fmla="*/ 6329537 w 12188817"/>
              <a:gd name="connsiteY609" fmla="*/ 6521015 h 6857997"/>
              <a:gd name="connsiteX610" fmla="*/ 6329537 w 12188817"/>
              <a:gd name="connsiteY610" fmla="*/ 6418742 h 6857997"/>
              <a:gd name="connsiteX611" fmla="*/ 6224380 w 12188817"/>
              <a:gd name="connsiteY611" fmla="*/ 6418742 h 6857997"/>
              <a:gd name="connsiteX612" fmla="*/ 6224380 w 12188817"/>
              <a:gd name="connsiteY612" fmla="*/ 6433183 h 6857997"/>
              <a:gd name="connsiteX613" fmla="*/ 6234636 w 12188817"/>
              <a:gd name="connsiteY613" fmla="*/ 6433183 h 6857997"/>
              <a:gd name="connsiteX614" fmla="*/ 6234636 w 12188817"/>
              <a:gd name="connsiteY614" fmla="*/ 6418742 h 6857997"/>
              <a:gd name="connsiteX615" fmla="*/ 6034361 w 12188817"/>
              <a:gd name="connsiteY615" fmla="*/ 6418742 h 6857997"/>
              <a:gd name="connsiteX616" fmla="*/ 6034361 w 12188817"/>
              <a:gd name="connsiteY616" fmla="*/ 6455438 h 6857997"/>
              <a:gd name="connsiteX617" fmla="*/ 6027153 w 12188817"/>
              <a:gd name="connsiteY617" fmla="*/ 6447938 h 6857997"/>
              <a:gd name="connsiteX618" fmla="*/ 6017716 w 12188817"/>
              <a:gd name="connsiteY618" fmla="*/ 6445252 h 6857997"/>
              <a:gd name="connsiteX619" fmla="*/ 6004794 w 12188817"/>
              <a:gd name="connsiteY619" fmla="*/ 6449508 h 6857997"/>
              <a:gd name="connsiteX620" fmla="*/ 5995495 w 12188817"/>
              <a:gd name="connsiteY620" fmla="*/ 6462554 h 6857997"/>
              <a:gd name="connsiteX621" fmla="*/ 5992013 w 12188817"/>
              <a:gd name="connsiteY621" fmla="*/ 6483971 h 6857997"/>
              <a:gd name="connsiteX622" fmla="*/ 5999862 w 12188817"/>
              <a:gd name="connsiteY622" fmla="*/ 6512539 h 6857997"/>
              <a:gd name="connsiteX623" fmla="*/ 6018454 w 12188817"/>
              <a:gd name="connsiteY623" fmla="*/ 6522690 h 6857997"/>
              <a:gd name="connsiteX624" fmla="*/ 6027944 w 12188817"/>
              <a:gd name="connsiteY624" fmla="*/ 6519864 h 6857997"/>
              <a:gd name="connsiteX625" fmla="*/ 6035129 w 12188817"/>
              <a:gd name="connsiteY625" fmla="*/ 6511667 h 6857997"/>
              <a:gd name="connsiteX626" fmla="*/ 6035129 w 12188817"/>
              <a:gd name="connsiteY626" fmla="*/ 6521015 h 6857997"/>
              <a:gd name="connsiteX627" fmla="*/ 6044755 w 12188817"/>
              <a:gd name="connsiteY627" fmla="*/ 6521015 h 6857997"/>
              <a:gd name="connsiteX628" fmla="*/ 6044755 w 12188817"/>
              <a:gd name="connsiteY628" fmla="*/ 6418742 h 6857997"/>
              <a:gd name="connsiteX629" fmla="*/ 2790947 w 12188817"/>
              <a:gd name="connsiteY629" fmla="*/ 6418742 h 6857997"/>
              <a:gd name="connsiteX630" fmla="*/ 2790947 w 12188817"/>
              <a:gd name="connsiteY630" fmla="*/ 6455438 h 6857997"/>
              <a:gd name="connsiteX631" fmla="*/ 2783737 w 12188817"/>
              <a:gd name="connsiteY631" fmla="*/ 6447938 h 6857997"/>
              <a:gd name="connsiteX632" fmla="*/ 2774300 w 12188817"/>
              <a:gd name="connsiteY632" fmla="*/ 6445252 h 6857997"/>
              <a:gd name="connsiteX633" fmla="*/ 2761380 w 12188817"/>
              <a:gd name="connsiteY633" fmla="*/ 6449508 h 6857997"/>
              <a:gd name="connsiteX634" fmla="*/ 2752082 w 12188817"/>
              <a:gd name="connsiteY634" fmla="*/ 6462554 h 6857997"/>
              <a:gd name="connsiteX635" fmla="*/ 2748600 w 12188817"/>
              <a:gd name="connsiteY635" fmla="*/ 6483971 h 6857997"/>
              <a:gd name="connsiteX636" fmla="*/ 2756449 w 12188817"/>
              <a:gd name="connsiteY636" fmla="*/ 6512539 h 6857997"/>
              <a:gd name="connsiteX637" fmla="*/ 2775041 w 12188817"/>
              <a:gd name="connsiteY637" fmla="*/ 6522690 h 6857997"/>
              <a:gd name="connsiteX638" fmla="*/ 2784528 w 12188817"/>
              <a:gd name="connsiteY638" fmla="*/ 6519864 h 6857997"/>
              <a:gd name="connsiteX639" fmla="*/ 2791714 w 12188817"/>
              <a:gd name="connsiteY639" fmla="*/ 6511667 h 6857997"/>
              <a:gd name="connsiteX640" fmla="*/ 2791714 w 12188817"/>
              <a:gd name="connsiteY640" fmla="*/ 6521015 h 6857997"/>
              <a:gd name="connsiteX641" fmla="*/ 2801341 w 12188817"/>
              <a:gd name="connsiteY641" fmla="*/ 6521015 h 6857997"/>
              <a:gd name="connsiteX642" fmla="*/ 2801341 w 12188817"/>
              <a:gd name="connsiteY642" fmla="*/ 6418742 h 6857997"/>
              <a:gd name="connsiteX643" fmla="*/ 2590094 w 12188817"/>
              <a:gd name="connsiteY643" fmla="*/ 6418742 h 6857997"/>
              <a:gd name="connsiteX644" fmla="*/ 2590094 w 12188817"/>
              <a:gd name="connsiteY644" fmla="*/ 6521015 h 6857997"/>
              <a:gd name="connsiteX645" fmla="*/ 2600349 w 12188817"/>
              <a:gd name="connsiteY645" fmla="*/ 6521015 h 6857997"/>
              <a:gd name="connsiteX646" fmla="*/ 2600349 w 12188817"/>
              <a:gd name="connsiteY646" fmla="*/ 6418742 h 6857997"/>
              <a:gd name="connsiteX647" fmla="*/ 2380892 w 12188817"/>
              <a:gd name="connsiteY647" fmla="*/ 6418742 h 6857997"/>
              <a:gd name="connsiteX648" fmla="*/ 2380892 w 12188817"/>
              <a:gd name="connsiteY648" fmla="*/ 6433183 h 6857997"/>
              <a:gd name="connsiteX649" fmla="*/ 2391148 w 12188817"/>
              <a:gd name="connsiteY649" fmla="*/ 6433183 h 6857997"/>
              <a:gd name="connsiteX650" fmla="*/ 2391148 w 12188817"/>
              <a:gd name="connsiteY650" fmla="*/ 6418742 h 6857997"/>
              <a:gd name="connsiteX651" fmla="*/ 2024493 w 12188817"/>
              <a:gd name="connsiteY651" fmla="*/ 6418742 h 6857997"/>
              <a:gd name="connsiteX652" fmla="*/ 1992149 w 12188817"/>
              <a:gd name="connsiteY652" fmla="*/ 6521015 h 6857997"/>
              <a:gd name="connsiteX653" fmla="*/ 2003850 w 12188817"/>
              <a:gd name="connsiteY653" fmla="*/ 6521015 h 6857997"/>
              <a:gd name="connsiteX654" fmla="*/ 2012966 w 12188817"/>
              <a:gd name="connsiteY654" fmla="*/ 6490040 h 6857997"/>
              <a:gd name="connsiteX655" fmla="*/ 2048249 w 12188817"/>
              <a:gd name="connsiteY655" fmla="*/ 6490040 h 6857997"/>
              <a:gd name="connsiteX656" fmla="*/ 2058004 w 12188817"/>
              <a:gd name="connsiteY656" fmla="*/ 6521015 h 6857997"/>
              <a:gd name="connsiteX657" fmla="*/ 2070702 w 12188817"/>
              <a:gd name="connsiteY657" fmla="*/ 6521015 h 6857997"/>
              <a:gd name="connsiteX658" fmla="*/ 2036357 w 12188817"/>
              <a:gd name="connsiteY658" fmla="*/ 6418742 h 6857997"/>
              <a:gd name="connsiteX659" fmla="*/ 1818918 w 12188817"/>
              <a:gd name="connsiteY659" fmla="*/ 6418742 h 6857997"/>
              <a:gd name="connsiteX660" fmla="*/ 1818918 w 12188817"/>
              <a:gd name="connsiteY660" fmla="*/ 6433183 h 6857997"/>
              <a:gd name="connsiteX661" fmla="*/ 1829173 w 12188817"/>
              <a:gd name="connsiteY661" fmla="*/ 6433183 h 6857997"/>
              <a:gd name="connsiteX662" fmla="*/ 1829173 w 12188817"/>
              <a:gd name="connsiteY662" fmla="*/ 6418742 h 6857997"/>
              <a:gd name="connsiteX663" fmla="*/ 1752242 w 12188817"/>
              <a:gd name="connsiteY663" fmla="*/ 6418742 h 6857997"/>
              <a:gd name="connsiteX664" fmla="*/ 1752242 w 12188817"/>
              <a:gd name="connsiteY664" fmla="*/ 6433183 h 6857997"/>
              <a:gd name="connsiteX665" fmla="*/ 1762498 w 12188817"/>
              <a:gd name="connsiteY665" fmla="*/ 6433183 h 6857997"/>
              <a:gd name="connsiteX666" fmla="*/ 1762498 w 12188817"/>
              <a:gd name="connsiteY666" fmla="*/ 6418742 h 6857997"/>
              <a:gd name="connsiteX667" fmla="*/ 1361717 w 12188817"/>
              <a:gd name="connsiteY667" fmla="*/ 6418742 h 6857997"/>
              <a:gd name="connsiteX668" fmla="*/ 1361717 w 12188817"/>
              <a:gd name="connsiteY668" fmla="*/ 6521015 h 6857997"/>
              <a:gd name="connsiteX669" fmla="*/ 1371973 w 12188817"/>
              <a:gd name="connsiteY669" fmla="*/ 6521015 h 6857997"/>
              <a:gd name="connsiteX670" fmla="*/ 1371973 w 12188817"/>
              <a:gd name="connsiteY670" fmla="*/ 6480483 h 6857997"/>
              <a:gd name="connsiteX671" fmla="*/ 1376682 w 12188817"/>
              <a:gd name="connsiteY671" fmla="*/ 6461437 h 6857997"/>
              <a:gd name="connsiteX672" fmla="*/ 1388088 w 12188817"/>
              <a:gd name="connsiteY672" fmla="*/ 6456066 h 6857997"/>
              <a:gd name="connsiteX673" fmla="*/ 1397506 w 12188817"/>
              <a:gd name="connsiteY673" fmla="*/ 6460252 h 6857997"/>
              <a:gd name="connsiteX674" fmla="*/ 1400924 w 12188817"/>
              <a:gd name="connsiteY674" fmla="*/ 6474065 h 6857997"/>
              <a:gd name="connsiteX675" fmla="*/ 1400924 w 12188817"/>
              <a:gd name="connsiteY675" fmla="*/ 6521015 h 6857997"/>
              <a:gd name="connsiteX676" fmla="*/ 1411180 w 12188817"/>
              <a:gd name="connsiteY676" fmla="*/ 6521015 h 6857997"/>
              <a:gd name="connsiteX677" fmla="*/ 1411180 w 12188817"/>
              <a:gd name="connsiteY677" fmla="*/ 6474065 h 6857997"/>
              <a:gd name="connsiteX678" fmla="*/ 1405564 w 12188817"/>
              <a:gd name="connsiteY678" fmla="*/ 6451426 h 6857997"/>
              <a:gd name="connsiteX679" fmla="*/ 1390251 w 12188817"/>
              <a:gd name="connsiteY679" fmla="*/ 6445252 h 6857997"/>
              <a:gd name="connsiteX680" fmla="*/ 1380170 w 12188817"/>
              <a:gd name="connsiteY680" fmla="*/ 6447799 h 6857997"/>
              <a:gd name="connsiteX681" fmla="*/ 1371973 w 12188817"/>
              <a:gd name="connsiteY681" fmla="*/ 6455438 h 6857997"/>
              <a:gd name="connsiteX682" fmla="*/ 1371973 w 12188817"/>
              <a:gd name="connsiteY682" fmla="*/ 6418742 h 6857997"/>
              <a:gd name="connsiteX683" fmla="*/ 1266468 w 12188817"/>
              <a:gd name="connsiteY683" fmla="*/ 6418742 h 6857997"/>
              <a:gd name="connsiteX684" fmla="*/ 1266468 w 12188817"/>
              <a:gd name="connsiteY684" fmla="*/ 6433183 h 6857997"/>
              <a:gd name="connsiteX685" fmla="*/ 1276723 w 12188817"/>
              <a:gd name="connsiteY685" fmla="*/ 6433183 h 6857997"/>
              <a:gd name="connsiteX686" fmla="*/ 1276723 w 12188817"/>
              <a:gd name="connsiteY686" fmla="*/ 6418742 h 6857997"/>
              <a:gd name="connsiteX687" fmla="*/ 5958280 w 12188817"/>
              <a:gd name="connsiteY687" fmla="*/ 6416998 h 6857997"/>
              <a:gd name="connsiteX688" fmla="*/ 5948873 w 12188817"/>
              <a:gd name="connsiteY688" fmla="*/ 6419301 h 6857997"/>
              <a:gd name="connsiteX689" fmla="*/ 5943312 w 12188817"/>
              <a:gd name="connsiteY689" fmla="*/ 6425963 h 6857997"/>
              <a:gd name="connsiteX690" fmla="*/ 5941493 w 12188817"/>
              <a:gd name="connsiteY690" fmla="*/ 6439044 h 6857997"/>
              <a:gd name="connsiteX691" fmla="*/ 5941493 w 12188817"/>
              <a:gd name="connsiteY691" fmla="*/ 6446927 h 6857997"/>
              <a:gd name="connsiteX692" fmla="*/ 5932354 w 12188817"/>
              <a:gd name="connsiteY692" fmla="*/ 6446927 h 6857997"/>
              <a:gd name="connsiteX693" fmla="*/ 5932354 w 12188817"/>
              <a:gd name="connsiteY693" fmla="*/ 6456694 h 6857997"/>
              <a:gd name="connsiteX694" fmla="*/ 5941493 w 12188817"/>
              <a:gd name="connsiteY694" fmla="*/ 6456694 h 6857997"/>
              <a:gd name="connsiteX695" fmla="*/ 5941493 w 12188817"/>
              <a:gd name="connsiteY695" fmla="*/ 6521015 h 6857997"/>
              <a:gd name="connsiteX696" fmla="*/ 5951746 w 12188817"/>
              <a:gd name="connsiteY696" fmla="*/ 6521015 h 6857997"/>
              <a:gd name="connsiteX697" fmla="*/ 5951746 w 12188817"/>
              <a:gd name="connsiteY697" fmla="*/ 6456694 h 6857997"/>
              <a:gd name="connsiteX698" fmla="*/ 5963606 w 12188817"/>
              <a:gd name="connsiteY698" fmla="*/ 6456694 h 6857997"/>
              <a:gd name="connsiteX699" fmla="*/ 5963606 w 12188817"/>
              <a:gd name="connsiteY699" fmla="*/ 6446927 h 6857997"/>
              <a:gd name="connsiteX700" fmla="*/ 5951746 w 12188817"/>
              <a:gd name="connsiteY700" fmla="*/ 6446927 h 6857997"/>
              <a:gd name="connsiteX701" fmla="*/ 5951746 w 12188817"/>
              <a:gd name="connsiteY701" fmla="*/ 6440090 h 6857997"/>
              <a:gd name="connsiteX702" fmla="*/ 5953734 w 12188817"/>
              <a:gd name="connsiteY702" fmla="*/ 6430916 h 6857997"/>
              <a:gd name="connsiteX703" fmla="*/ 5960327 w 12188817"/>
              <a:gd name="connsiteY703" fmla="*/ 6428509 h 6857997"/>
              <a:gd name="connsiteX704" fmla="*/ 5966397 w 12188817"/>
              <a:gd name="connsiteY704" fmla="*/ 6429207 h 6857997"/>
              <a:gd name="connsiteX705" fmla="*/ 5967205 w 12188817"/>
              <a:gd name="connsiteY705" fmla="*/ 6423469 h 6857997"/>
              <a:gd name="connsiteX706" fmla="*/ 5967205 w 12188817"/>
              <a:gd name="connsiteY706" fmla="*/ 6433183 h 6857997"/>
              <a:gd name="connsiteX707" fmla="*/ 5977462 w 12188817"/>
              <a:gd name="connsiteY707" fmla="*/ 6433183 h 6857997"/>
              <a:gd name="connsiteX708" fmla="*/ 5977462 w 12188817"/>
              <a:gd name="connsiteY708" fmla="*/ 6418742 h 6857997"/>
              <a:gd name="connsiteX709" fmla="*/ 5967872 w 12188817"/>
              <a:gd name="connsiteY709" fmla="*/ 6418742 h 6857997"/>
              <a:gd name="connsiteX710" fmla="*/ 5967933 w 12188817"/>
              <a:gd name="connsiteY710" fmla="*/ 6418324 h 6857997"/>
              <a:gd name="connsiteX711" fmla="*/ 5958280 w 12188817"/>
              <a:gd name="connsiteY711" fmla="*/ 6416998 h 6857997"/>
              <a:gd name="connsiteX712" fmla="*/ 883226 w 12188817"/>
              <a:gd name="connsiteY712" fmla="*/ 6416998 h 6857997"/>
              <a:gd name="connsiteX713" fmla="*/ 862262 w 12188817"/>
              <a:gd name="connsiteY713" fmla="*/ 6423591 h 6857997"/>
              <a:gd name="connsiteX714" fmla="*/ 846181 w 12188817"/>
              <a:gd name="connsiteY714" fmla="*/ 6442532 h 6857997"/>
              <a:gd name="connsiteX715" fmla="*/ 840042 w 12188817"/>
              <a:gd name="connsiteY715" fmla="*/ 6469670 h 6857997"/>
              <a:gd name="connsiteX716" fmla="*/ 852460 w 12188817"/>
              <a:gd name="connsiteY716" fmla="*/ 6506539 h 6857997"/>
              <a:gd name="connsiteX717" fmla="*/ 883226 w 12188817"/>
              <a:gd name="connsiteY717" fmla="*/ 6522271 h 6857997"/>
              <a:gd name="connsiteX718" fmla="*/ 904190 w 12188817"/>
              <a:gd name="connsiteY718" fmla="*/ 6515678 h 6857997"/>
              <a:gd name="connsiteX719" fmla="*/ 920270 w 12188817"/>
              <a:gd name="connsiteY719" fmla="*/ 6496738 h 6857997"/>
              <a:gd name="connsiteX720" fmla="*/ 926409 w 12188817"/>
              <a:gd name="connsiteY720" fmla="*/ 6469670 h 6857997"/>
              <a:gd name="connsiteX721" fmla="*/ 913991 w 12188817"/>
              <a:gd name="connsiteY721" fmla="*/ 6432765 h 6857997"/>
              <a:gd name="connsiteX722" fmla="*/ 883226 w 12188817"/>
              <a:gd name="connsiteY722" fmla="*/ 6416998 h 6857997"/>
              <a:gd name="connsiteX723" fmla="*/ 5757199 w 12188817"/>
              <a:gd name="connsiteY723" fmla="*/ 6416929 h 6857997"/>
              <a:gd name="connsiteX724" fmla="*/ 5737086 w 12188817"/>
              <a:gd name="connsiteY724" fmla="*/ 6422897 h 6857997"/>
              <a:gd name="connsiteX725" fmla="*/ 5722805 w 12188817"/>
              <a:gd name="connsiteY725" fmla="*/ 6440559 h 6857997"/>
              <a:gd name="connsiteX726" fmla="*/ 5717534 w 12188817"/>
              <a:gd name="connsiteY726" fmla="*/ 6469146 h 6857997"/>
              <a:gd name="connsiteX727" fmla="*/ 5722800 w 12188817"/>
              <a:gd name="connsiteY727" fmla="*/ 6498815 h 6857997"/>
              <a:gd name="connsiteX728" fmla="*/ 5736335 w 12188817"/>
              <a:gd name="connsiteY728" fmla="*/ 6517070 h 6857997"/>
              <a:gd name="connsiteX729" fmla="*/ 5756253 w 12188817"/>
              <a:gd name="connsiteY729" fmla="*/ 6522759 h 6857997"/>
              <a:gd name="connsiteX730" fmla="*/ 5778751 w 12188817"/>
              <a:gd name="connsiteY730" fmla="*/ 6514283 h 6857997"/>
              <a:gd name="connsiteX731" fmla="*/ 5791692 w 12188817"/>
              <a:gd name="connsiteY731" fmla="*/ 6488575 h 6857997"/>
              <a:gd name="connsiteX732" fmla="*/ 5780529 w 12188817"/>
              <a:gd name="connsiteY732" fmla="*/ 6485157 h 6857997"/>
              <a:gd name="connsiteX733" fmla="*/ 5771703 w 12188817"/>
              <a:gd name="connsiteY733" fmla="*/ 6504726 h 6857997"/>
              <a:gd name="connsiteX734" fmla="*/ 5756044 w 12188817"/>
              <a:gd name="connsiteY734" fmla="*/ 6511179 h 6857997"/>
              <a:gd name="connsiteX735" fmla="*/ 5736369 w 12188817"/>
              <a:gd name="connsiteY735" fmla="*/ 6500671 h 6857997"/>
              <a:gd name="connsiteX736" fmla="*/ 5728974 w 12188817"/>
              <a:gd name="connsiteY736" fmla="*/ 6469145 h 6857997"/>
              <a:gd name="connsiteX737" fmla="*/ 5732644 w 12188817"/>
              <a:gd name="connsiteY737" fmla="*/ 6446175 h 6857997"/>
              <a:gd name="connsiteX738" fmla="*/ 5742457 w 12188817"/>
              <a:gd name="connsiteY738" fmla="*/ 6432804 h 6857997"/>
              <a:gd name="connsiteX739" fmla="*/ 5756988 w 12188817"/>
              <a:gd name="connsiteY739" fmla="*/ 6428509 h 6857997"/>
              <a:gd name="connsiteX740" fmla="*/ 5779412 w 12188817"/>
              <a:gd name="connsiteY740" fmla="*/ 6449787 h 6857997"/>
              <a:gd name="connsiteX741" fmla="*/ 5790296 w 12188817"/>
              <a:gd name="connsiteY741" fmla="*/ 6446648 h 6857997"/>
              <a:gd name="connsiteX742" fmla="*/ 5778076 w 12188817"/>
              <a:gd name="connsiteY742" fmla="*/ 6424480 h 6857997"/>
              <a:gd name="connsiteX743" fmla="*/ 5757199 w 12188817"/>
              <a:gd name="connsiteY743" fmla="*/ 6416929 h 6857997"/>
              <a:gd name="connsiteX744" fmla="*/ 2249524 w 12188817"/>
              <a:gd name="connsiteY744" fmla="*/ 6416929 h 6857997"/>
              <a:gd name="connsiteX745" fmla="*/ 2227897 w 12188817"/>
              <a:gd name="connsiteY745" fmla="*/ 6424812 h 6857997"/>
              <a:gd name="connsiteX746" fmla="*/ 2219874 w 12188817"/>
              <a:gd name="connsiteY746" fmla="*/ 6445113 h 6857997"/>
              <a:gd name="connsiteX747" fmla="*/ 2222665 w 12188817"/>
              <a:gd name="connsiteY747" fmla="*/ 6457496 h 6857997"/>
              <a:gd name="connsiteX748" fmla="*/ 2230478 w 12188817"/>
              <a:gd name="connsiteY748" fmla="*/ 6466530 h 6857997"/>
              <a:gd name="connsiteX749" fmla="*/ 2247361 w 12188817"/>
              <a:gd name="connsiteY749" fmla="*/ 6473609 h 6857997"/>
              <a:gd name="connsiteX750" fmla="*/ 2264697 w 12188817"/>
              <a:gd name="connsiteY750" fmla="*/ 6479711 h 6857997"/>
              <a:gd name="connsiteX751" fmla="*/ 2270697 w 12188817"/>
              <a:gd name="connsiteY751" fmla="*/ 6485246 h 6857997"/>
              <a:gd name="connsiteX752" fmla="*/ 2272685 w 12188817"/>
              <a:gd name="connsiteY752" fmla="*/ 6493147 h 6857997"/>
              <a:gd name="connsiteX753" fmla="*/ 2267209 w 12188817"/>
              <a:gd name="connsiteY753" fmla="*/ 6505713 h 6857997"/>
              <a:gd name="connsiteX754" fmla="*/ 2251826 w 12188817"/>
              <a:gd name="connsiteY754" fmla="*/ 6510551 h 6857997"/>
              <a:gd name="connsiteX755" fmla="*/ 2239408 w 12188817"/>
              <a:gd name="connsiteY755" fmla="*/ 6507690 h 6857997"/>
              <a:gd name="connsiteX756" fmla="*/ 2230932 w 12188817"/>
              <a:gd name="connsiteY756" fmla="*/ 6500121 h 6857997"/>
              <a:gd name="connsiteX757" fmla="*/ 2227130 w 12188817"/>
              <a:gd name="connsiteY757" fmla="*/ 6486971 h 6857997"/>
              <a:gd name="connsiteX758" fmla="*/ 2216665 w 12188817"/>
              <a:gd name="connsiteY758" fmla="*/ 6488087 h 6857997"/>
              <a:gd name="connsiteX759" fmla="*/ 2226258 w 12188817"/>
              <a:gd name="connsiteY759" fmla="*/ 6513411 h 6857997"/>
              <a:gd name="connsiteX760" fmla="*/ 2251059 w 12188817"/>
              <a:gd name="connsiteY760" fmla="*/ 6522759 h 6857997"/>
              <a:gd name="connsiteX761" fmla="*/ 2268116 w 12188817"/>
              <a:gd name="connsiteY761" fmla="*/ 6518996 h 6857997"/>
              <a:gd name="connsiteX762" fmla="*/ 2279313 w 12188817"/>
              <a:gd name="connsiteY762" fmla="*/ 6508020 h 6857997"/>
              <a:gd name="connsiteX763" fmla="*/ 2283429 w 12188817"/>
              <a:gd name="connsiteY763" fmla="*/ 6492028 h 6857997"/>
              <a:gd name="connsiteX764" fmla="*/ 2279514 w 12188817"/>
              <a:gd name="connsiteY764" fmla="*/ 6476800 h 6857997"/>
              <a:gd name="connsiteX765" fmla="*/ 2267928 w 12188817"/>
              <a:gd name="connsiteY765" fmla="*/ 6466500 h 6857997"/>
              <a:gd name="connsiteX766" fmla="*/ 2250496 w 12188817"/>
              <a:gd name="connsiteY766" fmla="*/ 6460543 h 6857997"/>
              <a:gd name="connsiteX767" fmla="*/ 2234177 w 12188817"/>
              <a:gd name="connsiteY767" fmla="*/ 6453621 h 6857997"/>
              <a:gd name="connsiteX768" fmla="*/ 2230548 w 12188817"/>
              <a:gd name="connsiteY768" fmla="*/ 6443995 h 6857997"/>
              <a:gd name="connsiteX769" fmla="*/ 2235501 w 12188817"/>
              <a:gd name="connsiteY769" fmla="*/ 6433078 h 6857997"/>
              <a:gd name="connsiteX770" fmla="*/ 2249873 w 12188817"/>
              <a:gd name="connsiteY770" fmla="*/ 6428858 h 6857997"/>
              <a:gd name="connsiteX771" fmla="*/ 2264279 w 12188817"/>
              <a:gd name="connsiteY771" fmla="*/ 6433672 h 6857997"/>
              <a:gd name="connsiteX772" fmla="*/ 2270243 w 12188817"/>
              <a:gd name="connsiteY772" fmla="*/ 6448462 h 6857997"/>
              <a:gd name="connsiteX773" fmla="*/ 2280917 w 12188817"/>
              <a:gd name="connsiteY773" fmla="*/ 6447485 h 6857997"/>
              <a:gd name="connsiteX774" fmla="*/ 2276766 w 12188817"/>
              <a:gd name="connsiteY774" fmla="*/ 6431230 h 6857997"/>
              <a:gd name="connsiteX775" fmla="*/ 2265883 w 12188817"/>
              <a:gd name="connsiteY775" fmla="*/ 6420626 h 6857997"/>
              <a:gd name="connsiteX776" fmla="*/ 2249524 w 12188817"/>
              <a:gd name="connsiteY776" fmla="*/ 6416929 h 6857997"/>
              <a:gd name="connsiteX777" fmla="*/ 2107518 w 12188817"/>
              <a:gd name="connsiteY777" fmla="*/ 6416929 h 6857997"/>
              <a:gd name="connsiteX778" fmla="*/ 2085892 w 12188817"/>
              <a:gd name="connsiteY778" fmla="*/ 6422827 h 6857997"/>
              <a:gd name="connsiteX779" fmla="*/ 2071102 w 12188817"/>
              <a:gd name="connsiteY779" fmla="*/ 6441152 h 6857997"/>
              <a:gd name="connsiteX780" fmla="*/ 2065451 w 12188817"/>
              <a:gd name="connsiteY780" fmla="*/ 6470332 h 6857997"/>
              <a:gd name="connsiteX781" fmla="*/ 2071067 w 12188817"/>
              <a:gd name="connsiteY781" fmla="*/ 6498675 h 6857997"/>
              <a:gd name="connsiteX782" fmla="*/ 2086310 w 12188817"/>
              <a:gd name="connsiteY782" fmla="*/ 6516616 h 6857997"/>
              <a:gd name="connsiteX783" fmla="*/ 2108216 w 12188817"/>
              <a:gd name="connsiteY783" fmla="*/ 6522759 h 6857997"/>
              <a:gd name="connsiteX784" fmla="*/ 2126145 w 12188817"/>
              <a:gd name="connsiteY784" fmla="*/ 6518748 h 6857997"/>
              <a:gd name="connsiteX785" fmla="*/ 2143028 w 12188817"/>
              <a:gd name="connsiteY785" fmla="*/ 6506784 h 6857997"/>
              <a:gd name="connsiteX786" fmla="*/ 2143028 w 12188817"/>
              <a:gd name="connsiteY786" fmla="*/ 6468763 h 6857997"/>
              <a:gd name="connsiteX787" fmla="*/ 2107518 w 12188817"/>
              <a:gd name="connsiteY787" fmla="*/ 6468832 h 6857997"/>
              <a:gd name="connsiteX788" fmla="*/ 2107518 w 12188817"/>
              <a:gd name="connsiteY788" fmla="*/ 6480901 h 6857997"/>
              <a:gd name="connsiteX789" fmla="*/ 2132145 w 12188817"/>
              <a:gd name="connsiteY789" fmla="*/ 6480901 h 6857997"/>
              <a:gd name="connsiteX790" fmla="*/ 2132145 w 12188817"/>
              <a:gd name="connsiteY790" fmla="*/ 6499947 h 6857997"/>
              <a:gd name="connsiteX791" fmla="*/ 2121227 w 12188817"/>
              <a:gd name="connsiteY791" fmla="*/ 6507411 h 6857997"/>
              <a:gd name="connsiteX792" fmla="*/ 2107798 w 12188817"/>
              <a:gd name="connsiteY792" fmla="*/ 6510551 h 6857997"/>
              <a:gd name="connsiteX793" fmla="*/ 2085473 w 12188817"/>
              <a:gd name="connsiteY793" fmla="*/ 6500322 h 6857997"/>
              <a:gd name="connsiteX794" fmla="*/ 2076892 w 12188817"/>
              <a:gd name="connsiteY794" fmla="*/ 6469565 h 6857997"/>
              <a:gd name="connsiteX795" fmla="*/ 2080904 w 12188817"/>
              <a:gd name="connsiteY795" fmla="*/ 6446733 h 6857997"/>
              <a:gd name="connsiteX796" fmla="*/ 2091508 w 12188817"/>
              <a:gd name="connsiteY796" fmla="*/ 6432943 h 6857997"/>
              <a:gd name="connsiteX797" fmla="*/ 2107239 w 12188817"/>
              <a:gd name="connsiteY797" fmla="*/ 6428509 h 6857997"/>
              <a:gd name="connsiteX798" fmla="*/ 2118541 w 12188817"/>
              <a:gd name="connsiteY798" fmla="*/ 6430951 h 6857997"/>
              <a:gd name="connsiteX799" fmla="*/ 2126634 w 12188817"/>
              <a:gd name="connsiteY799" fmla="*/ 6437683 h 6857997"/>
              <a:gd name="connsiteX800" fmla="*/ 2131726 w 12188817"/>
              <a:gd name="connsiteY800" fmla="*/ 6450624 h 6857997"/>
              <a:gd name="connsiteX801" fmla="*/ 2141702 w 12188817"/>
              <a:gd name="connsiteY801" fmla="*/ 6447276 h 6857997"/>
              <a:gd name="connsiteX802" fmla="*/ 2135005 w 12188817"/>
              <a:gd name="connsiteY802" fmla="*/ 6430044 h 6857997"/>
              <a:gd name="connsiteX803" fmla="*/ 2123634 w 12188817"/>
              <a:gd name="connsiteY803" fmla="*/ 6420347 h 6857997"/>
              <a:gd name="connsiteX804" fmla="*/ 2107518 w 12188817"/>
              <a:gd name="connsiteY804" fmla="*/ 6416929 h 6857997"/>
              <a:gd name="connsiteX805" fmla="*/ 1516099 w 12188817"/>
              <a:gd name="connsiteY805" fmla="*/ 6416929 h 6857997"/>
              <a:gd name="connsiteX806" fmla="*/ 1494472 w 12188817"/>
              <a:gd name="connsiteY806" fmla="*/ 6424812 h 6857997"/>
              <a:gd name="connsiteX807" fmla="*/ 1486449 w 12188817"/>
              <a:gd name="connsiteY807" fmla="*/ 6445113 h 6857997"/>
              <a:gd name="connsiteX808" fmla="*/ 1489240 w 12188817"/>
              <a:gd name="connsiteY808" fmla="*/ 6457496 h 6857997"/>
              <a:gd name="connsiteX809" fmla="*/ 1497053 w 12188817"/>
              <a:gd name="connsiteY809" fmla="*/ 6466530 h 6857997"/>
              <a:gd name="connsiteX810" fmla="*/ 1513936 w 12188817"/>
              <a:gd name="connsiteY810" fmla="*/ 6473609 h 6857997"/>
              <a:gd name="connsiteX811" fmla="*/ 1531272 w 12188817"/>
              <a:gd name="connsiteY811" fmla="*/ 6479711 h 6857997"/>
              <a:gd name="connsiteX812" fmla="*/ 1537272 w 12188817"/>
              <a:gd name="connsiteY812" fmla="*/ 6485246 h 6857997"/>
              <a:gd name="connsiteX813" fmla="*/ 1539260 w 12188817"/>
              <a:gd name="connsiteY813" fmla="*/ 6493147 h 6857997"/>
              <a:gd name="connsiteX814" fmla="*/ 1533784 w 12188817"/>
              <a:gd name="connsiteY814" fmla="*/ 6505713 h 6857997"/>
              <a:gd name="connsiteX815" fmla="*/ 1518401 w 12188817"/>
              <a:gd name="connsiteY815" fmla="*/ 6510551 h 6857997"/>
              <a:gd name="connsiteX816" fmla="*/ 1505983 w 12188817"/>
              <a:gd name="connsiteY816" fmla="*/ 6507690 h 6857997"/>
              <a:gd name="connsiteX817" fmla="*/ 1497507 w 12188817"/>
              <a:gd name="connsiteY817" fmla="*/ 6500121 h 6857997"/>
              <a:gd name="connsiteX818" fmla="*/ 1493705 w 12188817"/>
              <a:gd name="connsiteY818" fmla="*/ 6486971 h 6857997"/>
              <a:gd name="connsiteX819" fmla="*/ 1483240 w 12188817"/>
              <a:gd name="connsiteY819" fmla="*/ 6488087 h 6857997"/>
              <a:gd name="connsiteX820" fmla="*/ 1492833 w 12188817"/>
              <a:gd name="connsiteY820" fmla="*/ 6513411 h 6857997"/>
              <a:gd name="connsiteX821" fmla="*/ 1517633 w 12188817"/>
              <a:gd name="connsiteY821" fmla="*/ 6522759 h 6857997"/>
              <a:gd name="connsiteX822" fmla="*/ 1534691 w 12188817"/>
              <a:gd name="connsiteY822" fmla="*/ 6518996 h 6857997"/>
              <a:gd name="connsiteX823" fmla="*/ 1545887 w 12188817"/>
              <a:gd name="connsiteY823" fmla="*/ 6508020 h 6857997"/>
              <a:gd name="connsiteX824" fmla="*/ 1550004 w 12188817"/>
              <a:gd name="connsiteY824" fmla="*/ 6492028 h 6857997"/>
              <a:gd name="connsiteX825" fmla="*/ 1546089 w 12188817"/>
              <a:gd name="connsiteY825" fmla="*/ 6476800 h 6857997"/>
              <a:gd name="connsiteX826" fmla="*/ 1534503 w 12188817"/>
              <a:gd name="connsiteY826" fmla="*/ 6466500 h 6857997"/>
              <a:gd name="connsiteX827" fmla="*/ 1517071 w 12188817"/>
              <a:gd name="connsiteY827" fmla="*/ 6460543 h 6857997"/>
              <a:gd name="connsiteX828" fmla="*/ 1500752 w 12188817"/>
              <a:gd name="connsiteY828" fmla="*/ 6453621 h 6857997"/>
              <a:gd name="connsiteX829" fmla="*/ 1497123 w 12188817"/>
              <a:gd name="connsiteY829" fmla="*/ 6443995 h 6857997"/>
              <a:gd name="connsiteX830" fmla="*/ 1502076 w 12188817"/>
              <a:gd name="connsiteY830" fmla="*/ 6433078 h 6857997"/>
              <a:gd name="connsiteX831" fmla="*/ 1516448 w 12188817"/>
              <a:gd name="connsiteY831" fmla="*/ 6428858 h 6857997"/>
              <a:gd name="connsiteX832" fmla="*/ 1530854 w 12188817"/>
              <a:gd name="connsiteY832" fmla="*/ 6433672 h 6857997"/>
              <a:gd name="connsiteX833" fmla="*/ 1536818 w 12188817"/>
              <a:gd name="connsiteY833" fmla="*/ 6448462 h 6857997"/>
              <a:gd name="connsiteX834" fmla="*/ 1547492 w 12188817"/>
              <a:gd name="connsiteY834" fmla="*/ 6447485 h 6857997"/>
              <a:gd name="connsiteX835" fmla="*/ 1543341 w 12188817"/>
              <a:gd name="connsiteY835" fmla="*/ 6431230 h 6857997"/>
              <a:gd name="connsiteX836" fmla="*/ 1532458 w 12188817"/>
              <a:gd name="connsiteY836" fmla="*/ 6420626 h 6857997"/>
              <a:gd name="connsiteX837" fmla="*/ 1516099 w 12188817"/>
              <a:gd name="connsiteY837" fmla="*/ 6416929 h 6857997"/>
              <a:gd name="connsiteX838" fmla="*/ 999308 w 12188817"/>
              <a:gd name="connsiteY838" fmla="*/ 6416929 h 6857997"/>
              <a:gd name="connsiteX839" fmla="*/ 979197 w 12188817"/>
              <a:gd name="connsiteY839" fmla="*/ 6422897 h 6857997"/>
              <a:gd name="connsiteX840" fmla="*/ 964916 w 12188817"/>
              <a:gd name="connsiteY840" fmla="*/ 6440559 h 6857997"/>
              <a:gd name="connsiteX841" fmla="*/ 959644 w 12188817"/>
              <a:gd name="connsiteY841" fmla="*/ 6469146 h 6857997"/>
              <a:gd name="connsiteX842" fmla="*/ 964911 w 12188817"/>
              <a:gd name="connsiteY842" fmla="*/ 6498815 h 6857997"/>
              <a:gd name="connsiteX843" fmla="*/ 978445 w 12188817"/>
              <a:gd name="connsiteY843" fmla="*/ 6517070 h 6857997"/>
              <a:gd name="connsiteX844" fmla="*/ 998363 w 12188817"/>
              <a:gd name="connsiteY844" fmla="*/ 6522759 h 6857997"/>
              <a:gd name="connsiteX845" fmla="*/ 1020862 w 12188817"/>
              <a:gd name="connsiteY845" fmla="*/ 6514283 h 6857997"/>
              <a:gd name="connsiteX846" fmla="*/ 1033803 w 12188817"/>
              <a:gd name="connsiteY846" fmla="*/ 6488575 h 6857997"/>
              <a:gd name="connsiteX847" fmla="*/ 1022640 w 12188817"/>
              <a:gd name="connsiteY847" fmla="*/ 6485157 h 6857997"/>
              <a:gd name="connsiteX848" fmla="*/ 1013815 w 12188817"/>
              <a:gd name="connsiteY848" fmla="*/ 6504726 h 6857997"/>
              <a:gd name="connsiteX849" fmla="*/ 998154 w 12188817"/>
              <a:gd name="connsiteY849" fmla="*/ 6511179 h 6857997"/>
              <a:gd name="connsiteX850" fmla="*/ 978480 w 12188817"/>
              <a:gd name="connsiteY850" fmla="*/ 6500671 h 6857997"/>
              <a:gd name="connsiteX851" fmla="*/ 971086 w 12188817"/>
              <a:gd name="connsiteY851" fmla="*/ 6469145 h 6857997"/>
              <a:gd name="connsiteX852" fmla="*/ 974753 w 12188817"/>
              <a:gd name="connsiteY852" fmla="*/ 6446175 h 6857997"/>
              <a:gd name="connsiteX853" fmla="*/ 984568 w 12188817"/>
              <a:gd name="connsiteY853" fmla="*/ 6432804 h 6857997"/>
              <a:gd name="connsiteX854" fmla="*/ 999100 w 12188817"/>
              <a:gd name="connsiteY854" fmla="*/ 6428509 h 6857997"/>
              <a:gd name="connsiteX855" fmla="*/ 1021524 w 12188817"/>
              <a:gd name="connsiteY855" fmla="*/ 6449787 h 6857997"/>
              <a:gd name="connsiteX856" fmla="*/ 1032407 w 12188817"/>
              <a:gd name="connsiteY856" fmla="*/ 6446648 h 6857997"/>
              <a:gd name="connsiteX857" fmla="*/ 1020187 w 12188817"/>
              <a:gd name="connsiteY857" fmla="*/ 6424480 h 6857997"/>
              <a:gd name="connsiteX858" fmla="*/ 999308 w 12188817"/>
              <a:gd name="connsiteY858" fmla="*/ 6416929 h 6857997"/>
              <a:gd name="connsiteX859" fmla="*/ 10831505 w 12188817"/>
              <a:gd name="connsiteY859" fmla="*/ 6415084 h 6857997"/>
              <a:gd name="connsiteX860" fmla="*/ 10873860 w 12188817"/>
              <a:gd name="connsiteY860" fmla="*/ 6415084 h 6857997"/>
              <a:gd name="connsiteX861" fmla="*/ 10904530 w 12188817"/>
              <a:gd name="connsiteY861" fmla="*/ 6430343 h 6857997"/>
              <a:gd name="connsiteX862" fmla="*/ 10873860 w 12188817"/>
              <a:gd name="connsiteY862" fmla="*/ 6445247 h 6857997"/>
              <a:gd name="connsiteX863" fmla="*/ 10831505 w 12188817"/>
              <a:gd name="connsiteY863" fmla="*/ 6445247 h 6857997"/>
              <a:gd name="connsiteX864" fmla="*/ 11108524 w 12188817"/>
              <a:gd name="connsiteY864" fmla="*/ 6410322 h 6857997"/>
              <a:gd name="connsiteX865" fmla="*/ 11152180 w 12188817"/>
              <a:gd name="connsiteY865" fmla="*/ 6454961 h 6857997"/>
              <a:gd name="connsiteX866" fmla="*/ 11108524 w 12188817"/>
              <a:gd name="connsiteY866" fmla="*/ 6499222 h 6857997"/>
              <a:gd name="connsiteX867" fmla="*/ 11064867 w 12188817"/>
              <a:gd name="connsiteY867" fmla="*/ 6453827 h 6857997"/>
              <a:gd name="connsiteX868" fmla="*/ 11108524 w 12188817"/>
              <a:gd name="connsiteY868" fmla="*/ 6410322 h 6857997"/>
              <a:gd name="connsiteX869" fmla="*/ 11212505 w 12188817"/>
              <a:gd name="connsiteY869" fmla="*/ 6391272 h 6857997"/>
              <a:gd name="connsiteX870" fmla="*/ 11212505 w 12188817"/>
              <a:gd name="connsiteY870" fmla="*/ 6518272 h 6857997"/>
              <a:gd name="connsiteX871" fmla="*/ 11246059 w 12188817"/>
              <a:gd name="connsiteY871" fmla="*/ 6518272 h 6857997"/>
              <a:gd name="connsiteX872" fmla="*/ 11246059 w 12188817"/>
              <a:gd name="connsiteY872" fmla="*/ 6422083 h 6857997"/>
              <a:gd name="connsiteX873" fmla="*/ 11315692 w 12188817"/>
              <a:gd name="connsiteY873" fmla="*/ 6518272 h 6857997"/>
              <a:gd name="connsiteX874" fmla="*/ 11355380 w 12188817"/>
              <a:gd name="connsiteY874" fmla="*/ 6518272 h 6857997"/>
              <a:gd name="connsiteX875" fmla="*/ 11355380 w 12188817"/>
              <a:gd name="connsiteY875" fmla="*/ 6391272 h 6857997"/>
              <a:gd name="connsiteX876" fmla="*/ 11322187 w 12188817"/>
              <a:gd name="connsiteY876" fmla="*/ 6391272 h 6857997"/>
              <a:gd name="connsiteX877" fmla="*/ 11322187 w 12188817"/>
              <a:gd name="connsiteY877" fmla="*/ 6482577 h 6857997"/>
              <a:gd name="connsiteX878" fmla="*/ 11255800 w 12188817"/>
              <a:gd name="connsiteY878" fmla="*/ 6391272 h 6857997"/>
              <a:gd name="connsiteX879" fmla="*/ 10968030 w 12188817"/>
              <a:gd name="connsiteY879" fmla="*/ 6391272 h 6857997"/>
              <a:gd name="connsiteX880" fmla="*/ 10968030 w 12188817"/>
              <a:gd name="connsiteY880" fmla="*/ 6518272 h 6857997"/>
              <a:gd name="connsiteX881" fmla="*/ 11002955 w 12188817"/>
              <a:gd name="connsiteY881" fmla="*/ 6518272 h 6857997"/>
              <a:gd name="connsiteX882" fmla="*/ 11002955 w 12188817"/>
              <a:gd name="connsiteY882" fmla="*/ 6391272 h 6857997"/>
              <a:gd name="connsiteX883" fmla="*/ 10798167 w 12188817"/>
              <a:gd name="connsiteY883" fmla="*/ 6391272 h 6857997"/>
              <a:gd name="connsiteX884" fmla="*/ 10798167 w 12188817"/>
              <a:gd name="connsiteY884" fmla="*/ 6518272 h 6857997"/>
              <a:gd name="connsiteX885" fmla="*/ 10832210 w 12188817"/>
              <a:gd name="connsiteY885" fmla="*/ 6518272 h 6857997"/>
              <a:gd name="connsiteX886" fmla="*/ 10832210 w 12188817"/>
              <a:gd name="connsiteY886" fmla="*/ 6468299 h 6857997"/>
              <a:gd name="connsiteX887" fmla="*/ 10871986 w 12188817"/>
              <a:gd name="connsiteY887" fmla="*/ 6468299 h 6857997"/>
              <a:gd name="connsiteX888" fmla="*/ 10907462 w 12188817"/>
              <a:gd name="connsiteY888" fmla="*/ 6518272 h 6857997"/>
              <a:gd name="connsiteX889" fmla="*/ 10945805 w 12188817"/>
              <a:gd name="connsiteY889" fmla="*/ 6518272 h 6857997"/>
              <a:gd name="connsiteX890" fmla="*/ 10905670 w 12188817"/>
              <a:gd name="connsiteY890" fmla="*/ 6465293 h 6857997"/>
              <a:gd name="connsiteX891" fmla="*/ 10938280 w 12188817"/>
              <a:gd name="connsiteY891" fmla="*/ 6429598 h 6857997"/>
              <a:gd name="connsiteX892" fmla="*/ 10881661 w 12188817"/>
              <a:gd name="connsiteY892" fmla="*/ 6391272 h 6857997"/>
              <a:gd name="connsiteX893" fmla="*/ 10728317 w 12188817"/>
              <a:gd name="connsiteY893" fmla="*/ 6391272 h 6857997"/>
              <a:gd name="connsiteX894" fmla="*/ 10728317 w 12188817"/>
              <a:gd name="connsiteY894" fmla="*/ 6518272 h 6857997"/>
              <a:gd name="connsiteX895" fmla="*/ 10763242 w 12188817"/>
              <a:gd name="connsiteY895" fmla="*/ 6518272 h 6857997"/>
              <a:gd name="connsiteX896" fmla="*/ 10763242 w 12188817"/>
              <a:gd name="connsiteY896" fmla="*/ 6391272 h 6857997"/>
              <a:gd name="connsiteX897" fmla="*/ 10604321 w 12188817"/>
              <a:gd name="connsiteY897" fmla="*/ 6391272 h 6857997"/>
              <a:gd name="connsiteX898" fmla="*/ 10547342 w 12188817"/>
              <a:gd name="connsiteY898" fmla="*/ 6429973 h 6857997"/>
              <a:gd name="connsiteX899" fmla="*/ 10601436 w 12188817"/>
              <a:gd name="connsiteY899" fmla="*/ 6466420 h 6857997"/>
              <a:gd name="connsiteX900" fmla="*/ 10641466 w 12188817"/>
              <a:gd name="connsiteY900" fmla="*/ 6466420 h 6857997"/>
              <a:gd name="connsiteX901" fmla="*/ 10665628 w 12188817"/>
              <a:gd name="connsiteY901" fmla="*/ 6481074 h 6857997"/>
              <a:gd name="connsiteX902" fmla="*/ 10639302 w 12188817"/>
              <a:gd name="connsiteY902" fmla="*/ 6495352 h 6857997"/>
              <a:gd name="connsiteX903" fmla="*/ 10553833 w 12188817"/>
              <a:gd name="connsiteY903" fmla="*/ 6495352 h 6857997"/>
              <a:gd name="connsiteX904" fmla="*/ 10553833 w 12188817"/>
              <a:gd name="connsiteY904" fmla="*/ 6518272 h 6857997"/>
              <a:gd name="connsiteX905" fmla="*/ 10644711 w 12188817"/>
              <a:gd name="connsiteY905" fmla="*/ 6518272 h 6857997"/>
              <a:gd name="connsiteX906" fmla="*/ 10701330 w 12188817"/>
              <a:gd name="connsiteY906" fmla="*/ 6480323 h 6857997"/>
              <a:gd name="connsiteX907" fmla="*/ 10649760 w 12188817"/>
              <a:gd name="connsiteY907" fmla="*/ 6444252 h 6857997"/>
              <a:gd name="connsiteX908" fmla="*/ 10604321 w 12188817"/>
              <a:gd name="connsiteY908" fmla="*/ 6444252 h 6857997"/>
              <a:gd name="connsiteX909" fmla="*/ 10583044 w 12188817"/>
              <a:gd name="connsiteY909" fmla="*/ 6430349 h 6857997"/>
              <a:gd name="connsiteX910" fmla="*/ 10609009 w 12188817"/>
              <a:gd name="connsiteY910" fmla="*/ 6413817 h 6857997"/>
              <a:gd name="connsiteX911" fmla="*/ 10693396 w 12188817"/>
              <a:gd name="connsiteY911" fmla="*/ 6413817 h 6857997"/>
              <a:gd name="connsiteX912" fmla="*/ 10693396 w 12188817"/>
              <a:gd name="connsiteY912" fmla="*/ 6391272 h 6857997"/>
              <a:gd name="connsiteX913" fmla="*/ 10490061 w 12188817"/>
              <a:gd name="connsiteY913" fmla="*/ 6391272 h 6857997"/>
              <a:gd name="connsiteX914" fmla="*/ 10490061 w 12188817"/>
              <a:gd name="connsiteY914" fmla="*/ 6482682 h 6857997"/>
              <a:gd name="connsiteX915" fmla="*/ 10423841 w 12188817"/>
              <a:gd name="connsiteY915" fmla="*/ 6391647 h 6857997"/>
              <a:gd name="connsiteX916" fmla="*/ 10380655 w 12188817"/>
              <a:gd name="connsiteY916" fmla="*/ 6391647 h 6857997"/>
              <a:gd name="connsiteX917" fmla="*/ 10380655 w 12188817"/>
              <a:gd name="connsiteY917" fmla="*/ 6518272 h 6857997"/>
              <a:gd name="connsiteX918" fmla="*/ 10414124 w 12188817"/>
              <a:gd name="connsiteY918" fmla="*/ 6518272 h 6857997"/>
              <a:gd name="connsiteX919" fmla="*/ 10414124 w 12188817"/>
              <a:gd name="connsiteY919" fmla="*/ 6422367 h 6857997"/>
              <a:gd name="connsiteX920" fmla="*/ 10483942 w 12188817"/>
              <a:gd name="connsiteY920" fmla="*/ 6518272 h 6857997"/>
              <a:gd name="connsiteX921" fmla="*/ 10523170 w 12188817"/>
              <a:gd name="connsiteY921" fmla="*/ 6518272 h 6857997"/>
              <a:gd name="connsiteX922" fmla="*/ 10523530 w 12188817"/>
              <a:gd name="connsiteY922" fmla="*/ 6391272 h 6857997"/>
              <a:gd name="connsiteX923" fmla="*/ 10293755 w 12188817"/>
              <a:gd name="connsiteY923" fmla="*/ 6391272 h 6857997"/>
              <a:gd name="connsiteX924" fmla="*/ 10217142 w 12188817"/>
              <a:gd name="connsiteY924" fmla="*/ 6457027 h 6857997"/>
              <a:gd name="connsiteX925" fmla="*/ 10242077 w 12188817"/>
              <a:gd name="connsiteY925" fmla="*/ 6507000 h 6857997"/>
              <a:gd name="connsiteX926" fmla="*/ 10293032 w 12188817"/>
              <a:gd name="connsiteY926" fmla="*/ 6518272 h 6857997"/>
              <a:gd name="connsiteX927" fmla="*/ 10350492 w 12188817"/>
              <a:gd name="connsiteY927" fmla="*/ 6518272 h 6857997"/>
              <a:gd name="connsiteX928" fmla="*/ 10350492 w 12188817"/>
              <a:gd name="connsiteY928" fmla="*/ 6496104 h 6857997"/>
              <a:gd name="connsiteX929" fmla="*/ 10294478 w 12188817"/>
              <a:gd name="connsiteY929" fmla="*/ 6496104 h 6857997"/>
              <a:gd name="connsiteX930" fmla="*/ 10255810 w 12188817"/>
              <a:gd name="connsiteY930" fmla="*/ 6464917 h 6857997"/>
              <a:gd name="connsiteX931" fmla="*/ 10350492 w 12188817"/>
              <a:gd name="connsiteY931" fmla="*/ 6464917 h 6857997"/>
              <a:gd name="connsiteX932" fmla="*/ 10350492 w 12188817"/>
              <a:gd name="connsiteY932" fmla="*/ 6442749 h 6857997"/>
              <a:gd name="connsiteX933" fmla="*/ 10255810 w 12188817"/>
              <a:gd name="connsiteY933" fmla="*/ 6442749 h 6857997"/>
              <a:gd name="connsiteX934" fmla="*/ 10294478 w 12188817"/>
              <a:gd name="connsiteY934" fmla="*/ 6413441 h 6857997"/>
              <a:gd name="connsiteX935" fmla="*/ 10350492 w 12188817"/>
              <a:gd name="connsiteY935" fmla="*/ 6413441 h 6857997"/>
              <a:gd name="connsiteX936" fmla="*/ 10350492 w 12188817"/>
              <a:gd name="connsiteY936" fmla="*/ 6391272 h 6857997"/>
              <a:gd name="connsiteX937" fmla="*/ 10104126 w 12188817"/>
              <a:gd name="connsiteY937" fmla="*/ 6391272 h 6857997"/>
              <a:gd name="connsiteX938" fmla="*/ 10047280 w 12188817"/>
              <a:gd name="connsiteY938" fmla="*/ 6429973 h 6857997"/>
              <a:gd name="connsiteX939" fmla="*/ 10101248 w 12188817"/>
              <a:gd name="connsiteY939" fmla="*/ 6466420 h 6857997"/>
              <a:gd name="connsiteX940" fmla="*/ 10141184 w 12188817"/>
              <a:gd name="connsiteY940" fmla="*/ 6466420 h 6857997"/>
              <a:gd name="connsiteX941" fmla="*/ 10165649 w 12188817"/>
              <a:gd name="connsiteY941" fmla="*/ 6481074 h 6857997"/>
              <a:gd name="connsiteX942" fmla="*/ 10139025 w 12188817"/>
              <a:gd name="connsiteY942" fmla="*/ 6495352 h 6857997"/>
              <a:gd name="connsiteX943" fmla="*/ 10053756 w 12188817"/>
              <a:gd name="connsiteY943" fmla="*/ 6495352 h 6857997"/>
              <a:gd name="connsiteX944" fmla="*/ 10053756 w 12188817"/>
              <a:gd name="connsiteY944" fmla="*/ 6518272 h 6857997"/>
              <a:gd name="connsiteX945" fmla="*/ 10144422 w 12188817"/>
              <a:gd name="connsiteY945" fmla="*/ 6518272 h 6857997"/>
              <a:gd name="connsiteX946" fmla="*/ 10201268 w 12188817"/>
              <a:gd name="connsiteY946" fmla="*/ 6480323 h 6857997"/>
              <a:gd name="connsiteX947" fmla="*/ 10149459 w 12188817"/>
              <a:gd name="connsiteY947" fmla="*/ 6444252 h 6857997"/>
              <a:gd name="connsiteX948" fmla="*/ 10104486 w 12188817"/>
              <a:gd name="connsiteY948" fmla="*/ 6444252 h 6857997"/>
              <a:gd name="connsiteX949" fmla="*/ 10082899 w 12188817"/>
              <a:gd name="connsiteY949" fmla="*/ 6430349 h 6857997"/>
              <a:gd name="connsiteX950" fmla="*/ 10109163 w 12188817"/>
              <a:gd name="connsiteY950" fmla="*/ 6413817 h 6857997"/>
              <a:gd name="connsiteX951" fmla="*/ 10193353 w 12188817"/>
              <a:gd name="connsiteY951" fmla="*/ 6413817 h 6857997"/>
              <a:gd name="connsiteX952" fmla="*/ 10193353 w 12188817"/>
              <a:gd name="connsiteY952" fmla="*/ 6391272 h 6857997"/>
              <a:gd name="connsiteX953" fmla="*/ 11099976 w 12188817"/>
              <a:gd name="connsiteY953" fmla="*/ 6389684 h 6857997"/>
              <a:gd name="connsiteX954" fmla="*/ 11026767 w 12188817"/>
              <a:gd name="connsiteY954" fmla="*/ 6453474 h 6857997"/>
              <a:gd name="connsiteX955" fmla="*/ 11107910 w 12188817"/>
              <a:gd name="connsiteY955" fmla="*/ 6519859 h 6857997"/>
              <a:gd name="connsiteX956" fmla="*/ 11188692 w 12188817"/>
              <a:gd name="connsiteY956" fmla="*/ 6454586 h 6857997"/>
              <a:gd name="connsiteX957" fmla="*/ 11115844 w 12188817"/>
              <a:gd name="connsiteY957" fmla="*/ 6389684 h 6857997"/>
              <a:gd name="connsiteX958" fmla="*/ 0 w 12188817"/>
              <a:gd name="connsiteY958" fmla="*/ 0 h 6857997"/>
              <a:gd name="connsiteX959" fmla="*/ 12188817 w 12188817"/>
              <a:gd name="connsiteY959" fmla="*/ 0 h 6857997"/>
              <a:gd name="connsiteX960" fmla="*/ 12188817 w 12188817"/>
              <a:gd name="connsiteY960" fmla="*/ 3067874 h 6857997"/>
              <a:gd name="connsiteX961" fmla="*/ 12188817 w 12188817"/>
              <a:gd name="connsiteY961" fmla="*/ 3141660 h 6857997"/>
              <a:gd name="connsiteX962" fmla="*/ 12188817 w 12188817"/>
              <a:gd name="connsiteY962" fmla="*/ 6237284 h 6857997"/>
              <a:gd name="connsiteX963" fmla="*/ 12188817 w 12188817"/>
              <a:gd name="connsiteY963" fmla="*/ 6282150 h 6857997"/>
              <a:gd name="connsiteX964" fmla="*/ 12188817 w 12188817"/>
              <a:gd name="connsiteY964" fmla="*/ 6857997 h 6857997"/>
              <a:gd name="connsiteX965" fmla="*/ 0 w 12188817"/>
              <a:gd name="connsiteY965"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Lst>
            <a:rect l="l" t="t" r="r" b="b"/>
            <a:pathLst>
              <a:path w="12188817" h="6857997">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4" y="6483831"/>
                </a:moveTo>
                <a:lnTo>
                  <a:pt x="6291674" y="6488436"/>
                </a:lnTo>
                <a:cubicBezTo>
                  <a:pt x="6291674" y="6494528"/>
                  <a:pt x="6290930" y="6499168"/>
                  <a:pt x="6289442" y="6502354"/>
                </a:cubicBezTo>
                <a:cubicBezTo>
                  <a:pt x="6287953" y="6505539"/>
                  <a:pt x="6285709" y="6508086"/>
                  <a:pt x="6282709" y="6509993"/>
                </a:cubicBezTo>
                <a:cubicBezTo>
                  <a:pt x="6279710" y="6511900"/>
                  <a:pt x="6276373" y="6512853"/>
                  <a:pt x="6272698" y="6512853"/>
                </a:cubicBezTo>
                <a:cubicBezTo>
                  <a:pt x="6268838" y="6512853"/>
                  <a:pt x="6265815" y="6511795"/>
                  <a:pt x="6263629" y="6509679"/>
                </a:cubicBezTo>
                <a:cubicBezTo>
                  <a:pt x="6261443" y="6507563"/>
                  <a:pt x="6260350" y="6504737"/>
                  <a:pt x="6260350" y="6501203"/>
                </a:cubicBezTo>
                <a:cubicBezTo>
                  <a:pt x="6260350" y="6498924"/>
                  <a:pt x="6260827" y="6496912"/>
                  <a:pt x="6261780" y="6495168"/>
                </a:cubicBezTo>
                <a:cubicBezTo>
                  <a:pt x="6262734" y="6493424"/>
                  <a:pt x="6264071" y="6492075"/>
                  <a:pt x="6265792" y="6491122"/>
                </a:cubicBezTo>
                <a:cubicBezTo>
                  <a:pt x="6267513" y="6490168"/>
                  <a:pt x="6270536" y="6489320"/>
                  <a:pt x="6274861" y="6488575"/>
                </a:cubicBezTo>
                <a:cubicBezTo>
                  <a:pt x="6282302" y="6487273"/>
                  <a:pt x="6287907" y="6485692"/>
                  <a:pt x="6291674"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1" y="6455577"/>
                </a:moveTo>
                <a:cubicBezTo>
                  <a:pt x="6092407" y="6455577"/>
                  <a:pt x="6096616" y="6457880"/>
                  <a:pt x="6099918" y="6462484"/>
                </a:cubicBezTo>
                <a:cubicBezTo>
                  <a:pt x="6102197" y="6465647"/>
                  <a:pt x="6103569" y="6470437"/>
                  <a:pt x="6104034" y="6476855"/>
                </a:cubicBezTo>
                <a:lnTo>
                  <a:pt x="6070131" y="6476855"/>
                </a:lnTo>
                <a:cubicBezTo>
                  <a:pt x="6070457" y="6470344"/>
                  <a:pt x="6072247" y="6465170"/>
                  <a:pt x="6075502" y="6461333"/>
                </a:cubicBezTo>
                <a:cubicBezTo>
                  <a:pt x="6078757" y="6457496"/>
                  <a:pt x="6082689" y="6455577"/>
                  <a:pt x="6087291" y="6455577"/>
                </a:cubicBezTo>
                <a:close/>
                <a:moveTo>
                  <a:pt x="6018394" y="6455577"/>
                </a:moveTo>
                <a:cubicBezTo>
                  <a:pt x="6023280" y="6455577"/>
                  <a:pt x="6027331" y="6457961"/>
                  <a:pt x="6030544" y="6462728"/>
                </a:cubicBezTo>
                <a:cubicBezTo>
                  <a:pt x="6033753" y="6467495"/>
                  <a:pt x="6035357" y="6475065"/>
                  <a:pt x="6035357" y="6485436"/>
                </a:cubicBezTo>
                <a:cubicBezTo>
                  <a:pt x="6035357" y="6494459"/>
                  <a:pt x="6033753" y="6501203"/>
                  <a:pt x="6030544" y="6505667"/>
                </a:cubicBezTo>
                <a:cubicBezTo>
                  <a:pt x="6027331" y="6510132"/>
                  <a:pt x="6023537" y="6512365"/>
                  <a:pt x="6019162" y="6512365"/>
                </a:cubicBezTo>
                <a:cubicBezTo>
                  <a:pt x="6014741" y="6512365"/>
                  <a:pt x="6010868" y="6510039"/>
                  <a:pt x="6007540" y="6505388"/>
                </a:cubicBezTo>
                <a:cubicBezTo>
                  <a:pt x="6004214" y="6500737"/>
                  <a:pt x="6002550" y="6493622"/>
                  <a:pt x="6002550" y="6484041"/>
                </a:cubicBezTo>
                <a:cubicBezTo>
                  <a:pt x="6002550" y="6474227"/>
                  <a:pt x="6004108" y="6467030"/>
                  <a:pt x="6007226" y="6462449"/>
                </a:cubicBezTo>
                <a:cubicBezTo>
                  <a:pt x="6010344" y="6457868"/>
                  <a:pt x="6014066" y="6455577"/>
                  <a:pt x="6018394" y="6455577"/>
                </a:cubicBezTo>
                <a:close/>
                <a:moveTo>
                  <a:pt x="5829559" y="6455577"/>
                </a:moveTo>
                <a:cubicBezTo>
                  <a:pt x="5834723" y="6455577"/>
                  <a:pt x="5839049" y="6457917"/>
                  <a:pt x="5842534" y="6462597"/>
                </a:cubicBezTo>
                <a:cubicBezTo>
                  <a:pt x="5846022" y="6467277"/>
                  <a:pt x="5847769" y="6474390"/>
                  <a:pt x="5847769" y="6483936"/>
                </a:cubicBezTo>
                <a:cubicBezTo>
                  <a:pt x="5847769" y="6493436"/>
                  <a:pt x="5846035" y="6500548"/>
                  <a:pt x="5842571" y="6505275"/>
                </a:cubicBezTo>
                <a:cubicBezTo>
                  <a:pt x="5839105" y="6510001"/>
                  <a:pt x="5834955" y="6512365"/>
                  <a:pt x="5830117" y="6512365"/>
                </a:cubicBezTo>
                <a:cubicBezTo>
                  <a:pt x="5824956" y="6512365"/>
                  <a:pt x="5820628" y="6510025"/>
                  <a:pt x="5817142" y="6505345"/>
                </a:cubicBezTo>
                <a:cubicBezTo>
                  <a:pt x="5813654" y="6500665"/>
                  <a:pt x="5811909" y="6493529"/>
                  <a:pt x="5811909" y="6483936"/>
                </a:cubicBezTo>
                <a:cubicBezTo>
                  <a:pt x="5811909" y="6474437"/>
                  <a:pt x="5813630" y="6467335"/>
                  <a:pt x="5817070" y="6462632"/>
                </a:cubicBezTo>
                <a:cubicBezTo>
                  <a:pt x="5820513" y="6457929"/>
                  <a:pt x="5824677" y="6455577"/>
                  <a:pt x="5829559"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0" y="6446927"/>
                </a:moveTo>
                <a:lnTo>
                  <a:pt x="6224380" y="6521015"/>
                </a:lnTo>
                <a:lnTo>
                  <a:pt x="6234636" y="6521015"/>
                </a:lnTo>
                <a:lnTo>
                  <a:pt x="6234636" y="6446927"/>
                </a:lnTo>
                <a:close/>
                <a:moveTo>
                  <a:pt x="5967205" y="6446927"/>
                </a:moveTo>
                <a:lnTo>
                  <a:pt x="5967205" y="6521015"/>
                </a:lnTo>
                <a:lnTo>
                  <a:pt x="5977462" y="6521015"/>
                </a:lnTo>
                <a:lnTo>
                  <a:pt x="5977462"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68" y="6445252"/>
                </a:moveTo>
                <a:cubicBezTo>
                  <a:pt x="6270582" y="6445252"/>
                  <a:pt x="6264292" y="6447066"/>
                  <a:pt x="6259897" y="6450694"/>
                </a:cubicBezTo>
                <a:cubicBezTo>
                  <a:pt x="6255502" y="6454322"/>
                  <a:pt x="6252583" y="6460112"/>
                  <a:pt x="6251142" y="6468065"/>
                </a:cubicBezTo>
                <a:lnTo>
                  <a:pt x="6261257" y="6469739"/>
                </a:lnTo>
                <a:cubicBezTo>
                  <a:pt x="6262373" y="6464271"/>
                  <a:pt x="6264118" y="6460543"/>
                  <a:pt x="6266489" y="6458557"/>
                </a:cubicBezTo>
                <a:cubicBezTo>
                  <a:pt x="6268861" y="6456571"/>
                  <a:pt x="6272443" y="6455577"/>
                  <a:pt x="6277233" y="6455577"/>
                </a:cubicBezTo>
                <a:cubicBezTo>
                  <a:pt x="6282535" y="6455577"/>
                  <a:pt x="6286465" y="6457066"/>
                  <a:pt x="6289023" y="6460042"/>
                </a:cubicBezTo>
                <a:cubicBezTo>
                  <a:pt x="6290837" y="6462089"/>
                  <a:pt x="6291744" y="6465647"/>
                  <a:pt x="6291744" y="6470716"/>
                </a:cubicBezTo>
                <a:lnTo>
                  <a:pt x="6291674" y="6473925"/>
                </a:lnTo>
                <a:cubicBezTo>
                  <a:pt x="6287767" y="6475626"/>
                  <a:pt x="6281628" y="6477091"/>
                  <a:pt x="6273256" y="6478320"/>
                </a:cubicBezTo>
                <a:cubicBezTo>
                  <a:pt x="6267024" y="6479204"/>
                  <a:pt x="6262373" y="6480576"/>
                  <a:pt x="6259304" y="6482436"/>
                </a:cubicBezTo>
                <a:cubicBezTo>
                  <a:pt x="6256234" y="6484297"/>
                  <a:pt x="6253816" y="6486878"/>
                  <a:pt x="6252048" y="6490180"/>
                </a:cubicBezTo>
                <a:cubicBezTo>
                  <a:pt x="6250281" y="6493482"/>
                  <a:pt x="6249397" y="6497273"/>
                  <a:pt x="6249397" y="6501551"/>
                </a:cubicBezTo>
                <a:cubicBezTo>
                  <a:pt x="6249397" y="6508016"/>
                  <a:pt x="6251281" y="6513155"/>
                  <a:pt x="6255048" y="6516969"/>
                </a:cubicBezTo>
                <a:cubicBezTo>
                  <a:pt x="6258816" y="6520783"/>
                  <a:pt x="6263862" y="6522690"/>
                  <a:pt x="6270187" y="6522690"/>
                </a:cubicBezTo>
                <a:cubicBezTo>
                  <a:pt x="6274187" y="6522690"/>
                  <a:pt x="6278047" y="6521782"/>
                  <a:pt x="6281768" y="6519968"/>
                </a:cubicBezTo>
                <a:cubicBezTo>
                  <a:pt x="6285488" y="6518154"/>
                  <a:pt x="6289069" y="6515456"/>
                  <a:pt x="6292511" y="6511875"/>
                </a:cubicBezTo>
                <a:cubicBezTo>
                  <a:pt x="6292837" y="6515411"/>
                  <a:pt x="6293534" y="6518457"/>
                  <a:pt x="6294604" y="6521015"/>
                </a:cubicBezTo>
                <a:lnTo>
                  <a:pt x="6305348" y="6521015"/>
                </a:lnTo>
                <a:cubicBezTo>
                  <a:pt x="6304045" y="6518132"/>
                  <a:pt x="6303173" y="6515167"/>
                  <a:pt x="6302731" y="6512120"/>
                </a:cubicBezTo>
                <a:cubicBezTo>
                  <a:pt x="6302290" y="6509074"/>
                  <a:pt x="6302069" y="6501691"/>
                  <a:pt x="6302069" y="6489971"/>
                </a:cubicBezTo>
                <a:lnTo>
                  <a:pt x="6302069" y="6473227"/>
                </a:lnTo>
                <a:cubicBezTo>
                  <a:pt x="6302069" y="6466437"/>
                  <a:pt x="6301592" y="6461275"/>
                  <a:pt x="6300639" y="6457740"/>
                </a:cubicBezTo>
                <a:cubicBezTo>
                  <a:pt x="6299685" y="6454205"/>
                  <a:pt x="6297395" y="6451240"/>
                  <a:pt x="6293767" y="6448845"/>
                </a:cubicBezTo>
                <a:cubicBezTo>
                  <a:pt x="6290139" y="6446450"/>
                  <a:pt x="6285139" y="6445252"/>
                  <a:pt x="6278768" y="6445252"/>
                </a:cubicBezTo>
                <a:close/>
                <a:moveTo>
                  <a:pt x="6157700" y="6445252"/>
                </a:moveTo>
                <a:cubicBezTo>
                  <a:pt x="6153521" y="6445252"/>
                  <a:pt x="6149818" y="6446258"/>
                  <a:pt x="6146592" y="6448270"/>
                </a:cubicBezTo>
                <a:cubicBezTo>
                  <a:pt x="6143365" y="6450282"/>
                  <a:pt x="6140638" y="6453323"/>
                  <a:pt x="6138409" y="6457392"/>
                </a:cubicBezTo>
                <a:lnTo>
                  <a:pt x="6138409" y="6446927"/>
                </a:lnTo>
                <a:lnTo>
                  <a:pt x="6129130" y="6446927"/>
                </a:lnTo>
                <a:lnTo>
                  <a:pt x="6129130" y="6521015"/>
                </a:lnTo>
                <a:lnTo>
                  <a:pt x="6139386" y="6521015"/>
                </a:lnTo>
                <a:lnTo>
                  <a:pt x="6139386" y="6480509"/>
                </a:lnTo>
                <a:cubicBezTo>
                  <a:pt x="6139386" y="6471570"/>
                  <a:pt x="6140851" y="6465261"/>
                  <a:pt x="6143781" y="6461583"/>
                </a:cubicBezTo>
                <a:cubicBezTo>
                  <a:pt x="6146711" y="6457905"/>
                  <a:pt x="6150641" y="6456066"/>
                  <a:pt x="6155571" y="6456066"/>
                </a:cubicBezTo>
                <a:cubicBezTo>
                  <a:pt x="6158175" y="6456066"/>
                  <a:pt x="6160466" y="6456752"/>
                  <a:pt x="6162442" y="6458126"/>
                </a:cubicBezTo>
                <a:cubicBezTo>
                  <a:pt x="6164419" y="6459499"/>
                  <a:pt x="6165872" y="6461443"/>
                  <a:pt x="6166803" y="6463957"/>
                </a:cubicBezTo>
                <a:cubicBezTo>
                  <a:pt x="6167733" y="6466471"/>
                  <a:pt x="6168198" y="6470452"/>
                  <a:pt x="6168198" y="6475900"/>
                </a:cubicBezTo>
                <a:lnTo>
                  <a:pt x="6168198" y="6521015"/>
                </a:lnTo>
                <a:lnTo>
                  <a:pt x="6178453" y="6521015"/>
                </a:lnTo>
                <a:lnTo>
                  <a:pt x="6178453" y="6475460"/>
                </a:lnTo>
                <a:cubicBezTo>
                  <a:pt x="6178453" y="6468623"/>
                  <a:pt x="6178035" y="6463554"/>
                  <a:pt x="6177199" y="6460252"/>
                </a:cubicBezTo>
                <a:cubicBezTo>
                  <a:pt x="6176364" y="6456949"/>
                  <a:pt x="6175099" y="6454264"/>
                  <a:pt x="6173404" y="6452194"/>
                </a:cubicBezTo>
                <a:cubicBezTo>
                  <a:pt x="6171709" y="6450124"/>
                  <a:pt x="6169481" y="6448450"/>
                  <a:pt x="6166718" y="6447171"/>
                </a:cubicBezTo>
                <a:cubicBezTo>
                  <a:pt x="6163956" y="6445892"/>
                  <a:pt x="6160949" y="6445252"/>
                  <a:pt x="6157700" y="6445252"/>
                </a:cubicBezTo>
                <a:close/>
                <a:moveTo>
                  <a:pt x="6087364" y="6445252"/>
                </a:moveTo>
                <a:cubicBezTo>
                  <a:pt x="6079131" y="6445252"/>
                  <a:pt x="6072328" y="6448613"/>
                  <a:pt x="6066956" y="6455333"/>
                </a:cubicBezTo>
                <a:cubicBezTo>
                  <a:pt x="6061584" y="6462054"/>
                  <a:pt x="6058897" y="6471809"/>
                  <a:pt x="6058897" y="6484599"/>
                </a:cubicBezTo>
                <a:cubicBezTo>
                  <a:pt x="6058897" y="6496924"/>
                  <a:pt x="6061560" y="6506353"/>
                  <a:pt x="6066885" y="6512888"/>
                </a:cubicBezTo>
                <a:cubicBezTo>
                  <a:pt x="6072212" y="6519422"/>
                  <a:pt x="6079175" y="6522690"/>
                  <a:pt x="6087781" y="6522690"/>
                </a:cubicBezTo>
                <a:cubicBezTo>
                  <a:pt x="6094617" y="6522690"/>
                  <a:pt x="6100348" y="6520678"/>
                  <a:pt x="6104976" y="6516655"/>
                </a:cubicBezTo>
                <a:cubicBezTo>
                  <a:pt x="6109604" y="6512632"/>
                  <a:pt x="6112801" y="6506667"/>
                  <a:pt x="6114569" y="6498761"/>
                </a:cubicBezTo>
                <a:lnTo>
                  <a:pt x="6103965" y="6497156"/>
                </a:lnTo>
                <a:cubicBezTo>
                  <a:pt x="6100941" y="6507295"/>
                  <a:pt x="6095570" y="6512365"/>
                  <a:pt x="6087849" y="6512365"/>
                </a:cubicBezTo>
                <a:cubicBezTo>
                  <a:pt x="6082919" y="6512365"/>
                  <a:pt x="6078734" y="6510248"/>
                  <a:pt x="6075292" y="6506016"/>
                </a:cubicBezTo>
                <a:cubicBezTo>
                  <a:pt x="6071853" y="6501784"/>
                  <a:pt x="6069920" y="6495505"/>
                  <a:pt x="6069506" y="6487180"/>
                </a:cubicBezTo>
                <a:lnTo>
                  <a:pt x="6114848" y="6487180"/>
                </a:lnTo>
                <a:lnTo>
                  <a:pt x="6114917" y="6483831"/>
                </a:lnTo>
                <a:cubicBezTo>
                  <a:pt x="6114917" y="6471321"/>
                  <a:pt x="6112290" y="6461763"/>
                  <a:pt x="6107034" y="6455159"/>
                </a:cubicBezTo>
                <a:cubicBezTo>
                  <a:pt x="6101779" y="6448555"/>
                  <a:pt x="6095221" y="6445252"/>
                  <a:pt x="6087364" y="6445252"/>
                </a:cubicBezTo>
                <a:close/>
                <a:moveTo>
                  <a:pt x="5900526" y="6445252"/>
                </a:moveTo>
                <a:cubicBezTo>
                  <a:pt x="5896346" y="6445252"/>
                  <a:pt x="5892645" y="6446258"/>
                  <a:pt x="5889417" y="6448270"/>
                </a:cubicBezTo>
                <a:cubicBezTo>
                  <a:pt x="5886191" y="6450282"/>
                  <a:pt x="5883465" y="6453323"/>
                  <a:pt x="5881236" y="6457392"/>
                </a:cubicBezTo>
                <a:lnTo>
                  <a:pt x="5881236" y="6446927"/>
                </a:lnTo>
                <a:lnTo>
                  <a:pt x="5871957" y="6446927"/>
                </a:lnTo>
                <a:lnTo>
                  <a:pt x="5871957" y="6521015"/>
                </a:lnTo>
                <a:lnTo>
                  <a:pt x="5882211" y="6521015"/>
                </a:lnTo>
                <a:lnTo>
                  <a:pt x="5882211" y="6480509"/>
                </a:lnTo>
                <a:cubicBezTo>
                  <a:pt x="5882211" y="6471570"/>
                  <a:pt x="5883676" y="6465261"/>
                  <a:pt x="5886608" y="6461583"/>
                </a:cubicBezTo>
                <a:cubicBezTo>
                  <a:pt x="5889538" y="6457905"/>
                  <a:pt x="5893467" y="6456066"/>
                  <a:pt x="5898396" y="6456066"/>
                </a:cubicBezTo>
                <a:cubicBezTo>
                  <a:pt x="5901002" y="6456066"/>
                  <a:pt x="5903292" y="6456752"/>
                  <a:pt x="5905268" y="6458126"/>
                </a:cubicBezTo>
                <a:cubicBezTo>
                  <a:pt x="5907246" y="6459499"/>
                  <a:pt x="5908697" y="6461443"/>
                  <a:pt x="5909630" y="6463957"/>
                </a:cubicBezTo>
                <a:cubicBezTo>
                  <a:pt x="5910559" y="6466471"/>
                  <a:pt x="5911024" y="6470452"/>
                  <a:pt x="5911024" y="6475900"/>
                </a:cubicBezTo>
                <a:lnTo>
                  <a:pt x="5911024" y="6521015"/>
                </a:lnTo>
                <a:lnTo>
                  <a:pt x="5921278" y="6521015"/>
                </a:lnTo>
                <a:lnTo>
                  <a:pt x="5921278" y="6475460"/>
                </a:lnTo>
                <a:cubicBezTo>
                  <a:pt x="5921278" y="6468623"/>
                  <a:pt x="5920860" y="6463554"/>
                  <a:pt x="5920026" y="6460252"/>
                </a:cubicBezTo>
                <a:cubicBezTo>
                  <a:pt x="5919190" y="6456949"/>
                  <a:pt x="5917925" y="6454264"/>
                  <a:pt x="5916230" y="6452194"/>
                </a:cubicBezTo>
                <a:cubicBezTo>
                  <a:pt x="5914534" y="6450124"/>
                  <a:pt x="5912308" y="6448450"/>
                  <a:pt x="5909545" y="6447171"/>
                </a:cubicBezTo>
                <a:cubicBezTo>
                  <a:pt x="5906783" y="6445892"/>
                  <a:pt x="5903776" y="6445252"/>
                  <a:pt x="5900526" y="6445252"/>
                </a:cubicBezTo>
                <a:close/>
                <a:moveTo>
                  <a:pt x="5829838" y="6445252"/>
                </a:moveTo>
                <a:cubicBezTo>
                  <a:pt x="5821607" y="6445252"/>
                  <a:pt x="5814805" y="6448508"/>
                  <a:pt x="5809433" y="6455019"/>
                </a:cubicBezTo>
                <a:cubicBezTo>
                  <a:pt x="5804061" y="6461531"/>
                  <a:pt x="5801376" y="6471181"/>
                  <a:pt x="5801376" y="6483971"/>
                </a:cubicBezTo>
                <a:cubicBezTo>
                  <a:pt x="5801376" y="6496714"/>
                  <a:pt x="5804085" y="6506353"/>
                  <a:pt x="5809502" y="6512888"/>
                </a:cubicBezTo>
                <a:cubicBezTo>
                  <a:pt x="5814920" y="6519422"/>
                  <a:pt x="5821700" y="6522690"/>
                  <a:pt x="5829838" y="6522690"/>
                </a:cubicBezTo>
                <a:cubicBezTo>
                  <a:pt x="5838116" y="6522690"/>
                  <a:pt x="5844931" y="6519434"/>
                  <a:pt x="5850280" y="6512923"/>
                </a:cubicBezTo>
                <a:cubicBezTo>
                  <a:pt x="5855626" y="6506411"/>
                  <a:pt x="5858301" y="6496505"/>
                  <a:pt x="5858301" y="6483204"/>
                </a:cubicBezTo>
                <a:cubicBezTo>
                  <a:pt x="5858301" y="6470925"/>
                  <a:pt x="5855581" y="6461531"/>
                  <a:pt x="5850139" y="6455019"/>
                </a:cubicBezTo>
                <a:cubicBezTo>
                  <a:pt x="5844697" y="6448508"/>
                  <a:pt x="5837932" y="6445252"/>
                  <a:pt x="5829838"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3" y="6421045"/>
                </a:moveTo>
                <a:lnTo>
                  <a:pt x="6198038" y="6428579"/>
                </a:lnTo>
                <a:lnTo>
                  <a:pt x="6198038" y="6446927"/>
                </a:lnTo>
                <a:lnTo>
                  <a:pt x="6190503" y="6446927"/>
                </a:lnTo>
                <a:lnTo>
                  <a:pt x="6190503" y="6456694"/>
                </a:lnTo>
                <a:lnTo>
                  <a:pt x="6198038" y="6456694"/>
                </a:lnTo>
                <a:lnTo>
                  <a:pt x="6198038" y="6499319"/>
                </a:lnTo>
                <a:cubicBezTo>
                  <a:pt x="6198038" y="6506667"/>
                  <a:pt x="6198445" y="6511574"/>
                  <a:pt x="6199259" y="6514039"/>
                </a:cubicBezTo>
                <a:cubicBezTo>
                  <a:pt x="6200073" y="6516504"/>
                  <a:pt x="6201573" y="6518446"/>
                  <a:pt x="6203758" y="6519864"/>
                </a:cubicBezTo>
                <a:cubicBezTo>
                  <a:pt x="6205944" y="6521283"/>
                  <a:pt x="6208828" y="6521992"/>
                  <a:pt x="6212409" y="6521992"/>
                </a:cubicBezTo>
                <a:cubicBezTo>
                  <a:pt x="6214688" y="6521992"/>
                  <a:pt x="6217246" y="6521620"/>
                  <a:pt x="6220083" y="6520876"/>
                </a:cubicBezTo>
                <a:lnTo>
                  <a:pt x="6218688" y="6509783"/>
                </a:lnTo>
                <a:cubicBezTo>
                  <a:pt x="6216827" y="6510109"/>
                  <a:pt x="6215316" y="6510272"/>
                  <a:pt x="6214153" y="6510272"/>
                </a:cubicBezTo>
                <a:cubicBezTo>
                  <a:pt x="6211735" y="6510272"/>
                  <a:pt x="6210084" y="6509435"/>
                  <a:pt x="6209200" y="6507760"/>
                </a:cubicBezTo>
                <a:cubicBezTo>
                  <a:pt x="6208595" y="6506598"/>
                  <a:pt x="6208293" y="6504016"/>
                  <a:pt x="6208293" y="6500017"/>
                </a:cubicBezTo>
                <a:lnTo>
                  <a:pt x="6208293" y="6456694"/>
                </a:lnTo>
                <a:lnTo>
                  <a:pt x="6218688" y="6456694"/>
                </a:lnTo>
                <a:lnTo>
                  <a:pt x="6218688" y="6446927"/>
                </a:lnTo>
                <a:lnTo>
                  <a:pt x="6208293"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2" y="6418742"/>
                </a:moveTo>
                <a:lnTo>
                  <a:pt x="6319282" y="6521015"/>
                </a:lnTo>
                <a:lnTo>
                  <a:pt x="6329537" y="6521015"/>
                </a:lnTo>
                <a:lnTo>
                  <a:pt x="6329537" y="6418742"/>
                </a:lnTo>
                <a:close/>
                <a:moveTo>
                  <a:pt x="6224380" y="6418742"/>
                </a:moveTo>
                <a:lnTo>
                  <a:pt x="6224380" y="6433183"/>
                </a:lnTo>
                <a:lnTo>
                  <a:pt x="6234636" y="6433183"/>
                </a:lnTo>
                <a:lnTo>
                  <a:pt x="6234636" y="6418742"/>
                </a:lnTo>
                <a:close/>
                <a:moveTo>
                  <a:pt x="6034361" y="6418742"/>
                </a:moveTo>
                <a:lnTo>
                  <a:pt x="6034361" y="6455438"/>
                </a:lnTo>
                <a:cubicBezTo>
                  <a:pt x="6032457" y="6452229"/>
                  <a:pt x="6030052" y="6449729"/>
                  <a:pt x="6027153" y="6447938"/>
                </a:cubicBezTo>
                <a:cubicBezTo>
                  <a:pt x="6024249" y="6446148"/>
                  <a:pt x="6021105" y="6445252"/>
                  <a:pt x="6017716" y="6445252"/>
                </a:cubicBezTo>
                <a:cubicBezTo>
                  <a:pt x="6012977" y="6445252"/>
                  <a:pt x="6008671" y="6446671"/>
                  <a:pt x="6004794" y="6449508"/>
                </a:cubicBezTo>
                <a:cubicBezTo>
                  <a:pt x="6000918" y="6452345"/>
                  <a:pt x="5997817" y="6456694"/>
                  <a:pt x="5995495" y="6462554"/>
                </a:cubicBezTo>
                <a:cubicBezTo>
                  <a:pt x="5993174" y="6468414"/>
                  <a:pt x="5992013" y="6475553"/>
                  <a:pt x="5992013" y="6483971"/>
                </a:cubicBezTo>
                <a:cubicBezTo>
                  <a:pt x="5992013" y="6496249"/>
                  <a:pt x="5994629" y="6505772"/>
                  <a:pt x="5999862" y="6512539"/>
                </a:cubicBezTo>
                <a:cubicBezTo>
                  <a:pt x="6005094" y="6519306"/>
                  <a:pt x="6011292" y="6522690"/>
                  <a:pt x="6018454" y="6522690"/>
                </a:cubicBezTo>
                <a:cubicBezTo>
                  <a:pt x="6021849" y="6522690"/>
                  <a:pt x="6025011" y="6521748"/>
                  <a:pt x="6027944" y="6519864"/>
                </a:cubicBezTo>
                <a:cubicBezTo>
                  <a:pt x="6030873" y="6517981"/>
                  <a:pt x="6033267" y="6515248"/>
                  <a:pt x="6035129" y="6511667"/>
                </a:cubicBezTo>
                <a:lnTo>
                  <a:pt x="6035129" y="6521015"/>
                </a:lnTo>
                <a:lnTo>
                  <a:pt x="6044755" y="6521015"/>
                </a:lnTo>
                <a:lnTo>
                  <a:pt x="6044755"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0" y="6416998"/>
                </a:moveTo>
                <a:cubicBezTo>
                  <a:pt x="5954504" y="6416998"/>
                  <a:pt x="5951367" y="6417766"/>
                  <a:pt x="5948873" y="6419301"/>
                </a:cubicBezTo>
                <a:cubicBezTo>
                  <a:pt x="5946376" y="6420835"/>
                  <a:pt x="5944524" y="6423056"/>
                  <a:pt x="5943312" y="6425963"/>
                </a:cubicBezTo>
                <a:cubicBezTo>
                  <a:pt x="5942098" y="6428870"/>
                  <a:pt x="5941493" y="6433230"/>
                  <a:pt x="5941493" y="6439044"/>
                </a:cubicBezTo>
                <a:lnTo>
                  <a:pt x="5941493" y="6446927"/>
                </a:lnTo>
                <a:lnTo>
                  <a:pt x="5932354" y="6446927"/>
                </a:lnTo>
                <a:lnTo>
                  <a:pt x="5932354" y="6456694"/>
                </a:lnTo>
                <a:lnTo>
                  <a:pt x="5941493" y="6456694"/>
                </a:lnTo>
                <a:lnTo>
                  <a:pt x="5941493" y="6521015"/>
                </a:lnTo>
                <a:lnTo>
                  <a:pt x="5951746" y="6521015"/>
                </a:lnTo>
                <a:lnTo>
                  <a:pt x="5951746" y="6456694"/>
                </a:lnTo>
                <a:lnTo>
                  <a:pt x="5963606" y="6456694"/>
                </a:lnTo>
                <a:lnTo>
                  <a:pt x="5963606" y="6446927"/>
                </a:lnTo>
                <a:lnTo>
                  <a:pt x="5951746" y="6446927"/>
                </a:lnTo>
                <a:lnTo>
                  <a:pt x="5951746" y="6440090"/>
                </a:lnTo>
                <a:cubicBezTo>
                  <a:pt x="5951746" y="6435579"/>
                  <a:pt x="5952412" y="6432521"/>
                  <a:pt x="5953734" y="6430916"/>
                </a:cubicBezTo>
                <a:cubicBezTo>
                  <a:pt x="5955060" y="6429312"/>
                  <a:pt x="5957262" y="6428509"/>
                  <a:pt x="5960327" y="6428509"/>
                </a:cubicBezTo>
                <a:cubicBezTo>
                  <a:pt x="5962235" y="6428509"/>
                  <a:pt x="5964257" y="6428742"/>
                  <a:pt x="5966397" y="6429207"/>
                </a:cubicBezTo>
                <a:lnTo>
                  <a:pt x="5967205" y="6423469"/>
                </a:lnTo>
                <a:lnTo>
                  <a:pt x="5967205" y="6433183"/>
                </a:lnTo>
                <a:lnTo>
                  <a:pt x="5977462" y="6433183"/>
                </a:lnTo>
                <a:lnTo>
                  <a:pt x="5977462" y="6418742"/>
                </a:lnTo>
                <a:lnTo>
                  <a:pt x="5967872" y="6418742"/>
                </a:lnTo>
                <a:lnTo>
                  <a:pt x="5967933" y="6418324"/>
                </a:lnTo>
                <a:cubicBezTo>
                  <a:pt x="5964433" y="6417440"/>
                  <a:pt x="5961216" y="6416998"/>
                  <a:pt x="5958280"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1" y="6418918"/>
                  <a:pt x="5737086" y="6422897"/>
                </a:cubicBezTo>
                <a:cubicBezTo>
                  <a:pt x="5731080" y="6426876"/>
                  <a:pt x="5726321" y="6432763"/>
                  <a:pt x="5722805" y="6440559"/>
                </a:cubicBezTo>
                <a:cubicBezTo>
                  <a:pt x="5719290" y="6448354"/>
                  <a:pt x="5717534" y="6457883"/>
                  <a:pt x="5717534" y="6469146"/>
                </a:cubicBezTo>
                <a:cubicBezTo>
                  <a:pt x="5717534" y="6480548"/>
                  <a:pt x="5719288" y="6490438"/>
                  <a:pt x="5722800" y="6498815"/>
                </a:cubicBezTo>
                <a:cubicBezTo>
                  <a:pt x="5726311" y="6507192"/>
                  <a:pt x="5730823" y="6513277"/>
                  <a:pt x="5736335" y="6517070"/>
                </a:cubicBezTo>
                <a:cubicBezTo>
                  <a:pt x="5741846" y="6520863"/>
                  <a:pt x="5748485" y="6522759"/>
                  <a:pt x="5756253" y="6522759"/>
                </a:cubicBezTo>
                <a:cubicBezTo>
                  <a:pt x="5765089" y="6522759"/>
                  <a:pt x="5772589" y="6519934"/>
                  <a:pt x="5778751" y="6514283"/>
                </a:cubicBezTo>
                <a:cubicBezTo>
                  <a:pt x="5784913" y="6508632"/>
                  <a:pt x="5789228" y="6500063"/>
                  <a:pt x="5791692" y="6488575"/>
                </a:cubicBezTo>
                <a:lnTo>
                  <a:pt x="5780529" y="6485157"/>
                </a:lnTo>
                <a:cubicBezTo>
                  <a:pt x="5779042" y="6493901"/>
                  <a:pt x="5776100" y="6500423"/>
                  <a:pt x="5771703" y="6504726"/>
                </a:cubicBezTo>
                <a:cubicBezTo>
                  <a:pt x="5767310" y="6509028"/>
                  <a:pt x="5762088" y="6511179"/>
                  <a:pt x="5756044" y="6511179"/>
                </a:cubicBezTo>
                <a:cubicBezTo>
                  <a:pt x="5747858" y="6511179"/>
                  <a:pt x="5741300" y="6507676"/>
                  <a:pt x="5736369" y="6500671"/>
                </a:cubicBezTo>
                <a:cubicBezTo>
                  <a:pt x="5731440" y="6493665"/>
                  <a:pt x="5728974" y="6483157"/>
                  <a:pt x="5728974" y="6469145"/>
                </a:cubicBezTo>
                <a:cubicBezTo>
                  <a:pt x="5728974" y="6459883"/>
                  <a:pt x="5730198" y="6452226"/>
                  <a:pt x="5732644" y="6446175"/>
                </a:cubicBezTo>
                <a:cubicBezTo>
                  <a:pt x="5735088" y="6440123"/>
                  <a:pt x="5738360" y="6435666"/>
                  <a:pt x="5742457" y="6432804"/>
                </a:cubicBezTo>
                <a:cubicBezTo>
                  <a:pt x="5746557" y="6429941"/>
                  <a:pt x="5751400" y="6428509"/>
                  <a:pt x="5756988" y="6428509"/>
                </a:cubicBezTo>
                <a:cubicBezTo>
                  <a:pt x="5768213" y="6428509"/>
                  <a:pt x="5775687" y="6435602"/>
                  <a:pt x="5779412" y="6449787"/>
                </a:cubicBezTo>
                <a:lnTo>
                  <a:pt x="5790296" y="6446648"/>
                </a:lnTo>
                <a:cubicBezTo>
                  <a:pt x="5787969" y="6436903"/>
                  <a:pt x="5783896" y="6429514"/>
                  <a:pt x="5778076" y="6424480"/>
                </a:cubicBezTo>
                <a:cubicBezTo>
                  <a:pt x="5772257" y="6419446"/>
                  <a:pt x="5765297"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5" y="6415084"/>
                </a:moveTo>
                <a:lnTo>
                  <a:pt x="10873860" y="6415084"/>
                </a:lnTo>
                <a:cubicBezTo>
                  <a:pt x="10894306" y="6415084"/>
                  <a:pt x="10904530" y="6417923"/>
                  <a:pt x="10904530" y="6430343"/>
                </a:cubicBezTo>
                <a:cubicBezTo>
                  <a:pt x="10904530" y="6442408"/>
                  <a:pt x="10894306" y="6445247"/>
                  <a:pt x="10873860" y="6445247"/>
                </a:cubicBezTo>
                <a:lnTo>
                  <a:pt x="10831505" y="6445247"/>
                </a:lnTo>
                <a:close/>
                <a:moveTo>
                  <a:pt x="11108524" y="6410322"/>
                </a:moveTo>
                <a:cubicBezTo>
                  <a:pt x="11138470" y="6410322"/>
                  <a:pt x="11152180" y="6424698"/>
                  <a:pt x="11152180" y="6454961"/>
                </a:cubicBezTo>
                <a:cubicBezTo>
                  <a:pt x="11152180" y="6484847"/>
                  <a:pt x="11138470" y="6499222"/>
                  <a:pt x="11108524" y="6499222"/>
                </a:cubicBezTo>
                <a:cubicBezTo>
                  <a:pt x="11077856" y="6499222"/>
                  <a:pt x="11064867" y="6484847"/>
                  <a:pt x="11064867" y="6453827"/>
                </a:cubicBezTo>
                <a:cubicBezTo>
                  <a:pt x="11064867" y="6424698"/>
                  <a:pt x="11078938" y="6410322"/>
                  <a:pt x="11108524" y="6410322"/>
                </a:cubicBezTo>
                <a:close/>
                <a:moveTo>
                  <a:pt x="11212505" y="6391272"/>
                </a:moveTo>
                <a:lnTo>
                  <a:pt x="11212505" y="6518272"/>
                </a:lnTo>
                <a:lnTo>
                  <a:pt x="11246059" y="6518272"/>
                </a:lnTo>
                <a:lnTo>
                  <a:pt x="11246059" y="6422083"/>
                </a:lnTo>
                <a:lnTo>
                  <a:pt x="11315692" y="6518272"/>
                </a:lnTo>
                <a:lnTo>
                  <a:pt x="11355380" y="6518272"/>
                </a:lnTo>
                <a:lnTo>
                  <a:pt x="11355380" y="6391272"/>
                </a:lnTo>
                <a:lnTo>
                  <a:pt x="11322187" y="6391272"/>
                </a:lnTo>
                <a:lnTo>
                  <a:pt x="11322187" y="6482577"/>
                </a:lnTo>
                <a:lnTo>
                  <a:pt x="11255800" y="6391272"/>
                </a:lnTo>
                <a:close/>
                <a:moveTo>
                  <a:pt x="10968030" y="6391272"/>
                </a:moveTo>
                <a:lnTo>
                  <a:pt x="10968030" y="6518272"/>
                </a:lnTo>
                <a:lnTo>
                  <a:pt x="11002955" y="6518272"/>
                </a:lnTo>
                <a:lnTo>
                  <a:pt x="11002955" y="6391272"/>
                </a:lnTo>
                <a:close/>
                <a:moveTo>
                  <a:pt x="10798167" y="6391272"/>
                </a:moveTo>
                <a:lnTo>
                  <a:pt x="10798167" y="6518272"/>
                </a:lnTo>
                <a:lnTo>
                  <a:pt x="10832210" y="6518272"/>
                </a:lnTo>
                <a:lnTo>
                  <a:pt x="10832210" y="6468299"/>
                </a:lnTo>
                <a:lnTo>
                  <a:pt x="10871986" y="6468299"/>
                </a:lnTo>
                <a:lnTo>
                  <a:pt x="10907462" y="6518272"/>
                </a:lnTo>
                <a:lnTo>
                  <a:pt x="10945805" y="6518272"/>
                </a:lnTo>
                <a:lnTo>
                  <a:pt x="10905670" y="6465293"/>
                </a:lnTo>
                <a:cubicBezTo>
                  <a:pt x="10926454" y="6461536"/>
                  <a:pt x="10938280" y="6449136"/>
                  <a:pt x="10938280" y="6429598"/>
                </a:cubicBezTo>
                <a:cubicBezTo>
                  <a:pt x="10938280" y="6402920"/>
                  <a:pt x="10920004" y="6391272"/>
                  <a:pt x="10881661" y="6391272"/>
                </a:cubicBezTo>
                <a:close/>
                <a:moveTo>
                  <a:pt x="10728317" y="6391272"/>
                </a:moveTo>
                <a:lnTo>
                  <a:pt x="10728317" y="6518272"/>
                </a:lnTo>
                <a:lnTo>
                  <a:pt x="10763242" y="6518272"/>
                </a:lnTo>
                <a:lnTo>
                  <a:pt x="10763242" y="6391272"/>
                </a:lnTo>
                <a:close/>
                <a:moveTo>
                  <a:pt x="10604321" y="6391272"/>
                </a:moveTo>
                <a:cubicBezTo>
                  <a:pt x="10565734" y="6391272"/>
                  <a:pt x="10547342" y="6402544"/>
                  <a:pt x="10547342" y="6429973"/>
                </a:cubicBezTo>
                <a:cubicBezTo>
                  <a:pt x="10547342" y="6455524"/>
                  <a:pt x="10564291" y="6466420"/>
                  <a:pt x="10601436" y="6466420"/>
                </a:cubicBezTo>
                <a:lnTo>
                  <a:pt x="10641466" y="6466420"/>
                </a:lnTo>
                <a:cubicBezTo>
                  <a:pt x="10658055" y="6466420"/>
                  <a:pt x="10665628" y="6469802"/>
                  <a:pt x="10665628" y="6481074"/>
                </a:cubicBezTo>
                <a:cubicBezTo>
                  <a:pt x="10665628" y="6491970"/>
                  <a:pt x="10657333" y="6495352"/>
                  <a:pt x="10639302" y="6495352"/>
                </a:cubicBezTo>
                <a:lnTo>
                  <a:pt x="10553833" y="6495352"/>
                </a:lnTo>
                <a:lnTo>
                  <a:pt x="10553833" y="6518272"/>
                </a:lnTo>
                <a:lnTo>
                  <a:pt x="10644711" y="6518272"/>
                </a:lnTo>
                <a:cubicBezTo>
                  <a:pt x="10682938" y="6518272"/>
                  <a:pt x="10701330" y="6507000"/>
                  <a:pt x="10701330" y="6480323"/>
                </a:cubicBezTo>
                <a:cubicBezTo>
                  <a:pt x="10701330" y="6453645"/>
                  <a:pt x="10685823" y="6444252"/>
                  <a:pt x="10649760" y="6444252"/>
                </a:cubicBezTo>
                <a:lnTo>
                  <a:pt x="10604321" y="6444252"/>
                </a:lnTo>
                <a:cubicBezTo>
                  <a:pt x="10590257" y="6444252"/>
                  <a:pt x="10583044" y="6439743"/>
                  <a:pt x="10583044" y="6430349"/>
                </a:cubicBezTo>
                <a:cubicBezTo>
                  <a:pt x="10583044" y="6418701"/>
                  <a:pt x="10591339" y="6413817"/>
                  <a:pt x="10609009" y="6413817"/>
                </a:cubicBezTo>
                <a:lnTo>
                  <a:pt x="10693396" y="6413817"/>
                </a:lnTo>
                <a:lnTo>
                  <a:pt x="10693396" y="6391272"/>
                </a:lnTo>
                <a:close/>
                <a:moveTo>
                  <a:pt x="10490061" y="6391272"/>
                </a:moveTo>
                <a:lnTo>
                  <a:pt x="10490061" y="6482682"/>
                </a:lnTo>
                <a:lnTo>
                  <a:pt x="10423841" y="6391647"/>
                </a:lnTo>
                <a:lnTo>
                  <a:pt x="10380655" y="6391647"/>
                </a:lnTo>
                <a:lnTo>
                  <a:pt x="10380655" y="6518272"/>
                </a:lnTo>
                <a:lnTo>
                  <a:pt x="10414124" y="6518272"/>
                </a:lnTo>
                <a:lnTo>
                  <a:pt x="10414124" y="6422367"/>
                </a:lnTo>
                <a:lnTo>
                  <a:pt x="10483942" y="6518272"/>
                </a:lnTo>
                <a:lnTo>
                  <a:pt x="10523170" y="6518272"/>
                </a:lnTo>
                <a:lnTo>
                  <a:pt x="10523530" y="6391272"/>
                </a:lnTo>
                <a:close/>
                <a:moveTo>
                  <a:pt x="10293755" y="6391272"/>
                </a:moveTo>
                <a:cubicBezTo>
                  <a:pt x="10241355" y="6391272"/>
                  <a:pt x="10217142" y="6411938"/>
                  <a:pt x="10217142" y="6457027"/>
                </a:cubicBezTo>
                <a:cubicBezTo>
                  <a:pt x="10217142" y="6479947"/>
                  <a:pt x="10225454" y="6496479"/>
                  <a:pt x="10242077" y="6507000"/>
                </a:cubicBezTo>
                <a:cubicBezTo>
                  <a:pt x="10257978" y="6516769"/>
                  <a:pt x="10273156" y="6518272"/>
                  <a:pt x="10293032" y="6518272"/>
                </a:cubicBezTo>
                <a:lnTo>
                  <a:pt x="10350492" y="6518272"/>
                </a:lnTo>
                <a:lnTo>
                  <a:pt x="10350492" y="6496104"/>
                </a:lnTo>
                <a:lnTo>
                  <a:pt x="10294478" y="6496104"/>
                </a:lnTo>
                <a:cubicBezTo>
                  <a:pt x="10267374" y="6496104"/>
                  <a:pt x="10255810" y="6487837"/>
                  <a:pt x="10255810" y="6464917"/>
                </a:cubicBezTo>
                <a:lnTo>
                  <a:pt x="10350492" y="6464917"/>
                </a:lnTo>
                <a:lnTo>
                  <a:pt x="10350492" y="6442749"/>
                </a:lnTo>
                <a:lnTo>
                  <a:pt x="10255810" y="6442749"/>
                </a:lnTo>
                <a:cubicBezTo>
                  <a:pt x="10257255" y="6422834"/>
                  <a:pt x="10269904" y="6413441"/>
                  <a:pt x="10294478" y="6413441"/>
                </a:cubicBezTo>
                <a:lnTo>
                  <a:pt x="10350492" y="6413441"/>
                </a:lnTo>
                <a:lnTo>
                  <a:pt x="10350492" y="6391272"/>
                </a:lnTo>
                <a:close/>
                <a:moveTo>
                  <a:pt x="10104126" y="6391272"/>
                </a:moveTo>
                <a:cubicBezTo>
                  <a:pt x="10065629" y="6391272"/>
                  <a:pt x="10047280" y="6402544"/>
                  <a:pt x="10047280" y="6429973"/>
                </a:cubicBezTo>
                <a:cubicBezTo>
                  <a:pt x="10047280" y="6455524"/>
                  <a:pt x="10064190" y="6466420"/>
                  <a:pt x="10101248" y="6466420"/>
                </a:cubicBezTo>
                <a:lnTo>
                  <a:pt x="10141184" y="6466420"/>
                </a:lnTo>
                <a:cubicBezTo>
                  <a:pt x="10157734" y="6466420"/>
                  <a:pt x="10165649" y="6469802"/>
                  <a:pt x="10165649" y="6481074"/>
                </a:cubicBezTo>
                <a:cubicBezTo>
                  <a:pt x="10165649" y="6491970"/>
                  <a:pt x="10157014" y="6495352"/>
                  <a:pt x="10139025" y="6495352"/>
                </a:cubicBezTo>
                <a:lnTo>
                  <a:pt x="10053756" y="6495352"/>
                </a:lnTo>
                <a:lnTo>
                  <a:pt x="10053756" y="6518272"/>
                </a:lnTo>
                <a:lnTo>
                  <a:pt x="10144422" y="6518272"/>
                </a:lnTo>
                <a:cubicBezTo>
                  <a:pt x="10182919" y="6518272"/>
                  <a:pt x="10201268" y="6507000"/>
                  <a:pt x="10201268" y="6480323"/>
                </a:cubicBezTo>
                <a:cubicBezTo>
                  <a:pt x="10201268" y="6453645"/>
                  <a:pt x="10185437" y="6444252"/>
                  <a:pt x="10149459" y="6444252"/>
                </a:cubicBezTo>
                <a:lnTo>
                  <a:pt x="10104486" y="6444252"/>
                </a:lnTo>
                <a:cubicBezTo>
                  <a:pt x="10090094" y="6444252"/>
                  <a:pt x="10082899" y="6439743"/>
                  <a:pt x="10082899" y="6430349"/>
                </a:cubicBezTo>
                <a:cubicBezTo>
                  <a:pt x="10082899" y="6418701"/>
                  <a:pt x="10091174" y="6413817"/>
                  <a:pt x="10109163" y="6413817"/>
                </a:cubicBezTo>
                <a:lnTo>
                  <a:pt x="10193353" y="6413817"/>
                </a:lnTo>
                <a:lnTo>
                  <a:pt x="10193353" y="6391272"/>
                </a:lnTo>
                <a:close/>
                <a:moveTo>
                  <a:pt x="11099976" y="6389684"/>
                </a:moveTo>
                <a:cubicBezTo>
                  <a:pt x="11050930" y="6391539"/>
                  <a:pt x="11026767" y="6412307"/>
                  <a:pt x="11026767" y="6453474"/>
                </a:cubicBezTo>
                <a:cubicBezTo>
                  <a:pt x="11026767" y="6498720"/>
                  <a:pt x="11052011" y="6519859"/>
                  <a:pt x="11107910" y="6519859"/>
                </a:cubicBezTo>
                <a:cubicBezTo>
                  <a:pt x="11163087" y="6519859"/>
                  <a:pt x="11188692" y="6498720"/>
                  <a:pt x="11188692" y="6454586"/>
                </a:cubicBezTo>
                <a:cubicBezTo>
                  <a:pt x="11188692" y="6412307"/>
                  <a:pt x="11165611" y="6391539"/>
                  <a:pt x="11115844" y="6389684"/>
                </a:cubicBezTo>
                <a:close/>
                <a:moveTo>
                  <a:pt x="0" y="0"/>
                </a:moveTo>
                <a:lnTo>
                  <a:pt x="12188817" y="0"/>
                </a:lnTo>
                <a:lnTo>
                  <a:pt x="12188817" y="3067874"/>
                </a:lnTo>
                <a:lnTo>
                  <a:pt x="12188817" y="3141660"/>
                </a:lnTo>
                <a:lnTo>
                  <a:pt x="12188817" y="6237284"/>
                </a:lnTo>
                <a:lnTo>
                  <a:pt x="12188817" y="6282150"/>
                </a:lnTo>
                <a:lnTo>
                  <a:pt x="12188817" y="6857997"/>
                </a:lnTo>
                <a:lnTo>
                  <a:pt x="0" y="6857997"/>
                </a:lnTo>
                <a:close/>
              </a:path>
            </a:pathLst>
          </a:custGeom>
          <a:noFill/>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en-US" dirty="0"/>
          </a:p>
        </p:txBody>
      </p:sp>
      <p:sp>
        <p:nvSpPr>
          <p:cNvPr id="4" name="Textplatzhalter 3"/>
          <p:cNvSpPr>
            <a:spLocks noGrp="1"/>
          </p:cNvSpPr>
          <p:nvPr>
            <p:ph type="body" sz="quarter" idx="10" hasCustomPrompt="1"/>
          </p:nvPr>
        </p:nvSpPr>
        <p:spPr>
          <a:xfrm>
            <a:off x="848931"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dirty="0"/>
              <a:t>Add text (make this text bold if it should be a subtitle) / </a:t>
            </a:r>
            <a:r>
              <a:rPr lang="de-CH" noProof="0" dirty="0"/>
              <a:t>Text hinzufügen (bei einem Untertitel kann der Text fett gemacht werden)</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 / </a:t>
            </a:r>
            <a:r>
              <a:rPr lang="en-US" noProof="0" dirty="0" err="1"/>
              <a:t>Titel</a:t>
            </a:r>
            <a:r>
              <a:rPr lang="en-US" noProof="0" dirty="0"/>
              <a:t> </a:t>
            </a:r>
            <a:r>
              <a:rPr lang="en-US" noProof="0" dirty="0" err="1"/>
              <a:t>hinzufügen</a:t>
            </a:r>
            <a:r>
              <a:rPr lang="en-US" noProof="0" dirty="0"/>
              <a:t> </a:t>
            </a:r>
          </a:p>
        </p:txBody>
      </p:sp>
      <p:sp>
        <p:nvSpPr>
          <p:cNvPr id="2" name="Foliennummernplatzhalter 1">
            <a:extLst>
              <a:ext uri="{FF2B5EF4-FFF2-40B4-BE49-F238E27FC236}">
                <a16:creationId xmlns:a16="http://schemas.microsoft.com/office/drawing/2014/main" id="{074B8285-B2DD-4B12-9624-03011ED58FE8}"/>
              </a:ext>
            </a:extLst>
          </p:cNvPr>
          <p:cNvSpPr>
            <a:spLocks noGrp="1"/>
          </p:cNvSpPr>
          <p:nvPr>
            <p:ph type="sldNum" sz="quarter" idx="15"/>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2769319584"/>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Green, Title, Text">
    <p:bg>
      <p:bgPr>
        <a:solidFill>
          <a:srgbClr val="66CC33"/>
        </a:solidFill>
        <a:effectLst/>
      </p:bgPr>
    </p:bg>
    <p:spTree>
      <p:nvGrpSpPr>
        <p:cNvPr id="1" name=""/>
        <p:cNvGrpSpPr/>
        <p:nvPr/>
      </p:nvGrpSpPr>
      <p:grpSpPr>
        <a:xfrm>
          <a:off x="0" y="0"/>
          <a:ext cx="0" cy="0"/>
          <a:chOff x="0" y="0"/>
          <a:chExt cx="0" cy="0"/>
        </a:xfrm>
      </p:grpSpPr>
      <p:sp>
        <p:nvSpPr>
          <p:cNvPr id="10"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dirty="0"/>
              <a:t>Add Title / </a:t>
            </a:r>
            <a:r>
              <a:rPr lang="en-US" noProof="0" dirty="0" err="1"/>
              <a:t>Titel</a:t>
            </a:r>
            <a:r>
              <a:rPr lang="en-US" noProof="0" dirty="0"/>
              <a:t> </a:t>
            </a:r>
            <a:r>
              <a:rPr lang="en-US" noProof="0" dirty="0" err="1"/>
              <a:t>hinzufügen</a:t>
            </a:r>
            <a:endParaRPr lang="en-US" noProof="0" dirty="0"/>
          </a:p>
        </p:txBody>
      </p:sp>
      <p:sp>
        <p:nvSpPr>
          <p:cNvPr id="13" name="Textplatzhalter 3"/>
          <p:cNvSpPr>
            <a:spLocks noGrp="1"/>
          </p:cNvSpPr>
          <p:nvPr>
            <p:ph type="body" sz="quarter" idx="10" hasCustomPrompt="1"/>
          </p:nvPr>
        </p:nvSpPr>
        <p:spPr>
          <a:xfrm>
            <a:off x="839098" y="907362"/>
            <a:ext cx="10512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baseline="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dirty="0"/>
              <a:t>Add text (make this text bold if it should be a subtitle) / </a:t>
            </a:r>
            <a:r>
              <a:rPr lang="de-CH" noProof="0" dirty="0"/>
              <a:t>Text hinzufügen (bei einem Untertitel kann der Text fett gemacht werden)</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2" name="Foliennummernplatzhalter 1">
            <a:extLst>
              <a:ext uri="{FF2B5EF4-FFF2-40B4-BE49-F238E27FC236}">
                <a16:creationId xmlns:a16="http://schemas.microsoft.com/office/drawing/2014/main" id="{1599DEA1-D78E-4950-992C-1DDD17CD680B}"/>
              </a:ext>
            </a:extLst>
          </p:cNvPr>
          <p:cNvSpPr>
            <a:spLocks noGrp="1"/>
          </p:cNvSpPr>
          <p:nvPr>
            <p:ph type="sldNum" sz="quarter" idx="11"/>
          </p:nvPr>
        </p:nvSpPr>
        <p:spPr/>
        <p:txBody>
          <a:bodyPr/>
          <a:lstStyle/>
          <a:p>
            <a:fld id="{B82950B1-C7CF-425D-9A48-9AE722F4F236}" type="slidenum">
              <a:rPr lang="de-CH" smtClean="0"/>
              <a:pPr/>
              <a:t>‹#›</a:t>
            </a:fld>
            <a:endParaRPr lang="de-CH" dirty="0"/>
          </a:p>
        </p:txBody>
      </p:sp>
      <p:pic>
        <p:nvPicPr>
          <p:cNvPr id="7" name="Grafik 6">
            <a:extLst>
              <a:ext uri="{FF2B5EF4-FFF2-40B4-BE49-F238E27FC236}">
                <a16:creationId xmlns:a16="http://schemas.microsoft.com/office/drawing/2014/main" id="{48AEF186-48B7-4345-8906-0A9637CF5FC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11568" y="6356356"/>
            <a:ext cx="1381125" cy="200025"/>
          </a:xfrm>
          <a:prstGeom prst="rect">
            <a:avLst/>
          </a:prstGeom>
        </p:spPr>
      </p:pic>
    </p:spTree>
    <p:extLst>
      <p:ext uri="{BB962C8B-B14F-4D97-AF65-F5344CB8AC3E}">
        <p14:creationId xmlns:p14="http://schemas.microsoft.com/office/powerpoint/2010/main" val="86721864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9AFD47E-91FA-4BA4-9B8B-6A8D06C2C645}"/>
              </a:ext>
            </a:extLst>
          </p:cNvPr>
          <p:cNvSpPr>
            <a:spLocks noGrp="1"/>
          </p:cNvSpPr>
          <p:nvPr>
            <p:ph type="sldNum" sz="quarter" idx="10"/>
          </p:nvPr>
        </p:nvSpPr>
        <p:spPr/>
        <p:txBody>
          <a:bodyPr/>
          <a:lstStyle/>
          <a:p>
            <a:fld id="{B82950B1-C7CF-425D-9A48-9AE722F4F236}" type="slidenum">
              <a:rPr lang="de-CH" smtClean="0"/>
              <a:pPr/>
              <a:t>‹#›</a:t>
            </a:fld>
            <a:endParaRPr lang="de-CH" dirty="0"/>
          </a:p>
        </p:txBody>
      </p:sp>
    </p:spTree>
    <p:extLst>
      <p:ext uri="{BB962C8B-B14F-4D97-AF65-F5344CB8AC3E}">
        <p14:creationId xmlns:p14="http://schemas.microsoft.com/office/powerpoint/2010/main" val="36957248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6755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a:solidFill>
                  <a:schemeClr val="tx1"/>
                </a:solidFill>
              </a:defRPr>
            </a:lvl1pPr>
          </a:lstStyle>
          <a:p>
            <a:r>
              <a:rPr lang="en-US" noProof="0"/>
              <a:t>Add Title</a:t>
            </a:r>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5256213" cy="306000"/>
          </a:xfrm>
        </p:spPr>
        <p:txBody>
          <a:bodyPr/>
          <a:lstStyle>
            <a:lvl1pPr>
              <a:spcBef>
                <a:spcPts val="0"/>
              </a:spcBef>
              <a:defRPr/>
            </a:lvl1pPr>
          </a:lstStyle>
          <a:p>
            <a:pPr lvl="0"/>
            <a:r>
              <a:rPr lang="en-US" noProof="0"/>
              <a:t>First Name Last Name, Job Function</a:t>
            </a:r>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5256213" cy="306000"/>
          </a:xfrm>
        </p:spPr>
        <p:txBody>
          <a:bodyPr/>
          <a:lstStyle>
            <a:lvl1pPr>
              <a:spcBef>
                <a:spcPts val="0"/>
              </a:spcBef>
              <a:defRPr/>
            </a:lvl1pPr>
          </a:lstStyle>
          <a:p>
            <a:pPr lvl="0"/>
            <a:r>
              <a:rPr lang="en-US" noProof="0"/>
              <a:t>City Country, Month Year</a:t>
            </a:r>
          </a:p>
        </p:txBody>
      </p:sp>
    </p:spTree>
    <p:extLst>
      <p:ext uri="{BB962C8B-B14F-4D97-AF65-F5344CB8AC3E}">
        <p14:creationId xmlns:p14="http://schemas.microsoft.com/office/powerpoint/2010/main" val="250414144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76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US" dirty="0">
                <a:solidFill>
                  <a:schemeClr val="bg1"/>
                </a:solidFill>
              </a:rPr>
              <a:t>www.sensirion.com</a:t>
            </a:r>
          </a:p>
        </p:txBody>
      </p:sp>
      <p:pic>
        <p:nvPicPr>
          <p:cNvPr id="5" name="Grafik 4">
            <a:extLst>
              <a:ext uri="{FF2B5EF4-FFF2-40B4-BE49-F238E27FC236}">
                <a16:creationId xmlns:a16="http://schemas.microsoft.com/office/drawing/2014/main" id="{38B9B796-E102-405E-BFDF-F363253AEE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1615" y="2556187"/>
            <a:ext cx="7347585" cy="1064133"/>
          </a:xfrm>
          <a:prstGeom prst="rect">
            <a:avLst/>
          </a:prstGeom>
        </p:spPr>
      </p:pic>
    </p:spTree>
    <p:extLst>
      <p:ext uri="{BB962C8B-B14F-4D97-AF65-F5344CB8AC3E}">
        <p14:creationId xmlns:p14="http://schemas.microsoft.com/office/powerpoint/2010/main" val="100885419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el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GB" noProof="0"/>
              <a:t>Add Title</a:t>
            </a:r>
            <a:endParaRPr lang="en-GB" noProof="0" dirty="0"/>
          </a:p>
        </p:txBody>
      </p:sp>
      <p:sp>
        <p:nvSpPr>
          <p:cNvPr id="5" name="Slide Number Placeholder 5"/>
          <p:cNvSpPr>
            <a:spLocks noGrp="1"/>
          </p:cNvSpPr>
          <p:nvPr>
            <p:ph type="sldNum" sz="quarter" idx="4"/>
          </p:nvPr>
        </p:nvSpPr>
        <p:spPr>
          <a:xfrm>
            <a:off x="11724275" y="6512924"/>
            <a:ext cx="466725" cy="365125"/>
          </a:xfrm>
          <a:prstGeom prst="rect">
            <a:avLst/>
          </a:prstGeom>
        </p:spPr>
        <p:txBody>
          <a:bodyPr vert="horz" lIns="91440" tIns="45720" rIns="91440" bIns="45720" rtlCol="0" anchor="ctr"/>
          <a:lstStyle>
            <a:lvl1pPr algn="ctr">
              <a:defRPr sz="1100">
                <a:solidFill>
                  <a:schemeClr val="tx1"/>
                </a:solidFill>
              </a:defRPr>
            </a:lvl1pPr>
          </a:lstStyle>
          <a:p>
            <a:fld id="{553BBF28-59B0-4969-8EAE-E099AE92A1EC}"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82797690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with Text">
    <p:spTree>
      <p:nvGrpSpPr>
        <p:cNvPr id="1" name=""/>
        <p:cNvGrpSpPr/>
        <p:nvPr/>
      </p:nvGrpSpPr>
      <p:grpSpPr>
        <a:xfrm>
          <a:off x="0" y="0"/>
          <a:ext cx="0" cy="0"/>
          <a:chOff x="0" y="0"/>
          <a:chExt cx="0" cy="0"/>
        </a:xfrm>
      </p:grpSpPr>
      <p:sp>
        <p:nvSpPr>
          <p:cNvPr id="5" name="Textplatzhalter 3"/>
          <p:cNvSpPr>
            <a:spLocks noGrp="1"/>
          </p:cNvSpPr>
          <p:nvPr>
            <p:ph type="body" sz="quarter" idx="10" hasCustomPrompt="1"/>
          </p:nvPr>
        </p:nvSpPr>
        <p:spPr>
          <a:xfrm>
            <a:off x="848931" y="917195"/>
            <a:ext cx="10539793" cy="5320093"/>
          </a:xfrm>
        </p:spPr>
        <p:txBody>
          <a:bodyPr/>
          <a:lstStyle>
            <a:lvl1pPr marL="0" indent="0">
              <a:buFontTx/>
              <a:buNone/>
              <a:defRPr b="0"/>
            </a:lvl1pPr>
            <a:lvl2pPr marL="216000" indent="-216000">
              <a:buSzPct val="100000"/>
              <a:defRPr/>
            </a:lvl2pPr>
            <a:lvl3pPr marL="720000" indent="-216000">
              <a:spcBef>
                <a:spcPts val="900"/>
              </a:spcBef>
              <a:buSzPct val="90000"/>
              <a:defRPr baseline="0"/>
            </a:lvl3pPr>
            <a:lvl4pPr marL="1080000">
              <a:spcBef>
                <a:spcPts val="900"/>
              </a:spcBef>
              <a:buSzPct val="80000"/>
              <a:defRPr/>
            </a:lvl4pPr>
            <a:lvl5pPr marL="1440000" indent="-216000">
              <a:lnSpc>
                <a:spcPct val="100000"/>
              </a:lnSpc>
              <a:spcBef>
                <a:spcPts val="900"/>
              </a:spcBef>
              <a:buSzPct val="70000"/>
              <a:defRPr/>
            </a:lvl5pPr>
          </a:lstStyle>
          <a:p>
            <a:pPr lvl="0"/>
            <a:r>
              <a:rPr lang="en-US" noProof="0" dirty="0"/>
              <a:t>Add text</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a:t>
            </a:r>
          </a:p>
        </p:txBody>
      </p:sp>
      <p:sp>
        <p:nvSpPr>
          <p:cNvPr id="7" name="Slide Number Placeholder 5"/>
          <p:cNvSpPr>
            <a:spLocks noGrp="1"/>
          </p:cNvSpPr>
          <p:nvPr>
            <p:ph type="sldNum" sz="quarter" idx="4"/>
          </p:nvPr>
        </p:nvSpPr>
        <p:spPr>
          <a:xfrm>
            <a:off x="11724275" y="6512924"/>
            <a:ext cx="466725" cy="365125"/>
          </a:xfrm>
          <a:prstGeom prst="rect">
            <a:avLst/>
          </a:prstGeom>
        </p:spPr>
        <p:txBody>
          <a:bodyPr vert="horz" lIns="91440" tIns="45720" rIns="91440" bIns="45720" rtlCol="0" anchor="ctr"/>
          <a:lstStyle>
            <a:lvl1pPr algn="ctr">
              <a:defRPr sz="1100">
                <a:solidFill>
                  <a:schemeClr val="tx1"/>
                </a:solidFill>
              </a:defRPr>
            </a:lvl1pPr>
          </a:lstStyle>
          <a:p>
            <a:fld id="{553BBF28-59B0-4969-8EAE-E099AE92A1EC}"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52598790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a:t>
            </a:r>
          </a:p>
        </p:txBody>
      </p:sp>
      <p:sp>
        <p:nvSpPr>
          <p:cNvPr id="7" name="Textplatzhalter 2"/>
          <p:cNvSpPr>
            <a:spLocks noGrp="1"/>
          </p:cNvSpPr>
          <p:nvPr>
            <p:ph idx="1" hasCustomPrompt="1"/>
          </p:nvPr>
        </p:nvSpPr>
        <p:spPr>
          <a:xfrm>
            <a:off x="839788" y="908049"/>
            <a:ext cx="10547998" cy="5328000"/>
          </a:xfrm>
          <a:prstGeom prst="rect">
            <a:avLst/>
          </a:prstGeom>
        </p:spPr>
        <p:txBody>
          <a:bodyPr vert="horz" lIns="0" tIns="0" rIns="91440" bIns="0" rtlCol="0">
            <a:noAutofit/>
          </a:bodyPr>
          <a:lstStyle/>
          <a:p>
            <a:pPr lvl="0"/>
            <a:r>
              <a:rPr lang="en-US" noProof="0" dirty="0"/>
              <a:t>Add text (make this text bold if it should be a subtitle)</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Tree>
    <p:extLst>
      <p:ext uri="{BB962C8B-B14F-4D97-AF65-F5344CB8AC3E}">
        <p14:creationId xmlns:p14="http://schemas.microsoft.com/office/powerpoint/2010/main" val="379305448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Title, Text, Picture (left)">
    <p:spTree>
      <p:nvGrpSpPr>
        <p:cNvPr id="1" name=""/>
        <p:cNvGrpSpPr/>
        <p:nvPr/>
      </p:nvGrpSpPr>
      <p:grpSpPr>
        <a:xfrm>
          <a:off x="0" y="0"/>
          <a:ext cx="0" cy="0"/>
          <a:chOff x="0" y="0"/>
          <a:chExt cx="0" cy="0"/>
        </a:xfrm>
      </p:grpSpPr>
      <p:sp>
        <p:nvSpPr>
          <p:cNvPr id="6" name="Bildplatzhalter 5"/>
          <p:cNvSpPr>
            <a:spLocks noGrp="1"/>
          </p:cNvSpPr>
          <p:nvPr>
            <p:ph type="pic" sz="quarter" idx="11"/>
          </p:nvPr>
        </p:nvSpPr>
        <p:spPr>
          <a:xfrm>
            <a:off x="839788" y="1263316"/>
            <a:ext cx="5151938" cy="4973972"/>
          </a:xfrm>
        </p:spPr>
        <p:txBody>
          <a:bodyPr anchor="ctr"/>
          <a:lstStyle>
            <a:lvl1pPr marL="0" indent="0" algn="ctr">
              <a:buFontTx/>
              <a:buNone/>
              <a:defRPr>
                <a:solidFill>
                  <a:schemeClr val="tx1"/>
                </a:solidFill>
              </a:defRPr>
            </a:lvl1pPr>
          </a:lstStyle>
          <a:p>
            <a:r>
              <a:rPr lang="en-US"/>
              <a:t>Click icon to add picture</a:t>
            </a:r>
            <a:endParaRPr lang="en-US" dirty="0"/>
          </a:p>
        </p:txBody>
      </p:sp>
      <p:sp>
        <p:nvSpPr>
          <p:cNvPr id="4" name="Textplatzhalter 3"/>
          <p:cNvSpPr>
            <a:spLocks noGrp="1"/>
          </p:cNvSpPr>
          <p:nvPr>
            <p:ph type="body" sz="quarter" idx="10" hasCustomPrompt="1"/>
          </p:nvPr>
        </p:nvSpPr>
        <p:spPr>
          <a:xfrm>
            <a:off x="6184233" y="1263316"/>
            <a:ext cx="5192852" cy="4973972"/>
          </a:xfrm>
        </p:spPr>
        <p:txBody>
          <a:bodyPr/>
          <a:lstStyle>
            <a:lvl1pPr marL="0" indent="0">
              <a:buFontTx/>
              <a:buNone/>
              <a:defRPr lang="en-US" sz="2400" b="0" kern="1200" noProof="0" dirty="0" smtClean="0">
                <a:solidFill>
                  <a:schemeClr val="bg2">
                    <a:lumMod val="50000"/>
                  </a:schemeClr>
                </a:solidFill>
                <a:latin typeface="+mn-lt"/>
                <a:ea typeface="+mn-ea"/>
                <a:cs typeface="+mn-cs"/>
              </a:defRPr>
            </a:lvl1pPr>
            <a:lvl2pPr marL="216000" indent="-216000">
              <a:buClr>
                <a:schemeClr val="tx1"/>
              </a:buClr>
              <a:buSzPct val="100000"/>
              <a:defRPr/>
            </a:lvl2pPr>
            <a:lvl3pPr marL="720000" indent="-216000">
              <a:spcBef>
                <a:spcPts val="900"/>
              </a:spcBef>
              <a:buClr>
                <a:schemeClr val="tx1"/>
              </a:buClr>
              <a:buSzPct val="90000"/>
              <a:defRPr/>
            </a:lvl3pPr>
            <a:lvl4pPr marL="1080000">
              <a:spcBef>
                <a:spcPts val="900"/>
              </a:spcBef>
              <a:buClr>
                <a:schemeClr val="tx1"/>
              </a:buClr>
              <a:buSzPct val="80000"/>
              <a:defRPr/>
            </a:lvl4pPr>
            <a:lvl5pPr marL="1440000" indent="-216000">
              <a:lnSpc>
                <a:spcPct val="100000"/>
              </a:lnSpc>
              <a:spcBef>
                <a:spcPts val="900"/>
              </a:spcBef>
              <a:buClr>
                <a:schemeClr val="tx1"/>
              </a:buClr>
              <a:buSzPct val="70000"/>
              <a:defRPr/>
            </a:lvl5pPr>
          </a:lstStyle>
          <a:p>
            <a:pPr marL="0" lvl="0" indent="0" algn="l" defTabSz="900000" rtl="0" eaLnBrk="1" latinLnBrk="0" hangingPunct="1">
              <a:lnSpc>
                <a:spcPct val="100000"/>
              </a:lnSpc>
              <a:spcBef>
                <a:spcPts val="600"/>
              </a:spcBef>
              <a:buSzPct val="105000"/>
              <a:buFontTx/>
              <a:buNone/>
            </a:pPr>
            <a:r>
              <a:rPr lang="en-US" noProof="0" dirty="0"/>
              <a:t>Add text</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7"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 </a:t>
            </a:r>
          </a:p>
        </p:txBody>
      </p:sp>
    </p:spTree>
    <p:extLst>
      <p:ext uri="{BB962C8B-B14F-4D97-AF65-F5344CB8AC3E}">
        <p14:creationId xmlns:p14="http://schemas.microsoft.com/office/powerpoint/2010/main" val="542368404"/>
      </p:ext>
    </p:extLst>
  </p:cSld>
  <p:clrMapOvr>
    <a:masterClrMapping/>
  </p:clrMapOvr>
  <p:hf sldNum="0" hdr="0" ftr="0" dt="0"/>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2180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Leer mit Titel ">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auto">
          <a:xfrm>
            <a:off x="820937" y="298152"/>
            <a:ext cx="10556148"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Click to edit Master title style</a:t>
            </a:r>
          </a:p>
        </p:txBody>
      </p:sp>
      <p:sp>
        <p:nvSpPr>
          <p:cNvPr id="4" name="Slide Number Placeholder 5"/>
          <p:cNvSpPr>
            <a:spLocks noGrp="1"/>
          </p:cNvSpPr>
          <p:nvPr>
            <p:ph type="sldNum" sz="quarter" idx="4"/>
          </p:nvPr>
        </p:nvSpPr>
        <p:spPr>
          <a:xfrm>
            <a:off x="11724275" y="6512924"/>
            <a:ext cx="466725" cy="365125"/>
          </a:xfrm>
          <a:prstGeom prst="rect">
            <a:avLst/>
          </a:prstGeom>
        </p:spPr>
        <p:txBody>
          <a:bodyPr vert="horz" lIns="91440" tIns="45720" rIns="91440" bIns="45720" rtlCol="0" anchor="ctr"/>
          <a:lstStyle>
            <a:lvl1pPr algn="ctr">
              <a:defRPr sz="1100">
                <a:solidFill>
                  <a:schemeClr val="tx1"/>
                </a:solidFill>
              </a:defRPr>
            </a:lvl1pPr>
          </a:lstStyle>
          <a:p>
            <a:fld id="{553BBF28-59B0-4969-8EAE-E099AE92A1EC}"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8466602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Text, Picture ">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9"/>
            <a:ext cx="5247068" cy="5322889"/>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p:nvPr>
        </p:nvSpPr>
        <p:spPr>
          <a:xfrm>
            <a:off x="6105145" y="908050"/>
            <a:ext cx="5271939" cy="5329238"/>
          </a:xfrm>
        </p:spPr>
        <p:txBody>
          <a:bodyPr/>
          <a:lstStyle>
            <a:lvl1pPr marL="0" indent="0">
              <a:buFontTx/>
              <a:buNone/>
              <a:defRPr>
                <a:solidFill>
                  <a:schemeClr val="tx1"/>
                </a:solidFill>
              </a:defRPr>
            </a:lvl1pPr>
          </a:lstStyle>
          <a:p>
            <a:r>
              <a:rPr lang="en-US"/>
              <a:t>Click icon to add picture</a:t>
            </a:r>
            <a:endParaRPr lang="en-GB"/>
          </a:p>
        </p:txBody>
      </p:sp>
      <p:sp>
        <p:nvSpPr>
          <p:cNvPr id="7"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3314719083"/>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a:xfrm>
            <a:off x="670984" y="1268414"/>
            <a:ext cx="10843683" cy="4884737"/>
          </a:xfrm>
        </p:spPr>
        <p:txBody>
          <a:bodyPr/>
          <a:lstStyle>
            <a:lvl1pPr>
              <a:defRPr b="0"/>
            </a:lvl1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494267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1109033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5" name="Textplatzhalter 3"/>
          <p:cNvSpPr>
            <a:spLocks noGrp="1"/>
          </p:cNvSpPr>
          <p:nvPr>
            <p:ph type="body" sz="quarter" idx="10" hasCustomPrompt="1"/>
          </p:nvPr>
        </p:nvSpPr>
        <p:spPr>
          <a:xfrm>
            <a:off x="848931" y="917195"/>
            <a:ext cx="10539793" cy="5320093"/>
          </a:xfrm>
        </p:spPr>
        <p:txBody>
          <a:bodyPr/>
          <a:lstStyle>
            <a:lvl1pPr marL="0" indent="0">
              <a:buFontTx/>
              <a:buNone/>
              <a:defRPr b="0"/>
            </a:lvl1pPr>
            <a:lvl2pPr marL="216000" indent="-216000">
              <a:buSzPct val="100000"/>
              <a:defRPr/>
            </a:lvl2pPr>
            <a:lvl3pPr marL="720000" indent="-216000">
              <a:spcBef>
                <a:spcPts val="900"/>
              </a:spcBef>
              <a:buSzPct val="90000"/>
              <a:defRPr baseline="0"/>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Tree>
    <p:extLst>
      <p:ext uri="{BB962C8B-B14F-4D97-AF65-F5344CB8AC3E}">
        <p14:creationId xmlns:p14="http://schemas.microsoft.com/office/powerpoint/2010/main" val="2665926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Picture ">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9"/>
            <a:ext cx="5247068" cy="5322889"/>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p:nvPr>
        </p:nvSpPr>
        <p:spPr>
          <a:xfrm>
            <a:off x="6105145" y="908050"/>
            <a:ext cx="5271939" cy="5329238"/>
          </a:xfrm>
        </p:spPr>
        <p:txBody>
          <a:bodyPr/>
          <a:lstStyle>
            <a:lvl1pPr marL="0" indent="0">
              <a:buFontTx/>
              <a:buNone/>
              <a:defRPr>
                <a:solidFill>
                  <a:schemeClr val="tx1"/>
                </a:solidFill>
              </a:defRPr>
            </a:lvl1pPr>
          </a:lstStyle>
          <a:p>
            <a:r>
              <a:rPr lang="en-US"/>
              <a:t>Click icon to add picture</a:t>
            </a:r>
            <a:endParaRPr lang="en-GB"/>
          </a:p>
        </p:txBody>
      </p:sp>
      <p:sp>
        <p:nvSpPr>
          <p:cNvPr id="7"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153628011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GB" noProof="0"/>
              <a:t>Add Title</a:t>
            </a:r>
          </a:p>
        </p:txBody>
      </p:sp>
    </p:spTree>
    <p:extLst>
      <p:ext uri="{BB962C8B-B14F-4D97-AF65-F5344CB8AC3E}">
        <p14:creationId xmlns:p14="http://schemas.microsoft.com/office/powerpoint/2010/main" val="9865215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8BFFA3EC-C47B-497D-85D5-07C3889E9073}"/>
              </a:ext>
            </a:extLst>
          </p:cNvPr>
          <p:cNvGrpSpPr/>
          <p:nvPr userDrawn="1"/>
        </p:nvGrpSpPr>
        <p:grpSpPr>
          <a:xfrm>
            <a:off x="731952" y="3141662"/>
            <a:ext cx="11460049" cy="3555700"/>
            <a:chOff x="731952" y="3141662"/>
            <a:chExt cx="11460049" cy="3555700"/>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96000" y="3141662"/>
              <a:ext cx="6096001" cy="3095625"/>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9" name="Bildplatzhalter 58">
            <a:extLst>
              <a:ext uri="{FF2B5EF4-FFF2-40B4-BE49-F238E27FC236}">
                <a16:creationId xmlns:a16="http://schemas.microsoft.com/office/drawing/2014/main" id="{A620675F-9407-4B72-9C29-9BA6F96CCDF1}"/>
              </a:ext>
            </a:extLst>
          </p:cNvPr>
          <p:cNvSpPr>
            <a:spLocks noGrp="1"/>
          </p:cNvSpPr>
          <p:nvPr userDrawn="1">
            <p:ph type="pic" sz="quarter" idx="14"/>
          </p:nvPr>
        </p:nvSpPr>
        <p:spPr>
          <a:xfrm>
            <a:off x="5" y="5"/>
            <a:ext cx="12191996" cy="6857997"/>
          </a:xfrm>
          <a:custGeom>
            <a:avLst/>
            <a:gdLst>
              <a:gd name="connsiteX0" fmla="*/ 11197257 w 12191996"/>
              <a:gd name="connsiteY0" fmla="*/ 6583359 h 6857997"/>
              <a:gd name="connsiteX1" fmla="*/ 11207745 w 12191996"/>
              <a:gd name="connsiteY1" fmla="*/ 6602409 h 6857997"/>
              <a:gd name="connsiteX2" fmla="*/ 11187108 w 12191996"/>
              <a:gd name="connsiteY2" fmla="*/ 6602409 h 6857997"/>
              <a:gd name="connsiteX3" fmla="*/ 11114083 w 12191996"/>
              <a:gd name="connsiteY3" fmla="*/ 6583359 h 6857997"/>
              <a:gd name="connsiteX4" fmla="*/ 11131338 w 12191996"/>
              <a:gd name="connsiteY4" fmla="*/ 6583359 h 6857997"/>
              <a:gd name="connsiteX5" fmla="*/ 11145833 w 12191996"/>
              <a:gd name="connsiteY5" fmla="*/ 6589709 h 6857997"/>
              <a:gd name="connsiteX6" fmla="*/ 11132374 w 12191996"/>
              <a:gd name="connsiteY6" fmla="*/ 6596059 h 6857997"/>
              <a:gd name="connsiteX7" fmla="*/ 11114083 w 12191996"/>
              <a:gd name="connsiteY7" fmla="*/ 6596059 h 6857997"/>
              <a:gd name="connsiteX8" fmla="*/ 10745783 w 12191996"/>
              <a:gd name="connsiteY8" fmla="*/ 6583359 h 6857997"/>
              <a:gd name="connsiteX9" fmla="*/ 10765350 w 12191996"/>
              <a:gd name="connsiteY9" fmla="*/ 6583359 h 6857997"/>
              <a:gd name="connsiteX10" fmla="*/ 10779120 w 12191996"/>
              <a:gd name="connsiteY10" fmla="*/ 6588747 h 6857997"/>
              <a:gd name="connsiteX11" fmla="*/ 10765350 w 12191996"/>
              <a:gd name="connsiteY11" fmla="*/ 6594472 h 6857997"/>
              <a:gd name="connsiteX12" fmla="*/ 10745783 w 12191996"/>
              <a:gd name="connsiteY12" fmla="*/ 6594472 h 6857997"/>
              <a:gd name="connsiteX13" fmla="*/ 10949955 w 12191996"/>
              <a:gd name="connsiteY13" fmla="*/ 6581771 h 6857997"/>
              <a:gd name="connsiteX14" fmla="*/ 10969620 w 12191996"/>
              <a:gd name="connsiteY14" fmla="*/ 6598623 h 6857997"/>
              <a:gd name="connsiteX15" fmla="*/ 10949955 w 12191996"/>
              <a:gd name="connsiteY15" fmla="*/ 6615109 h 6857997"/>
              <a:gd name="connsiteX16" fmla="*/ 10929933 w 12191996"/>
              <a:gd name="connsiteY16" fmla="*/ 6598257 h 6857997"/>
              <a:gd name="connsiteX17" fmla="*/ 10949955 w 12191996"/>
              <a:gd name="connsiteY17" fmla="*/ 6581771 h 6857997"/>
              <a:gd name="connsiteX18" fmla="*/ 10682898 w 12191996"/>
              <a:gd name="connsiteY18" fmla="*/ 6581771 h 6857997"/>
              <a:gd name="connsiteX19" fmla="*/ 10702920 w 12191996"/>
              <a:gd name="connsiteY19" fmla="*/ 6598623 h 6857997"/>
              <a:gd name="connsiteX20" fmla="*/ 10682898 w 12191996"/>
              <a:gd name="connsiteY20" fmla="*/ 6615109 h 6857997"/>
              <a:gd name="connsiteX21" fmla="*/ 10663233 w 12191996"/>
              <a:gd name="connsiteY21" fmla="*/ 6598257 h 6857997"/>
              <a:gd name="connsiteX22" fmla="*/ 10682898 w 12191996"/>
              <a:gd name="connsiteY22" fmla="*/ 6581771 h 6857997"/>
              <a:gd name="connsiteX23" fmla="*/ 11312520 w 12191996"/>
              <a:gd name="connsiteY23" fmla="*/ 6573834 h 6857997"/>
              <a:gd name="connsiteX24" fmla="*/ 11341079 w 12191996"/>
              <a:gd name="connsiteY24" fmla="*/ 6601258 h 6857997"/>
              <a:gd name="connsiteX25" fmla="*/ 11341079 w 12191996"/>
              <a:gd name="connsiteY25" fmla="*/ 6623047 h 6857997"/>
              <a:gd name="connsiteX26" fmla="*/ 11356624 w 12191996"/>
              <a:gd name="connsiteY26" fmla="*/ 6623047 h 6857997"/>
              <a:gd name="connsiteX27" fmla="*/ 11356624 w 12191996"/>
              <a:gd name="connsiteY27" fmla="*/ 6601258 h 6857997"/>
              <a:gd name="connsiteX28" fmla="*/ 11385545 w 12191996"/>
              <a:gd name="connsiteY28" fmla="*/ 6573834 h 6857997"/>
              <a:gd name="connsiteX29" fmla="*/ 11367470 w 12191996"/>
              <a:gd name="connsiteY29" fmla="*/ 6573834 h 6857997"/>
              <a:gd name="connsiteX30" fmla="*/ 11348671 w 12191996"/>
              <a:gd name="connsiteY30" fmla="*/ 6592618 h 6857997"/>
              <a:gd name="connsiteX31" fmla="*/ 11330234 w 12191996"/>
              <a:gd name="connsiteY31" fmla="*/ 6573834 h 6857997"/>
              <a:gd name="connsiteX32" fmla="*/ 11242670 w 12191996"/>
              <a:gd name="connsiteY32" fmla="*/ 6573834 h 6857997"/>
              <a:gd name="connsiteX33" fmla="*/ 11242670 w 12191996"/>
              <a:gd name="connsiteY33" fmla="*/ 6623047 h 6857997"/>
              <a:gd name="connsiteX34" fmla="*/ 11259156 w 12191996"/>
              <a:gd name="connsiteY34" fmla="*/ 6623047 h 6857997"/>
              <a:gd name="connsiteX35" fmla="*/ 11258423 w 12191996"/>
              <a:gd name="connsiteY35" fmla="*/ 6585856 h 6857997"/>
              <a:gd name="connsiteX36" fmla="*/ 11291028 w 12191996"/>
              <a:gd name="connsiteY36" fmla="*/ 6623047 h 6857997"/>
              <a:gd name="connsiteX37" fmla="*/ 11309345 w 12191996"/>
              <a:gd name="connsiteY37" fmla="*/ 6623047 h 6857997"/>
              <a:gd name="connsiteX38" fmla="*/ 11309345 w 12191996"/>
              <a:gd name="connsiteY38" fmla="*/ 6573834 h 6857997"/>
              <a:gd name="connsiteX39" fmla="*/ 11293226 w 12191996"/>
              <a:gd name="connsiteY39" fmla="*/ 6573834 h 6857997"/>
              <a:gd name="connsiteX40" fmla="*/ 11293958 w 12191996"/>
              <a:gd name="connsiteY40" fmla="*/ 6609147 h 6857997"/>
              <a:gd name="connsiteX41" fmla="*/ 11262819 w 12191996"/>
              <a:gd name="connsiteY41" fmla="*/ 6573834 h 6857997"/>
              <a:gd name="connsiteX42" fmla="*/ 11189997 w 12191996"/>
              <a:gd name="connsiteY42" fmla="*/ 6573834 h 6857997"/>
              <a:gd name="connsiteX43" fmla="*/ 11158533 w 12191996"/>
              <a:gd name="connsiteY43" fmla="*/ 6623047 h 6857997"/>
              <a:gd name="connsiteX44" fmla="*/ 11174980 w 12191996"/>
              <a:gd name="connsiteY44" fmla="*/ 6623047 h 6857997"/>
              <a:gd name="connsiteX45" fmla="*/ 11181773 w 12191996"/>
              <a:gd name="connsiteY45" fmla="*/ 6611401 h 6857997"/>
              <a:gd name="connsiteX46" fmla="*/ 11213595 w 12191996"/>
              <a:gd name="connsiteY46" fmla="*/ 6611401 h 6857997"/>
              <a:gd name="connsiteX47" fmla="*/ 11220388 w 12191996"/>
              <a:gd name="connsiteY47" fmla="*/ 6623047 h 6857997"/>
              <a:gd name="connsiteX48" fmla="*/ 11237908 w 12191996"/>
              <a:gd name="connsiteY48" fmla="*/ 6623047 h 6857997"/>
              <a:gd name="connsiteX49" fmla="*/ 11206444 w 12191996"/>
              <a:gd name="connsiteY49" fmla="*/ 6573834 h 6857997"/>
              <a:gd name="connsiteX50" fmla="*/ 11098208 w 12191996"/>
              <a:gd name="connsiteY50" fmla="*/ 6573834 h 6857997"/>
              <a:gd name="connsiteX51" fmla="*/ 11098208 w 12191996"/>
              <a:gd name="connsiteY51" fmla="*/ 6623047 h 6857997"/>
              <a:gd name="connsiteX52" fmla="*/ 11113502 w 12191996"/>
              <a:gd name="connsiteY52" fmla="*/ 6623047 h 6857997"/>
              <a:gd name="connsiteX53" fmla="*/ 11113502 w 12191996"/>
              <a:gd name="connsiteY53" fmla="*/ 6605766 h 6857997"/>
              <a:gd name="connsiteX54" fmla="*/ 11132352 w 12191996"/>
              <a:gd name="connsiteY54" fmla="*/ 6605766 h 6857997"/>
              <a:gd name="connsiteX55" fmla="*/ 11154759 w 12191996"/>
              <a:gd name="connsiteY55" fmla="*/ 6602761 h 6857997"/>
              <a:gd name="connsiteX56" fmla="*/ 11163295 w 12191996"/>
              <a:gd name="connsiteY56" fmla="*/ 6589988 h 6857997"/>
              <a:gd name="connsiteX57" fmla="*/ 11153336 w 12191996"/>
              <a:gd name="connsiteY57" fmla="*/ 6576464 h 6857997"/>
              <a:gd name="connsiteX58" fmla="*/ 11131641 w 12191996"/>
              <a:gd name="connsiteY58" fmla="*/ 6573834 h 6857997"/>
              <a:gd name="connsiteX59" fmla="*/ 10998195 w 12191996"/>
              <a:gd name="connsiteY59" fmla="*/ 6573834 h 6857997"/>
              <a:gd name="connsiteX60" fmla="*/ 10998195 w 12191996"/>
              <a:gd name="connsiteY60" fmla="*/ 6623047 h 6857997"/>
              <a:gd name="connsiteX61" fmla="*/ 11014084 w 12191996"/>
              <a:gd name="connsiteY61" fmla="*/ 6623047 h 6857997"/>
              <a:gd name="connsiteX62" fmla="*/ 11012639 w 12191996"/>
              <a:gd name="connsiteY62" fmla="*/ 6584353 h 6857997"/>
              <a:gd name="connsiteX63" fmla="*/ 11032500 w 12191996"/>
              <a:gd name="connsiteY63" fmla="*/ 6623047 h 6857997"/>
              <a:gd name="connsiteX64" fmla="*/ 11049111 w 12191996"/>
              <a:gd name="connsiteY64" fmla="*/ 6623047 h 6857997"/>
              <a:gd name="connsiteX65" fmla="*/ 11068249 w 12191996"/>
              <a:gd name="connsiteY65" fmla="*/ 6584729 h 6857997"/>
              <a:gd name="connsiteX66" fmla="*/ 11066805 w 12191996"/>
              <a:gd name="connsiteY66" fmla="*/ 6623047 h 6857997"/>
              <a:gd name="connsiteX67" fmla="*/ 11082332 w 12191996"/>
              <a:gd name="connsiteY67" fmla="*/ 6623047 h 6857997"/>
              <a:gd name="connsiteX68" fmla="*/ 11082332 w 12191996"/>
              <a:gd name="connsiteY68" fmla="*/ 6573834 h 6857997"/>
              <a:gd name="connsiteX69" fmla="*/ 11059221 w 12191996"/>
              <a:gd name="connsiteY69" fmla="*/ 6573834 h 6857997"/>
              <a:gd name="connsiteX70" fmla="*/ 11040444 w 12191996"/>
              <a:gd name="connsiteY70" fmla="*/ 6611401 h 6857997"/>
              <a:gd name="connsiteX71" fmla="*/ 11021306 w 12191996"/>
              <a:gd name="connsiteY71" fmla="*/ 6573834 h 6857997"/>
              <a:gd name="connsiteX72" fmla="*/ 10949776 w 12191996"/>
              <a:gd name="connsiteY72" fmla="*/ 6573834 h 6857997"/>
              <a:gd name="connsiteX73" fmla="*/ 10912470 w 12191996"/>
              <a:gd name="connsiteY73" fmla="*/ 6597717 h 6857997"/>
              <a:gd name="connsiteX74" fmla="*/ 10949776 w 12191996"/>
              <a:gd name="connsiteY74" fmla="*/ 6623047 h 6857997"/>
              <a:gd name="connsiteX75" fmla="*/ 10987082 w 12191996"/>
              <a:gd name="connsiteY75" fmla="*/ 6598441 h 6857997"/>
              <a:gd name="connsiteX76" fmla="*/ 10949776 w 12191996"/>
              <a:gd name="connsiteY76" fmla="*/ 6573834 h 6857997"/>
              <a:gd name="connsiteX77" fmla="*/ 10879898 w 12191996"/>
              <a:gd name="connsiteY77" fmla="*/ 6573834 h 6857997"/>
              <a:gd name="connsiteX78" fmla="*/ 10844208 w 12191996"/>
              <a:gd name="connsiteY78" fmla="*/ 6599380 h 6857997"/>
              <a:gd name="connsiteX79" fmla="*/ 10855862 w 12191996"/>
              <a:gd name="connsiteY79" fmla="*/ 6618539 h 6857997"/>
              <a:gd name="connsiteX80" fmla="*/ 10879170 w 12191996"/>
              <a:gd name="connsiteY80" fmla="*/ 6623047 h 6857997"/>
              <a:gd name="connsiteX81" fmla="*/ 10906120 w 12191996"/>
              <a:gd name="connsiteY81" fmla="*/ 6623047 h 6857997"/>
              <a:gd name="connsiteX82" fmla="*/ 10906120 w 12191996"/>
              <a:gd name="connsiteY82" fmla="*/ 6614407 h 6857997"/>
              <a:gd name="connsiteX83" fmla="*/ 10879898 w 12191996"/>
              <a:gd name="connsiteY83" fmla="*/ 6614407 h 6857997"/>
              <a:gd name="connsiteX84" fmla="*/ 10861689 w 12191996"/>
              <a:gd name="connsiteY84" fmla="*/ 6599756 h 6857997"/>
              <a:gd name="connsiteX85" fmla="*/ 10879898 w 12191996"/>
              <a:gd name="connsiteY85" fmla="*/ 6582475 h 6857997"/>
              <a:gd name="connsiteX86" fmla="*/ 10906120 w 12191996"/>
              <a:gd name="connsiteY86" fmla="*/ 6582475 h 6857997"/>
              <a:gd name="connsiteX87" fmla="*/ 10906120 w 12191996"/>
              <a:gd name="connsiteY87" fmla="*/ 6573834 h 6857997"/>
              <a:gd name="connsiteX88" fmla="*/ 10729908 w 12191996"/>
              <a:gd name="connsiteY88" fmla="*/ 6573834 h 6857997"/>
              <a:gd name="connsiteX89" fmla="*/ 10729908 w 12191996"/>
              <a:gd name="connsiteY89" fmla="*/ 6623047 h 6857997"/>
              <a:gd name="connsiteX90" fmla="*/ 10745800 w 12191996"/>
              <a:gd name="connsiteY90" fmla="*/ 6623047 h 6857997"/>
              <a:gd name="connsiteX91" fmla="*/ 10745800 w 12191996"/>
              <a:gd name="connsiteY91" fmla="*/ 6603888 h 6857997"/>
              <a:gd name="connsiteX92" fmla="*/ 10765018 w 12191996"/>
              <a:gd name="connsiteY92" fmla="*/ 6603888 h 6857997"/>
              <a:gd name="connsiteX93" fmla="*/ 10781649 w 12191996"/>
              <a:gd name="connsiteY93" fmla="*/ 6623047 h 6857997"/>
              <a:gd name="connsiteX94" fmla="*/ 10799758 w 12191996"/>
              <a:gd name="connsiteY94" fmla="*/ 6623047 h 6857997"/>
              <a:gd name="connsiteX95" fmla="*/ 10780910 w 12191996"/>
              <a:gd name="connsiteY95" fmla="*/ 6602385 h 6857997"/>
              <a:gd name="connsiteX96" fmla="*/ 10796062 w 12191996"/>
              <a:gd name="connsiteY96" fmla="*/ 6588861 h 6857997"/>
              <a:gd name="connsiteX97" fmla="*/ 10769453 w 12191996"/>
              <a:gd name="connsiteY97" fmla="*/ 6573834 h 6857997"/>
              <a:gd name="connsiteX98" fmla="*/ 10683076 w 12191996"/>
              <a:gd name="connsiteY98" fmla="*/ 6573834 h 6857997"/>
              <a:gd name="connsiteX99" fmla="*/ 10645770 w 12191996"/>
              <a:gd name="connsiteY99" fmla="*/ 6597717 h 6857997"/>
              <a:gd name="connsiteX100" fmla="*/ 10683076 w 12191996"/>
              <a:gd name="connsiteY100" fmla="*/ 6623047 h 6857997"/>
              <a:gd name="connsiteX101" fmla="*/ 10720382 w 12191996"/>
              <a:gd name="connsiteY101" fmla="*/ 6598441 h 6857997"/>
              <a:gd name="connsiteX102" fmla="*/ 10683076 w 12191996"/>
              <a:gd name="connsiteY102" fmla="*/ 6573834 h 6857997"/>
              <a:gd name="connsiteX103" fmla="*/ 10593642 w 12191996"/>
              <a:gd name="connsiteY103" fmla="*/ 6573834 h 6857997"/>
              <a:gd name="connsiteX104" fmla="*/ 10567983 w 12191996"/>
              <a:gd name="connsiteY104" fmla="*/ 6588861 h 6857997"/>
              <a:gd name="connsiteX105" fmla="*/ 10592573 w 12191996"/>
              <a:gd name="connsiteY105" fmla="*/ 6603137 h 6857997"/>
              <a:gd name="connsiteX106" fmla="*/ 10610748 w 12191996"/>
              <a:gd name="connsiteY106" fmla="*/ 6603137 h 6857997"/>
              <a:gd name="connsiteX107" fmla="*/ 10621796 w 12191996"/>
              <a:gd name="connsiteY107" fmla="*/ 6608772 h 6857997"/>
              <a:gd name="connsiteX108" fmla="*/ 10609679 w 12191996"/>
              <a:gd name="connsiteY108" fmla="*/ 6614407 h 6857997"/>
              <a:gd name="connsiteX109" fmla="*/ 10570834 w 12191996"/>
              <a:gd name="connsiteY109" fmla="*/ 6614407 h 6857997"/>
              <a:gd name="connsiteX110" fmla="*/ 10570834 w 12191996"/>
              <a:gd name="connsiteY110" fmla="*/ 6623047 h 6857997"/>
              <a:gd name="connsiteX111" fmla="*/ 10612174 w 12191996"/>
              <a:gd name="connsiteY111" fmla="*/ 6623047 h 6857997"/>
              <a:gd name="connsiteX112" fmla="*/ 10637833 w 12191996"/>
              <a:gd name="connsiteY112" fmla="*/ 6608396 h 6857997"/>
              <a:gd name="connsiteX113" fmla="*/ 10614312 w 12191996"/>
              <a:gd name="connsiteY113" fmla="*/ 6594496 h 6857997"/>
              <a:gd name="connsiteX114" fmla="*/ 10593999 w 12191996"/>
              <a:gd name="connsiteY114" fmla="*/ 6594496 h 6857997"/>
              <a:gd name="connsiteX115" fmla="*/ 10584020 w 12191996"/>
              <a:gd name="connsiteY115" fmla="*/ 6589237 h 6857997"/>
              <a:gd name="connsiteX116" fmla="*/ 10596137 w 12191996"/>
              <a:gd name="connsiteY116" fmla="*/ 6582850 h 6857997"/>
              <a:gd name="connsiteX117" fmla="*/ 10634269 w 12191996"/>
              <a:gd name="connsiteY117" fmla="*/ 6582850 h 6857997"/>
              <a:gd name="connsiteX118" fmla="*/ 10634269 w 12191996"/>
              <a:gd name="connsiteY118" fmla="*/ 6573834 h 6857997"/>
              <a:gd name="connsiteX119" fmla="*/ 10490195 w 12191996"/>
              <a:gd name="connsiteY119" fmla="*/ 6573834 h 6857997"/>
              <a:gd name="connsiteX120" fmla="*/ 10490195 w 12191996"/>
              <a:gd name="connsiteY120" fmla="*/ 6623047 h 6857997"/>
              <a:gd name="connsiteX121" fmla="*/ 10506681 w 12191996"/>
              <a:gd name="connsiteY121" fmla="*/ 6623047 h 6857997"/>
              <a:gd name="connsiteX122" fmla="*/ 10505948 w 12191996"/>
              <a:gd name="connsiteY122" fmla="*/ 6585856 h 6857997"/>
              <a:gd name="connsiteX123" fmla="*/ 10538553 w 12191996"/>
              <a:gd name="connsiteY123" fmla="*/ 6623047 h 6857997"/>
              <a:gd name="connsiteX124" fmla="*/ 10556870 w 12191996"/>
              <a:gd name="connsiteY124" fmla="*/ 6623047 h 6857997"/>
              <a:gd name="connsiteX125" fmla="*/ 10556870 w 12191996"/>
              <a:gd name="connsiteY125" fmla="*/ 6573834 h 6857997"/>
              <a:gd name="connsiteX126" fmla="*/ 10540751 w 12191996"/>
              <a:gd name="connsiteY126" fmla="*/ 6573834 h 6857997"/>
              <a:gd name="connsiteX127" fmla="*/ 10541483 w 12191996"/>
              <a:gd name="connsiteY127" fmla="*/ 6609147 h 6857997"/>
              <a:gd name="connsiteX128" fmla="*/ 10510344 w 12191996"/>
              <a:gd name="connsiteY128" fmla="*/ 6573834 h 6857997"/>
              <a:gd name="connsiteX129" fmla="*/ 10450207 w 12191996"/>
              <a:gd name="connsiteY129" fmla="*/ 6573834 h 6857997"/>
              <a:gd name="connsiteX130" fmla="*/ 10415583 w 12191996"/>
              <a:gd name="connsiteY130" fmla="*/ 6599380 h 6857997"/>
              <a:gd name="connsiteX131" fmla="*/ 10427005 w 12191996"/>
              <a:gd name="connsiteY131" fmla="*/ 6618539 h 6857997"/>
              <a:gd name="connsiteX132" fmla="*/ 10449850 w 12191996"/>
              <a:gd name="connsiteY132" fmla="*/ 6623047 h 6857997"/>
              <a:gd name="connsiteX133" fmla="*/ 10475908 w 12191996"/>
              <a:gd name="connsiteY133" fmla="*/ 6623047 h 6857997"/>
              <a:gd name="connsiteX134" fmla="*/ 10475908 w 12191996"/>
              <a:gd name="connsiteY134" fmla="*/ 6614407 h 6857997"/>
              <a:gd name="connsiteX135" fmla="*/ 10450564 w 12191996"/>
              <a:gd name="connsiteY135" fmla="*/ 6614407 h 6857997"/>
              <a:gd name="connsiteX136" fmla="*/ 10433074 w 12191996"/>
              <a:gd name="connsiteY136" fmla="*/ 6602385 h 6857997"/>
              <a:gd name="connsiteX137" fmla="*/ 10475908 w 12191996"/>
              <a:gd name="connsiteY137" fmla="*/ 6602385 h 6857997"/>
              <a:gd name="connsiteX138" fmla="*/ 10475908 w 12191996"/>
              <a:gd name="connsiteY138" fmla="*/ 6593745 h 6857997"/>
              <a:gd name="connsiteX139" fmla="*/ 10433074 w 12191996"/>
              <a:gd name="connsiteY139" fmla="*/ 6593745 h 6857997"/>
              <a:gd name="connsiteX140" fmla="*/ 10450564 w 12191996"/>
              <a:gd name="connsiteY140" fmla="*/ 6582475 h 6857997"/>
              <a:gd name="connsiteX141" fmla="*/ 10475908 w 12191996"/>
              <a:gd name="connsiteY141" fmla="*/ 6582475 h 6857997"/>
              <a:gd name="connsiteX142" fmla="*/ 10475908 w 12191996"/>
              <a:gd name="connsiteY142" fmla="*/ 6573834 h 6857997"/>
              <a:gd name="connsiteX143" fmla="*/ 10363811 w 12191996"/>
              <a:gd name="connsiteY143" fmla="*/ 6573834 h 6857997"/>
              <a:gd name="connsiteX144" fmla="*/ 10337795 w 12191996"/>
              <a:gd name="connsiteY144" fmla="*/ 6588861 h 6857997"/>
              <a:gd name="connsiteX145" fmla="*/ 10362385 w 12191996"/>
              <a:gd name="connsiteY145" fmla="*/ 6603137 h 6857997"/>
              <a:gd name="connsiteX146" fmla="*/ 10380560 w 12191996"/>
              <a:gd name="connsiteY146" fmla="*/ 6603137 h 6857997"/>
              <a:gd name="connsiteX147" fmla="*/ 10391608 w 12191996"/>
              <a:gd name="connsiteY147" fmla="*/ 6608772 h 6857997"/>
              <a:gd name="connsiteX148" fmla="*/ 10379491 w 12191996"/>
              <a:gd name="connsiteY148" fmla="*/ 6614407 h 6857997"/>
              <a:gd name="connsiteX149" fmla="*/ 10340646 w 12191996"/>
              <a:gd name="connsiteY149" fmla="*/ 6614407 h 6857997"/>
              <a:gd name="connsiteX150" fmla="*/ 10340646 w 12191996"/>
              <a:gd name="connsiteY150" fmla="*/ 6623047 h 6857997"/>
              <a:gd name="connsiteX151" fmla="*/ 10381986 w 12191996"/>
              <a:gd name="connsiteY151" fmla="*/ 6623047 h 6857997"/>
              <a:gd name="connsiteX152" fmla="*/ 10407645 w 12191996"/>
              <a:gd name="connsiteY152" fmla="*/ 6608396 h 6857997"/>
              <a:gd name="connsiteX153" fmla="*/ 10384124 w 12191996"/>
              <a:gd name="connsiteY153" fmla="*/ 6594496 h 6857997"/>
              <a:gd name="connsiteX154" fmla="*/ 10363811 w 12191996"/>
              <a:gd name="connsiteY154" fmla="*/ 6594496 h 6857997"/>
              <a:gd name="connsiteX155" fmla="*/ 10354188 w 12191996"/>
              <a:gd name="connsiteY155" fmla="*/ 6589237 h 6857997"/>
              <a:gd name="connsiteX156" fmla="*/ 10365949 w 12191996"/>
              <a:gd name="connsiteY156" fmla="*/ 6582850 h 6857997"/>
              <a:gd name="connsiteX157" fmla="*/ 10404081 w 12191996"/>
              <a:gd name="connsiteY157" fmla="*/ 6582850 h 6857997"/>
              <a:gd name="connsiteX158" fmla="*/ 10404081 w 12191996"/>
              <a:gd name="connsiteY158" fmla="*/ 6573834 h 6857997"/>
              <a:gd name="connsiteX159" fmla="*/ 10261294 w 12191996"/>
              <a:gd name="connsiteY159" fmla="*/ 6573834 h 6857997"/>
              <a:gd name="connsiteX160" fmla="*/ 10226670 w 12191996"/>
              <a:gd name="connsiteY160" fmla="*/ 6599380 h 6857997"/>
              <a:gd name="connsiteX161" fmla="*/ 10237736 w 12191996"/>
              <a:gd name="connsiteY161" fmla="*/ 6618539 h 6857997"/>
              <a:gd name="connsiteX162" fmla="*/ 10260937 w 12191996"/>
              <a:gd name="connsiteY162" fmla="*/ 6623047 h 6857997"/>
              <a:gd name="connsiteX163" fmla="*/ 10286995 w 12191996"/>
              <a:gd name="connsiteY163" fmla="*/ 6623047 h 6857997"/>
              <a:gd name="connsiteX164" fmla="*/ 10286995 w 12191996"/>
              <a:gd name="connsiteY164" fmla="*/ 6614407 h 6857997"/>
              <a:gd name="connsiteX165" fmla="*/ 10261651 w 12191996"/>
              <a:gd name="connsiteY165" fmla="*/ 6614407 h 6857997"/>
              <a:gd name="connsiteX166" fmla="*/ 10244161 w 12191996"/>
              <a:gd name="connsiteY166" fmla="*/ 6602385 h 6857997"/>
              <a:gd name="connsiteX167" fmla="*/ 10286995 w 12191996"/>
              <a:gd name="connsiteY167" fmla="*/ 6602385 h 6857997"/>
              <a:gd name="connsiteX168" fmla="*/ 10286995 w 12191996"/>
              <a:gd name="connsiteY168" fmla="*/ 6593745 h 6857997"/>
              <a:gd name="connsiteX169" fmla="*/ 10244161 w 12191996"/>
              <a:gd name="connsiteY169" fmla="*/ 6593745 h 6857997"/>
              <a:gd name="connsiteX170" fmla="*/ 10261651 w 12191996"/>
              <a:gd name="connsiteY170" fmla="*/ 6582475 h 6857997"/>
              <a:gd name="connsiteX171" fmla="*/ 10286995 w 12191996"/>
              <a:gd name="connsiteY171" fmla="*/ 6582475 h 6857997"/>
              <a:gd name="connsiteX172" fmla="*/ 10286995 w 12191996"/>
              <a:gd name="connsiteY172" fmla="*/ 6573834 h 6857997"/>
              <a:gd name="connsiteX173" fmla="*/ 10155233 w 12191996"/>
              <a:gd name="connsiteY173" fmla="*/ 6573834 h 6857997"/>
              <a:gd name="connsiteX174" fmla="*/ 10155233 w 12191996"/>
              <a:gd name="connsiteY174" fmla="*/ 6623047 h 6857997"/>
              <a:gd name="connsiteX175" fmla="*/ 10170859 w 12191996"/>
              <a:gd name="connsiteY175" fmla="*/ 6623047 h 6857997"/>
              <a:gd name="connsiteX176" fmla="*/ 10170859 w 12191996"/>
              <a:gd name="connsiteY176" fmla="*/ 6602385 h 6857997"/>
              <a:gd name="connsiteX177" fmla="*/ 10199932 w 12191996"/>
              <a:gd name="connsiteY177" fmla="*/ 6602385 h 6857997"/>
              <a:gd name="connsiteX178" fmla="*/ 10199932 w 12191996"/>
              <a:gd name="connsiteY178" fmla="*/ 6623047 h 6857997"/>
              <a:gd name="connsiteX179" fmla="*/ 10215558 w 12191996"/>
              <a:gd name="connsiteY179" fmla="*/ 6623047 h 6857997"/>
              <a:gd name="connsiteX180" fmla="*/ 10215558 w 12191996"/>
              <a:gd name="connsiteY180" fmla="*/ 6573834 h 6857997"/>
              <a:gd name="connsiteX181" fmla="*/ 10199932 w 12191996"/>
              <a:gd name="connsiteY181" fmla="*/ 6573834 h 6857997"/>
              <a:gd name="connsiteX182" fmla="*/ 10199932 w 12191996"/>
              <a:gd name="connsiteY182" fmla="*/ 6593745 h 6857997"/>
              <a:gd name="connsiteX183" fmla="*/ 10170859 w 12191996"/>
              <a:gd name="connsiteY183" fmla="*/ 6593745 h 6857997"/>
              <a:gd name="connsiteX184" fmla="*/ 10170859 w 12191996"/>
              <a:gd name="connsiteY184" fmla="*/ 6573834 h 6857997"/>
              <a:gd name="connsiteX185" fmla="*/ 10082208 w 12191996"/>
              <a:gd name="connsiteY185" fmla="*/ 6573834 h 6857997"/>
              <a:gd name="connsiteX186" fmla="*/ 10082208 w 12191996"/>
              <a:gd name="connsiteY186" fmla="*/ 6582163 h 6857997"/>
              <a:gd name="connsiteX187" fmla="*/ 10106570 w 12191996"/>
              <a:gd name="connsiteY187" fmla="*/ 6582163 h 6857997"/>
              <a:gd name="connsiteX188" fmla="*/ 10106570 w 12191996"/>
              <a:gd name="connsiteY188" fmla="*/ 6623047 h 6857997"/>
              <a:gd name="connsiteX189" fmla="*/ 10122569 w 12191996"/>
              <a:gd name="connsiteY189" fmla="*/ 6623047 h 6857997"/>
              <a:gd name="connsiteX190" fmla="*/ 10122569 w 12191996"/>
              <a:gd name="connsiteY190" fmla="*/ 6582163 h 6857997"/>
              <a:gd name="connsiteX191" fmla="*/ 10147295 w 12191996"/>
              <a:gd name="connsiteY191" fmla="*/ 6582163 h 6857997"/>
              <a:gd name="connsiteX192" fmla="*/ 10147295 w 12191996"/>
              <a:gd name="connsiteY192" fmla="*/ 6573834 h 6857997"/>
              <a:gd name="connsiteX193" fmla="*/ 2164828 w 12191996"/>
              <a:gd name="connsiteY193" fmla="*/ 6506715 h 6857997"/>
              <a:gd name="connsiteX194" fmla="*/ 2164828 w 12191996"/>
              <a:gd name="connsiteY194" fmla="*/ 6521016 h 6857997"/>
              <a:gd name="connsiteX195" fmla="*/ 2170617 w 12191996"/>
              <a:gd name="connsiteY195" fmla="*/ 6521016 h 6857997"/>
              <a:gd name="connsiteX196" fmla="*/ 2168875 w 12191996"/>
              <a:gd name="connsiteY196" fmla="*/ 6530888 h 6857997"/>
              <a:gd name="connsiteX197" fmla="*/ 2164132 w 12191996"/>
              <a:gd name="connsiteY197" fmla="*/ 6535876 h 6857997"/>
              <a:gd name="connsiteX198" fmla="*/ 2166989 w 12191996"/>
              <a:gd name="connsiteY198" fmla="*/ 6541248 h 6857997"/>
              <a:gd name="connsiteX199" fmla="*/ 2174106 w 12191996"/>
              <a:gd name="connsiteY199" fmla="*/ 6534027 h 6857997"/>
              <a:gd name="connsiteX200" fmla="*/ 2176545 w 12191996"/>
              <a:gd name="connsiteY200" fmla="*/ 6521016 h 6857997"/>
              <a:gd name="connsiteX201" fmla="*/ 2176545 w 12191996"/>
              <a:gd name="connsiteY201" fmla="*/ 6506715 h 6857997"/>
              <a:gd name="connsiteX202" fmla="*/ 6291678 w 12191996"/>
              <a:gd name="connsiteY202" fmla="*/ 6483832 h 6857997"/>
              <a:gd name="connsiteX203" fmla="*/ 6291678 w 12191996"/>
              <a:gd name="connsiteY203" fmla="*/ 6488437 h 6857997"/>
              <a:gd name="connsiteX204" fmla="*/ 6289446 w 12191996"/>
              <a:gd name="connsiteY204" fmla="*/ 6502355 h 6857997"/>
              <a:gd name="connsiteX205" fmla="*/ 6282713 w 12191996"/>
              <a:gd name="connsiteY205" fmla="*/ 6509994 h 6857997"/>
              <a:gd name="connsiteX206" fmla="*/ 6272702 w 12191996"/>
              <a:gd name="connsiteY206" fmla="*/ 6512854 h 6857997"/>
              <a:gd name="connsiteX207" fmla="*/ 6263633 w 12191996"/>
              <a:gd name="connsiteY207" fmla="*/ 6509680 h 6857997"/>
              <a:gd name="connsiteX208" fmla="*/ 6260354 w 12191996"/>
              <a:gd name="connsiteY208" fmla="*/ 6501204 h 6857997"/>
              <a:gd name="connsiteX209" fmla="*/ 6261784 w 12191996"/>
              <a:gd name="connsiteY209" fmla="*/ 6495169 h 6857997"/>
              <a:gd name="connsiteX210" fmla="*/ 6265796 w 12191996"/>
              <a:gd name="connsiteY210" fmla="*/ 6491123 h 6857997"/>
              <a:gd name="connsiteX211" fmla="*/ 6274865 w 12191996"/>
              <a:gd name="connsiteY211" fmla="*/ 6488576 h 6857997"/>
              <a:gd name="connsiteX212" fmla="*/ 6291678 w 12191996"/>
              <a:gd name="connsiteY212" fmla="*/ 6483832 h 6857997"/>
              <a:gd name="connsiteX213" fmla="*/ 2657744 w 12191996"/>
              <a:gd name="connsiteY213" fmla="*/ 6483832 h 6857997"/>
              <a:gd name="connsiteX214" fmla="*/ 2657744 w 12191996"/>
              <a:gd name="connsiteY214" fmla="*/ 6488437 h 6857997"/>
              <a:gd name="connsiteX215" fmla="*/ 2655513 w 12191996"/>
              <a:gd name="connsiteY215" fmla="*/ 6502355 h 6857997"/>
              <a:gd name="connsiteX216" fmla="*/ 2648779 w 12191996"/>
              <a:gd name="connsiteY216" fmla="*/ 6509994 h 6857997"/>
              <a:gd name="connsiteX217" fmla="*/ 2638768 w 12191996"/>
              <a:gd name="connsiteY217" fmla="*/ 6512854 h 6857997"/>
              <a:gd name="connsiteX218" fmla="*/ 2629699 w 12191996"/>
              <a:gd name="connsiteY218" fmla="*/ 6509680 h 6857997"/>
              <a:gd name="connsiteX219" fmla="*/ 2626419 w 12191996"/>
              <a:gd name="connsiteY219" fmla="*/ 6501204 h 6857997"/>
              <a:gd name="connsiteX220" fmla="*/ 2627851 w 12191996"/>
              <a:gd name="connsiteY220" fmla="*/ 6495169 h 6857997"/>
              <a:gd name="connsiteX221" fmla="*/ 2631864 w 12191996"/>
              <a:gd name="connsiteY221" fmla="*/ 6491123 h 6857997"/>
              <a:gd name="connsiteX222" fmla="*/ 2640931 w 12191996"/>
              <a:gd name="connsiteY222" fmla="*/ 6488576 h 6857997"/>
              <a:gd name="connsiteX223" fmla="*/ 2657744 w 12191996"/>
              <a:gd name="connsiteY223" fmla="*/ 6483832 h 6857997"/>
              <a:gd name="connsiteX224" fmla="*/ 6087297 w 12191996"/>
              <a:gd name="connsiteY224" fmla="*/ 6455578 h 6857997"/>
              <a:gd name="connsiteX225" fmla="*/ 6099922 w 12191996"/>
              <a:gd name="connsiteY225" fmla="*/ 6462485 h 6857997"/>
              <a:gd name="connsiteX226" fmla="*/ 6104038 w 12191996"/>
              <a:gd name="connsiteY226" fmla="*/ 6476856 h 6857997"/>
              <a:gd name="connsiteX227" fmla="*/ 6070136 w 12191996"/>
              <a:gd name="connsiteY227" fmla="*/ 6476856 h 6857997"/>
              <a:gd name="connsiteX228" fmla="*/ 6075505 w 12191996"/>
              <a:gd name="connsiteY228" fmla="*/ 6461334 h 6857997"/>
              <a:gd name="connsiteX229" fmla="*/ 6087297 w 12191996"/>
              <a:gd name="connsiteY229" fmla="*/ 6455578 h 6857997"/>
              <a:gd name="connsiteX230" fmla="*/ 6018399 w 12191996"/>
              <a:gd name="connsiteY230" fmla="*/ 6455578 h 6857997"/>
              <a:gd name="connsiteX231" fmla="*/ 6030545 w 12191996"/>
              <a:gd name="connsiteY231" fmla="*/ 6462729 h 6857997"/>
              <a:gd name="connsiteX232" fmla="*/ 6035362 w 12191996"/>
              <a:gd name="connsiteY232" fmla="*/ 6485437 h 6857997"/>
              <a:gd name="connsiteX233" fmla="*/ 6030545 w 12191996"/>
              <a:gd name="connsiteY233" fmla="*/ 6505668 h 6857997"/>
              <a:gd name="connsiteX234" fmla="*/ 6019168 w 12191996"/>
              <a:gd name="connsiteY234" fmla="*/ 6512366 h 6857997"/>
              <a:gd name="connsiteX235" fmla="*/ 6007544 w 12191996"/>
              <a:gd name="connsiteY235" fmla="*/ 6505389 h 6857997"/>
              <a:gd name="connsiteX236" fmla="*/ 6002552 w 12191996"/>
              <a:gd name="connsiteY236" fmla="*/ 6484042 h 6857997"/>
              <a:gd name="connsiteX237" fmla="*/ 6007230 w 12191996"/>
              <a:gd name="connsiteY237" fmla="*/ 6462450 h 6857997"/>
              <a:gd name="connsiteX238" fmla="*/ 6018399 w 12191996"/>
              <a:gd name="connsiteY238" fmla="*/ 6455578 h 6857997"/>
              <a:gd name="connsiteX239" fmla="*/ 5829564 w 12191996"/>
              <a:gd name="connsiteY239" fmla="*/ 6455578 h 6857997"/>
              <a:gd name="connsiteX240" fmla="*/ 5842540 w 12191996"/>
              <a:gd name="connsiteY240" fmla="*/ 6462598 h 6857997"/>
              <a:gd name="connsiteX241" fmla="*/ 5847772 w 12191996"/>
              <a:gd name="connsiteY241" fmla="*/ 6483937 h 6857997"/>
              <a:gd name="connsiteX242" fmla="*/ 5842575 w 12191996"/>
              <a:gd name="connsiteY242" fmla="*/ 6505276 h 6857997"/>
              <a:gd name="connsiteX243" fmla="*/ 5830122 w 12191996"/>
              <a:gd name="connsiteY243" fmla="*/ 6512366 h 6857997"/>
              <a:gd name="connsiteX244" fmla="*/ 5817145 w 12191996"/>
              <a:gd name="connsiteY244" fmla="*/ 6505346 h 6857997"/>
              <a:gd name="connsiteX245" fmla="*/ 5811914 w 12191996"/>
              <a:gd name="connsiteY245" fmla="*/ 6483937 h 6857997"/>
              <a:gd name="connsiteX246" fmla="*/ 5817079 w 12191996"/>
              <a:gd name="connsiteY246" fmla="*/ 6462633 h 6857997"/>
              <a:gd name="connsiteX247" fmla="*/ 5829564 w 12191996"/>
              <a:gd name="connsiteY247" fmla="*/ 6455578 h 6857997"/>
              <a:gd name="connsiteX248" fmla="*/ 2774990 w 12191996"/>
              <a:gd name="connsiteY248" fmla="*/ 6455578 h 6857997"/>
              <a:gd name="connsiteX249" fmla="*/ 2787135 w 12191996"/>
              <a:gd name="connsiteY249" fmla="*/ 6462729 h 6857997"/>
              <a:gd name="connsiteX250" fmla="*/ 2791951 w 12191996"/>
              <a:gd name="connsiteY250" fmla="*/ 6485437 h 6857997"/>
              <a:gd name="connsiteX251" fmla="*/ 2787135 w 12191996"/>
              <a:gd name="connsiteY251" fmla="*/ 6505668 h 6857997"/>
              <a:gd name="connsiteX252" fmla="*/ 2775759 w 12191996"/>
              <a:gd name="connsiteY252" fmla="*/ 6512366 h 6857997"/>
              <a:gd name="connsiteX253" fmla="*/ 2764133 w 12191996"/>
              <a:gd name="connsiteY253" fmla="*/ 6505389 h 6857997"/>
              <a:gd name="connsiteX254" fmla="*/ 2759145 w 12191996"/>
              <a:gd name="connsiteY254" fmla="*/ 6484042 h 6857997"/>
              <a:gd name="connsiteX255" fmla="*/ 2763822 w 12191996"/>
              <a:gd name="connsiteY255" fmla="*/ 6462450 h 6857997"/>
              <a:gd name="connsiteX256" fmla="*/ 2774990 w 12191996"/>
              <a:gd name="connsiteY256" fmla="*/ 6455578 h 6857997"/>
              <a:gd name="connsiteX257" fmla="*/ 2510511 w 12191996"/>
              <a:gd name="connsiteY257" fmla="*/ 6455578 h 6857997"/>
              <a:gd name="connsiteX258" fmla="*/ 2523140 w 12191996"/>
              <a:gd name="connsiteY258" fmla="*/ 6462485 h 6857997"/>
              <a:gd name="connsiteX259" fmla="*/ 2527255 w 12191996"/>
              <a:gd name="connsiteY259" fmla="*/ 6476856 h 6857997"/>
              <a:gd name="connsiteX260" fmla="*/ 2493349 w 12191996"/>
              <a:gd name="connsiteY260" fmla="*/ 6476856 h 6857997"/>
              <a:gd name="connsiteX261" fmla="*/ 2498723 w 12191996"/>
              <a:gd name="connsiteY261" fmla="*/ 6461334 h 6857997"/>
              <a:gd name="connsiteX262" fmla="*/ 2510511 w 12191996"/>
              <a:gd name="connsiteY262" fmla="*/ 6455578 h 6857997"/>
              <a:gd name="connsiteX263" fmla="*/ 1871776 w 12191996"/>
              <a:gd name="connsiteY263" fmla="*/ 6455578 h 6857997"/>
              <a:gd name="connsiteX264" fmla="*/ 1884752 w 12191996"/>
              <a:gd name="connsiteY264" fmla="*/ 6462598 h 6857997"/>
              <a:gd name="connsiteX265" fmla="*/ 1889984 w 12191996"/>
              <a:gd name="connsiteY265" fmla="*/ 6483937 h 6857997"/>
              <a:gd name="connsiteX266" fmla="*/ 1884787 w 12191996"/>
              <a:gd name="connsiteY266" fmla="*/ 6505276 h 6857997"/>
              <a:gd name="connsiteX267" fmla="*/ 1872334 w 12191996"/>
              <a:gd name="connsiteY267" fmla="*/ 6512366 h 6857997"/>
              <a:gd name="connsiteX268" fmla="*/ 1859358 w 12191996"/>
              <a:gd name="connsiteY268" fmla="*/ 6505346 h 6857997"/>
              <a:gd name="connsiteX269" fmla="*/ 1854126 w 12191996"/>
              <a:gd name="connsiteY269" fmla="*/ 6483937 h 6857997"/>
              <a:gd name="connsiteX270" fmla="*/ 1859288 w 12191996"/>
              <a:gd name="connsiteY270" fmla="*/ 6462633 h 6857997"/>
              <a:gd name="connsiteX271" fmla="*/ 1871776 w 12191996"/>
              <a:gd name="connsiteY271" fmla="*/ 6455578 h 6857997"/>
              <a:gd name="connsiteX272" fmla="*/ 1586584 w 12191996"/>
              <a:gd name="connsiteY272" fmla="*/ 6455578 h 6857997"/>
              <a:gd name="connsiteX273" fmla="*/ 1599211 w 12191996"/>
              <a:gd name="connsiteY273" fmla="*/ 6462485 h 6857997"/>
              <a:gd name="connsiteX274" fmla="*/ 1603327 w 12191996"/>
              <a:gd name="connsiteY274" fmla="*/ 6476856 h 6857997"/>
              <a:gd name="connsiteX275" fmla="*/ 1569422 w 12191996"/>
              <a:gd name="connsiteY275" fmla="*/ 6476856 h 6857997"/>
              <a:gd name="connsiteX276" fmla="*/ 1574794 w 12191996"/>
              <a:gd name="connsiteY276" fmla="*/ 6461334 h 6857997"/>
              <a:gd name="connsiteX277" fmla="*/ 1586584 w 12191996"/>
              <a:gd name="connsiteY277" fmla="*/ 6455578 h 6857997"/>
              <a:gd name="connsiteX278" fmla="*/ 1317685 w 12191996"/>
              <a:gd name="connsiteY278" fmla="*/ 6455578 h 6857997"/>
              <a:gd name="connsiteX279" fmla="*/ 1329920 w 12191996"/>
              <a:gd name="connsiteY279" fmla="*/ 6462398 h 6857997"/>
              <a:gd name="connsiteX280" fmla="*/ 1334953 w 12191996"/>
              <a:gd name="connsiteY280" fmla="*/ 6483205 h 6857997"/>
              <a:gd name="connsiteX281" fmla="*/ 1330059 w 12191996"/>
              <a:gd name="connsiteY281" fmla="*/ 6504117 h 6857997"/>
              <a:gd name="connsiteX282" fmla="*/ 1318175 w 12191996"/>
              <a:gd name="connsiteY282" fmla="*/ 6510691 h 6857997"/>
              <a:gd name="connsiteX283" fmla="*/ 1306360 w 12191996"/>
              <a:gd name="connsiteY283" fmla="*/ 6503977 h 6857997"/>
              <a:gd name="connsiteX284" fmla="*/ 1301536 w 12191996"/>
              <a:gd name="connsiteY284" fmla="*/ 6482645 h 6857997"/>
              <a:gd name="connsiteX285" fmla="*/ 1306395 w 12191996"/>
              <a:gd name="connsiteY285" fmla="*/ 6462398 h 6857997"/>
              <a:gd name="connsiteX286" fmla="*/ 1317685 w 12191996"/>
              <a:gd name="connsiteY286" fmla="*/ 6455578 h 6857997"/>
              <a:gd name="connsiteX287" fmla="*/ 1071676 w 12191996"/>
              <a:gd name="connsiteY287" fmla="*/ 6455578 h 6857997"/>
              <a:gd name="connsiteX288" fmla="*/ 1084652 w 12191996"/>
              <a:gd name="connsiteY288" fmla="*/ 6462598 h 6857997"/>
              <a:gd name="connsiteX289" fmla="*/ 1089884 w 12191996"/>
              <a:gd name="connsiteY289" fmla="*/ 6483937 h 6857997"/>
              <a:gd name="connsiteX290" fmla="*/ 1084687 w 12191996"/>
              <a:gd name="connsiteY290" fmla="*/ 6505276 h 6857997"/>
              <a:gd name="connsiteX291" fmla="*/ 1072234 w 12191996"/>
              <a:gd name="connsiteY291" fmla="*/ 6512366 h 6857997"/>
              <a:gd name="connsiteX292" fmla="*/ 1059258 w 12191996"/>
              <a:gd name="connsiteY292" fmla="*/ 6505346 h 6857997"/>
              <a:gd name="connsiteX293" fmla="*/ 1054026 w 12191996"/>
              <a:gd name="connsiteY293" fmla="*/ 6483937 h 6857997"/>
              <a:gd name="connsiteX294" fmla="*/ 1059188 w 12191996"/>
              <a:gd name="connsiteY294" fmla="*/ 6462633 h 6857997"/>
              <a:gd name="connsiteX295" fmla="*/ 1071676 w 12191996"/>
              <a:gd name="connsiteY295" fmla="*/ 6455578 h 6857997"/>
              <a:gd name="connsiteX296" fmla="*/ 1139788 w 12191996"/>
              <a:gd name="connsiteY296" fmla="*/ 6455090 h 6857997"/>
              <a:gd name="connsiteX297" fmla="*/ 1151478 w 12191996"/>
              <a:gd name="connsiteY297" fmla="*/ 6462066 h 6857997"/>
              <a:gd name="connsiteX298" fmla="*/ 1156280 w 12191996"/>
              <a:gd name="connsiteY298" fmla="*/ 6483553 h 6857997"/>
              <a:gd name="connsiteX299" fmla="*/ 1151339 w 12191996"/>
              <a:gd name="connsiteY299" fmla="*/ 6505320 h 6857997"/>
              <a:gd name="connsiteX300" fmla="*/ 1139857 w 12191996"/>
              <a:gd name="connsiteY300" fmla="*/ 6512366 h 6857997"/>
              <a:gd name="connsiteX301" fmla="*/ 1128235 w 12191996"/>
              <a:gd name="connsiteY301" fmla="*/ 6505564 h 6857997"/>
              <a:gd name="connsiteX302" fmla="*/ 1123434 w 12191996"/>
              <a:gd name="connsiteY302" fmla="*/ 6484391 h 6857997"/>
              <a:gd name="connsiteX303" fmla="*/ 1128514 w 12191996"/>
              <a:gd name="connsiteY303" fmla="*/ 6462590 h 6857997"/>
              <a:gd name="connsiteX304" fmla="*/ 1139788 w 12191996"/>
              <a:gd name="connsiteY304" fmla="*/ 6455090 h 6857997"/>
              <a:gd name="connsiteX305" fmla="*/ 6224384 w 12191996"/>
              <a:gd name="connsiteY305" fmla="*/ 6446928 h 6857997"/>
              <a:gd name="connsiteX306" fmla="*/ 6224384 w 12191996"/>
              <a:gd name="connsiteY306" fmla="*/ 6521016 h 6857997"/>
              <a:gd name="connsiteX307" fmla="*/ 6234640 w 12191996"/>
              <a:gd name="connsiteY307" fmla="*/ 6521016 h 6857997"/>
              <a:gd name="connsiteX308" fmla="*/ 6234640 w 12191996"/>
              <a:gd name="connsiteY308" fmla="*/ 6446928 h 6857997"/>
              <a:gd name="connsiteX309" fmla="*/ 5967211 w 12191996"/>
              <a:gd name="connsiteY309" fmla="*/ 6446928 h 6857997"/>
              <a:gd name="connsiteX310" fmla="*/ 5967211 w 12191996"/>
              <a:gd name="connsiteY310" fmla="*/ 6521016 h 6857997"/>
              <a:gd name="connsiteX311" fmla="*/ 5977467 w 12191996"/>
              <a:gd name="connsiteY311" fmla="*/ 6521016 h 6857997"/>
              <a:gd name="connsiteX312" fmla="*/ 5977467 w 12191996"/>
              <a:gd name="connsiteY312" fmla="*/ 6446928 h 6857997"/>
              <a:gd name="connsiteX313" fmla="*/ 2380902 w 12191996"/>
              <a:gd name="connsiteY313" fmla="*/ 6446928 h 6857997"/>
              <a:gd name="connsiteX314" fmla="*/ 2380902 w 12191996"/>
              <a:gd name="connsiteY314" fmla="*/ 6521016 h 6857997"/>
              <a:gd name="connsiteX315" fmla="*/ 2391160 w 12191996"/>
              <a:gd name="connsiteY315" fmla="*/ 6521016 h 6857997"/>
              <a:gd name="connsiteX316" fmla="*/ 2391160 w 12191996"/>
              <a:gd name="connsiteY316" fmla="*/ 6446928 h 6857997"/>
              <a:gd name="connsiteX317" fmla="*/ 2287711 w 12191996"/>
              <a:gd name="connsiteY317" fmla="*/ 6446928 h 6857997"/>
              <a:gd name="connsiteX318" fmla="*/ 2306375 w 12191996"/>
              <a:gd name="connsiteY318" fmla="*/ 6521016 h 6857997"/>
              <a:gd name="connsiteX319" fmla="*/ 2317119 w 12191996"/>
              <a:gd name="connsiteY319" fmla="*/ 6521016 h 6857997"/>
              <a:gd name="connsiteX320" fmla="*/ 2329394 w 12191996"/>
              <a:gd name="connsiteY320" fmla="*/ 6464020 h 6857997"/>
              <a:gd name="connsiteX321" fmla="*/ 2331698 w 12191996"/>
              <a:gd name="connsiteY321" fmla="*/ 6476647 h 6857997"/>
              <a:gd name="connsiteX322" fmla="*/ 2341394 w 12191996"/>
              <a:gd name="connsiteY322" fmla="*/ 6521016 h 6857997"/>
              <a:gd name="connsiteX323" fmla="*/ 2352113 w 12191996"/>
              <a:gd name="connsiteY323" fmla="*/ 6521016 h 6857997"/>
              <a:gd name="connsiteX324" fmla="*/ 2371081 w 12191996"/>
              <a:gd name="connsiteY324" fmla="*/ 6446928 h 6857997"/>
              <a:gd name="connsiteX325" fmla="*/ 2361033 w 12191996"/>
              <a:gd name="connsiteY325" fmla="*/ 6446928 h 6857997"/>
              <a:gd name="connsiteX326" fmla="*/ 2350666 w 12191996"/>
              <a:gd name="connsiteY326" fmla="*/ 6489762 h 6857997"/>
              <a:gd name="connsiteX327" fmla="*/ 2347183 w 12191996"/>
              <a:gd name="connsiteY327" fmla="*/ 6504064 h 6857997"/>
              <a:gd name="connsiteX328" fmla="*/ 2344125 w 12191996"/>
              <a:gd name="connsiteY328" fmla="*/ 6489902 h 6857997"/>
              <a:gd name="connsiteX329" fmla="*/ 2335086 w 12191996"/>
              <a:gd name="connsiteY329" fmla="*/ 6446928 h 6857997"/>
              <a:gd name="connsiteX330" fmla="*/ 2324456 w 12191996"/>
              <a:gd name="connsiteY330" fmla="*/ 6446928 h 6857997"/>
              <a:gd name="connsiteX331" fmla="*/ 2314822 w 12191996"/>
              <a:gd name="connsiteY331" fmla="*/ 6490320 h 6857997"/>
              <a:gd name="connsiteX332" fmla="*/ 2311609 w 12191996"/>
              <a:gd name="connsiteY332" fmla="*/ 6505599 h 6857997"/>
              <a:gd name="connsiteX333" fmla="*/ 2308033 w 12191996"/>
              <a:gd name="connsiteY333" fmla="*/ 6489693 h 6857997"/>
              <a:gd name="connsiteX334" fmla="*/ 2298356 w 12191996"/>
              <a:gd name="connsiteY334" fmla="*/ 6446928 h 6857997"/>
              <a:gd name="connsiteX335" fmla="*/ 1818925 w 12191996"/>
              <a:gd name="connsiteY335" fmla="*/ 6446928 h 6857997"/>
              <a:gd name="connsiteX336" fmla="*/ 1818925 w 12191996"/>
              <a:gd name="connsiteY336" fmla="*/ 6521016 h 6857997"/>
              <a:gd name="connsiteX337" fmla="*/ 1829180 w 12191996"/>
              <a:gd name="connsiteY337" fmla="*/ 6521016 h 6857997"/>
              <a:gd name="connsiteX338" fmla="*/ 1829180 w 12191996"/>
              <a:gd name="connsiteY338" fmla="*/ 6446928 h 6857997"/>
              <a:gd name="connsiteX339" fmla="*/ 1752248 w 12191996"/>
              <a:gd name="connsiteY339" fmla="*/ 6446928 h 6857997"/>
              <a:gd name="connsiteX340" fmla="*/ 1752248 w 12191996"/>
              <a:gd name="connsiteY340" fmla="*/ 6521016 h 6857997"/>
              <a:gd name="connsiteX341" fmla="*/ 1762504 w 12191996"/>
              <a:gd name="connsiteY341" fmla="*/ 6521016 h 6857997"/>
              <a:gd name="connsiteX342" fmla="*/ 1762504 w 12191996"/>
              <a:gd name="connsiteY342" fmla="*/ 6446928 h 6857997"/>
              <a:gd name="connsiteX343" fmla="*/ 1266473 w 12191996"/>
              <a:gd name="connsiteY343" fmla="*/ 6446928 h 6857997"/>
              <a:gd name="connsiteX344" fmla="*/ 1266473 w 12191996"/>
              <a:gd name="connsiteY344" fmla="*/ 6521016 h 6857997"/>
              <a:gd name="connsiteX345" fmla="*/ 1276729 w 12191996"/>
              <a:gd name="connsiteY345" fmla="*/ 6521016 h 6857997"/>
              <a:gd name="connsiteX346" fmla="*/ 1276729 w 12191996"/>
              <a:gd name="connsiteY346" fmla="*/ 6446928 h 6857997"/>
              <a:gd name="connsiteX347" fmla="*/ 6278772 w 12191996"/>
              <a:gd name="connsiteY347" fmla="*/ 6445253 h 6857997"/>
              <a:gd name="connsiteX348" fmla="*/ 6259901 w 12191996"/>
              <a:gd name="connsiteY348" fmla="*/ 6450695 h 6857997"/>
              <a:gd name="connsiteX349" fmla="*/ 6251146 w 12191996"/>
              <a:gd name="connsiteY349" fmla="*/ 6468066 h 6857997"/>
              <a:gd name="connsiteX350" fmla="*/ 6261261 w 12191996"/>
              <a:gd name="connsiteY350" fmla="*/ 6469740 h 6857997"/>
              <a:gd name="connsiteX351" fmla="*/ 6266493 w 12191996"/>
              <a:gd name="connsiteY351" fmla="*/ 6458558 h 6857997"/>
              <a:gd name="connsiteX352" fmla="*/ 6277237 w 12191996"/>
              <a:gd name="connsiteY352" fmla="*/ 6455578 h 6857997"/>
              <a:gd name="connsiteX353" fmla="*/ 6289027 w 12191996"/>
              <a:gd name="connsiteY353" fmla="*/ 6460043 h 6857997"/>
              <a:gd name="connsiteX354" fmla="*/ 6291748 w 12191996"/>
              <a:gd name="connsiteY354" fmla="*/ 6470717 h 6857997"/>
              <a:gd name="connsiteX355" fmla="*/ 6291678 w 12191996"/>
              <a:gd name="connsiteY355" fmla="*/ 6473926 h 6857997"/>
              <a:gd name="connsiteX356" fmla="*/ 6273260 w 12191996"/>
              <a:gd name="connsiteY356" fmla="*/ 6478321 h 6857997"/>
              <a:gd name="connsiteX357" fmla="*/ 6259308 w 12191996"/>
              <a:gd name="connsiteY357" fmla="*/ 6482437 h 6857997"/>
              <a:gd name="connsiteX358" fmla="*/ 6252052 w 12191996"/>
              <a:gd name="connsiteY358" fmla="*/ 6490181 h 6857997"/>
              <a:gd name="connsiteX359" fmla="*/ 6249401 w 12191996"/>
              <a:gd name="connsiteY359" fmla="*/ 6501552 h 6857997"/>
              <a:gd name="connsiteX360" fmla="*/ 6255052 w 12191996"/>
              <a:gd name="connsiteY360" fmla="*/ 6516970 h 6857997"/>
              <a:gd name="connsiteX361" fmla="*/ 6270191 w 12191996"/>
              <a:gd name="connsiteY361" fmla="*/ 6522691 h 6857997"/>
              <a:gd name="connsiteX362" fmla="*/ 6281772 w 12191996"/>
              <a:gd name="connsiteY362" fmla="*/ 6519969 h 6857997"/>
              <a:gd name="connsiteX363" fmla="*/ 6292515 w 12191996"/>
              <a:gd name="connsiteY363" fmla="*/ 6511876 h 6857997"/>
              <a:gd name="connsiteX364" fmla="*/ 6294608 w 12191996"/>
              <a:gd name="connsiteY364" fmla="*/ 6521016 h 6857997"/>
              <a:gd name="connsiteX365" fmla="*/ 6305352 w 12191996"/>
              <a:gd name="connsiteY365" fmla="*/ 6521016 h 6857997"/>
              <a:gd name="connsiteX366" fmla="*/ 6302735 w 12191996"/>
              <a:gd name="connsiteY366" fmla="*/ 6512121 h 6857997"/>
              <a:gd name="connsiteX367" fmla="*/ 6302073 w 12191996"/>
              <a:gd name="connsiteY367" fmla="*/ 6489972 h 6857997"/>
              <a:gd name="connsiteX368" fmla="*/ 6302073 w 12191996"/>
              <a:gd name="connsiteY368" fmla="*/ 6473228 h 6857997"/>
              <a:gd name="connsiteX369" fmla="*/ 6300643 w 12191996"/>
              <a:gd name="connsiteY369" fmla="*/ 6457741 h 6857997"/>
              <a:gd name="connsiteX370" fmla="*/ 6293771 w 12191996"/>
              <a:gd name="connsiteY370" fmla="*/ 6448846 h 6857997"/>
              <a:gd name="connsiteX371" fmla="*/ 6278772 w 12191996"/>
              <a:gd name="connsiteY371" fmla="*/ 6445253 h 6857997"/>
              <a:gd name="connsiteX372" fmla="*/ 6157704 w 12191996"/>
              <a:gd name="connsiteY372" fmla="*/ 6445253 h 6857997"/>
              <a:gd name="connsiteX373" fmla="*/ 6146596 w 12191996"/>
              <a:gd name="connsiteY373" fmla="*/ 6448271 h 6857997"/>
              <a:gd name="connsiteX374" fmla="*/ 6138413 w 12191996"/>
              <a:gd name="connsiteY374" fmla="*/ 6457393 h 6857997"/>
              <a:gd name="connsiteX375" fmla="*/ 6138413 w 12191996"/>
              <a:gd name="connsiteY375" fmla="*/ 6446928 h 6857997"/>
              <a:gd name="connsiteX376" fmla="*/ 6129134 w 12191996"/>
              <a:gd name="connsiteY376" fmla="*/ 6446928 h 6857997"/>
              <a:gd name="connsiteX377" fmla="*/ 6129134 w 12191996"/>
              <a:gd name="connsiteY377" fmla="*/ 6521016 h 6857997"/>
              <a:gd name="connsiteX378" fmla="*/ 6139390 w 12191996"/>
              <a:gd name="connsiteY378" fmla="*/ 6521016 h 6857997"/>
              <a:gd name="connsiteX379" fmla="*/ 6139390 w 12191996"/>
              <a:gd name="connsiteY379" fmla="*/ 6480510 h 6857997"/>
              <a:gd name="connsiteX380" fmla="*/ 6143785 w 12191996"/>
              <a:gd name="connsiteY380" fmla="*/ 6461584 h 6857997"/>
              <a:gd name="connsiteX381" fmla="*/ 6155575 w 12191996"/>
              <a:gd name="connsiteY381" fmla="*/ 6456067 h 6857997"/>
              <a:gd name="connsiteX382" fmla="*/ 6162446 w 12191996"/>
              <a:gd name="connsiteY382" fmla="*/ 6458127 h 6857997"/>
              <a:gd name="connsiteX383" fmla="*/ 6166807 w 12191996"/>
              <a:gd name="connsiteY383" fmla="*/ 6463958 h 6857997"/>
              <a:gd name="connsiteX384" fmla="*/ 6168202 w 12191996"/>
              <a:gd name="connsiteY384" fmla="*/ 6475901 h 6857997"/>
              <a:gd name="connsiteX385" fmla="*/ 6168202 w 12191996"/>
              <a:gd name="connsiteY385" fmla="*/ 6521016 h 6857997"/>
              <a:gd name="connsiteX386" fmla="*/ 6178457 w 12191996"/>
              <a:gd name="connsiteY386" fmla="*/ 6521016 h 6857997"/>
              <a:gd name="connsiteX387" fmla="*/ 6178457 w 12191996"/>
              <a:gd name="connsiteY387" fmla="*/ 6475461 h 6857997"/>
              <a:gd name="connsiteX388" fmla="*/ 6177203 w 12191996"/>
              <a:gd name="connsiteY388" fmla="*/ 6460253 h 6857997"/>
              <a:gd name="connsiteX389" fmla="*/ 6173408 w 12191996"/>
              <a:gd name="connsiteY389" fmla="*/ 6452195 h 6857997"/>
              <a:gd name="connsiteX390" fmla="*/ 6166722 w 12191996"/>
              <a:gd name="connsiteY390" fmla="*/ 6447172 h 6857997"/>
              <a:gd name="connsiteX391" fmla="*/ 6157704 w 12191996"/>
              <a:gd name="connsiteY391" fmla="*/ 6445253 h 6857997"/>
              <a:gd name="connsiteX392" fmla="*/ 6087368 w 12191996"/>
              <a:gd name="connsiteY392" fmla="*/ 6445253 h 6857997"/>
              <a:gd name="connsiteX393" fmla="*/ 6066963 w 12191996"/>
              <a:gd name="connsiteY393" fmla="*/ 6455334 h 6857997"/>
              <a:gd name="connsiteX394" fmla="*/ 6058901 w 12191996"/>
              <a:gd name="connsiteY394" fmla="*/ 6484600 h 6857997"/>
              <a:gd name="connsiteX395" fmla="*/ 6066892 w 12191996"/>
              <a:gd name="connsiteY395" fmla="*/ 6512889 h 6857997"/>
              <a:gd name="connsiteX396" fmla="*/ 6087783 w 12191996"/>
              <a:gd name="connsiteY396" fmla="*/ 6522691 h 6857997"/>
              <a:gd name="connsiteX397" fmla="*/ 6104980 w 12191996"/>
              <a:gd name="connsiteY397" fmla="*/ 6516656 h 6857997"/>
              <a:gd name="connsiteX398" fmla="*/ 6114573 w 12191996"/>
              <a:gd name="connsiteY398" fmla="*/ 6498762 h 6857997"/>
              <a:gd name="connsiteX399" fmla="*/ 6103969 w 12191996"/>
              <a:gd name="connsiteY399" fmla="*/ 6497157 h 6857997"/>
              <a:gd name="connsiteX400" fmla="*/ 6087853 w 12191996"/>
              <a:gd name="connsiteY400" fmla="*/ 6512366 h 6857997"/>
              <a:gd name="connsiteX401" fmla="*/ 6075296 w 12191996"/>
              <a:gd name="connsiteY401" fmla="*/ 6506017 h 6857997"/>
              <a:gd name="connsiteX402" fmla="*/ 6069507 w 12191996"/>
              <a:gd name="connsiteY402" fmla="*/ 6487181 h 6857997"/>
              <a:gd name="connsiteX403" fmla="*/ 6114852 w 12191996"/>
              <a:gd name="connsiteY403" fmla="*/ 6487181 h 6857997"/>
              <a:gd name="connsiteX404" fmla="*/ 6114921 w 12191996"/>
              <a:gd name="connsiteY404" fmla="*/ 6483832 h 6857997"/>
              <a:gd name="connsiteX405" fmla="*/ 6107038 w 12191996"/>
              <a:gd name="connsiteY405" fmla="*/ 6455160 h 6857997"/>
              <a:gd name="connsiteX406" fmla="*/ 6087368 w 12191996"/>
              <a:gd name="connsiteY406" fmla="*/ 6445253 h 6857997"/>
              <a:gd name="connsiteX407" fmla="*/ 5900531 w 12191996"/>
              <a:gd name="connsiteY407" fmla="*/ 6445253 h 6857997"/>
              <a:gd name="connsiteX408" fmla="*/ 5889422 w 12191996"/>
              <a:gd name="connsiteY408" fmla="*/ 6448271 h 6857997"/>
              <a:gd name="connsiteX409" fmla="*/ 5881238 w 12191996"/>
              <a:gd name="connsiteY409" fmla="*/ 6457393 h 6857997"/>
              <a:gd name="connsiteX410" fmla="*/ 5881238 w 12191996"/>
              <a:gd name="connsiteY410" fmla="*/ 6446928 h 6857997"/>
              <a:gd name="connsiteX411" fmla="*/ 5871961 w 12191996"/>
              <a:gd name="connsiteY411" fmla="*/ 6446928 h 6857997"/>
              <a:gd name="connsiteX412" fmla="*/ 5871961 w 12191996"/>
              <a:gd name="connsiteY412" fmla="*/ 6521016 h 6857997"/>
              <a:gd name="connsiteX413" fmla="*/ 5882218 w 12191996"/>
              <a:gd name="connsiteY413" fmla="*/ 6521016 h 6857997"/>
              <a:gd name="connsiteX414" fmla="*/ 5882218 w 12191996"/>
              <a:gd name="connsiteY414" fmla="*/ 6480510 h 6857997"/>
              <a:gd name="connsiteX415" fmla="*/ 5886612 w 12191996"/>
              <a:gd name="connsiteY415" fmla="*/ 6461584 h 6857997"/>
              <a:gd name="connsiteX416" fmla="*/ 5898401 w 12191996"/>
              <a:gd name="connsiteY416" fmla="*/ 6456067 h 6857997"/>
              <a:gd name="connsiteX417" fmla="*/ 5905276 w 12191996"/>
              <a:gd name="connsiteY417" fmla="*/ 6458127 h 6857997"/>
              <a:gd name="connsiteX418" fmla="*/ 5909634 w 12191996"/>
              <a:gd name="connsiteY418" fmla="*/ 6463958 h 6857997"/>
              <a:gd name="connsiteX419" fmla="*/ 5911030 w 12191996"/>
              <a:gd name="connsiteY419" fmla="*/ 6475901 h 6857997"/>
              <a:gd name="connsiteX420" fmla="*/ 5911030 w 12191996"/>
              <a:gd name="connsiteY420" fmla="*/ 6521016 h 6857997"/>
              <a:gd name="connsiteX421" fmla="*/ 5921285 w 12191996"/>
              <a:gd name="connsiteY421" fmla="*/ 6521016 h 6857997"/>
              <a:gd name="connsiteX422" fmla="*/ 5921285 w 12191996"/>
              <a:gd name="connsiteY422" fmla="*/ 6475461 h 6857997"/>
              <a:gd name="connsiteX423" fmla="*/ 5920030 w 12191996"/>
              <a:gd name="connsiteY423" fmla="*/ 6460253 h 6857997"/>
              <a:gd name="connsiteX424" fmla="*/ 5916235 w 12191996"/>
              <a:gd name="connsiteY424" fmla="*/ 6452195 h 6857997"/>
              <a:gd name="connsiteX425" fmla="*/ 5909549 w 12191996"/>
              <a:gd name="connsiteY425" fmla="*/ 6447172 h 6857997"/>
              <a:gd name="connsiteX426" fmla="*/ 5900531 w 12191996"/>
              <a:gd name="connsiteY426" fmla="*/ 6445253 h 6857997"/>
              <a:gd name="connsiteX427" fmla="*/ 5829842 w 12191996"/>
              <a:gd name="connsiteY427" fmla="*/ 6445253 h 6857997"/>
              <a:gd name="connsiteX428" fmla="*/ 5809436 w 12191996"/>
              <a:gd name="connsiteY428" fmla="*/ 6455020 h 6857997"/>
              <a:gd name="connsiteX429" fmla="*/ 5801381 w 12191996"/>
              <a:gd name="connsiteY429" fmla="*/ 6483972 h 6857997"/>
              <a:gd name="connsiteX430" fmla="*/ 5809506 w 12191996"/>
              <a:gd name="connsiteY430" fmla="*/ 6512889 h 6857997"/>
              <a:gd name="connsiteX431" fmla="*/ 5829842 w 12191996"/>
              <a:gd name="connsiteY431" fmla="*/ 6522691 h 6857997"/>
              <a:gd name="connsiteX432" fmla="*/ 5850285 w 12191996"/>
              <a:gd name="connsiteY432" fmla="*/ 6512924 h 6857997"/>
              <a:gd name="connsiteX433" fmla="*/ 5858305 w 12191996"/>
              <a:gd name="connsiteY433" fmla="*/ 6483205 h 6857997"/>
              <a:gd name="connsiteX434" fmla="*/ 5850144 w 12191996"/>
              <a:gd name="connsiteY434" fmla="*/ 6455020 h 6857997"/>
              <a:gd name="connsiteX435" fmla="*/ 5829842 w 12191996"/>
              <a:gd name="connsiteY435" fmla="*/ 6445253 h 6857997"/>
              <a:gd name="connsiteX436" fmla="*/ 2714271 w 12191996"/>
              <a:gd name="connsiteY436" fmla="*/ 6445253 h 6857997"/>
              <a:gd name="connsiteX437" fmla="*/ 2703162 w 12191996"/>
              <a:gd name="connsiteY437" fmla="*/ 6448271 h 6857997"/>
              <a:gd name="connsiteX438" fmla="*/ 2694979 w 12191996"/>
              <a:gd name="connsiteY438" fmla="*/ 6457393 h 6857997"/>
              <a:gd name="connsiteX439" fmla="*/ 2694979 w 12191996"/>
              <a:gd name="connsiteY439" fmla="*/ 6446928 h 6857997"/>
              <a:gd name="connsiteX440" fmla="*/ 2685702 w 12191996"/>
              <a:gd name="connsiteY440" fmla="*/ 6446928 h 6857997"/>
              <a:gd name="connsiteX441" fmla="*/ 2685702 w 12191996"/>
              <a:gd name="connsiteY441" fmla="*/ 6521016 h 6857997"/>
              <a:gd name="connsiteX442" fmla="*/ 2695956 w 12191996"/>
              <a:gd name="connsiteY442" fmla="*/ 6521016 h 6857997"/>
              <a:gd name="connsiteX443" fmla="*/ 2695956 w 12191996"/>
              <a:gd name="connsiteY443" fmla="*/ 6480510 h 6857997"/>
              <a:gd name="connsiteX444" fmla="*/ 2700353 w 12191996"/>
              <a:gd name="connsiteY444" fmla="*/ 6461584 h 6857997"/>
              <a:gd name="connsiteX445" fmla="*/ 2712140 w 12191996"/>
              <a:gd name="connsiteY445" fmla="*/ 6456067 h 6857997"/>
              <a:gd name="connsiteX446" fmla="*/ 2719012 w 12191996"/>
              <a:gd name="connsiteY446" fmla="*/ 6458127 h 6857997"/>
              <a:gd name="connsiteX447" fmla="*/ 2723374 w 12191996"/>
              <a:gd name="connsiteY447" fmla="*/ 6463958 h 6857997"/>
              <a:gd name="connsiteX448" fmla="*/ 2724768 w 12191996"/>
              <a:gd name="connsiteY448" fmla="*/ 6475901 h 6857997"/>
              <a:gd name="connsiteX449" fmla="*/ 2724768 w 12191996"/>
              <a:gd name="connsiteY449" fmla="*/ 6521016 h 6857997"/>
              <a:gd name="connsiteX450" fmla="*/ 2735023 w 12191996"/>
              <a:gd name="connsiteY450" fmla="*/ 6521016 h 6857997"/>
              <a:gd name="connsiteX451" fmla="*/ 2735023 w 12191996"/>
              <a:gd name="connsiteY451" fmla="*/ 6475461 h 6857997"/>
              <a:gd name="connsiteX452" fmla="*/ 2733768 w 12191996"/>
              <a:gd name="connsiteY452" fmla="*/ 6460253 h 6857997"/>
              <a:gd name="connsiteX453" fmla="*/ 2729976 w 12191996"/>
              <a:gd name="connsiteY453" fmla="*/ 6452195 h 6857997"/>
              <a:gd name="connsiteX454" fmla="*/ 2723290 w 12191996"/>
              <a:gd name="connsiteY454" fmla="*/ 6447172 h 6857997"/>
              <a:gd name="connsiteX455" fmla="*/ 2714271 w 12191996"/>
              <a:gd name="connsiteY455" fmla="*/ 6445253 h 6857997"/>
              <a:gd name="connsiteX456" fmla="*/ 2644839 w 12191996"/>
              <a:gd name="connsiteY456" fmla="*/ 6445253 h 6857997"/>
              <a:gd name="connsiteX457" fmla="*/ 2625967 w 12191996"/>
              <a:gd name="connsiteY457" fmla="*/ 6450695 h 6857997"/>
              <a:gd name="connsiteX458" fmla="*/ 2617211 w 12191996"/>
              <a:gd name="connsiteY458" fmla="*/ 6468066 h 6857997"/>
              <a:gd name="connsiteX459" fmla="*/ 2627327 w 12191996"/>
              <a:gd name="connsiteY459" fmla="*/ 6469740 h 6857997"/>
              <a:gd name="connsiteX460" fmla="*/ 2632562 w 12191996"/>
              <a:gd name="connsiteY460" fmla="*/ 6458558 h 6857997"/>
              <a:gd name="connsiteX461" fmla="*/ 2643303 w 12191996"/>
              <a:gd name="connsiteY461" fmla="*/ 6455578 h 6857997"/>
              <a:gd name="connsiteX462" fmla="*/ 2655093 w 12191996"/>
              <a:gd name="connsiteY462" fmla="*/ 6460043 h 6857997"/>
              <a:gd name="connsiteX463" fmla="*/ 2657815 w 12191996"/>
              <a:gd name="connsiteY463" fmla="*/ 6470717 h 6857997"/>
              <a:gd name="connsiteX464" fmla="*/ 2657744 w 12191996"/>
              <a:gd name="connsiteY464" fmla="*/ 6473926 h 6857997"/>
              <a:gd name="connsiteX465" fmla="*/ 2639327 w 12191996"/>
              <a:gd name="connsiteY465" fmla="*/ 6478321 h 6857997"/>
              <a:gd name="connsiteX466" fmla="*/ 2625374 w 12191996"/>
              <a:gd name="connsiteY466" fmla="*/ 6482437 h 6857997"/>
              <a:gd name="connsiteX467" fmla="*/ 2618117 w 12191996"/>
              <a:gd name="connsiteY467" fmla="*/ 6490181 h 6857997"/>
              <a:gd name="connsiteX468" fmla="*/ 2615466 w 12191996"/>
              <a:gd name="connsiteY468" fmla="*/ 6501552 h 6857997"/>
              <a:gd name="connsiteX469" fmla="*/ 2621117 w 12191996"/>
              <a:gd name="connsiteY469" fmla="*/ 6516970 h 6857997"/>
              <a:gd name="connsiteX470" fmla="*/ 2636258 w 12191996"/>
              <a:gd name="connsiteY470" fmla="*/ 6522691 h 6857997"/>
              <a:gd name="connsiteX471" fmla="*/ 2647837 w 12191996"/>
              <a:gd name="connsiteY471" fmla="*/ 6519969 h 6857997"/>
              <a:gd name="connsiteX472" fmla="*/ 2658582 w 12191996"/>
              <a:gd name="connsiteY472" fmla="*/ 6511876 h 6857997"/>
              <a:gd name="connsiteX473" fmla="*/ 2660674 w 12191996"/>
              <a:gd name="connsiteY473" fmla="*/ 6521016 h 6857997"/>
              <a:gd name="connsiteX474" fmla="*/ 2671419 w 12191996"/>
              <a:gd name="connsiteY474" fmla="*/ 6521016 h 6857997"/>
              <a:gd name="connsiteX475" fmla="*/ 2668802 w 12191996"/>
              <a:gd name="connsiteY475" fmla="*/ 6512121 h 6857997"/>
              <a:gd name="connsiteX476" fmla="*/ 2668139 w 12191996"/>
              <a:gd name="connsiteY476" fmla="*/ 6489972 h 6857997"/>
              <a:gd name="connsiteX477" fmla="*/ 2668139 w 12191996"/>
              <a:gd name="connsiteY477" fmla="*/ 6473228 h 6857997"/>
              <a:gd name="connsiteX478" fmla="*/ 2666708 w 12191996"/>
              <a:gd name="connsiteY478" fmla="*/ 6457741 h 6857997"/>
              <a:gd name="connsiteX479" fmla="*/ 2659837 w 12191996"/>
              <a:gd name="connsiteY479" fmla="*/ 6448846 h 6857997"/>
              <a:gd name="connsiteX480" fmla="*/ 2644839 w 12191996"/>
              <a:gd name="connsiteY480" fmla="*/ 6445253 h 6857997"/>
              <a:gd name="connsiteX481" fmla="*/ 2574815 w 12191996"/>
              <a:gd name="connsiteY481" fmla="*/ 6445253 h 6857997"/>
              <a:gd name="connsiteX482" fmla="*/ 2568151 w 12191996"/>
              <a:gd name="connsiteY482" fmla="*/ 6447800 h 6857997"/>
              <a:gd name="connsiteX483" fmla="*/ 2561629 w 12191996"/>
              <a:gd name="connsiteY483" fmla="*/ 6458160 h 6857997"/>
              <a:gd name="connsiteX484" fmla="*/ 2561629 w 12191996"/>
              <a:gd name="connsiteY484" fmla="*/ 6446928 h 6857997"/>
              <a:gd name="connsiteX485" fmla="*/ 2552350 w 12191996"/>
              <a:gd name="connsiteY485" fmla="*/ 6446928 h 6857997"/>
              <a:gd name="connsiteX486" fmla="*/ 2552350 w 12191996"/>
              <a:gd name="connsiteY486" fmla="*/ 6521016 h 6857997"/>
              <a:gd name="connsiteX487" fmla="*/ 2562605 w 12191996"/>
              <a:gd name="connsiteY487" fmla="*/ 6521016 h 6857997"/>
              <a:gd name="connsiteX488" fmla="*/ 2562605 w 12191996"/>
              <a:gd name="connsiteY488" fmla="*/ 6482228 h 6857997"/>
              <a:gd name="connsiteX489" fmla="*/ 2564558 w 12191996"/>
              <a:gd name="connsiteY489" fmla="*/ 6466950 h 6857997"/>
              <a:gd name="connsiteX490" fmla="*/ 2568395 w 12191996"/>
              <a:gd name="connsiteY490" fmla="*/ 6460532 h 6857997"/>
              <a:gd name="connsiteX491" fmla="*/ 2574395 w 12191996"/>
              <a:gd name="connsiteY491" fmla="*/ 6458229 h 6857997"/>
              <a:gd name="connsiteX492" fmla="*/ 2581860 w 12191996"/>
              <a:gd name="connsiteY492" fmla="*/ 6460950 h 6857997"/>
              <a:gd name="connsiteX493" fmla="*/ 2585348 w 12191996"/>
              <a:gd name="connsiteY493" fmla="*/ 6449300 h 6857997"/>
              <a:gd name="connsiteX494" fmla="*/ 2574815 w 12191996"/>
              <a:gd name="connsiteY494" fmla="*/ 6445253 h 6857997"/>
              <a:gd name="connsiteX495" fmla="*/ 2510583 w 12191996"/>
              <a:gd name="connsiteY495" fmla="*/ 6445253 h 6857997"/>
              <a:gd name="connsiteX496" fmla="*/ 2490178 w 12191996"/>
              <a:gd name="connsiteY496" fmla="*/ 6455334 h 6857997"/>
              <a:gd name="connsiteX497" fmla="*/ 2482119 w 12191996"/>
              <a:gd name="connsiteY497" fmla="*/ 6484600 h 6857997"/>
              <a:gd name="connsiteX498" fmla="*/ 2490104 w 12191996"/>
              <a:gd name="connsiteY498" fmla="*/ 6512889 h 6857997"/>
              <a:gd name="connsiteX499" fmla="*/ 2511000 w 12191996"/>
              <a:gd name="connsiteY499" fmla="*/ 6522691 h 6857997"/>
              <a:gd name="connsiteX500" fmla="*/ 2528195 w 12191996"/>
              <a:gd name="connsiteY500" fmla="*/ 6516656 h 6857997"/>
              <a:gd name="connsiteX501" fmla="*/ 2537790 w 12191996"/>
              <a:gd name="connsiteY501" fmla="*/ 6498762 h 6857997"/>
              <a:gd name="connsiteX502" fmla="*/ 2527186 w 12191996"/>
              <a:gd name="connsiteY502" fmla="*/ 6497157 h 6857997"/>
              <a:gd name="connsiteX503" fmla="*/ 2511068 w 12191996"/>
              <a:gd name="connsiteY503" fmla="*/ 6512366 h 6857997"/>
              <a:gd name="connsiteX504" fmla="*/ 2498511 w 12191996"/>
              <a:gd name="connsiteY504" fmla="*/ 6506017 h 6857997"/>
              <a:gd name="connsiteX505" fmla="*/ 2492723 w 12191996"/>
              <a:gd name="connsiteY505" fmla="*/ 6487181 h 6857997"/>
              <a:gd name="connsiteX506" fmla="*/ 2538068 w 12191996"/>
              <a:gd name="connsiteY506" fmla="*/ 6487181 h 6857997"/>
              <a:gd name="connsiteX507" fmla="*/ 2538139 w 12191996"/>
              <a:gd name="connsiteY507" fmla="*/ 6483832 h 6857997"/>
              <a:gd name="connsiteX508" fmla="*/ 2530255 w 12191996"/>
              <a:gd name="connsiteY508" fmla="*/ 6455160 h 6857997"/>
              <a:gd name="connsiteX509" fmla="*/ 2510583 w 12191996"/>
              <a:gd name="connsiteY509" fmla="*/ 6445253 h 6857997"/>
              <a:gd name="connsiteX510" fmla="*/ 1942743 w 12191996"/>
              <a:gd name="connsiteY510" fmla="*/ 6445253 h 6857997"/>
              <a:gd name="connsiteX511" fmla="*/ 1931635 w 12191996"/>
              <a:gd name="connsiteY511" fmla="*/ 6448271 h 6857997"/>
              <a:gd name="connsiteX512" fmla="*/ 1923452 w 12191996"/>
              <a:gd name="connsiteY512" fmla="*/ 6457393 h 6857997"/>
              <a:gd name="connsiteX513" fmla="*/ 1923452 w 12191996"/>
              <a:gd name="connsiteY513" fmla="*/ 6446928 h 6857997"/>
              <a:gd name="connsiteX514" fmla="*/ 1914173 w 12191996"/>
              <a:gd name="connsiteY514" fmla="*/ 6446928 h 6857997"/>
              <a:gd name="connsiteX515" fmla="*/ 1914173 w 12191996"/>
              <a:gd name="connsiteY515" fmla="*/ 6521016 h 6857997"/>
              <a:gd name="connsiteX516" fmla="*/ 1924429 w 12191996"/>
              <a:gd name="connsiteY516" fmla="*/ 6521016 h 6857997"/>
              <a:gd name="connsiteX517" fmla="*/ 1924429 w 12191996"/>
              <a:gd name="connsiteY517" fmla="*/ 6480510 h 6857997"/>
              <a:gd name="connsiteX518" fmla="*/ 1928824 w 12191996"/>
              <a:gd name="connsiteY518" fmla="*/ 6461584 h 6857997"/>
              <a:gd name="connsiteX519" fmla="*/ 1940614 w 12191996"/>
              <a:gd name="connsiteY519" fmla="*/ 6456067 h 6857997"/>
              <a:gd name="connsiteX520" fmla="*/ 1947485 w 12191996"/>
              <a:gd name="connsiteY520" fmla="*/ 6458127 h 6857997"/>
              <a:gd name="connsiteX521" fmla="*/ 1951846 w 12191996"/>
              <a:gd name="connsiteY521" fmla="*/ 6463958 h 6857997"/>
              <a:gd name="connsiteX522" fmla="*/ 1953242 w 12191996"/>
              <a:gd name="connsiteY522" fmla="*/ 6475901 h 6857997"/>
              <a:gd name="connsiteX523" fmla="*/ 1953242 w 12191996"/>
              <a:gd name="connsiteY523" fmla="*/ 6521016 h 6857997"/>
              <a:gd name="connsiteX524" fmla="*/ 1963497 w 12191996"/>
              <a:gd name="connsiteY524" fmla="*/ 6521016 h 6857997"/>
              <a:gd name="connsiteX525" fmla="*/ 1963497 w 12191996"/>
              <a:gd name="connsiteY525" fmla="*/ 6475461 h 6857997"/>
              <a:gd name="connsiteX526" fmla="*/ 1962243 w 12191996"/>
              <a:gd name="connsiteY526" fmla="*/ 6460253 h 6857997"/>
              <a:gd name="connsiteX527" fmla="*/ 1958447 w 12191996"/>
              <a:gd name="connsiteY527" fmla="*/ 6452195 h 6857997"/>
              <a:gd name="connsiteX528" fmla="*/ 1951761 w 12191996"/>
              <a:gd name="connsiteY528" fmla="*/ 6447172 h 6857997"/>
              <a:gd name="connsiteX529" fmla="*/ 1942743 w 12191996"/>
              <a:gd name="connsiteY529" fmla="*/ 6445253 h 6857997"/>
              <a:gd name="connsiteX530" fmla="*/ 1872055 w 12191996"/>
              <a:gd name="connsiteY530" fmla="*/ 6445253 h 6857997"/>
              <a:gd name="connsiteX531" fmla="*/ 1851649 w 12191996"/>
              <a:gd name="connsiteY531" fmla="*/ 6455020 h 6857997"/>
              <a:gd name="connsiteX532" fmla="*/ 1843593 w 12191996"/>
              <a:gd name="connsiteY532" fmla="*/ 6483972 h 6857997"/>
              <a:gd name="connsiteX533" fmla="*/ 1851719 w 12191996"/>
              <a:gd name="connsiteY533" fmla="*/ 6512889 h 6857997"/>
              <a:gd name="connsiteX534" fmla="*/ 1872055 w 12191996"/>
              <a:gd name="connsiteY534" fmla="*/ 6522691 h 6857997"/>
              <a:gd name="connsiteX535" fmla="*/ 1892496 w 12191996"/>
              <a:gd name="connsiteY535" fmla="*/ 6512924 h 6857997"/>
              <a:gd name="connsiteX536" fmla="*/ 1900519 w 12191996"/>
              <a:gd name="connsiteY536" fmla="*/ 6483205 h 6857997"/>
              <a:gd name="connsiteX537" fmla="*/ 1892356 w 12191996"/>
              <a:gd name="connsiteY537" fmla="*/ 6455020 h 6857997"/>
              <a:gd name="connsiteX538" fmla="*/ 1872055 w 12191996"/>
              <a:gd name="connsiteY538" fmla="*/ 6445253 h 6857997"/>
              <a:gd name="connsiteX539" fmla="*/ 1803287 w 12191996"/>
              <a:gd name="connsiteY539" fmla="*/ 6445253 h 6857997"/>
              <a:gd name="connsiteX540" fmla="*/ 1796625 w 12191996"/>
              <a:gd name="connsiteY540" fmla="*/ 6447800 h 6857997"/>
              <a:gd name="connsiteX541" fmla="*/ 1790103 w 12191996"/>
              <a:gd name="connsiteY541" fmla="*/ 6458160 h 6857997"/>
              <a:gd name="connsiteX542" fmla="*/ 1790103 w 12191996"/>
              <a:gd name="connsiteY542" fmla="*/ 6446928 h 6857997"/>
              <a:gd name="connsiteX543" fmla="*/ 1780823 w 12191996"/>
              <a:gd name="connsiteY543" fmla="*/ 6446928 h 6857997"/>
              <a:gd name="connsiteX544" fmla="*/ 1780823 w 12191996"/>
              <a:gd name="connsiteY544" fmla="*/ 6521016 h 6857997"/>
              <a:gd name="connsiteX545" fmla="*/ 1791079 w 12191996"/>
              <a:gd name="connsiteY545" fmla="*/ 6521016 h 6857997"/>
              <a:gd name="connsiteX546" fmla="*/ 1791079 w 12191996"/>
              <a:gd name="connsiteY546" fmla="*/ 6482228 h 6857997"/>
              <a:gd name="connsiteX547" fmla="*/ 1793032 w 12191996"/>
              <a:gd name="connsiteY547" fmla="*/ 6466950 h 6857997"/>
              <a:gd name="connsiteX548" fmla="*/ 1796869 w 12191996"/>
              <a:gd name="connsiteY548" fmla="*/ 6460532 h 6857997"/>
              <a:gd name="connsiteX549" fmla="*/ 1802869 w 12191996"/>
              <a:gd name="connsiteY549" fmla="*/ 6458229 h 6857997"/>
              <a:gd name="connsiteX550" fmla="*/ 1810333 w 12191996"/>
              <a:gd name="connsiteY550" fmla="*/ 6460950 h 6857997"/>
              <a:gd name="connsiteX551" fmla="*/ 1813822 w 12191996"/>
              <a:gd name="connsiteY551" fmla="*/ 6449300 h 6857997"/>
              <a:gd name="connsiteX552" fmla="*/ 1803287 w 12191996"/>
              <a:gd name="connsiteY552" fmla="*/ 6445253 h 6857997"/>
              <a:gd name="connsiteX553" fmla="*/ 1715748 w 12191996"/>
              <a:gd name="connsiteY553" fmla="*/ 6445253 h 6857997"/>
              <a:gd name="connsiteX554" fmla="*/ 1698935 w 12191996"/>
              <a:gd name="connsiteY554" fmla="*/ 6451183 h 6857997"/>
              <a:gd name="connsiteX555" fmla="*/ 1692866 w 12191996"/>
              <a:gd name="connsiteY555" fmla="*/ 6466601 h 6857997"/>
              <a:gd name="connsiteX556" fmla="*/ 1695099 w 12191996"/>
              <a:gd name="connsiteY556" fmla="*/ 6476438 h 6857997"/>
              <a:gd name="connsiteX557" fmla="*/ 1701377 w 12191996"/>
              <a:gd name="connsiteY557" fmla="*/ 6483344 h 6857997"/>
              <a:gd name="connsiteX558" fmla="*/ 1717423 w 12191996"/>
              <a:gd name="connsiteY558" fmla="*/ 6489623 h 6857997"/>
              <a:gd name="connsiteX559" fmla="*/ 1727887 w 12191996"/>
              <a:gd name="connsiteY559" fmla="*/ 6493809 h 6857997"/>
              <a:gd name="connsiteX560" fmla="*/ 1731026 w 12191996"/>
              <a:gd name="connsiteY560" fmla="*/ 6500645 h 6857997"/>
              <a:gd name="connsiteX561" fmla="*/ 1727373 w 12191996"/>
              <a:gd name="connsiteY561" fmla="*/ 6509052 h 6857997"/>
              <a:gd name="connsiteX562" fmla="*/ 1717037 w 12191996"/>
              <a:gd name="connsiteY562" fmla="*/ 6512366 h 6857997"/>
              <a:gd name="connsiteX563" fmla="*/ 1706319 w 12191996"/>
              <a:gd name="connsiteY563" fmla="*/ 6508546 h 6857997"/>
              <a:gd name="connsiteX564" fmla="*/ 1701377 w 12191996"/>
              <a:gd name="connsiteY564" fmla="*/ 6496878 h 6857997"/>
              <a:gd name="connsiteX565" fmla="*/ 1691122 w 12191996"/>
              <a:gd name="connsiteY565" fmla="*/ 6498832 h 6857997"/>
              <a:gd name="connsiteX566" fmla="*/ 1716446 w 12191996"/>
              <a:gd name="connsiteY566" fmla="*/ 6522691 h 6857997"/>
              <a:gd name="connsiteX567" fmla="*/ 1734829 w 12191996"/>
              <a:gd name="connsiteY567" fmla="*/ 6516121 h 6857997"/>
              <a:gd name="connsiteX568" fmla="*/ 1741562 w 12191996"/>
              <a:gd name="connsiteY568" fmla="*/ 6498930 h 6857997"/>
              <a:gd name="connsiteX569" fmla="*/ 1739475 w 12191996"/>
              <a:gd name="connsiteY569" fmla="*/ 6489041 h 6857997"/>
              <a:gd name="connsiteX570" fmla="*/ 1733637 w 12191996"/>
              <a:gd name="connsiteY570" fmla="*/ 6482472 h 6857997"/>
              <a:gd name="connsiteX571" fmla="*/ 1717100 w 12191996"/>
              <a:gd name="connsiteY571" fmla="*/ 6476005 h 6857997"/>
              <a:gd name="connsiteX572" fmla="*/ 1705917 w 12191996"/>
              <a:gd name="connsiteY572" fmla="*/ 6471559 h 6857997"/>
              <a:gd name="connsiteX573" fmla="*/ 1702772 w 12191996"/>
              <a:gd name="connsiteY573" fmla="*/ 6465097 h 6857997"/>
              <a:gd name="connsiteX574" fmla="*/ 1706052 w 12191996"/>
              <a:gd name="connsiteY574" fmla="*/ 6458253 h 6857997"/>
              <a:gd name="connsiteX575" fmla="*/ 1716027 w 12191996"/>
              <a:gd name="connsiteY575" fmla="*/ 6455578 h 6857997"/>
              <a:gd name="connsiteX576" fmla="*/ 1729213 w 12191996"/>
              <a:gd name="connsiteY576" fmla="*/ 6467717 h 6857997"/>
              <a:gd name="connsiteX577" fmla="*/ 1739260 w 12191996"/>
              <a:gd name="connsiteY577" fmla="*/ 6466043 h 6857997"/>
              <a:gd name="connsiteX578" fmla="*/ 1735491 w 12191996"/>
              <a:gd name="connsiteY578" fmla="*/ 6454253 h 6857997"/>
              <a:gd name="connsiteX579" fmla="*/ 1727643 w 12191996"/>
              <a:gd name="connsiteY579" fmla="*/ 6447695 h 6857997"/>
              <a:gd name="connsiteX580" fmla="*/ 1715748 w 12191996"/>
              <a:gd name="connsiteY580" fmla="*/ 6445253 h 6857997"/>
              <a:gd name="connsiteX581" fmla="*/ 1656992 w 12191996"/>
              <a:gd name="connsiteY581" fmla="*/ 6445253 h 6857997"/>
              <a:gd name="connsiteX582" fmla="*/ 1645885 w 12191996"/>
              <a:gd name="connsiteY582" fmla="*/ 6448271 h 6857997"/>
              <a:gd name="connsiteX583" fmla="*/ 1637702 w 12191996"/>
              <a:gd name="connsiteY583" fmla="*/ 6457393 h 6857997"/>
              <a:gd name="connsiteX584" fmla="*/ 1637702 w 12191996"/>
              <a:gd name="connsiteY584" fmla="*/ 6446928 h 6857997"/>
              <a:gd name="connsiteX585" fmla="*/ 1628424 w 12191996"/>
              <a:gd name="connsiteY585" fmla="*/ 6446928 h 6857997"/>
              <a:gd name="connsiteX586" fmla="*/ 1628424 w 12191996"/>
              <a:gd name="connsiteY586" fmla="*/ 6521016 h 6857997"/>
              <a:gd name="connsiteX587" fmla="*/ 1638679 w 12191996"/>
              <a:gd name="connsiteY587" fmla="*/ 6521016 h 6857997"/>
              <a:gd name="connsiteX588" fmla="*/ 1638679 w 12191996"/>
              <a:gd name="connsiteY588" fmla="*/ 6480510 h 6857997"/>
              <a:gd name="connsiteX589" fmla="*/ 1643074 w 12191996"/>
              <a:gd name="connsiteY589" fmla="*/ 6461584 h 6857997"/>
              <a:gd name="connsiteX590" fmla="*/ 1654864 w 12191996"/>
              <a:gd name="connsiteY590" fmla="*/ 6456067 h 6857997"/>
              <a:gd name="connsiteX591" fmla="*/ 1661735 w 12191996"/>
              <a:gd name="connsiteY591" fmla="*/ 6458127 h 6857997"/>
              <a:gd name="connsiteX592" fmla="*/ 1666095 w 12191996"/>
              <a:gd name="connsiteY592" fmla="*/ 6463958 h 6857997"/>
              <a:gd name="connsiteX593" fmla="*/ 1667491 w 12191996"/>
              <a:gd name="connsiteY593" fmla="*/ 6475901 h 6857997"/>
              <a:gd name="connsiteX594" fmla="*/ 1667491 w 12191996"/>
              <a:gd name="connsiteY594" fmla="*/ 6521016 h 6857997"/>
              <a:gd name="connsiteX595" fmla="*/ 1677746 w 12191996"/>
              <a:gd name="connsiteY595" fmla="*/ 6521016 h 6857997"/>
              <a:gd name="connsiteX596" fmla="*/ 1677746 w 12191996"/>
              <a:gd name="connsiteY596" fmla="*/ 6475461 h 6857997"/>
              <a:gd name="connsiteX597" fmla="*/ 1676493 w 12191996"/>
              <a:gd name="connsiteY597" fmla="*/ 6460253 h 6857997"/>
              <a:gd name="connsiteX598" fmla="*/ 1672697 w 12191996"/>
              <a:gd name="connsiteY598" fmla="*/ 6452195 h 6857997"/>
              <a:gd name="connsiteX599" fmla="*/ 1666011 w 12191996"/>
              <a:gd name="connsiteY599" fmla="*/ 6447172 h 6857997"/>
              <a:gd name="connsiteX600" fmla="*/ 1656992 w 12191996"/>
              <a:gd name="connsiteY600" fmla="*/ 6445253 h 6857997"/>
              <a:gd name="connsiteX601" fmla="*/ 1586654 w 12191996"/>
              <a:gd name="connsiteY601" fmla="*/ 6445253 h 6857997"/>
              <a:gd name="connsiteX602" fmla="*/ 1566248 w 12191996"/>
              <a:gd name="connsiteY602" fmla="*/ 6455334 h 6857997"/>
              <a:gd name="connsiteX603" fmla="*/ 1558191 w 12191996"/>
              <a:gd name="connsiteY603" fmla="*/ 6484600 h 6857997"/>
              <a:gd name="connsiteX604" fmla="*/ 1566178 w 12191996"/>
              <a:gd name="connsiteY604" fmla="*/ 6512889 h 6857997"/>
              <a:gd name="connsiteX605" fmla="*/ 1587073 w 12191996"/>
              <a:gd name="connsiteY605" fmla="*/ 6522691 h 6857997"/>
              <a:gd name="connsiteX606" fmla="*/ 1604269 w 12191996"/>
              <a:gd name="connsiteY606" fmla="*/ 6516656 h 6857997"/>
              <a:gd name="connsiteX607" fmla="*/ 1613862 w 12191996"/>
              <a:gd name="connsiteY607" fmla="*/ 6498762 h 6857997"/>
              <a:gd name="connsiteX608" fmla="*/ 1603258 w 12191996"/>
              <a:gd name="connsiteY608" fmla="*/ 6497157 h 6857997"/>
              <a:gd name="connsiteX609" fmla="*/ 1587142 w 12191996"/>
              <a:gd name="connsiteY609" fmla="*/ 6512366 h 6857997"/>
              <a:gd name="connsiteX610" fmla="*/ 1574585 w 12191996"/>
              <a:gd name="connsiteY610" fmla="*/ 6506017 h 6857997"/>
              <a:gd name="connsiteX611" fmla="*/ 1568795 w 12191996"/>
              <a:gd name="connsiteY611" fmla="*/ 6487181 h 6857997"/>
              <a:gd name="connsiteX612" fmla="*/ 1614140 w 12191996"/>
              <a:gd name="connsiteY612" fmla="*/ 6487181 h 6857997"/>
              <a:gd name="connsiteX613" fmla="*/ 1614210 w 12191996"/>
              <a:gd name="connsiteY613" fmla="*/ 6483832 h 6857997"/>
              <a:gd name="connsiteX614" fmla="*/ 1606327 w 12191996"/>
              <a:gd name="connsiteY614" fmla="*/ 6455160 h 6857997"/>
              <a:gd name="connsiteX615" fmla="*/ 1586654 w 12191996"/>
              <a:gd name="connsiteY615" fmla="*/ 6445253 h 6857997"/>
              <a:gd name="connsiteX616" fmla="*/ 1317373 w 12191996"/>
              <a:gd name="connsiteY616" fmla="*/ 6445253 h 6857997"/>
              <a:gd name="connsiteX617" fmla="*/ 1304152 w 12191996"/>
              <a:gd name="connsiteY617" fmla="*/ 6449439 h 6857997"/>
              <a:gd name="connsiteX618" fmla="*/ 1294630 w 12191996"/>
              <a:gd name="connsiteY618" fmla="*/ 6462555 h 6857997"/>
              <a:gd name="connsiteX619" fmla="*/ 1291002 w 12191996"/>
              <a:gd name="connsiteY619" fmla="*/ 6483414 h 6857997"/>
              <a:gd name="connsiteX620" fmla="*/ 1299234 w 12191996"/>
              <a:gd name="connsiteY620" fmla="*/ 6511808 h 6857997"/>
              <a:gd name="connsiteX621" fmla="*/ 1317303 w 12191996"/>
              <a:gd name="connsiteY621" fmla="*/ 6521016 h 6857997"/>
              <a:gd name="connsiteX622" fmla="*/ 1326581 w 12191996"/>
              <a:gd name="connsiteY622" fmla="*/ 6518591 h 6857997"/>
              <a:gd name="connsiteX623" fmla="*/ 1334116 w 12191996"/>
              <a:gd name="connsiteY623" fmla="*/ 6511385 h 6857997"/>
              <a:gd name="connsiteX624" fmla="*/ 1333209 w 12191996"/>
              <a:gd name="connsiteY624" fmla="*/ 6527851 h 6857997"/>
              <a:gd name="connsiteX625" fmla="*/ 1327732 w 12191996"/>
              <a:gd name="connsiteY625" fmla="*/ 6537515 h 6857997"/>
              <a:gd name="connsiteX626" fmla="*/ 1316954 w 12191996"/>
              <a:gd name="connsiteY626" fmla="*/ 6540759 h 6857997"/>
              <a:gd name="connsiteX627" fmla="*/ 1307257 w 12191996"/>
              <a:gd name="connsiteY627" fmla="*/ 6537847 h 6857997"/>
              <a:gd name="connsiteX628" fmla="*/ 1303071 w 12191996"/>
              <a:gd name="connsiteY628" fmla="*/ 6528969 h 6857997"/>
              <a:gd name="connsiteX629" fmla="*/ 1293025 w 12191996"/>
              <a:gd name="connsiteY629" fmla="*/ 6527155 h 6857997"/>
              <a:gd name="connsiteX630" fmla="*/ 1299164 w 12191996"/>
              <a:gd name="connsiteY630" fmla="*/ 6544736 h 6857997"/>
              <a:gd name="connsiteX631" fmla="*/ 1317303 w 12191996"/>
              <a:gd name="connsiteY631" fmla="*/ 6551084 h 6857997"/>
              <a:gd name="connsiteX632" fmla="*/ 1332581 w 12191996"/>
              <a:gd name="connsiteY632" fmla="*/ 6546864 h 6857997"/>
              <a:gd name="connsiteX633" fmla="*/ 1341720 w 12191996"/>
              <a:gd name="connsiteY633" fmla="*/ 6535353 h 6857997"/>
              <a:gd name="connsiteX634" fmla="*/ 1344510 w 12191996"/>
              <a:gd name="connsiteY634" fmla="*/ 6510970 h 6857997"/>
              <a:gd name="connsiteX635" fmla="*/ 1344510 w 12191996"/>
              <a:gd name="connsiteY635" fmla="*/ 6446928 h 6857997"/>
              <a:gd name="connsiteX636" fmla="*/ 1335023 w 12191996"/>
              <a:gd name="connsiteY636" fmla="*/ 6446928 h 6857997"/>
              <a:gd name="connsiteX637" fmla="*/ 1335023 w 12191996"/>
              <a:gd name="connsiteY637" fmla="*/ 6455788 h 6857997"/>
              <a:gd name="connsiteX638" fmla="*/ 1327174 w 12191996"/>
              <a:gd name="connsiteY638" fmla="*/ 6447887 h 6857997"/>
              <a:gd name="connsiteX639" fmla="*/ 1317373 w 12191996"/>
              <a:gd name="connsiteY639" fmla="*/ 6445253 h 6857997"/>
              <a:gd name="connsiteX640" fmla="*/ 1250837 w 12191996"/>
              <a:gd name="connsiteY640" fmla="*/ 6445253 h 6857997"/>
              <a:gd name="connsiteX641" fmla="*/ 1244175 w 12191996"/>
              <a:gd name="connsiteY641" fmla="*/ 6447800 h 6857997"/>
              <a:gd name="connsiteX642" fmla="*/ 1237652 w 12191996"/>
              <a:gd name="connsiteY642" fmla="*/ 6458160 h 6857997"/>
              <a:gd name="connsiteX643" fmla="*/ 1237652 w 12191996"/>
              <a:gd name="connsiteY643" fmla="*/ 6446928 h 6857997"/>
              <a:gd name="connsiteX644" fmla="*/ 1230699 w 12191996"/>
              <a:gd name="connsiteY644" fmla="*/ 6446928 h 6857997"/>
              <a:gd name="connsiteX645" fmla="*/ 1228373 w 12191996"/>
              <a:gd name="connsiteY645" fmla="*/ 6446928 h 6857997"/>
              <a:gd name="connsiteX646" fmla="*/ 1220375 w 12191996"/>
              <a:gd name="connsiteY646" fmla="*/ 6446928 h 6857997"/>
              <a:gd name="connsiteX647" fmla="*/ 1207398 w 12191996"/>
              <a:gd name="connsiteY647" fmla="*/ 6490087 h 6857997"/>
              <a:gd name="connsiteX648" fmla="*/ 1203212 w 12191996"/>
              <a:gd name="connsiteY648" fmla="*/ 6506961 h 6857997"/>
              <a:gd name="connsiteX649" fmla="*/ 1198817 w 12191996"/>
              <a:gd name="connsiteY649" fmla="*/ 6489809 h 6857997"/>
              <a:gd name="connsiteX650" fmla="*/ 1186120 w 12191996"/>
              <a:gd name="connsiteY650" fmla="*/ 6446928 h 6857997"/>
              <a:gd name="connsiteX651" fmla="*/ 1175028 w 12191996"/>
              <a:gd name="connsiteY651" fmla="*/ 6446928 h 6857997"/>
              <a:gd name="connsiteX652" fmla="*/ 1198138 w 12191996"/>
              <a:gd name="connsiteY652" fmla="*/ 6521126 h 6857997"/>
              <a:gd name="connsiteX653" fmla="*/ 1194086 w 12191996"/>
              <a:gd name="connsiteY653" fmla="*/ 6533432 h 6857997"/>
              <a:gd name="connsiteX654" fmla="*/ 1190560 w 12191996"/>
              <a:gd name="connsiteY654" fmla="*/ 6537550 h 6857997"/>
              <a:gd name="connsiteX655" fmla="*/ 1185149 w 12191996"/>
              <a:gd name="connsiteY655" fmla="*/ 6538876 h 6857997"/>
              <a:gd name="connsiteX656" fmla="*/ 1179283 w 12191996"/>
              <a:gd name="connsiteY656" fmla="*/ 6537759 h 6857997"/>
              <a:gd name="connsiteX657" fmla="*/ 1180400 w 12191996"/>
              <a:gd name="connsiteY657" fmla="*/ 6549549 h 6857997"/>
              <a:gd name="connsiteX658" fmla="*/ 1187038 w 12191996"/>
              <a:gd name="connsiteY658" fmla="*/ 6551084 h 6857997"/>
              <a:gd name="connsiteX659" fmla="*/ 1194549 w 12191996"/>
              <a:gd name="connsiteY659" fmla="*/ 6548922 h 6857997"/>
              <a:gd name="connsiteX660" fmla="*/ 1200489 w 12191996"/>
              <a:gd name="connsiteY660" fmla="*/ 6541841 h 6857997"/>
              <a:gd name="connsiteX661" fmla="*/ 1207651 w 12191996"/>
              <a:gd name="connsiteY661" fmla="*/ 6522272 h 6857997"/>
              <a:gd name="connsiteX662" fmla="*/ 1228373 w 12191996"/>
              <a:gd name="connsiteY662" fmla="*/ 6454530 h 6857997"/>
              <a:gd name="connsiteX663" fmla="*/ 1228373 w 12191996"/>
              <a:gd name="connsiteY663" fmla="*/ 6521016 h 6857997"/>
              <a:gd name="connsiteX664" fmla="*/ 1238629 w 12191996"/>
              <a:gd name="connsiteY664" fmla="*/ 6521016 h 6857997"/>
              <a:gd name="connsiteX665" fmla="*/ 1238629 w 12191996"/>
              <a:gd name="connsiteY665" fmla="*/ 6482228 h 6857997"/>
              <a:gd name="connsiteX666" fmla="*/ 1240582 w 12191996"/>
              <a:gd name="connsiteY666" fmla="*/ 6466950 h 6857997"/>
              <a:gd name="connsiteX667" fmla="*/ 1244419 w 12191996"/>
              <a:gd name="connsiteY667" fmla="*/ 6460532 h 6857997"/>
              <a:gd name="connsiteX668" fmla="*/ 1250419 w 12191996"/>
              <a:gd name="connsiteY668" fmla="*/ 6458229 h 6857997"/>
              <a:gd name="connsiteX669" fmla="*/ 1257883 w 12191996"/>
              <a:gd name="connsiteY669" fmla="*/ 6460950 h 6857997"/>
              <a:gd name="connsiteX670" fmla="*/ 1261371 w 12191996"/>
              <a:gd name="connsiteY670" fmla="*/ 6449300 h 6857997"/>
              <a:gd name="connsiteX671" fmla="*/ 1250837 w 12191996"/>
              <a:gd name="connsiteY671" fmla="*/ 6445253 h 6857997"/>
              <a:gd name="connsiteX672" fmla="*/ 1141043 w 12191996"/>
              <a:gd name="connsiteY672" fmla="*/ 6445253 h 6857997"/>
              <a:gd name="connsiteX673" fmla="*/ 1131292 w 12191996"/>
              <a:gd name="connsiteY673" fmla="*/ 6447904 h 6857997"/>
              <a:gd name="connsiteX674" fmla="*/ 1123561 w 12191996"/>
              <a:gd name="connsiteY674" fmla="*/ 6456555 h 6857997"/>
              <a:gd name="connsiteX675" fmla="*/ 1123561 w 12191996"/>
              <a:gd name="connsiteY675" fmla="*/ 6446928 h 6857997"/>
              <a:gd name="connsiteX676" fmla="*/ 1114073 w 12191996"/>
              <a:gd name="connsiteY676" fmla="*/ 6446928 h 6857997"/>
              <a:gd name="connsiteX677" fmla="*/ 1114073 w 12191996"/>
              <a:gd name="connsiteY677" fmla="*/ 6549410 h 6857997"/>
              <a:gd name="connsiteX678" fmla="*/ 1124329 w 12191996"/>
              <a:gd name="connsiteY678" fmla="*/ 6549410 h 6857997"/>
              <a:gd name="connsiteX679" fmla="*/ 1124329 w 12191996"/>
              <a:gd name="connsiteY679" fmla="*/ 6513342 h 6857997"/>
              <a:gd name="connsiteX680" fmla="*/ 1131444 w 12191996"/>
              <a:gd name="connsiteY680" fmla="*/ 6520249 h 6857997"/>
              <a:gd name="connsiteX681" fmla="*/ 1140304 w 12191996"/>
              <a:gd name="connsiteY681" fmla="*/ 6522691 h 6857997"/>
              <a:gd name="connsiteX682" fmla="*/ 1158896 w 12191996"/>
              <a:gd name="connsiteY682" fmla="*/ 6512470 h 6857997"/>
              <a:gd name="connsiteX683" fmla="*/ 1166814 w 12191996"/>
              <a:gd name="connsiteY683" fmla="*/ 6483344 h 6857997"/>
              <a:gd name="connsiteX684" fmla="*/ 1163297 w 12191996"/>
              <a:gd name="connsiteY684" fmla="*/ 6462450 h 6857997"/>
              <a:gd name="connsiteX685" fmla="*/ 1153999 w 12191996"/>
              <a:gd name="connsiteY685" fmla="*/ 6449509 h 6857997"/>
              <a:gd name="connsiteX686" fmla="*/ 1141043 w 12191996"/>
              <a:gd name="connsiteY686" fmla="*/ 6445253 h 6857997"/>
              <a:gd name="connsiteX687" fmla="*/ 1071955 w 12191996"/>
              <a:gd name="connsiteY687" fmla="*/ 6445253 h 6857997"/>
              <a:gd name="connsiteX688" fmla="*/ 1051549 w 12191996"/>
              <a:gd name="connsiteY688" fmla="*/ 6455020 h 6857997"/>
              <a:gd name="connsiteX689" fmla="*/ 1043492 w 12191996"/>
              <a:gd name="connsiteY689" fmla="*/ 6483972 h 6857997"/>
              <a:gd name="connsiteX690" fmla="*/ 1051619 w 12191996"/>
              <a:gd name="connsiteY690" fmla="*/ 6512889 h 6857997"/>
              <a:gd name="connsiteX691" fmla="*/ 1071955 w 12191996"/>
              <a:gd name="connsiteY691" fmla="*/ 6522691 h 6857997"/>
              <a:gd name="connsiteX692" fmla="*/ 1092396 w 12191996"/>
              <a:gd name="connsiteY692" fmla="*/ 6512924 h 6857997"/>
              <a:gd name="connsiteX693" fmla="*/ 1100419 w 12191996"/>
              <a:gd name="connsiteY693" fmla="*/ 6483205 h 6857997"/>
              <a:gd name="connsiteX694" fmla="*/ 1092256 w 12191996"/>
              <a:gd name="connsiteY694" fmla="*/ 6455020 h 6857997"/>
              <a:gd name="connsiteX695" fmla="*/ 1071955 w 12191996"/>
              <a:gd name="connsiteY695" fmla="*/ 6445253 h 6857997"/>
              <a:gd name="connsiteX696" fmla="*/ 883898 w 12191996"/>
              <a:gd name="connsiteY696" fmla="*/ 6440021 h 6857997"/>
              <a:gd name="connsiteX697" fmla="*/ 867092 w 12191996"/>
              <a:gd name="connsiteY697" fmla="*/ 6447643 h 6857997"/>
              <a:gd name="connsiteX698" fmla="*/ 860698 w 12191996"/>
              <a:gd name="connsiteY698" fmla="*/ 6469810 h 6857997"/>
              <a:gd name="connsiteX699" fmla="*/ 867162 w 12191996"/>
              <a:gd name="connsiteY699" fmla="*/ 6492116 h 6857997"/>
              <a:gd name="connsiteX700" fmla="*/ 883407 w 12191996"/>
              <a:gd name="connsiteY700" fmla="*/ 6499878 h 6857997"/>
              <a:gd name="connsiteX701" fmla="*/ 896719 w 12191996"/>
              <a:gd name="connsiteY701" fmla="*/ 6494820 h 6857997"/>
              <a:gd name="connsiteX702" fmla="*/ 904161 w 12191996"/>
              <a:gd name="connsiteY702" fmla="*/ 6480763 h 6857997"/>
              <a:gd name="connsiteX703" fmla="*/ 897184 w 12191996"/>
              <a:gd name="connsiteY703" fmla="*/ 6478251 h 6857997"/>
              <a:gd name="connsiteX704" fmla="*/ 891869 w 12191996"/>
              <a:gd name="connsiteY704" fmla="*/ 6488193 h 6857997"/>
              <a:gd name="connsiteX705" fmla="*/ 882848 w 12191996"/>
              <a:gd name="connsiteY705" fmla="*/ 6491716 h 6857997"/>
              <a:gd name="connsiteX706" fmla="*/ 872568 w 12191996"/>
              <a:gd name="connsiteY706" fmla="*/ 6486327 h 6857997"/>
              <a:gd name="connsiteX707" fmla="*/ 868442 w 12191996"/>
              <a:gd name="connsiteY707" fmla="*/ 6470301 h 6857997"/>
              <a:gd name="connsiteX708" fmla="*/ 872778 w 12191996"/>
              <a:gd name="connsiteY708" fmla="*/ 6453503 h 6857997"/>
              <a:gd name="connsiteX709" fmla="*/ 883619 w 12191996"/>
              <a:gd name="connsiteY709" fmla="*/ 6447835 h 6857997"/>
              <a:gd name="connsiteX710" fmla="*/ 891347 w 12191996"/>
              <a:gd name="connsiteY710" fmla="*/ 6450521 h 6857997"/>
              <a:gd name="connsiteX711" fmla="*/ 896487 w 12191996"/>
              <a:gd name="connsiteY711" fmla="*/ 6458508 h 6857997"/>
              <a:gd name="connsiteX712" fmla="*/ 903324 w 12191996"/>
              <a:gd name="connsiteY712" fmla="*/ 6456485 h 6857997"/>
              <a:gd name="connsiteX713" fmla="*/ 896266 w 12191996"/>
              <a:gd name="connsiteY713" fmla="*/ 6444347 h 6857997"/>
              <a:gd name="connsiteX714" fmla="*/ 883898 w 12191996"/>
              <a:gd name="connsiteY714" fmla="*/ 6440021 h 6857997"/>
              <a:gd name="connsiteX715" fmla="*/ 2030141 w 12191996"/>
              <a:gd name="connsiteY715" fmla="*/ 6429487 h 6857997"/>
              <a:gd name="connsiteX716" fmla="*/ 2036069 w 12191996"/>
              <a:gd name="connsiteY716" fmla="*/ 6450695 h 6857997"/>
              <a:gd name="connsiteX717" fmla="*/ 2044784 w 12191996"/>
              <a:gd name="connsiteY717" fmla="*/ 6479019 h 6857997"/>
              <a:gd name="connsiteX718" fmla="*/ 2016217 w 12191996"/>
              <a:gd name="connsiteY718" fmla="*/ 6479019 h 6857997"/>
              <a:gd name="connsiteX719" fmla="*/ 2025546 w 12191996"/>
              <a:gd name="connsiteY719" fmla="*/ 6449021 h 6857997"/>
              <a:gd name="connsiteX720" fmla="*/ 2030141 w 12191996"/>
              <a:gd name="connsiteY720" fmla="*/ 6429487 h 6857997"/>
              <a:gd name="connsiteX721" fmla="*/ 883232 w 12191996"/>
              <a:gd name="connsiteY721" fmla="*/ 6425650 h 6857997"/>
              <a:gd name="connsiteX722" fmla="*/ 907928 w 12191996"/>
              <a:gd name="connsiteY722" fmla="*/ 6437739 h 6857997"/>
              <a:gd name="connsiteX723" fmla="*/ 919230 w 12191996"/>
              <a:gd name="connsiteY723" fmla="*/ 6469671 h 6857997"/>
              <a:gd name="connsiteX724" fmla="*/ 909323 w 12191996"/>
              <a:gd name="connsiteY724" fmla="*/ 6499926 h 6857997"/>
              <a:gd name="connsiteX725" fmla="*/ 883232 w 12191996"/>
              <a:gd name="connsiteY725" fmla="*/ 6513621 h 6857997"/>
              <a:gd name="connsiteX726" fmla="*/ 858536 w 12191996"/>
              <a:gd name="connsiteY726" fmla="*/ 6501604 h 6857997"/>
              <a:gd name="connsiteX727" fmla="*/ 847234 w 12191996"/>
              <a:gd name="connsiteY727" fmla="*/ 6469671 h 6857997"/>
              <a:gd name="connsiteX728" fmla="*/ 857140 w 12191996"/>
              <a:gd name="connsiteY728" fmla="*/ 6439345 h 6857997"/>
              <a:gd name="connsiteX729" fmla="*/ 883232 w 12191996"/>
              <a:gd name="connsiteY729" fmla="*/ 6425650 h 6857997"/>
              <a:gd name="connsiteX730" fmla="*/ 6208297 w 12191996"/>
              <a:gd name="connsiteY730" fmla="*/ 6421046 h 6857997"/>
              <a:gd name="connsiteX731" fmla="*/ 6198042 w 12191996"/>
              <a:gd name="connsiteY731" fmla="*/ 6428580 h 6857997"/>
              <a:gd name="connsiteX732" fmla="*/ 6198042 w 12191996"/>
              <a:gd name="connsiteY732" fmla="*/ 6446928 h 6857997"/>
              <a:gd name="connsiteX733" fmla="*/ 6190507 w 12191996"/>
              <a:gd name="connsiteY733" fmla="*/ 6446928 h 6857997"/>
              <a:gd name="connsiteX734" fmla="*/ 6190507 w 12191996"/>
              <a:gd name="connsiteY734" fmla="*/ 6456695 h 6857997"/>
              <a:gd name="connsiteX735" fmla="*/ 6198042 w 12191996"/>
              <a:gd name="connsiteY735" fmla="*/ 6456695 h 6857997"/>
              <a:gd name="connsiteX736" fmla="*/ 6198042 w 12191996"/>
              <a:gd name="connsiteY736" fmla="*/ 6499320 h 6857997"/>
              <a:gd name="connsiteX737" fmla="*/ 6199263 w 12191996"/>
              <a:gd name="connsiteY737" fmla="*/ 6514040 h 6857997"/>
              <a:gd name="connsiteX738" fmla="*/ 6203762 w 12191996"/>
              <a:gd name="connsiteY738" fmla="*/ 6519865 h 6857997"/>
              <a:gd name="connsiteX739" fmla="*/ 6212413 w 12191996"/>
              <a:gd name="connsiteY739" fmla="*/ 6521993 h 6857997"/>
              <a:gd name="connsiteX740" fmla="*/ 6220087 w 12191996"/>
              <a:gd name="connsiteY740" fmla="*/ 6520877 h 6857997"/>
              <a:gd name="connsiteX741" fmla="*/ 6218692 w 12191996"/>
              <a:gd name="connsiteY741" fmla="*/ 6509784 h 6857997"/>
              <a:gd name="connsiteX742" fmla="*/ 6214157 w 12191996"/>
              <a:gd name="connsiteY742" fmla="*/ 6510273 h 6857997"/>
              <a:gd name="connsiteX743" fmla="*/ 6209204 w 12191996"/>
              <a:gd name="connsiteY743" fmla="*/ 6507761 h 6857997"/>
              <a:gd name="connsiteX744" fmla="*/ 6208297 w 12191996"/>
              <a:gd name="connsiteY744" fmla="*/ 6500018 h 6857997"/>
              <a:gd name="connsiteX745" fmla="*/ 6208297 w 12191996"/>
              <a:gd name="connsiteY745" fmla="*/ 6456695 h 6857997"/>
              <a:gd name="connsiteX746" fmla="*/ 6218692 w 12191996"/>
              <a:gd name="connsiteY746" fmla="*/ 6456695 h 6857997"/>
              <a:gd name="connsiteX747" fmla="*/ 6218692 w 12191996"/>
              <a:gd name="connsiteY747" fmla="*/ 6446928 h 6857997"/>
              <a:gd name="connsiteX748" fmla="*/ 6208297 w 12191996"/>
              <a:gd name="connsiteY748" fmla="*/ 6446928 h 6857997"/>
              <a:gd name="connsiteX749" fmla="*/ 2421963 w 12191996"/>
              <a:gd name="connsiteY749" fmla="*/ 6421046 h 6857997"/>
              <a:gd name="connsiteX750" fmla="*/ 2411708 w 12191996"/>
              <a:gd name="connsiteY750" fmla="*/ 6428580 h 6857997"/>
              <a:gd name="connsiteX751" fmla="*/ 2411708 w 12191996"/>
              <a:gd name="connsiteY751" fmla="*/ 6446928 h 6857997"/>
              <a:gd name="connsiteX752" fmla="*/ 2404176 w 12191996"/>
              <a:gd name="connsiteY752" fmla="*/ 6446928 h 6857997"/>
              <a:gd name="connsiteX753" fmla="*/ 2404176 w 12191996"/>
              <a:gd name="connsiteY753" fmla="*/ 6456695 h 6857997"/>
              <a:gd name="connsiteX754" fmla="*/ 2411708 w 12191996"/>
              <a:gd name="connsiteY754" fmla="*/ 6456695 h 6857997"/>
              <a:gd name="connsiteX755" fmla="*/ 2411708 w 12191996"/>
              <a:gd name="connsiteY755" fmla="*/ 6499320 h 6857997"/>
              <a:gd name="connsiteX756" fmla="*/ 2412932 w 12191996"/>
              <a:gd name="connsiteY756" fmla="*/ 6514040 h 6857997"/>
              <a:gd name="connsiteX757" fmla="*/ 2417431 w 12191996"/>
              <a:gd name="connsiteY757" fmla="*/ 6519865 h 6857997"/>
              <a:gd name="connsiteX758" fmla="*/ 2426082 w 12191996"/>
              <a:gd name="connsiteY758" fmla="*/ 6521993 h 6857997"/>
              <a:gd name="connsiteX759" fmla="*/ 2432793 w 12191996"/>
              <a:gd name="connsiteY759" fmla="*/ 6521016 h 6857997"/>
              <a:gd name="connsiteX760" fmla="*/ 2486537 w 12191996"/>
              <a:gd name="connsiteY760" fmla="*/ 6521016 h 6857997"/>
              <a:gd name="connsiteX761" fmla="*/ 2486537 w 12191996"/>
              <a:gd name="connsiteY761" fmla="*/ 6510203 h 6857997"/>
              <a:gd name="connsiteX762" fmla="*/ 2458413 w 12191996"/>
              <a:gd name="connsiteY762" fmla="*/ 6510203 h 6857997"/>
              <a:gd name="connsiteX763" fmla="*/ 2445434 w 12191996"/>
              <a:gd name="connsiteY763" fmla="*/ 6510831 h 6857997"/>
              <a:gd name="connsiteX764" fmla="*/ 2451797 w 12191996"/>
              <a:gd name="connsiteY764" fmla="*/ 6502250 h 6857997"/>
              <a:gd name="connsiteX765" fmla="*/ 2484792 w 12191996"/>
              <a:gd name="connsiteY765" fmla="*/ 6455230 h 6857997"/>
              <a:gd name="connsiteX766" fmla="*/ 2484792 w 12191996"/>
              <a:gd name="connsiteY766" fmla="*/ 6446928 h 6857997"/>
              <a:gd name="connsiteX767" fmla="*/ 2435051 w 12191996"/>
              <a:gd name="connsiteY767" fmla="*/ 6446928 h 6857997"/>
              <a:gd name="connsiteX768" fmla="*/ 2435051 w 12191996"/>
              <a:gd name="connsiteY768" fmla="*/ 6457113 h 6857997"/>
              <a:gd name="connsiteX769" fmla="*/ 2459836 w 12191996"/>
              <a:gd name="connsiteY769" fmla="*/ 6457113 h 6857997"/>
              <a:gd name="connsiteX770" fmla="*/ 2471498 w 12191996"/>
              <a:gd name="connsiteY770" fmla="*/ 6456695 h 6857997"/>
              <a:gd name="connsiteX771" fmla="*/ 2432747 w 12191996"/>
              <a:gd name="connsiteY771" fmla="*/ 6510831 h 6857997"/>
              <a:gd name="connsiteX772" fmla="*/ 2432747 w 12191996"/>
              <a:gd name="connsiteY772" fmla="*/ 6512890 h 6857997"/>
              <a:gd name="connsiteX773" fmla="*/ 2432359 w 12191996"/>
              <a:gd name="connsiteY773" fmla="*/ 6509784 h 6857997"/>
              <a:gd name="connsiteX774" fmla="*/ 2427824 w 12191996"/>
              <a:gd name="connsiteY774" fmla="*/ 6510273 h 6857997"/>
              <a:gd name="connsiteX775" fmla="*/ 2422869 w 12191996"/>
              <a:gd name="connsiteY775" fmla="*/ 6507761 h 6857997"/>
              <a:gd name="connsiteX776" fmla="*/ 2421963 w 12191996"/>
              <a:gd name="connsiteY776" fmla="*/ 6500018 h 6857997"/>
              <a:gd name="connsiteX777" fmla="*/ 2421963 w 12191996"/>
              <a:gd name="connsiteY777" fmla="*/ 6456695 h 6857997"/>
              <a:gd name="connsiteX778" fmla="*/ 2432359 w 12191996"/>
              <a:gd name="connsiteY778" fmla="*/ 6456695 h 6857997"/>
              <a:gd name="connsiteX779" fmla="*/ 2432359 w 12191996"/>
              <a:gd name="connsiteY779" fmla="*/ 6446928 h 6857997"/>
              <a:gd name="connsiteX780" fmla="*/ 2421963 w 12191996"/>
              <a:gd name="connsiteY780" fmla="*/ 6446928 h 6857997"/>
              <a:gd name="connsiteX781" fmla="*/ 1440886 w 12191996"/>
              <a:gd name="connsiteY781" fmla="*/ 6421046 h 6857997"/>
              <a:gd name="connsiteX782" fmla="*/ 1430631 w 12191996"/>
              <a:gd name="connsiteY782" fmla="*/ 6428580 h 6857997"/>
              <a:gd name="connsiteX783" fmla="*/ 1430631 w 12191996"/>
              <a:gd name="connsiteY783" fmla="*/ 6446928 h 6857997"/>
              <a:gd name="connsiteX784" fmla="*/ 1423097 w 12191996"/>
              <a:gd name="connsiteY784" fmla="*/ 6446928 h 6857997"/>
              <a:gd name="connsiteX785" fmla="*/ 1423097 w 12191996"/>
              <a:gd name="connsiteY785" fmla="*/ 6456695 h 6857997"/>
              <a:gd name="connsiteX786" fmla="*/ 1430631 w 12191996"/>
              <a:gd name="connsiteY786" fmla="*/ 6456695 h 6857997"/>
              <a:gd name="connsiteX787" fmla="*/ 1430631 w 12191996"/>
              <a:gd name="connsiteY787" fmla="*/ 6499320 h 6857997"/>
              <a:gd name="connsiteX788" fmla="*/ 1431852 w 12191996"/>
              <a:gd name="connsiteY788" fmla="*/ 6514040 h 6857997"/>
              <a:gd name="connsiteX789" fmla="*/ 1436352 w 12191996"/>
              <a:gd name="connsiteY789" fmla="*/ 6519865 h 6857997"/>
              <a:gd name="connsiteX790" fmla="*/ 1445002 w 12191996"/>
              <a:gd name="connsiteY790" fmla="*/ 6521993 h 6857997"/>
              <a:gd name="connsiteX791" fmla="*/ 1452676 w 12191996"/>
              <a:gd name="connsiteY791" fmla="*/ 6520877 h 6857997"/>
              <a:gd name="connsiteX792" fmla="*/ 1451281 w 12191996"/>
              <a:gd name="connsiteY792" fmla="*/ 6509784 h 6857997"/>
              <a:gd name="connsiteX793" fmla="*/ 1446746 w 12191996"/>
              <a:gd name="connsiteY793" fmla="*/ 6510273 h 6857997"/>
              <a:gd name="connsiteX794" fmla="*/ 1441793 w 12191996"/>
              <a:gd name="connsiteY794" fmla="*/ 6507761 h 6857997"/>
              <a:gd name="connsiteX795" fmla="*/ 1440886 w 12191996"/>
              <a:gd name="connsiteY795" fmla="*/ 6500018 h 6857997"/>
              <a:gd name="connsiteX796" fmla="*/ 1440886 w 12191996"/>
              <a:gd name="connsiteY796" fmla="*/ 6456695 h 6857997"/>
              <a:gd name="connsiteX797" fmla="*/ 1451281 w 12191996"/>
              <a:gd name="connsiteY797" fmla="*/ 6456695 h 6857997"/>
              <a:gd name="connsiteX798" fmla="*/ 1451281 w 12191996"/>
              <a:gd name="connsiteY798" fmla="*/ 6446928 h 6857997"/>
              <a:gd name="connsiteX799" fmla="*/ 1440886 w 12191996"/>
              <a:gd name="connsiteY799" fmla="*/ 6446928 h 6857997"/>
              <a:gd name="connsiteX800" fmla="*/ 6319286 w 12191996"/>
              <a:gd name="connsiteY800" fmla="*/ 6418743 h 6857997"/>
              <a:gd name="connsiteX801" fmla="*/ 6319286 w 12191996"/>
              <a:gd name="connsiteY801" fmla="*/ 6521016 h 6857997"/>
              <a:gd name="connsiteX802" fmla="*/ 6329541 w 12191996"/>
              <a:gd name="connsiteY802" fmla="*/ 6521016 h 6857997"/>
              <a:gd name="connsiteX803" fmla="*/ 6329541 w 12191996"/>
              <a:gd name="connsiteY803" fmla="*/ 6418743 h 6857997"/>
              <a:gd name="connsiteX804" fmla="*/ 6224384 w 12191996"/>
              <a:gd name="connsiteY804" fmla="*/ 6418743 h 6857997"/>
              <a:gd name="connsiteX805" fmla="*/ 6224384 w 12191996"/>
              <a:gd name="connsiteY805" fmla="*/ 6433184 h 6857997"/>
              <a:gd name="connsiteX806" fmla="*/ 6234640 w 12191996"/>
              <a:gd name="connsiteY806" fmla="*/ 6433184 h 6857997"/>
              <a:gd name="connsiteX807" fmla="*/ 6234640 w 12191996"/>
              <a:gd name="connsiteY807" fmla="*/ 6418743 h 6857997"/>
              <a:gd name="connsiteX808" fmla="*/ 6034363 w 12191996"/>
              <a:gd name="connsiteY808" fmla="*/ 6418743 h 6857997"/>
              <a:gd name="connsiteX809" fmla="*/ 6034363 w 12191996"/>
              <a:gd name="connsiteY809" fmla="*/ 6455439 h 6857997"/>
              <a:gd name="connsiteX810" fmla="*/ 6027156 w 12191996"/>
              <a:gd name="connsiteY810" fmla="*/ 6447939 h 6857997"/>
              <a:gd name="connsiteX811" fmla="*/ 6017719 w 12191996"/>
              <a:gd name="connsiteY811" fmla="*/ 6445253 h 6857997"/>
              <a:gd name="connsiteX812" fmla="*/ 6004799 w 12191996"/>
              <a:gd name="connsiteY812" fmla="*/ 6449509 h 6857997"/>
              <a:gd name="connsiteX813" fmla="*/ 5995499 w 12191996"/>
              <a:gd name="connsiteY813" fmla="*/ 6462555 h 6857997"/>
              <a:gd name="connsiteX814" fmla="*/ 5992018 w 12191996"/>
              <a:gd name="connsiteY814" fmla="*/ 6483972 h 6857997"/>
              <a:gd name="connsiteX815" fmla="*/ 5999867 w 12191996"/>
              <a:gd name="connsiteY815" fmla="*/ 6512540 h 6857997"/>
              <a:gd name="connsiteX816" fmla="*/ 6018458 w 12191996"/>
              <a:gd name="connsiteY816" fmla="*/ 6522691 h 6857997"/>
              <a:gd name="connsiteX817" fmla="*/ 6027948 w 12191996"/>
              <a:gd name="connsiteY817" fmla="*/ 6519865 h 6857997"/>
              <a:gd name="connsiteX818" fmla="*/ 6035132 w 12191996"/>
              <a:gd name="connsiteY818" fmla="*/ 6511668 h 6857997"/>
              <a:gd name="connsiteX819" fmla="*/ 6035132 w 12191996"/>
              <a:gd name="connsiteY819" fmla="*/ 6521016 h 6857997"/>
              <a:gd name="connsiteX820" fmla="*/ 6044760 w 12191996"/>
              <a:gd name="connsiteY820" fmla="*/ 6521016 h 6857997"/>
              <a:gd name="connsiteX821" fmla="*/ 6044760 w 12191996"/>
              <a:gd name="connsiteY821" fmla="*/ 6418743 h 6857997"/>
              <a:gd name="connsiteX822" fmla="*/ 2790954 w 12191996"/>
              <a:gd name="connsiteY822" fmla="*/ 6418743 h 6857997"/>
              <a:gd name="connsiteX823" fmla="*/ 2790954 w 12191996"/>
              <a:gd name="connsiteY823" fmla="*/ 6455439 h 6857997"/>
              <a:gd name="connsiteX824" fmla="*/ 2783745 w 12191996"/>
              <a:gd name="connsiteY824" fmla="*/ 6447939 h 6857997"/>
              <a:gd name="connsiteX825" fmla="*/ 2774311 w 12191996"/>
              <a:gd name="connsiteY825" fmla="*/ 6445253 h 6857997"/>
              <a:gd name="connsiteX826" fmla="*/ 2761389 w 12191996"/>
              <a:gd name="connsiteY826" fmla="*/ 6449509 h 6857997"/>
              <a:gd name="connsiteX827" fmla="*/ 2752089 w 12191996"/>
              <a:gd name="connsiteY827" fmla="*/ 6462555 h 6857997"/>
              <a:gd name="connsiteX828" fmla="*/ 2748607 w 12191996"/>
              <a:gd name="connsiteY828" fmla="*/ 6483972 h 6857997"/>
              <a:gd name="connsiteX829" fmla="*/ 2756457 w 12191996"/>
              <a:gd name="connsiteY829" fmla="*/ 6512540 h 6857997"/>
              <a:gd name="connsiteX830" fmla="*/ 2775051 w 12191996"/>
              <a:gd name="connsiteY830" fmla="*/ 6522691 h 6857997"/>
              <a:gd name="connsiteX831" fmla="*/ 2784536 w 12191996"/>
              <a:gd name="connsiteY831" fmla="*/ 6519865 h 6857997"/>
              <a:gd name="connsiteX832" fmla="*/ 2791721 w 12191996"/>
              <a:gd name="connsiteY832" fmla="*/ 6511668 h 6857997"/>
              <a:gd name="connsiteX833" fmla="*/ 2791721 w 12191996"/>
              <a:gd name="connsiteY833" fmla="*/ 6521016 h 6857997"/>
              <a:gd name="connsiteX834" fmla="*/ 2801352 w 12191996"/>
              <a:gd name="connsiteY834" fmla="*/ 6521016 h 6857997"/>
              <a:gd name="connsiteX835" fmla="*/ 2801352 w 12191996"/>
              <a:gd name="connsiteY835" fmla="*/ 6418743 h 6857997"/>
              <a:gd name="connsiteX836" fmla="*/ 2590102 w 12191996"/>
              <a:gd name="connsiteY836" fmla="*/ 6418743 h 6857997"/>
              <a:gd name="connsiteX837" fmla="*/ 2590102 w 12191996"/>
              <a:gd name="connsiteY837" fmla="*/ 6521016 h 6857997"/>
              <a:gd name="connsiteX838" fmla="*/ 2600357 w 12191996"/>
              <a:gd name="connsiteY838" fmla="*/ 6521016 h 6857997"/>
              <a:gd name="connsiteX839" fmla="*/ 2600357 w 12191996"/>
              <a:gd name="connsiteY839" fmla="*/ 6418743 h 6857997"/>
              <a:gd name="connsiteX840" fmla="*/ 2380902 w 12191996"/>
              <a:gd name="connsiteY840" fmla="*/ 6418743 h 6857997"/>
              <a:gd name="connsiteX841" fmla="*/ 2380902 w 12191996"/>
              <a:gd name="connsiteY841" fmla="*/ 6433184 h 6857997"/>
              <a:gd name="connsiteX842" fmla="*/ 2391160 w 12191996"/>
              <a:gd name="connsiteY842" fmla="*/ 6433184 h 6857997"/>
              <a:gd name="connsiteX843" fmla="*/ 2391160 w 12191996"/>
              <a:gd name="connsiteY843" fmla="*/ 6418743 h 6857997"/>
              <a:gd name="connsiteX844" fmla="*/ 2024499 w 12191996"/>
              <a:gd name="connsiteY844" fmla="*/ 6418743 h 6857997"/>
              <a:gd name="connsiteX845" fmla="*/ 1992155 w 12191996"/>
              <a:gd name="connsiteY845" fmla="*/ 6521016 h 6857997"/>
              <a:gd name="connsiteX846" fmla="*/ 2003857 w 12191996"/>
              <a:gd name="connsiteY846" fmla="*/ 6521016 h 6857997"/>
              <a:gd name="connsiteX847" fmla="*/ 2012973 w 12191996"/>
              <a:gd name="connsiteY847" fmla="*/ 6490041 h 6857997"/>
              <a:gd name="connsiteX848" fmla="*/ 2048255 w 12191996"/>
              <a:gd name="connsiteY848" fmla="*/ 6490041 h 6857997"/>
              <a:gd name="connsiteX849" fmla="*/ 2058010 w 12191996"/>
              <a:gd name="connsiteY849" fmla="*/ 6521016 h 6857997"/>
              <a:gd name="connsiteX850" fmla="*/ 2070709 w 12191996"/>
              <a:gd name="connsiteY850" fmla="*/ 6521016 h 6857997"/>
              <a:gd name="connsiteX851" fmla="*/ 2036363 w 12191996"/>
              <a:gd name="connsiteY851" fmla="*/ 6418743 h 6857997"/>
              <a:gd name="connsiteX852" fmla="*/ 1818925 w 12191996"/>
              <a:gd name="connsiteY852" fmla="*/ 6418743 h 6857997"/>
              <a:gd name="connsiteX853" fmla="*/ 1818925 w 12191996"/>
              <a:gd name="connsiteY853" fmla="*/ 6433184 h 6857997"/>
              <a:gd name="connsiteX854" fmla="*/ 1829180 w 12191996"/>
              <a:gd name="connsiteY854" fmla="*/ 6433184 h 6857997"/>
              <a:gd name="connsiteX855" fmla="*/ 1829180 w 12191996"/>
              <a:gd name="connsiteY855" fmla="*/ 6418743 h 6857997"/>
              <a:gd name="connsiteX856" fmla="*/ 1752248 w 12191996"/>
              <a:gd name="connsiteY856" fmla="*/ 6418743 h 6857997"/>
              <a:gd name="connsiteX857" fmla="*/ 1752248 w 12191996"/>
              <a:gd name="connsiteY857" fmla="*/ 6433184 h 6857997"/>
              <a:gd name="connsiteX858" fmla="*/ 1762504 w 12191996"/>
              <a:gd name="connsiteY858" fmla="*/ 6433184 h 6857997"/>
              <a:gd name="connsiteX859" fmla="*/ 1762504 w 12191996"/>
              <a:gd name="connsiteY859" fmla="*/ 6418743 h 6857997"/>
              <a:gd name="connsiteX860" fmla="*/ 1361723 w 12191996"/>
              <a:gd name="connsiteY860" fmla="*/ 6418743 h 6857997"/>
              <a:gd name="connsiteX861" fmla="*/ 1361723 w 12191996"/>
              <a:gd name="connsiteY861" fmla="*/ 6521016 h 6857997"/>
              <a:gd name="connsiteX862" fmla="*/ 1371979 w 12191996"/>
              <a:gd name="connsiteY862" fmla="*/ 6521016 h 6857997"/>
              <a:gd name="connsiteX863" fmla="*/ 1371979 w 12191996"/>
              <a:gd name="connsiteY863" fmla="*/ 6480484 h 6857997"/>
              <a:gd name="connsiteX864" fmla="*/ 1376688 w 12191996"/>
              <a:gd name="connsiteY864" fmla="*/ 6461438 h 6857997"/>
              <a:gd name="connsiteX865" fmla="*/ 1388094 w 12191996"/>
              <a:gd name="connsiteY865" fmla="*/ 6456067 h 6857997"/>
              <a:gd name="connsiteX866" fmla="*/ 1397512 w 12191996"/>
              <a:gd name="connsiteY866" fmla="*/ 6460253 h 6857997"/>
              <a:gd name="connsiteX867" fmla="*/ 1400930 w 12191996"/>
              <a:gd name="connsiteY867" fmla="*/ 6474066 h 6857997"/>
              <a:gd name="connsiteX868" fmla="*/ 1400930 w 12191996"/>
              <a:gd name="connsiteY868" fmla="*/ 6521016 h 6857997"/>
              <a:gd name="connsiteX869" fmla="*/ 1411186 w 12191996"/>
              <a:gd name="connsiteY869" fmla="*/ 6521016 h 6857997"/>
              <a:gd name="connsiteX870" fmla="*/ 1411186 w 12191996"/>
              <a:gd name="connsiteY870" fmla="*/ 6474066 h 6857997"/>
              <a:gd name="connsiteX871" fmla="*/ 1405570 w 12191996"/>
              <a:gd name="connsiteY871" fmla="*/ 6451427 h 6857997"/>
              <a:gd name="connsiteX872" fmla="*/ 1390256 w 12191996"/>
              <a:gd name="connsiteY872" fmla="*/ 6445253 h 6857997"/>
              <a:gd name="connsiteX873" fmla="*/ 1380176 w 12191996"/>
              <a:gd name="connsiteY873" fmla="*/ 6447800 h 6857997"/>
              <a:gd name="connsiteX874" fmla="*/ 1371979 w 12191996"/>
              <a:gd name="connsiteY874" fmla="*/ 6455439 h 6857997"/>
              <a:gd name="connsiteX875" fmla="*/ 1371979 w 12191996"/>
              <a:gd name="connsiteY875" fmla="*/ 6418743 h 6857997"/>
              <a:gd name="connsiteX876" fmla="*/ 1266473 w 12191996"/>
              <a:gd name="connsiteY876" fmla="*/ 6418743 h 6857997"/>
              <a:gd name="connsiteX877" fmla="*/ 1266473 w 12191996"/>
              <a:gd name="connsiteY877" fmla="*/ 6433184 h 6857997"/>
              <a:gd name="connsiteX878" fmla="*/ 1276729 w 12191996"/>
              <a:gd name="connsiteY878" fmla="*/ 6433184 h 6857997"/>
              <a:gd name="connsiteX879" fmla="*/ 1276729 w 12191996"/>
              <a:gd name="connsiteY879" fmla="*/ 6418743 h 6857997"/>
              <a:gd name="connsiteX880" fmla="*/ 10863258 w 12191996"/>
              <a:gd name="connsiteY880" fmla="*/ 6418259 h 6857997"/>
              <a:gd name="connsiteX881" fmla="*/ 10904541 w 12191996"/>
              <a:gd name="connsiteY881" fmla="*/ 6418259 h 6857997"/>
              <a:gd name="connsiteX882" fmla="*/ 10934695 w 12191996"/>
              <a:gd name="connsiteY882" fmla="*/ 6433947 h 6857997"/>
              <a:gd name="connsiteX883" fmla="*/ 10904541 w 12191996"/>
              <a:gd name="connsiteY883" fmla="*/ 6450009 h 6857997"/>
              <a:gd name="connsiteX884" fmla="*/ 10863258 w 12191996"/>
              <a:gd name="connsiteY884" fmla="*/ 6450009 h 6857997"/>
              <a:gd name="connsiteX885" fmla="*/ 5958284 w 12191996"/>
              <a:gd name="connsiteY885" fmla="*/ 6416999 h 6857997"/>
              <a:gd name="connsiteX886" fmla="*/ 5948876 w 12191996"/>
              <a:gd name="connsiteY886" fmla="*/ 6419302 h 6857997"/>
              <a:gd name="connsiteX887" fmla="*/ 5943316 w 12191996"/>
              <a:gd name="connsiteY887" fmla="*/ 6425964 h 6857997"/>
              <a:gd name="connsiteX888" fmla="*/ 5941497 w 12191996"/>
              <a:gd name="connsiteY888" fmla="*/ 6439045 h 6857997"/>
              <a:gd name="connsiteX889" fmla="*/ 5941497 w 12191996"/>
              <a:gd name="connsiteY889" fmla="*/ 6446928 h 6857997"/>
              <a:gd name="connsiteX890" fmla="*/ 5932359 w 12191996"/>
              <a:gd name="connsiteY890" fmla="*/ 6446928 h 6857997"/>
              <a:gd name="connsiteX891" fmla="*/ 5932359 w 12191996"/>
              <a:gd name="connsiteY891" fmla="*/ 6456695 h 6857997"/>
              <a:gd name="connsiteX892" fmla="*/ 5941497 w 12191996"/>
              <a:gd name="connsiteY892" fmla="*/ 6456695 h 6857997"/>
              <a:gd name="connsiteX893" fmla="*/ 5941497 w 12191996"/>
              <a:gd name="connsiteY893" fmla="*/ 6521016 h 6857997"/>
              <a:gd name="connsiteX894" fmla="*/ 5951752 w 12191996"/>
              <a:gd name="connsiteY894" fmla="*/ 6521016 h 6857997"/>
              <a:gd name="connsiteX895" fmla="*/ 5951752 w 12191996"/>
              <a:gd name="connsiteY895" fmla="*/ 6456695 h 6857997"/>
              <a:gd name="connsiteX896" fmla="*/ 5963612 w 12191996"/>
              <a:gd name="connsiteY896" fmla="*/ 6456695 h 6857997"/>
              <a:gd name="connsiteX897" fmla="*/ 5963612 w 12191996"/>
              <a:gd name="connsiteY897" fmla="*/ 6446928 h 6857997"/>
              <a:gd name="connsiteX898" fmla="*/ 5951752 w 12191996"/>
              <a:gd name="connsiteY898" fmla="*/ 6446928 h 6857997"/>
              <a:gd name="connsiteX899" fmla="*/ 5951752 w 12191996"/>
              <a:gd name="connsiteY899" fmla="*/ 6440091 h 6857997"/>
              <a:gd name="connsiteX900" fmla="*/ 5953740 w 12191996"/>
              <a:gd name="connsiteY900" fmla="*/ 6430917 h 6857997"/>
              <a:gd name="connsiteX901" fmla="*/ 5960332 w 12191996"/>
              <a:gd name="connsiteY901" fmla="*/ 6428510 h 6857997"/>
              <a:gd name="connsiteX902" fmla="*/ 5966402 w 12191996"/>
              <a:gd name="connsiteY902" fmla="*/ 6429208 h 6857997"/>
              <a:gd name="connsiteX903" fmla="*/ 5967211 w 12191996"/>
              <a:gd name="connsiteY903" fmla="*/ 6423470 h 6857997"/>
              <a:gd name="connsiteX904" fmla="*/ 5967211 w 12191996"/>
              <a:gd name="connsiteY904" fmla="*/ 6433184 h 6857997"/>
              <a:gd name="connsiteX905" fmla="*/ 5977467 w 12191996"/>
              <a:gd name="connsiteY905" fmla="*/ 6433184 h 6857997"/>
              <a:gd name="connsiteX906" fmla="*/ 5977467 w 12191996"/>
              <a:gd name="connsiteY906" fmla="*/ 6418743 h 6857997"/>
              <a:gd name="connsiteX907" fmla="*/ 5967879 w 12191996"/>
              <a:gd name="connsiteY907" fmla="*/ 6418743 h 6857997"/>
              <a:gd name="connsiteX908" fmla="*/ 5967936 w 12191996"/>
              <a:gd name="connsiteY908" fmla="*/ 6418325 h 6857997"/>
              <a:gd name="connsiteX909" fmla="*/ 5958284 w 12191996"/>
              <a:gd name="connsiteY909" fmla="*/ 6416999 h 6857997"/>
              <a:gd name="connsiteX910" fmla="*/ 883232 w 12191996"/>
              <a:gd name="connsiteY910" fmla="*/ 6416999 h 6857997"/>
              <a:gd name="connsiteX911" fmla="*/ 862268 w 12191996"/>
              <a:gd name="connsiteY911" fmla="*/ 6423592 h 6857997"/>
              <a:gd name="connsiteX912" fmla="*/ 846187 w 12191996"/>
              <a:gd name="connsiteY912" fmla="*/ 6442533 h 6857997"/>
              <a:gd name="connsiteX913" fmla="*/ 840048 w 12191996"/>
              <a:gd name="connsiteY913" fmla="*/ 6469671 h 6857997"/>
              <a:gd name="connsiteX914" fmla="*/ 852466 w 12191996"/>
              <a:gd name="connsiteY914" fmla="*/ 6506540 h 6857997"/>
              <a:gd name="connsiteX915" fmla="*/ 883232 w 12191996"/>
              <a:gd name="connsiteY915" fmla="*/ 6522272 h 6857997"/>
              <a:gd name="connsiteX916" fmla="*/ 904196 w 12191996"/>
              <a:gd name="connsiteY916" fmla="*/ 6515679 h 6857997"/>
              <a:gd name="connsiteX917" fmla="*/ 920276 w 12191996"/>
              <a:gd name="connsiteY917" fmla="*/ 6496739 h 6857997"/>
              <a:gd name="connsiteX918" fmla="*/ 926415 w 12191996"/>
              <a:gd name="connsiteY918" fmla="*/ 6469671 h 6857997"/>
              <a:gd name="connsiteX919" fmla="*/ 913997 w 12191996"/>
              <a:gd name="connsiteY919" fmla="*/ 6432766 h 6857997"/>
              <a:gd name="connsiteX920" fmla="*/ 883232 w 12191996"/>
              <a:gd name="connsiteY920" fmla="*/ 6416999 h 6857997"/>
              <a:gd name="connsiteX921" fmla="*/ 5757201 w 12191996"/>
              <a:gd name="connsiteY921" fmla="*/ 6416930 h 6857997"/>
              <a:gd name="connsiteX922" fmla="*/ 5737090 w 12191996"/>
              <a:gd name="connsiteY922" fmla="*/ 6422898 h 6857997"/>
              <a:gd name="connsiteX923" fmla="*/ 5722810 w 12191996"/>
              <a:gd name="connsiteY923" fmla="*/ 6440560 h 6857997"/>
              <a:gd name="connsiteX924" fmla="*/ 5717538 w 12191996"/>
              <a:gd name="connsiteY924" fmla="*/ 6469147 h 6857997"/>
              <a:gd name="connsiteX925" fmla="*/ 5722804 w 12191996"/>
              <a:gd name="connsiteY925" fmla="*/ 6498816 h 6857997"/>
              <a:gd name="connsiteX926" fmla="*/ 5736339 w 12191996"/>
              <a:gd name="connsiteY926" fmla="*/ 6517071 h 6857997"/>
              <a:gd name="connsiteX927" fmla="*/ 5756258 w 12191996"/>
              <a:gd name="connsiteY927" fmla="*/ 6522760 h 6857997"/>
              <a:gd name="connsiteX928" fmla="*/ 5778755 w 12191996"/>
              <a:gd name="connsiteY928" fmla="*/ 6514284 h 6857997"/>
              <a:gd name="connsiteX929" fmla="*/ 5791699 w 12191996"/>
              <a:gd name="connsiteY929" fmla="*/ 6488576 h 6857997"/>
              <a:gd name="connsiteX930" fmla="*/ 5780536 w 12191996"/>
              <a:gd name="connsiteY930" fmla="*/ 6485158 h 6857997"/>
              <a:gd name="connsiteX931" fmla="*/ 5771710 w 12191996"/>
              <a:gd name="connsiteY931" fmla="*/ 6504727 h 6857997"/>
              <a:gd name="connsiteX932" fmla="*/ 5756048 w 12191996"/>
              <a:gd name="connsiteY932" fmla="*/ 6511180 h 6857997"/>
              <a:gd name="connsiteX933" fmla="*/ 5736375 w 12191996"/>
              <a:gd name="connsiteY933" fmla="*/ 6500672 h 6857997"/>
              <a:gd name="connsiteX934" fmla="*/ 5728980 w 12191996"/>
              <a:gd name="connsiteY934" fmla="*/ 6469146 h 6857997"/>
              <a:gd name="connsiteX935" fmla="*/ 5732647 w 12191996"/>
              <a:gd name="connsiteY935" fmla="*/ 6446176 h 6857997"/>
              <a:gd name="connsiteX936" fmla="*/ 5742462 w 12191996"/>
              <a:gd name="connsiteY936" fmla="*/ 6432805 h 6857997"/>
              <a:gd name="connsiteX937" fmla="*/ 5756996 w 12191996"/>
              <a:gd name="connsiteY937" fmla="*/ 6428510 h 6857997"/>
              <a:gd name="connsiteX938" fmla="*/ 5779417 w 12191996"/>
              <a:gd name="connsiteY938" fmla="*/ 6449788 h 6857997"/>
              <a:gd name="connsiteX939" fmla="*/ 5790300 w 12191996"/>
              <a:gd name="connsiteY939" fmla="*/ 6446649 h 6857997"/>
              <a:gd name="connsiteX940" fmla="*/ 5778080 w 12191996"/>
              <a:gd name="connsiteY940" fmla="*/ 6424481 h 6857997"/>
              <a:gd name="connsiteX941" fmla="*/ 5757201 w 12191996"/>
              <a:gd name="connsiteY941" fmla="*/ 6416930 h 6857997"/>
              <a:gd name="connsiteX942" fmla="*/ 2249532 w 12191996"/>
              <a:gd name="connsiteY942" fmla="*/ 6416930 h 6857997"/>
              <a:gd name="connsiteX943" fmla="*/ 2227909 w 12191996"/>
              <a:gd name="connsiteY943" fmla="*/ 6424813 h 6857997"/>
              <a:gd name="connsiteX944" fmla="*/ 2219883 w 12191996"/>
              <a:gd name="connsiteY944" fmla="*/ 6445114 h 6857997"/>
              <a:gd name="connsiteX945" fmla="*/ 2222671 w 12191996"/>
              <a:gd name="connsiteY945" fmla="*/ 6457497 h 6857997"/>
              <a:gd name="connsiteX946" fmla="*/ 2230487 w 12191996"/>
              <a:gd name="connsiteY946" fmla="*/ 6466531 h 6857997"/>
              <a:gd name="connsiteX947" fmla="*/ 2247373 w 12191996"/>
              <a:gd name="connsiteY947" fmla="*/ 6473610 h 6857997"/>
              <a:gd name="connsiteX948" fmla="*/ 2264706 w 12191996"/>
              <a:gd name="connsiteY948" fmla="*/ 6479712 h 6857997"/>
              <a:gd name="connsiteX949" fmla="*/ 2270706 w 12191996"/>
              <a:gd name="connsiteY949" fmla="*/ 6485247 h 6857997"/>
              <a:gd name="connsiteX950" fmla="*/ 2272693 w 12191996"/>
              <a:gd name="connsiteY950" fmla="*/ 6493148 h 6857997"/>
              <a:gd name="connsiteX951" fmla="*/ 2267221 w 12191996"/>
              <a:gd name="connsiteY951" fmla="*/ 6505714 h 6857997"/>
              <a:gd name="connsiteX952" fmla="*/ 2251834 w 12191996"/>
              <a:gd name="connsiteY952" fmla="*/ 6510552 h 6857997"/>
              <a:gd name="connsiteX953" fmla="*/ 2239420 w 12191996"/>
              <a:gd name="connsiteY953" fmla="*/ 6507691 h 6857997"/>
              <a:gd name="connsiteX954" fmla="*/ 2230941 w 12191996"/>
              <a:gd name="connsiteY954" fmla="*/ 6500122 h 6857997"/>
              <a:gd name="connsiteX955" fmla="*/ 2227140 w 12191996"/>
              <a:gd name="connsiteY955" fmla="*/ 6486972 h 6857997"/>
              <a:gd name="connsiteX956" fmla="*/ 2216673 w 12191996"/>
              <a:gd name="connsiteY956" fmla="*/ 6488088 h 6857997"/>
              <a:gd name="connsiteX957" fmla="*/ 2226270 w 12191996"/>
              <a:gd name="connsiteY957" fmla="*/ 6513412 h 6857997"/>
              <a:gd name="connsiteX958" fmla="*/ 2251071 w 12191996"/>
              <a:gd name="connsiteY958" fmla="*/ 6522760 h 6857997"/>
              <a:gd name="connsiteX959" fmla="*/ 2268127 w 12191996"/>
              <a:gd name="connsiteY959" fmla="*/ 6518997 h 6857997"/>
              <a:gd name="connsiteX960" fmla="*/ 2279325 w 12191996"/>
              <a:gd name="connsiteY960" fmla="*/ 6508021 h 6857997"/>
              <a:gd name="connsiteX961" fmla="*/ 2283436 w 12191996"/>
              <a:gd name="connsiteY961" fmla="*/ 6492029 h 6857997"/>
              <a:gd name="connsiteX962" fmla="*/ 2279522 w 12191996"/>
              <a:gd name="connsiteY962" fmla="*/ 6476801 h 6857997"/>
              <a:gd name="connsiteX963" fmla="*/ 2267938 w 12191996"/>
              <a:gd name="connsiteY963" fmla="*/ 6466501 h 6857997"/>
              <a:gd name="connsiteX964" fmla="*/ 2250508 w 12191996"/>
              <a:gd name="connsiteY964" fmla="*/ 6460544 h 6857997"/>
              <a:gd name="connsiteX965" fmla="*/ 2234185 w 12191996"/>
              <a:gd name="connsiteY965" fmla="*/ 6453622 h 6857997"/>
              <a:gd name="connsiteX966" fmla="*/ 2230560 w 12191996"/>
              <a:gd name="connsiteY966" fmla="*/ 6443996 h 6857997"/>
              <a:gd name="connsiteX967" fmla="*/ 2235513 w 12191996"/>
              <a:gd name="connsiteY967" fmla="*/ 6433079 h 6857997"/>
              <a:gd name="connsiteX968" fmla="*/ 2249881 w 12191996"/>
              <a:gd name="connsiteY968" fmla="*/ 6428859 h 6857997"/>
              <a:gd name="connsiteX969" fmla="*/ 2264286 w 12191996"/>
              <a:gd name="connsiteY969" fmla="*/ 6433673 h 6857997"/>
              <a:gd name="connsiteX970" fmla="*/ 2270252 w 12191996"/>
              <a:gd name="connsiteY970" fmla="*/ 6448463 h 6857997"/>
              <a:gd name="connsiteX971" fmla="*/ 2280928 w 12191996"/>
              <a:gd name="connsiteY971" fmla="*/ 6447486 h 6857997"/>
              <a:gd name="connsiteX972" fmla="*/ 2276778 w 12191996"/>
              <a:gd name="connsiteY972" fmla="*/ 6431231 h 6857997"/>
              <a:gd name="connsiteX973" fmla="*/ 2265892 w 12191996"/>
              <a:gd name="connsiteY973" fmla="*/ 6420627 h 6857997"/>
              <a:gd name="connsiteX974" fmla="*/ 2249532 w 12191996"/>
              <a:gd name="connsiteY974" fmla="*/ 6416930 h 6857997"/>
              <a:gd name="connsiteX975" fmla="*/ 2107530 w 12191996"/>
              <a:gd name="connsiteY975" fmla="*/ 6416930 h 6857997"/>
              <a:gd name="connsiteX976" fmla="*/ 2085898 w 12191996"/>
              <a:gd name="connsiteY976" fmla="*/ 6422828 h 6857997"/>
              <a:gd name="connsiteX977" fmla="*/ 2071108 w 12191996"/>
              <a:gd name="connsiteY977" fmla="*/ 6441153 h 6857997"/>
              <a:gd name="connsiteX978" fmla="*/ 2065457 w 12191996"/>
              <a:gd name="connsiteY978" fmla="*/ 6470333 h 6857997"/>
              <a:gd name="connsiteX979" fmla="*/ 2071073 w 12191996"/>
              <a:gd name="connsiteY979" fmla="*/ 6498676 h 6857997"/>
              <a:gd name="connsiteX980" fmla="*/ 2086316 w 12191996"/>
              <a:gd name="connsiteY980" fmla="*/ 6516617 h 6857997"/>
              <a:gd name="connsiteX981" fmla="*/ 2108228 w 12191996"/>
              <a:gd name="connsiteY981" fmla="*/ 6522760 h 6857997"/>
              <a:gd name="connsiteX982" fmla="*/ 2126153 w 12191996"/>
              <a:gd name="connsiteY982" fmla="*/ 6518749 h 6857997"/>
              <a:gd name="connsiteX983" fmla="*/ 2143038 w 12191996"/>
              <a:gd name="connsiteY983" fmla="*/ 6506785 h 6857997"/>
              <a:gd name="connsiteX984" fmla="*/ 2143038 w 12191996"/>
              <a:gd name="connsiteY984" fmla="*/ 6468764 h 6857997"/>
              <a:gd name="connsiteX985" fmla="*/ 2107530 w 12191996"/>
              <a:gd name="connsiteY985" fmla="*/ 6468833 h 6857997"/>
              <a:gd name="connsiteX986" fmla="*/ 2107530 w 12191996"/>
              <a:gd name="connsiteY986" fmla="*/ 6480902 h 6857997"/>
              <a:gd name="connsiteX987" fmla="*/ 2132151 w 12191996"/>
              <a:gd name="connsiteY987" fmla="*/ 6480902 h 6857997"/>
              <a:gd name="connsiteX988" fmla="*/ 2132151 w 12191996"/>
              <a:gd name="connsiteY988" fmla="*/ 6499948 h 6857997"/>
              <a:gd name="connsiteX989" fmla="*/ 2121238 w 12191996"/>
              <a:gd name="connsiteY989" fmla="*/ 6507412 h 6857997"/>
              <a:gd name="connsiteX990" fmla="*/ 2107806 w 12191996"/>
              <a:gd name="connsiteY990" fmla="*/ 6510552 h 6857997"/>
              <a:gd name="connsiteX991" fmla="*/ 2085479 w 12191996"/>
              <a:gd name="connsiteY991" fmla="*/ 6500323 h 6857997"/>
              <a:gd name="connsiteX992" fmla="*/ 2076898 w 12191996"/>
              <a:gd name="connsiteY992" fmla="*/ 6469566 h 6857997"/>
              <a:gd name="connsiteX993" fmla="*/ 2080910 w 12191996"/>
              <a:gd name="connsiteY993" fmla="*/ 6446734 h 6857997"/>
              <a:gd name="connsiteX994" fmla="*/ 2091514 w 12191996"/>
              <a:gd name="connsiteY994" fmla="*/ 6432944 h 6857997"/>
              <a:gd name="connsiteX995" fmla="*/ 2107247 w 12191996"/>
              <a:gd name="connsiteY995" fmla="*/ 6428510 h 6857997"/>
              <a:gd name="connsiteX996" fmla="*/ 2118547 w 12191996"/>
              <a:gd name="connsiteY996" fmla="*/ 6430952 h 6857997"/>
              <a:gd name="connsiteX997" fmla="*/ 2126643 w 12191996"/>
              <a:gd name="connsiteY997" fmla="*/ 6437684 h 6857997"/>
              <a:gd name="connsiteX998" fmla="*/ 2131738 w 12191996"/>
              <a:gd name="connsiteY998" fmla="*/ 6450625 h 6857997"/>
              <a:gd name="connsiteX999" fmla="*/ 2141711 w 12191996"/>
              <a:gd name="connsiteY999" fmla="*/ 6447277 h 6857997"/>
              <a:gd name="connsiteX1000" fmla="*/ 2135015 w 12191996"/>
              <a:gd name="connsiteY1000" fmla="*/ 6430045 h 6857997"/>
              <a:gd name="connsiteX1001" fmla="*/ 2123643 w 12191996"/>
              <a:gd name="connsiteY1001" fmla="*/ 6420348 h 6857997"/>
              <a:gd name="connsiteX1002" fmla="*/ 2107530 w 12191996"/>
              <a:gd name="connsiteY1002" fmla="*/ 6416930 h 6857997"/>
              <a:gd name="connsiteX1003" fmla="*/ 1516105 w 12191996"/>
              <a:gd name="connsiteY1003" fmla="*/ 6416930 h 6857997"/>
              <a:gd name="connsiteX1004" fmla="*/ 1494478 w 12191996"/>
              <a:gd name="connsiteY1004" fmla="*/ 6424813 h 6857997"/>
              <a:gd name="connsiteX1005" fmla="*/ 1486455 w 12191996"/>
              <a:gd name="connsiteY1005" fmla="*/ 6445114 h 6857997"/>
              <a:gd name="connsiteX1006" fmla="*/ 1489246 w 12191996"/>
              <a:gd name="connsiteY1006" fmla="*/ 6457497 h 6857997"/>
              <a:gd name="connsiteX1007" fmla="*/ 1497059 w 12191996"/>
              <a:gd name="connsiteY1007" fmla="*/ 6466531 h 6857997"/>
              <a:gd name="connsiteX1008" fmla="*/ 1513942 w 12191996"/>
              <a:gd name="connsiteY1008" fmla="*/ 6473610 h 6857997"/>
              <a:gd name="connsiteX1009" fmla="*/ 1531278 w 12191996"/>
              <a:gd name="connsiteY1009" fmla="*/ 6479712 h 6857997"/>
              <a:gd name="connsiteX1010" fmla="*/ 1537278 w 12191996"/>
              <a:gd name="connsiteY1010" fmla="*/ 6485247 h 6857997"/>
              <a:gd name="connsiteX1011" fmla="*/ 1539266 w 12191996"/>
              <a:gd name="connsiteY1011" fmla="*/ 6493148 h 6857997"/>
              <a:gd name="connsiteX1012" fmla="*/ 1533790 w 12191996"/>
              <a:gd name="connsiteY1012" fmla="*/ 6505714 h 6857997"/>
              <a:gd name="connsiteX1013" fmla="*/ 1518407 w 12191996"/>
              <a:gd name="connsiteY1013" fmla="*/ 6510552 h 6857997"/>
              <a:gd name="connsiteX1014" fmla="*/ 1505989 w 12191996"/>
              <a:gd name="connsiteY1014" fmla="*/ 6507691 h 6857997"/>
              <a:gd name="connsiteX1015" fmla="*/ 1497513 w 12191996"/>
              <a:gd name="connsiteY1015" fmla="*/ 6500122 h 6857997"/>
              <a:gd name="connsiteX1016" fmla="*/ 1493711 w 12191996"/>
              <a:gd name="connsiteY1016" fmla="*/ 6486972 h 6857997"/>
              <a:gd name="connsiteX1017" fmla="*/ 1483246 w 12191996"/>
              <a:gd name="connsiteY1017" fmla="*/ 6488088 h 6857997"/>
              <a:gd name="connsiteX1018" fmla="*/ 1492839 w 12191996"/>
              <a:gd name="connsiteY1018" fmla="*/ 6513412 h 6857997"/>
              <a:gd name="connsiteX1019" fmla="*/ 1517639 w 12191996"/>
              <a:gd name="connsiteY1019" fmla="*/ 6522760 h 6857997"/>
              <a:gd name="connsiteX1020" fmla="*/ 1534697 w 12191996"/>
              <a:gd name="connsiteY1020" fmla="*/ 6518997 h 6857997"/>
              <a:gd name="connsiteX1021" fmla="*/ 1545894 w 12191996"/>
              <a:gd name="connsiteY1021" fmla="*/ 6508021 h 6857997"/>
              <a:gd name="connsiteX1022" fmla="*/ 1550010 w 12191996"/>
              <a:gd name="connsiteY1022" fmla="*/ 6492029 h 6857997"/>
              <a:gd name="connsiteX1023" fmla="*/ 1546095 w 12191996"/>
              <a:gd name="connsiteY1023" fmla="*/ 6476801 h 6857997"/>
              <a:gd name="connsiteX1024" fmla="*/ 1534510 w 12191996"/>
              <a:gd name="connsiteY1024" fmla="*/ 6466501 h 6857997"/>
              <a:gd name="connsiteX1025" fmla="*/ 1517077 w 12191996"/>
              <a:gd name="connsiteY1025" fmla="*/ 6460544 h 6857997"/>
              <a:gd name="connsiteX1026" fmla="*/ 1500758 w 12191996"/>
              <a:gd name="connsiteY1026" fmla="*/ 6453622 h 6857997"/>
              <a:gd name="connsiteX1027" fmla="*/ 1497129 w 12191996"/>
              <a:gd name="connsiteY1027" fmla="*/ 6443996 h 6857997"/>
              <a:gd name="connsiteX1028" fmla="*/ 1502082 w 12191996"/>
              <a:gd name="connsiteY1028" fmla="*/ 6433079 h 6857997"/>
              <a:gd name="connsiteX1029" fmla="*/ 1516453 w 12191996"/>
              <a:gd name="connsiteY1029" fmla="*/ 6428859 h 6857997"/>
              <a:gd name="connsiteX1030" fmla="*/ 1530860 w 12191996"/>
              <a:gd name="connsiteY1030" fmla="*/ 6433673 h 6857997"/>
              <a:gd name="connsiteX1031" fmla="*/ 1536824 w 12191996"/>
              <a:gd name="connsiteY1031" fmla="*/ 6448463 h 6857997"/>
              <a:gd name="connsiteX1032" fmla="*/ 1547498 w 12191996"/>
              <a:gd name="connsiteY1032" fmla="*/ 6447486 h 6857997"/>
              <a:gd name="connsiteX1033" fmla="*/ 1543347 w 12191996"/>
              <a:gd name="connsiteY1033" fmla="*/ 6431231 h 6857997"/>
              <a:gd name="connsiteX1034" fmla="*/ 1532464 w 12191996"/>
              <a:gd name="connsiteY1034" fmla="*/ 6420627 h 6857997"/>
              <a:gd name="connsiteX1035" fmla="*/ 1516105 w 12191996"/>
              <a:gd name="connsiteY1035" fmla="*/ 6416930 h 6857997"/>
              <a:gd name="connsiteX1036" fmla="*/ 999314 w 12191996"/>
              <a:gd name="connsiteY1036" fmla="*/ 6416930 h 6857997"/>
              <a:gd name="connsiteX1037" fmla="*/ 979202 w 12191996"/>
              <a:gd name="connsiteY1037" fmla="*/ 6422898 h 6857997"/>
              <a:gd name="connsiteX1038" fmla="*/ 964922 w 12191996"/>
              <a:gd name="connsiteY1038" fmla="*/ 6440560 h 6857997"/>
              <a:gd name="connsiteX1039" fmla="*/ 959650 w 12191996"/>
              <a:gd name="connsiteY1039" fmla="*/ 6469147 h 6857997"/>
              <a:gd name="connsiteX1040" fmla="*/ 964918 w 12191996"/>
              <a:gd name="connsiteY1040" fmla="*/ 6498816 h 6857997"/>
              <a:gd name="connsiteX1041" fmla="*/ 978452 w 12191996"/>
              <a:gd name="connsiteY1041" fmla="*/ 6517071 h 6857997"/>
              <a:gd name="connsiteX1042" fmla="*/ 998369 w 12191996"/>
              <a:gd name="connsiteY1042" fmla="*/ 6522760 h 6857997"/>
              <a:gd name="connsiteX1043" fmla="*/ 1020867 w 12191996"/>
              <a:gd name="connsiteY1043" fmla="*/ 6514284 h 6857997"/>
              <a:gd name="connsiteX1044" fmla="*/ 1033809 w 12191996"/>
              <a:gd name="connsiteY1044" fmla="*/ 6488576 h 6857997"/>
              <a:gd name="connsiteX1045" fmla="*/ 1022646 w 12191996"/>
              <a:gd name="connsiteY1045" fmla="*/ 6485158 h 6857997"/>
              <a:gd name="connsiteX1046" fmla="*/ 1013821 w 12191996"/>
              <a:gd name="connsiteY1046" fmla="*/ 6504727 h 6857997"/>
              <a:gd name="connsiteX1047" fmla="*/ 998160 w 12191996"/>
              <a:gd name="connsiteY1047" fmla="*/ 6511180 h 6857997"/>
              <a:gd name="connsiteX1048" fmla="*/ 978486 w 12191996"/>
              <a:gd name="connsiteY1048" fmla="*/ 6500672 h 6857997"/>
              <a:gd name="connsiteX1049" fmla="*/ 971092 w 12191996"/>
              <a:gd name="connsiteY1049" fmla="*/ 6469146 h 6857997"/>
              <a:gd name="connsiteX1050" fmla="*/ 974759 w 12191996"/>
              <a:gd name="connsiteY1050" fmla="*/ 6446176 h 6857997"/>
              <a:gd name="connsiteX1051" fmla="*/ 984574 w 12191996"/>
              <a:gd name="connsiteY1051" fmla="*/ 6432805 h 6857997"/>
              <a:gd name="connsiteX1052" fmla="*/ 999106 w 12191996"/>
              <a:gd name="connsiteY1052" fmla="*/ 6428510 h 6857997"/>
              <a:gd name="connsiteX1053" fmla="*/ 1021530 w 12191996"/>
              <a:gd name="connsiteY1053" fmla="*/ 6449788 h 6857997"/>
              <a:gd name="connsiteX1054" fmla="*/ 1032413 w 12191996"/>
              <a:gd name="connsiteY1054" fmla="*/ 6446649 h 6857997"/>
              <a:gd name="connsiteX1055" fmla="*/ 1020193 w 12191996"/>
              <a:gd name="connsiteY1055" fmla="*/ 6424481 h 6857997"/>
              <a:gd name="connsiteX1056" fmla="*/ 999314 w 12191996"/>
              <a:gd name="connsiteY1056" fmla="*/ 6416930 h 6857997"/>
              <a:gd name="connsiteX1057" fmla="*/ 11136920 w 12191996"/>
              <a:gd name="connsiteY1057" fmla="*/ 6415084 h 6857997"/>
              <a:gd name="connsiteX1058" fmla="*/ 11180757 w 12191996"/>
              <a:gd name="connsiteY1058" fmla="*/ 6458741 h 6857997"/>
              <a:gd name="connsiteX1059" fmla="*/ 11136920 w 12191996"/>
              <a:gd name="connsiteY1059" fmla="*/ 6502397 h 6857997"/>
              <a:gd name="connsiteX1060" fmla="*/ 11093445 w 12191996"/>
              <a:gd name="connsiteY1060" fmla="*/ 6457621 h 6857997"/>
              <a:gd name="connsiteX1061" fmla="*/ 11136920 w 12191996"/>
              <a:gd name="connsiteY1061" fmla="*/ 6415084 h 6857997"/>
              <a:gd name="connsiteX1062" fmla="*/ 11241084 w 12191996"/>
              <a:gd name="connsiteY1062" fmla="*/ 6397622 h 6857997"/>
              <a:gd name="connsiteX1063" fmla="*/ 11241084 w 12191996"/>
              <a:gd name="connsiteY1063" fmla="*/ 6521447 h 6857997"/>
              <a:gd name="connsiteX1064" fmla="*/ 11276259 w 12191996"/>
              <a:gd name="connsiteY1064" fmla="*/ 6521447 h 6857997"/>
              <a:gd name="connsiteX1065" fmla="*/ 11274446 w 12191996"/>
              <a:gd name="connsiteY1065" fmla="*/ 6427562 h 6857997"/>
              <a:gd name="connsiteX1066" fmla="*/ 11344433 w 12191996"/>
              <a:gd name="connsiteY1066" fmla="*/ 6521447 h 6857997"/>
              <a:gd name="connsiteX1067" fmla="*/ 11383959 w 12191996"/>
              <a:gd name="connsiteY1067" fmla="*/ 6521447 h 6857997"/>
              <a:gd name="connsiteX1068" fmla="*/ 11383959 w 12191996"/>
              <a:gd name="connsiteY1068" fmla="*/ 6397622 h 6857997"/>
              <a:gd name="connsiteX1069" fmla="*/ 11349147 w 12191996"/>
              <a:gd name="connsiteY1069" fmla="*/ 6397622 h 6857997"/>
              <a:gd name="connsiteX1070" fmla="*/ 11350597 w 12191996"/>
              <a:gd name="connsiteY1070" fmla="*/ 6486702 h 6857997"/>
              <a:gd name="connsiteX1071" fmla="*/ 11284237 w 12191996"/>
              <a:gd name="connsiteY1071" fmla="*/ 6397622 h 6857997"/>
              <a:gd name="connsiteX1072" fmla="*/ 10998196 w 12191996"/>
              <a:gd name="connsiteY1072" fmla="*/ 6397622 h 6857997"/>
              <a:gd name="connsiteX1073" fmla="*/ 10998196 w 12191996"/>
              <a:gd name="connsiteY1073" fmla="*/ 6521447 h 6857997"/>
              <a:gd name="connsiteX1074" fmla="*/ 11033121 w 12191996"/>
              <a:gd name="connsiteY1074" fmla="*/ 6521447 h 6857997"/>
              <a:gd name="connsiteX1075" fmla="*/ 11033121 w 12191996"/>
              <a:gd name="connsiteY1075" fmla="*/ 6397622 h 6857997"/>
              <a:gd name="connsiteX1076" fmla="*/ 10760071 w 12191996"/>
              <a:gd name="connsiteY1076" fmla="*/ 6397622 h 6857997"/>
              <a:gd name="connsiteX1077" fmla="*/ 10760071 w 12191996"/>
              <a:gd name="connsiteY1077" fmla="*/ 6521447 h 6857997"/>
              <a:gd name="connsiteX1078" fmla="*/ 10794996 w 12191996"/>
              <a:gd name="connsiteY1078" fmla="*/ 6521447 h 6857997"/>
              <a:gd name="connsiteX1079" fmla="*/ 10794996 w 12191996"/>
              <a:gd name="connsiteY1079" fmla="*/ 6397622 h 6857997"/>
              <a:gd name="connsiteX1080" fmla="*/ 10637569 w 12191996"/>
              <a:gd name="connsiteY1080" fmla="*/ 6397622 h 6857997"/>
              <a:gd name="connsiteX1081" fmla="*/ 10580684 w 12191996"/>
              <a:gd name="connsiteY1081" fmla="*/ 6435324 h 6857997"/>
              <a:gd name="connsiteX1082" fmla="*/ 10634670 w 12191996"/>
              <a:gd name="connsiteY1082" fmla="*/ 6471178 h 6857997"/>
              <a:gd name="connsiteX1083" fmla="*/ 10674888 w 12191996"/>
              <a:gd name="connsiteY1083" fmla="*/ 6471178 h 6857997"/>
              <a:gd name="connsiteX1084" fmla="*/ 10699163 w 12191996"/>
              <a:gd name="connsiteY1084" fmla="*/ 6485224 h 6857997"/>
              <a:gd name="connsiteX1085" fmla="*/ 10672714 w 12191996"/>
              <a:gd name="connsiteY1085" fmla="*/ 6499270 h 6857997"/>
              <a:gd name="connsiteX1086" fmla="*/ 10587206 w 12191996"/>
              <a:gd name="connsiteY1086" fmla="*/ 6499270 h 6857997"/>
              <a:gd name="connsiteX1087" fmla="*/ 10587206 w 12191996"/>
              <a:gd name="connsiteY1087" fmla="*/ 6521447 h 6857997"/>
              <a:gd name="connsiteX1088" fmla="*/ 10678149 w 12191996"/>
              <a:gd name="connsiteY1088" fmla="*/ 6521447 h 6857997"/>
              <a:gd name="connsiteX1089" fmla="*/ 10734671 w 12191996"/>
              <a:gd name="connsiteY1089" fmla="*/ 6484115 h 6857997"/>
              <a:gd name="connsiteX1090" fmla="*/ 10683221 w 12191996"/>
              <a:gd name="connsiteY1090" fmla="*/ 6449370 h 6857997"/>
              <a:gd name="connsiteX1091" fmla="*/ 10637931 w 12191996"/>
              <a:gd name="connsiteY1091" fmla="*/ 6449370 h 6857997"/>
              <a:gd name="connsiteX1092" fmla="*/ 10616554 w 12191996"/>
              <a:gd name="connsiteY1092" fmla="*/ 6435694 h 6857997"/>
              <a:gd name="connsiteX1093" fmla="*/ 10642641 w 12191996"/>
              <a:gd name="connsiteY1093" fmla="*/ 6419430 h 6857997"/>
              <a:gd name="connsiteX1094" fmla="*/ 10726700 w 12191996"/>
              <a:gd name="connsiteY1094" fmla="*/ 6419430 h 6857997"/>
              <a:gd name="connsiteX1095" fmla="*/ 10726700 w 12191996"/>
              <a:gd name="connsiteY1095" fmla="*/ 6397622 h 6857997"/>
              <a:gd name="connsiteX1096" fmla="*/ 10413996 w 12191996"/>
              <a:gd name="connsiteY1096" fmla="*/ 6397622 h 6857997"/>
              <a:gd name="connsiteX1097" fmla="*/ 10413996 w 12191996"/>
              <a:gd name="connsiteY1097" fmla="*/ 6521447 h 6857997"/>
              <a:gd name="connsiteX1098" fmla="*/ 10448897 w 12191996"/>
              <a:gd name="connsiteY1098" fmla="*/ 6521447 h 6857997"/>
              <a:gd name="connsiteX1099" fmla="*/ 10447443 w 12191996"/>
              <a:gd name="connsiteY1099" fmla="*/ 6427562 h 6857997"/>
              <a:gd name="connsiteX1100" fmla="*/ 10517608 w 12191996"/>
              <a:gd name="connsiteY1100" fmla="*/ 6521447 h 6857997"/>
              <a:gd name="connsiteX1101" fmla="*/ 10556871 w 12191996"/>
              <a:gd name="connsiteY1101" fmla="*/ 6521447 h 6857997"/>
              <a:gd name="connsiteX1102" fmla="*/ 10556871 w 12191996"/>
              <a:gd name="connsiteY1102" fmla="*/ 6397622 h 6857997"/>
              <a:gd name="connsiteX1103" fmla="*/ 10522334 w 12191996"/>
              <a:gd name="connsiteY1103" fmla="*/ 6397622 h 6857997"/>
              <a:gd name="connsiteX1104" fmla="*/ 10523788 w 12191996"/>
              <a:gd name="connsiteY1104" fmla="*/ 6486702 h 6857997"/>
              <a:gd name="connsiteX1105" fmla="*/ 10457258 w 12191996"/>
              <a:gd name="connsiteY1105" fmla="*/ 6397622 h 6857997"/>
              <a:gd name="connsiteX1106" fmla="*/ 10327466 w 12191996"/>
              <a:gd name="connsiteY1106" fmla="*/ 6397622 h 6857997"/>
              <a:gd name="connsiteX1107" fmla="*/ 10252071 w 12191996"/>
              <a:gd name="connsiteY1107" fmla="*/ 6461568 h 6857997"/>
              <a:gd name="connsiteX1108" fmla="*/ 10276844 w 12191996"/>
              <a:gd name="connsiteY1108" fmla="*/ 6510358 h 6857997"/>
              <a:gd name="connsiteX1109" fmla="*/ 10326748 w 12191996"/>
              <a:gd name="connsiteY1109" fmla="*/ 6521447 h 6857997"/>
              <a:gd name="connsiteX1110" fmla="*/ 10383833 w 12191996"/>
              <a:gd name="connsiteY1110" fmla="*/ 6521447 h 6857997"/>
              <a:gd name="connsiteX1111" fmla="*/ 10383833 w 12191996"/>
              <a:gd name="connsiteY1111" fmla="*/ 6499639 h 6857997"/>
              <a:gd name="connsiteX1112" fmla="*/ 10328184 w 12191996"/>
              <a:gd name="connsiteY1112" fmla="*/ 6499639 h 6857997"/>
              <a:gd name="connsiteX1113" fmla="*/ 10290128 w 12191996"/>
              <a:gd name="connsiteY1113" fmla="*/ 6469330 h 6857997"/>
              <a:gd name="connsiteX1114" fmla="*/ 10383833 w 12191996"/>
              <a:gd name="connsiteY1114" fmla="*/ 6469330 h 6857997"/>
              <a:gd name="connsiteX1115" fmla="*/ 10383833 w 12191996"/>
              <a:gd name="connsiteY1115" fmla="*/ 6447892 h 6857997"/>
              <a:gd name="connsiteX1116" fmla="*/ 10290128 w 12191996"/>
              <a:gd name="connsiteY1116" fmla="*/ 6447892 h 6857997"/>
              <a:gd name="connsiteX1117" fmla="*/ 10328184 w 12191996"/>
              <a:gd name="connsiteY1117" fmla="*/ 6419061 h 6857997"/>
              <a:gd name="connsiteX1118" fmla="*/ 10383833 w 12191996"/>
              <a:gd name="connsiteY1118" fmla="*/ 6419061 h 6857997"/>
              <a:gd name="connsiteX1119" fmla="*/ 10383833 w 12191996"/>
              <a:gd name="connsiteY1119" fmla="*/ 6397622 h 6857997"/>
              <a:gd name="connsiteX1120" fmla="*/ 10139094 w 12191996"/>
              <a:gd name="connsiteY1120" fmla="*/ 6397622 h 6857997"/>
              <a:gd name="connsiteX1121" fmla="*/ 10082209 w 12191996"/>
              <a:gd name="connsiteY1121" fmla="*/ 6435324 h 6857997"/>
              <a:gd name="connsiteX1122" fmla="*/ 10136195 w 12191996"/>
              <a:gd name="connsiteY1122" fmla="*/ 6471178 h 6857997"/>
              <a:gd name="connsiteX1123" fmla="*/ 10176413 w 12191996"/>
              <a:gd name="connsiteY1123" fmla="*/ 6471178 h 6857997"/>
              <a:gd name="connsiteX1124" fmla="*/ 10200326 w 12191996"/>
              <a:gd name="connsiteY1124" fmla="*/ 6485224 h 6857997"/>
              <a:gd name="connsiteX1125" fmla="*/ 10173877 w 12191996"/>
              <a:gd name="connsiteY1125" fmla="*/ 6499270 h 6857997"/>
              <a:gd name="connsiteX1126" fmla="*/ 10088731 w 12191996"/>
              <a:gd name="connsiteY1126" fmla="*/ 6499270 h 6857997"/>
              <a:gd name="connsiteX1127" fmla="*/ 10088731 w 12191996"/>
              <a:gd name="connsiteY1127" fmla="*/ 6521447 h 6857997"/>
              <a:gd name="connsiteX1128" fmla="*/ 10179311 w 12191996"/>
              <a:gd name="connsiteY1128" fmla="*/ 6521447 h 6857997"/>
              <a:gd name="connsiteX1129" fmla="*/ 10236196 w 12191996"/>
              <a:gd name="connsiteY1129" fmla="*/ 6484115 h 6857997"/>
              <a:gd name="connsiteX1130" fmla="*/ 10184384 w 12191996"/>
              <a:gd name="connsiteY1130" fmla="*/ 6449370 h 6857997"/>
              <a:gd name="connsiteX1131" fmla="*/ 10139456 w 12191996"/>
              <a:gd name="connsiteY1131" fmla="*/ 6449370 h 6857997"/>
              <a:gd name="connsiteX1132" fmla="*/ 10117717 w 12191996"/>
              <a:gd name="connsiteY1132" fmla="*/ 6435694 h 6857997"/>
              <a:gd name="connsiteX1133" fmla="*/ 10144166 w 12191996"/>
              <a:gd name="connsiteY1133" fmla="*/ 6419430 h 6857997"/>
              <a:gd name="connsiteX1134" fmla="*/ 10228225 w 12191996"/>
              <a:gd name="connsiteY1134" fmla="*/ 6419430 h 6857997"/>
              <a:gd name="connsiteX1135" fmla="*/ 10228225 w 12191996"/>
              <a:gd name="connsiteY1135" fmla="*/ 6397622 h 6857997"/>
              <a:gd name="connsiteX1136" fmla="*/ 10828333 w 12191996"/>
              <a:gd name="connsiteY1136" fmla="*/ 6397621 h 6857997"/>
              <a:gd name="connsiteX1137" fmla="*/ 10828333 w 12191996"/>
              <a:gd name="connsiteY1137" fmla="*/ 6521446 h 6857997"/>
              <a:gd name="connsiteX1138" fmla="*/ 10862629 w 12191996"/>
              <a:gd name="connsiteY1138" fmla="*/ 6521446 h 6857997"/>
              <a:gd name="connsiteX1139" fmla="*/ 10862629 w 12191996"/>
              <a:gd name="connsiteY1139" fmla="*/ 6472655 h 6857997"/>
              <a:gd name="connsiteX1140" fmla="*/ 10903128 w 12191996"/>
              <a:gd name="connsiteY1140" fmla="*/ 6472655 h 6857997"/>
              <a:gd name="connsiteX1141" fmla="*/ 10938884 w 12191996"/>
              <a:gd name="connsiteY1141" fmla="*/ 6521446 h 6857997"/>
              <a:gd name="connsiteX1142" fmla="*/ 10977558 w 12191996"/>
              <a:gd name="connsiteY1142" fmla="*/ 6521446 h 6857997"/>
              <a:gd name="connsiteX1143" fmla="*/ 10937059 w 12191996"/>
              <a:gd name="connsiteY1143" fmla="*/ 6469698 h 6857997"/>
              <a:gd name="connsiteX1144" fmla="*/ 10969896 w 12191996"/>
              <a:gd name="connsiteY1144" fmla="*/ 6434584 h 6857997"/>
              <a:gd name="connsiteX1145" fmla="*/ 10912979 w 12191996"/>
              <a:gd name="connsiteY1145" fmla="*/ 6397621 h 6857997"/>
              <a:gd name="connsiteX1146" fmla="*/ 11137895 w 12191996"/>
              <a:gd name="connsiteY1146" fmla="*/ 6394446 h 6857997"/>
              <a:gd name="connsiteX1147" fmla="*/ 11056933 w 12191996"/>
              <a:gd name="connsiteY1147" fmla="*/ 6457451 h 6857997"/>
              <a:gd name="connsiteX1148" fmla="*/ 11137895 w 12191996"/>
              <a:gd name="connsiteY1148" fmla="*/ 6523034 h 6857997"/>
              <a:gd name="connsiteX1149" fmla="*/ 11218858 w 12191996"/>
              <a:gd name="connsiteY1149" fmla="*/ 6458556 h 6857997"/>
              <a:gd name="connsiteX1150" fmla="*/ 11137895 w 12191996"/>
              <a:gd name="connsiteY1150" fmla="*/ 6394446 h 6857997"/>
              <a:gd name="connsiteX1151" fmla="*/ 0 w 12191996"/>
              <a:gd name="connsiteY1151" fmla="*/ 0 h 6857997"/>
              <a:gd name="connsiteX1152" fmla="*/ 12191996 w 12191996"/>
              <a:gd name="connsiteY1152" fmla="*/ 0 h 6857997"/>
              <a:gd name="connsiteX1153" fmla="*/ 12191996 w 12191996"/>
              <a:gd name="connsiteY1153" fmla="*/ 3141658 h 6857997"/>
              <a:gd name="connsiteX1154" fmla="*/ 6095997 w 12191996"/>
              <a:gd name="connsiteY1154" fmla="*/ 3141658 h 6857997"/>
              <a:gd name="connsiteX1155" fmla="*/ 6095997 w 12191996"/>
              <a:gd name="connsiteY1155" fmla="*/ 6237283 h 6857997"/>
              <a:gd name="connsiteX1156" fmla="*/ 12191996 w 12191996"/>
              <a:gd name="connsiteY1156" fmla="*/ 6237283 h 6857997"/>
              <a:gd name="connsiteX1157" fmla="*/ 12191996 w 12191996"/>
              <a:gd name="connsiteY1157" fmla="*/ 6857997 h 6857997"/>
              <a:gd name="connsiteX1158" fmla="*/ 0 w 12191996"/>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91996" h="6857997">
                <a:moveTo>
                  <a:pt x="11197257" y="6583359"/>
                </a:moveTo>
                <a:lnTo>
                  <a:pt x="11207745" y="6602409"/>
                </a:lnTo>
                <a:lnTo>
                  <a:pt x="11187108" y="6602409"/>
                </a:lnTo>
                <a:close/>
                <a:moveTo>
                  <a:pt x="11114083" y="6583359"/>
                </a:moveTo>
                <a:lnTo>
                  <a:pt x="11131338" y="6583359"/>
                </a:lnTo>
                <a:cubicBezTo>
                  <a:pt x="11141347" y="6583359"/>
                  <a:pt x="11145833" y="6584696"/>
                  <a:pt x="11145833" y="6589709"/>
                </a:cubicBezTo>
                <a:cubicBezTo>
                  <a:pt x="11145833" y="6594054"/>
                  <a:pt x="11141347" y="6596059"/>
                  <a:pt x="11132374" y="6596059"/>
                </a:cubicBezTo>
                <a:lnTo>
                  <a:pt x="11114083" y="6596059"/>
                </a:lnTo>
                <a:close/>
                <a:moveTo>
                  <a:pt x="10745783" y="6583359"/>
                </a:moveTo>
                <a:lnTo>
                  <a:pt x="10765350" y="6583359"/>
                </a:lnTo>
                <a:cubicBezTo>
                  <a:pt x="10774772" y="6583359"/>
                  <a:pt x="10779120" y="6584370"/>
                  <a:pt x="10779120" y="6588747"/>
                </a:cubicBezTo>
                <a:cubicBezTo>
                  <a:pt x="10779120" y="6593125"/>
                  <a:pt x="10774772" y="6594472"/>
                  <a:pt x="10765350" y="6594472"/>
                </a:cubicBezTo>
                <a:lnTo>
                  <a:pt x="10745783" y="6594472"/>
                </a:lnTo>
                <a:close/>
                <a:moveTo>
                  <a:pt x="10949955" y="6581771"/>
                </a:moveTo>
                <a:cubicBezTo>
                  <a:pt x="10963542" y="6581771"/>
                  <a:pt x="10969620" y="6587267"/>
                  <a:pt x="10969620" y="6598623"/>
                </a:cubicBezTo>
                <a:cubicBezTo>
                  <a:pt x="10969620" y="6609614"/>
                  <a:pt x="10963542" y="6615109"/>
                  <a:pt x="10949955" y="6615109"/>
                </a:cubicBezTo>
                <a:cubicBezTo>
                  <a:pt x="10936011" y="6615109"/>
                  <a:pt x="10929933" y="6609614"/>
                  <a:pt x="10929933" y="6598257"/>
                </a:cubicBezTo>
                <a:cubicBezTo>
                  <a:pt x="10929933" y="6587267"/>
                  <a:pt x="10936369" y="6581771"/>
                  <a:pt x="10949955" y="6581771"/>
                </a:cubicBezTo>
                <a:close/>
                <a:moveTo>
                  <a:pt x="10682898" y="6581771"/>
                </a:moveTo>
                <a:cubicBezTo>
                  <a:pt x="10696842" y="6581771"/>
                  <a:pt x="10702920" y="6587267"/>
                  <a:pt x="10702920" y="6598623"/>
                </a:cubicBezTo>
                <a:cubicBezTo>
                  <a:pt x="10702920" y="6609614"/>
                  <a:pt x="10696842" y="6615109"/>
                  <a:pt x="10682898" y="6615109"/>
                </a:cubicBezTo>
                <a:cubicBezTo>
                  <a:pt x="10669311" y="6615109"/>
                  <a:pt x="10663233" y="6609614"/>
                  <a:pt x="10663233" y="6598257"/>
                </a:cubicBezTo>
                <a:cubicBezTo>
                  <a:pt x="10663233" y="6587267"/>
                  <a:pt x="10669669" y="6581771"/>
                  <a:pt x="10682898" y="6581771"/>
                </a:cubicBezTo>
                <a:close/>
                <a:moveTo>
                  <a:pt x="11312520" y="6573834"/>
                </a:moveTo>
                <a:lnTo>
                  <a:pt x="11341079" y="6601258"/>
                </a:lnTo>
                <a:lnTo>
                  <a:pt x="11341079" y="6623047"/>
                </a:lnTo>
                <a:lnTo>
                  <a:pt x="11356624" y="6623047"/>
                </a:lnTo>
                <a:lnTo>
                  <a:pt x="11356624" y="6601258"/>
                </a:lnTo>
                <a:lnTo>
                  <a:pt x="11385545" y="6573834"/>
                </a:lnTo>
                <a:lnTo>
                  <a:pt x="11367470" y="6573834"/>
                </a:lnTo>
                <a:lnTo>
                  <a:pt x="11348671" y="6592618"/>
                </a:lnTo>
                <a:lnTo>
                  <a:pt x="11330234" y="6573834"/>
                </a:lnTo>
                <a:close/>
                <a:moveTo>
                  <a:pt x="11242670" y="6573834"/>
                </a:moveTo>
                <a:lnTo>
                  <a:pt x="11242670" y="6623047"/>
                </a:lnTo>
                <a:lnTo>
                  <a:pt x="11259156" y="6623047"/>
                </a:lnTo>
                <a:lnTo>
                  <a:pt x="11258423" y="6585856"/>
                </a:lnTo>
                <a:lnTo>
                  <a:pt x="11291028" y="6623047"/>
                </a:lnTo>
                <a:lnTo>
                  <a:pt x="11309345" y="6623047"/>
                </a:lnTo>
                <a:lnTo>
                  <a:pt x="11309345" y="6573834"/>
                </a:lnTo>
                <a:lnTo>
                  <a:pt x="11293226" y="6573834"/>
                </a:lnTo>
                <a:lnTo>
                  <a:pt x="11293958" y="6609147"/>
                </a:lnTo>
                <a:lnTo>
                  <a:pt x="11262819" y="6573834"/>
                </a:lnTo>
                <a:close/>
                <a:moveTo>
                  <a:pt x="11189997" y="6573834"/>
                </a:moveTo>
                <a:lnTo>
                  <a:pt x="11158533" y="6623047"/>
                </a:lnTo>
                <a:lnTo>
                  <a:pt x="11174980" y="6623047"/>
                </a:lnTo>
                <a:lnTo>
                  <a:pt x="11181773" y="6611401"/>
                </a:lnTo>
                <a:lnTo>
                  <a:pt x="11213595" y="6611401"/>
                </a:lnTo>
                <a:lnTo>
                  <a:pt x="11220388" y="6623047"/>
                </a:lnTo>
                <a:lnTo>
                  <a:pt x="11237908" y="6623047"/>
                </a:lnTo>
                <a:lnTo>
                  <a:pt x="11206444" y="6573834"/>
                </a:lnTo>
                <a:close/>
                <a:moveTo>
                  <a:pt x="11098208" y="6573834"/>
                </a:moveTo>
                <a:lnTo>
                  <a:pt x="11098208" y="6623047"/>
                </a:lnTo>
                <a:lnTo>
                  <a:pt x="11113502" y="6623047"/>
                </a:lnTo>
                <a:lnTo>
                  <a:pt x="11113502" y="6605766"/>
                </a:lnTo>
                <a:lnTo>
                  <a:pt x="11132352" y="6605766"/>
                </a:lnTo>
                <a:cubicBezTo>
                  <a:pt x="11141599" y="6605766"/>
                  <a:pt x="11148713" y="6605766"/>
                  <a:pt x="11154759" y="6602761"/>
                </a:cubicBezTo>
                <a:cubicBezTo>
                  <a:pt x="11160450" y="6600131"/>
                  <a:pt x="11163295" y="6595999"/>
                  <a:pt x="11163295" y="6589988"/>
                </a:cubicBezTo>
                <a:cubicBezTo>
                  <a:pt x="11163295" y="6583977"/>
                  <a:pt x="11159738" y="6579094"/>
                  <a:pt x="11153336" y="6576464"/>
                </a:cubicBezTo>
                <a:cubicBezTo>
                  <a:pt x="11148713" y="6574586"/>
                  <a:pt x="11141599" y="6573834"/>
                  <a:pt x="11131641" y="6573834"/>
                </a:cubicBezTo>
                <a:close/>
                <a:moveTo>
                  <a:pt x="10998195" y="6573834"/>
                </a:moveTo>
                <a:lnTo>
                  <a:pt x="10998195" y="6623047"/>
                </a:lnTo>
                <a:lnTo>
                  <a:pt x="11014084" y="6623047"/>
                </a:lnTo>
                <a:lnTo>
                  <a:pt x="11012639" y="6584353"/>
                </a:lnTo>
                <a:lnTo>
                  <a:pt x="11032500" y="6623047"/>
                </a:lnTo>
                <a:lnTo>
                  <a:pt x="11049111" y="6623047"/>
                </a:lnTo>
                <a:lnTo>
                  <a:pt x="11068249" y="6584729"/>
                </a:lnTo>
                <a:lnTo>
                  <a:pt x="11066805" y="6623047"/>
                </a:lnTo>
                <a:lnTo>
                  <a:pt x="11082332" y="6623047"/>
                </a:lnTo>
                <a:lnTo>
                  <a:pt x="11082332" y="6573834"/>
                </a:lnTo>
                <a:lnTo>
                  <a:pt x="11059221" y="6573834"/>
                </a:lnTo>
                <a:lnTo>
                  <a:pt x="11040444" y="6611401"/>
                </a:lnTo>
                <a:lnTo>
                  <a:pt x="11021306" y="6573834"/>
                </a:lnTo>
                <a:close/>
                <a:moveTo>
                  <a:pt x="10949776" y="6573834"/>
                </a:moveTo>
                <a:cubicBezTo>
                  <a:pt x="10924422" y="6573834"/>
                  <a:pt x="10912470" y="6581433"/>
                  <a:pt x="10912470" y="6597717"/>
                </a:cubicBezTo>
                <a:cubicBezTo>
                  <a:pt x="10912470" y="6615086"/>
                  <a:pt x="10923698" y="6623047"/>
                  <a:pt x="10949776" y="6623047"/>
                </a:cubicBezTo>
                <a:cubicBezTo>
                  <a:pt x="10975130" y="6623047"/>
                  <a:pt x="10987082" y="6615086"/>
                  <a:pt x="10987082" y="6598441"/>
                </a:cubicBezTo>
                <a:cubicBezTo>
                  <a:pt x="10987082" y="6581433"/>
                  <a:pt x="10975130" y="6573834"/>
                  <a:pt x="10949776" y="6573834"/>
                </a:cubicBezTo>
                <a:close/>
                <a:moveTo>
                  <a:pt x="10879898" y="6573834"/>
                </a:moveTo>
                <a:cubicBezTo>
                  <a:pt x="10855498" y="6573834"/>
                  <a:pt x="10844208" y="6582099"/>
                  <a:pt x="10844208" y="6599380"/>
                </a:cubicBezTo>
                <a:cubicBezTo>
                  <a:pt x="10844208" y="6608396"/>
                  <a:pt x="10848214" y="6614782"/>
                  <a:pt x="10855862" y="6618539"/>
                </a:cubicBezTo>
                <a:cubicBezTo>
                  <a:pt x="10863146" y="6622672"/>
                  <a:pt x="10870065" y="6623047"/>
                  <a:pt x="10879170" y="6623047"/>
                </a:cubicBezTo>
                <a:lnTo>
                  <a:pt x="10906120" y="6623047"/>
                </a:lnTo>
                <a:lnTo>
                  <a:pt x="10906120" y="6614407"/>
                </a:lnTo>
                <a:lnTo>
                  <a:pt x="10879898" y="6614407"/>
                </a:lnTo>
                <a:cubicBezTo>
                  <a:pt x="10866788" y="6614407"/>
                  <a:pt x="10861689" y="6610650"/>
                  <a:pt x="10861689" y="6599756"/>
                </a:cubicBezTo>
                <a:cubicBezTo>
                  <a:pt x="10861689" y="6587734"/>
                  <a:pt x="10866788" y="6582475"/>
                  <a:pt x="10879898" y="6582475"/>
                </a:cubicBezTo>
                <a:lnTo>
                  <a:pt x="10906120" y="6582475"/>
                </a:lnTo>
                <a:lnTo>
                  <a:pt x="10906120" y="6573834"/>
                </a:lnTo>
                <a:close/>
                <a:moveTo>
                  <a:pt x="10729908" y="6573834"/>
                </a:moveTo>
                <a:lnTo>
                  <a:pt x="10729908" y="6623047"/>
                </a:lnTo>
                <a:lnTo>
                  <a:pt x="10745800" y="6623047"/>
                </a:lnTo>
                <a:lnTo>
                  <a:pt x="10745800" y="6603888"/>
                </a:lnTo>
                <a:lnTo>
                  <a:pt x="10765018" y="6603888"/>
                </a:lnTo>
                <a:lnTo>
                  <a:pt x="10781649" y="6623047"/>
                </a:lnTo>
                <a:lnTo>
                  <a:pt x="10799758" y="6623047"/>
                </a:lnTo>
                <a:lnTo>
                  <a:pt x="10780910" y="6602385"/>
                </a:lnTo>
                <a:cubicBezTo>
                  <a:pt x="10790519" y="6601258"/>
                  <a:pt x="10796062" y="6596375"/>
                  <a:pt x="10796062" y="6588861"/>
                </a:cubicBezTo>
                <a:cubicBezTo>
                  <a:pt x="10796062" y="6578342"/>
                  <a:pt x="10787562" y="6573834"/>
                  <a:pt x="10769453" y="6573834"/>
                </a:cubicBezTo>
                <a:close/>
                <a:moveTo>
                  <a:pt x="10683076" y="6573834"/>
                </a:moveTo>
                <a:cubicBezTo>
                  <a:pt x="10658085" y="6573834"/>
                  <a:pt x="10645770" y="6581433"/>
                  <a:pt x="10645770" y="6597717"/>
                </a:cubicBezTo>
                <a:cubicBezTo>
                  <a:pt x="10645770" y="6615086"/>
                  <a:pt x="10657360" y="6623047"/>
                  <a:pt x="10683076" y="6623047"/>
                </a:cubicBezTo>
                <a:cubicBezTo>
                  <a:pt x="10708792" y="6623047"/>
                  <a:pt x="10720382" y="6615086"/>
                  <a:pt x="10720382" y="6598441"/>
                </a:cubicBezTo>
                <a:cubicBezTo>
                  <a:pt x="10720382" y="6581433"/>
                  <a:pt x="10708792" y="6573834"/>
                  <a:pt x="10683076" y="6573834"/>
                </a:cubicBezTo>
                <a:close/>
                <a:moveTo>
                  <a:pt x="10593642" y="6573834"/>
                </a:moveTo>
                <a:cubicBezTo>
                  <a:pt x="10576180" y="6573834"/>
                  <a:pt x="10567983" y="6578342"/>
                  <a:pt x="10567983" y="6588861"/>
                </a:cubicBezTo>
                <a:cubicBezTo>
                  <a:pt x="10567983" y="6598629"/>
                  <a:pt x="10575467" y="6603137"/>
                  <a:pt x="10592573" y="6603137"/>
                </a:cubicBezTo>
                <a:lnTo>
                  <a:pt x="10610748" y="6603137"/>
                </a:lnTo>
                <a:cubicBezTo>
                  <a:pt x="10618232" y="6603137"/>
                  <a:pt x="10621796" y="6604264"/>
                  <a:pt x="10621796" y="6608772"/>
                </a:cubicBezTo>
                <a:cubicBezTo>
                  <a:pt x="10621796" y="6612904"/>
                  <a:pt x="10617876" y="6614407"/>
                  <a:pt x="10609679" y="6614407"/>
                </a:cubicBezTo>
                <a:lnTo>
                  <a:pt x="10570834" y="6614407"/>
                </a:lnTo>
                <a:lnTo>
                  <a:pt x="10570834" y="6623047"/>
                </a:lnTo>
                <a:lnTo>
                  <a:pt x="10612174" y="6623047"/>
                </a:lnTo>
                <a:cubicBezTo>
                  <a:pt x="10629636" y="6623047"/>
                  <a:pt x="10637833" y="6618539"/>
                  <a:pt x="10637833" y="6608396"/>
                </a:cubicBezTo>
                <a:cubicBezTo>
                  <a:pt x="10637833" y="6598253"/>
                  <a:pt x="10630705" y="6594496"/>
                  <a:pt x="10614312" y="6594496"/>
                </a:cubicBezTo>
                <a:lnTo>
                  <a:pt x="10593999" y="6594496"/>
                </a:lnTo>
                <a:cubicBezTo>
                  <a:pt x="10587584" y="6594496"/>
                  <a:pt x="10584020" y="6592618"/>
                  <a:pt x="10584020" y="6589237"/>
                </a:cubicBezTo>
                <a:cubicBezTo>
                  <a:pt x="10584020" y="6584729"/>
                  <a:pt x="10587940" y="6582850"/>
                  <a:pt x="10596137" y="6582850"/>
                </a:cubicBezTo>
                <a:lnTo>
                  <a:pt x="10634269" y="6582850"/>
                </a:lnTo>
                <a:lnTo>
                  <a:pt x="10634269" y="6573834"/>
                </a:lnTo>
                <a:close/>
                <a:moveTo>
                  <a:pt x="10490195" y="6573834"/>
                </a:moveTo>
                <a:lnTo>
                  <a:pt x="10490195" y="6623047"/>
                </a:lnTo>
                <a:lnTo>
                  <a:pt x="10506681" y="6623047"/>
                </a:lnTo>
                <a:lnTo>
                  <a:pt x="10505948" y="6585856"/>
                </a:lnTo>
                <a:lnTo>
                  <a:pt x="10538553" y="6623047"/>
                </a:lnTo>
                <a:lnTo>
                  <a:pt x="10556870" y="6623047"/>
                </a:lnTo>
                <a:lnTo>
                  <a:pt x="10556870" y="6573834"/>
                </a:lnTo>
                <a:lnTo>
                  <a:pt x="10540751" y="6573834"/>
                </a:lnTo>
                <a:lnTo>
                  <a:pt x="10541483" y="6609147"/>
                </a:lnTo>
                <a:lnTo>
                  <a:pt x="10510344" y="6573834"/>
                </a:lnTo>
                <a:close/>
                <a:moveTo>
                  <a:pt x="10450207" y="6573834"/>
                </a:moveTo>
                <a:cubicBezTo>
                  <a:pt x="10426649" y="6573834"/>
                  <a:pt x="10415583" y="6582099"/>
                  <a:pt x="10415583" y="6599380"/>
                </a:cubicBezTo>
                <a:cubicBezTo>
                  <a:pt x="10415583" y="6608396"/>
                  <a:pt x="10419153" y="6614782"/>
                  <a:pt x="10427005" y="6618539"/>
                </a:cubicBezTo>
                <a:cubicBezTo>
                  <a:pt x="10434145" y="6622672"/>
                  <a:pt x="10440927" y="6623047"/>
                  <a:pt x="10449850" y="6623047"/>
                </a:cubicBezTo>
                <a:lnTo>
                  <a:pt x="10475908" y="6623047"/>
                </a:lnTo>
                <a:lnTo>
                  <a:pt x="10475908" y="6614407"/>
                </a:lnTo>
                <a:lnTo>
                  <a:pt x="10450564" y="6614407"/>
                </a:lnTo>
                <a:cubicBezTo>
                  <a:pt x="10438428" y="6614407"/>
                  <a:pt x="10433074" y="6611401"/>
                  <a:pt x="10433074" y="6602385"/>
                </a:cubicBezTo>
                <a:lnTo>
                  <a:pt x="10475908" y="6602385"/>
                </a:lnTo>
                <a:lnTo>
                  <a:pt x="10475908" y="6593745"/>
                </a:lnTo>
                <a:lnTo>
                  <a:pt x="10433074" y="6593745"/>
                </a:lnTo>
                <a:cubicBezTo>
                  <a:pt x="10433788" y="6586231"/>
                  <a:pt x="10439499" y="6582475"/>
                  <a:pt x="10450564" y="6582475"/>
                </a:cubicBezTo>
                <a:lnTo>
                  <a:pt x="10475908" y="6582475"/>
                </a:lnTo>
                <a:lnTo>
                  <a:pt x="10475908" y="6573834"/>
                </a:lnTo>
                <a:close/>
                <a:moveTo>
                  <a:pt x="10363811" y="6573834"/>
                </a:moveTo>
                <a:cubicBezTo>
                  <a:pt x="10345992" y="6573834"/>
                  <a:pt x="10337795" y="6578342"/>
                  <a:pt x="10337795" y="6588861"/>
                </a:cubicBezTo>
                <a:cubicBezTo>
                  <a:pt x="10337795" y="6598629"/>
                  <a:pt x="10345635" y="6603137"/>
                  <a:pt x="10362385" y="6603137"/>
                </a:cubicBezTo>
                <a:lnTo>
                  <a:pt x="10380560" y="6603137"/>
                </a:lnTo>
                <a:cubicBezTo>
                  <a:pt x="10388044" y="6603137"/>
                  <a:pt x="10391608" y="6604264"/>
                  <a:pt x="10391608" y="6608772"/>
                </a:cubicBezTo>
                <a:cubicBezTo>
                  <a:pt x="10391608" y="6612904"/>
                  <a:pt x="10387688" y="6614407"/>
                  <a:pt x="10379491" y="6614407"/>
                </a:cubicBezTo>
                <a:lnTo>
                  <a:pt x="10340646" y="6614407"/>
                </a:lnTo>
                <a:lnTo>
                  <a:pt x="10340646" y="6623047"/>
                </a:lnTo>
                <a:lnTo>
                  <a:pt x="10381986" y="6623047"/>
                </a:lnTo>
                <a:cubicBezTo>
                  <a:pt x="10399448" y="6623047"/>
                  <a:pt x="10407645" y="6618539"/>
                  <a:pt x="10407645" y="6608396"/>
                </a:cubicBezTo>
                <a:cubicBezTo>
                  <a:pt x="10407645" y="6598253"/>
                  <a:pt x="10400874" y="6594496"/>
                  <a:pt x="10384124" y="6594496"/>
                </a:cubicBezTo>
                <a:lnTo>
                  <a:pt x="10363811" y="6594496"/>
                </a:lnTo>
                <a:cubicBezTo>
                  <a:pt x="10357396" y="6594496"/>
                  <a:pt x="10354188" y="6592618"/>
                  <a:pt x="10354188" y="6589237"/>
                </a:cubicBezTo>
                <a:cubicBezTo>
                  <a:pt x="10354188" y="6584729"/>
                  <a:pt x="10357752" y="6582850"/>
                  <a:pt x="10365949" y="6582850"/>
                </a:cubicBezTo>
                <a:lnTo>
                  <a:pt x="10404081" y="6582850"/>
                </a:lnTo>
                <a:lnTo>
                  <a:pt x="10404081" y="6573834"/>
                </a:lnTo>
                <a:close/>
                <a:moveTo>
                  <a:pt x="10261294" y="6573834"/>
                </a:moveTo>
                <a:cubicBezTo>
                  <a:pt x="10237736" y="6573834"/>
                  <a:pt x="10226670" y="6582099"/>
                  <a:pt x="10226670" y="6599380"/>
                </a:cubicBezTo>
                <a:cubicBezTo>
                  <a:pt x="10226670" y="6608396"/>
                  <a:pt x="10230240" y="6614782"/>
                  <a:pt x="10237736" y="6618539"/>
                </a:cubicBezTo>
                <a:cubicBezTo>
                  <a:pt x="10245232" y="6622672"/>
                  <a:pt x="10252014" y="6623047"/>
                  <a:pt x="10260937" y="6623047"/>
                </a:cubicBezTo>
                <a:lnTo>
                  <a:pt x="10286995" y="6623047"/>
                </a:lnTo>
                <a:lnTo>
                  <a:pt x="10286995" y="6614407"/>
                </a:lnTo>
                <a:lnTo>
                  <a:pt x="10261651" y="6614407"/>
                </a:lnTo>
                <a:cubicBezTo>
                  <a:pt x="10249515" y="6614407"/>
                  <a:pt x="10244161" y="6611401"/>
                  <a:pt x="10244161" y="6602385"/>
                </a:cubicBezTo>
                <a:lnTo>
                  <a:pt x="10286995" y="6602385"/>
                </a:lnTo>
                <a:lnTo>
                  <a:pt x="10286995" y="6593745"/>
                </a:lnTo>
                <a:lnTo>
                  <a:pt x="10244161" y="6593745"/>
                </a:lnTo>
                <a:cubicBezTo>
                  <a:pt x="10244875" y="6586231"/>
                  <a:pt x="10250586" y="6582475"/>
                  <a:pt x="10261651" y="6582475"/>
                </a:cubicBezTo>
                <a:lnTo>
                  <a:pt x="10286995" y="6582475"/>
                </a:lnTo>
                <a:lnTo>
                  <a:pt x="10286995" y="6573834"/>
                </a:lnTo>
                <a:close/>
                <a:moveTo>
                  <a:pt x="10155233" y="6573834"/>
                </a:moveTo>
                <a:lnTo>
                  <a:pt x="10155233" y="6623047"/>
                </a:lnTo>
                <a:lnTo>
                  <a:pt x="10170859" y="6623047"/>
                </a:lnTo>
                <a:lnTo>
                  <a:pt x="10170859" y="6602385"/>
                </a:lnTo>
                <a:lnTo>
                  <a:pt x="10199932" y="6602385"/>
                </a:lnTo>
                <a:lnTo>
                  <a:pt x="10199932" y="6623047"/>
                </a:lnTo>
                <a:lnTo>
                  <a:pt x="10215558" y="6623047"/>
                </a:lnTo>
                <a:lnTo>
                  <a:pt x="10215558" y="6573834"/>
                </a:lnTo>
                <a:lnTo>
                  <a:pt x="10199932" y="6573834"/>
                </a:lnTo>
                <a:lnTo>
                  <a:pt x="10199932" y="6593745"/>
                </a:lnTo>
                <a:lnTo>
                  <a:pt x="10170859" y="6593745"/>
                </a:lnTo>
                <a:lnTo>
                  <a:pt x="10170859" y="6573834"/>
                </a:lnTo>
                <a:close/>
                <a:moveTo>
                  <a:pt x="10082208" y="6573834"/>
                </a:moveTo>
                <a:lnTo>
                  <a:pt x="10082208" y="6582163"/>
                </a:lnTo>
                <a:lnTo>
                  <a:pt x="10106570" y="6582163"/>
                </a:lnTo>
                <a:lnTo>
                  <a:pt x="10106570" y="6623047"/>
                </a:lnTo>
                <a:lnTo>
                  <a:pt x="10122569" y="6623047"/>
                </a:lnTo>
                <a:lnTo>
                  <a:pt x="10122569" y="6582163"/>
                </a:lnTo>
                <a:lnTo>
                  <a:pt x="10147295" y="6582163"/>
                </a:lnTo>
                <a:lnTo>
                  <a:pt x="10147295" y="6573834"/>
                </a:lnTo>
                <a:close/>
                <a:moveTo>
                  <a:pt x="2164828" y="6506715"/>
                </a:moveTo>
                <a:lnTo>
                  <a:pt x="2164828" y="6521016"/>
                </a:lnTo>
                <a:lnTo>
                  <a:pt x="2170617" y="6521016"/>
                </a:lnTo>
                <a:cubicBezTo>
                  <a:pt x="2170525" y="6525388"/>
                  <a:pt x="2169942" y="6528679"/>
                  <a:pt x="2168875" y="6530888"/>
                </a:cubicBezTo>
                <a:cubicBezTo>
                  <a:pt x="2167801" y="6533097"/>
                  <a:pt x="2166224" y="6534760"/>
                  <a:pt x="2164132" y="6535876"/>
                </a:cubicBezTo>
                <a:lnTo>
                  <a:pt x="2166989" y="6541248"/>
                </a:lnTo>
                <a:cubicBezTo>
                  <a:pt x="2170103" y="6539573"/>
                  <a:pt x="2172478" y="6537166"/>
                  <a:pt x="2174106" y="6534027"/>
                </a:cubicBezTo>
                <a:cubicBezTo>
                  <a:pt x="2175732" y="6530888"/>
                  <a:pt x="2176545" y="6526551"/>
                  <a:pt x="2176545" y="6521016"/>
                </a:cubicBezTo>
                <a:lnTo>
                  <a:pt x="2176545" y="6506715"/>
                </a:lnTo>
                <a:close/>
                <a:moveTo>
                  <a:pt x="6291678" y="6483832"/>
                </a:moveTo>
                <a:lnTo>
                  <a:pt x="6291678" y="6488437"/>
                </a:lnTo>
                <a:cubicBezTo>
                  <a:pt x="6291678" y="6494529"/>
                  <a:pt x="6290934" y="6499169"/>
                  <a:pt x="6289446" y="6502355"/>
                </a:cubicBezTo>
                <a:cubicBezTo>
                  <a:pt x="6287957" y="6505540"/>
                  <a:pt x="6285713" y="6508087"/>
                  <a:pt x="6282713" y="6509994"/>
                </a:cubicBezTo>
                <a:cubicBezTo>
                  <a:pt x="6279714" y="6511901"/>
                  <a:pt x="6276377" y="6512854"/>
                  <a:pt x="6272702" y="6512854"/>
                </a:cubicBezTo>
                <a:cubicBezTo>
                  <a:pt x="6268842" y="6512854"/>
                  <a:pt x="6265819" y="6511796"/>
                  <a:pt x="6263633" y="6509680"/>
                </a:cubicBezTo>
                <a:cubicBezTo>
                  <a:pt x="6261447" y="6507564"/>
                  <a:pt x="6260354" y="6504738"/>
                  <a:pt x="6260354" y="6501204"/>
                </a:cubicBezTo>
                <a:cubicBezTo>
                  <a:pt x="6260354" y="6498925"/>
                  <a:pt x="6260831" y="6496913"/>
                  <a:pt x="6261784" y="6495169"/>
                </a:cubicBezTo>
                <a:cubicBezTo>
                  <a:pt x="6262738" y="6493425"/>
                  <a:pt x="6264075" y="6492076"/>
                  <a:pt x="6265796" y="6491123"/>
                </a:cubicBezTo>
                <a:cubicBezTo>
                  <a:pt x="6267517" y="6490169"/>
                  <a:pt x="6270540" y="6489321"/>
                  <a:pt x="6274865" y="6488576"/>
                </a:cubicBezTo>
                <a:cubicBezTo>
                  <a:pt x="6282306" y="6487274"/>
                  <a:pt x="6287911" y="6485693"/>
                  <a:pt x="6291678" y="6483832"/>
                </a:cubicBezTo>
                <a:close/>
                <a:moveTo>
                  <a:pt x="2657744" y="6483832"/>
                </a:moveTo>
                <a:lnTo>
                  <a:pt x="2657744" y="6488437"/>
                </a:lnTo>
                <a:cubicBezTo>
                  <a:pt x="2657744" y="6494529"/>
                  <a:pt x="2657002" y="6499169"/>
                  <a:pt x="2655513" y="6502355"/>
                </a:cubicBezTo>
                <a:cubicBezTo>
                  <a:pt x="2654022" y="6505540"/>
                  <a:pt x="2651779" y="6508087"/>
                  <a:pt x="2648779" y="6509994"/>
                </a:cubicBezTo>
                <a:cubicBezTo>
                  <a:pt x="2645781" y="6511901"/>
                  <a:pt x="2642444" y="6512854"/>
                  <a:pt x="2638768" y="6512854"/>
                </a:cubicBezTo>
                <a:cubicBezTo>
                  <a:pt x="2634908" y="6512854"/>
                  <a:pt x="2631884" y="6511796"/>
                  <a:pt x="2629699" y="6509680"/>
                </a:cubicBezTo>
                <a:cubicBezTo>
                  <a:pt x="2627512" y="6507564"/>
                  <a:pt x="2626419" y="6504738"/>
                  <a:pt x="2626419" y="6501204"/>
                </a:cubicBezTo>
                <a:cubicBezTo>
                  <a:pt x="2626419" y="6498925"/>
                  <a:pt x="2626899" y="6496913"/>
                  <a:pt x="2627851" y="6495169"/>
                </a:cubicBezTo>
                <a:cubicBezTo>
                  <a:pt x="2628803" y="6493425"/>
                  <a:pt x="2630143" y="6492076"/>
                  <a:pt x="2631864" y="6491123"/>
                </a:cubicBezTo>
                <a:cubicBezTo>
                  <a:pt x="2633583" y="6490169"/>
                  <a:pt x="2636607" y="6489321"/>
                  <a:pt x="2640931" y="6488576"/>
                </a:cubicBezTo>
                <a:cubicBezTo>
                  <a:pt x="2648373" y="6487274"/>
                  <a:pt x="2653976" y="6485693"/>
                  <a:pt x="2657744" y="6483832"/>
                </a:cubicBezTo>
                <a:close/>
                <a:moveTo>
                  <a:pt x="6087297" y="6455578"/>
                </a:moveTo>
                <a:cubicBezTo>
                  <a:pt x="6092411" y="6455578"/>
                  <a:pt x="6096620" y="6457881"/>
                  <a:pt x="6099922" y="6462485"/>
                </a:cubicBezTo>
                <a:cubicBezTo>
                  <a:pt x="6102201" y="6465648"/>
                  <a:pt x="6103573" y="6470438"/>
                  <a:pt x="6104038" y="6476856"/>
                </a:cubicBezTo>
                <a:lnTo>
                  <a:pt x="6070136" y="6476856"/>
                </a:lnTo>
                <a:cubicBezTo>
                  <a:pt x="6070461" y="6470345"/>
                  <a:pt x="6072253" y="6465171"/>
                  <a:pt x="6075505" y="6461334"/>
                </a:cubicBezTo>
                <a:cubicBezTo>
                  <a:pt x="6078763" y="6457497"/>
                  <a:pt x="6082693" y="6455578"/>
                  <a:pt x="6087297" y="6455578"/>
                </a:cubicBezTo>
                <a:close/>
                <a:moveTo>
                  <a:pt x="6018399" y="6455578"/>
                </a:moveTo>
                <a:cubicBezTo>
                  <a:pt x="6023284" y="6455578"/>
                  <a:pt x="6027333" y="6457962"/>
                  <a:pt x="6030545" y="6462729"/>
                </a:cubicBezTo>
                <a:cubicBezTo>
                  <a:pt x="6033757" y="6467496"/>
                  <a:pt x="6035362" y="6475066"/>
                  <a:pt x="6035362" y="6485437"/>
                </a:cubicBezTo>
                <a:cubicBezTo>
                  <a:pt x="6035362" y="6494460"/>
                  <a:pt x="6033757" y="6501204"/>
                  <a:pt x="6030545" y="6505668"/>
                </a:cubicBezTo>
                <a:cubicBezTo>
                  <a:pt x="6027333" y="6510133"/>
                  <a:pt x="6023542" y="6512366"/>
                  <a:pt x="6019168" y="6512366"/>
                </a:cubicBezTo>
                <a:cubicBezTo>
                  <a:pt x="6014746" y="6512366"/>
                  <a:pt x="6010872" y="6510040"/>
                  <a:pt x="6007544" y="6505389"/>
                </a:cubicBezTo>
                <a:cubicBezTo>
                  <a:pt x="6004217" y="6500738"/>
                  <a:pt x="6002552" y="6493623"/>
                  <a:pt x="6002552" y="6484042"/>
                </a:cubicBezTo>
                <a:cubicBezTo>
                  <a:pt x="6002552" y="6474228"/>
                  <a:pt x="6004113" y="6467031"/>
                  <a:pt x="6007230" y="6462450"/>
                </a:cubicBezTo>
                <a:cubicBezTo>
                  <a:pt x="6010347" y="6457869"/>
                  <a:pt x="6014069" y="6455578"/>
                  <a:pt x="6018399" y="6455578"/>
                </a:cubicBezTo>
                <a:close/>
                <a:moveTo>
                  <a:pt x="5829564" y="6455578"/>
                </a:moveTo>
                <a:cubicBezTo>
                  <a:pt x="5834727" y="6455578"/>
                  <a:pt x="5839051" y="6457918"/>
                  <a:pt x="5842540" y="6462598"/>
                </a:cubicBezTo>
                <a:cubicBezTo>
                  <a:pt x="5846028" y="6467278"/>
                  <a:pt x="5847772" y="6474391"/>
                  <a:pt x="5847772" y="6483937"/>
                </a:cubicBezTo>
                <a:cubicBezTo>
                  <a:pt x="5847772" y="6493437"/>
                  <a:pt x="5846040" y="6500549"/>
                  <a:pt x="5842575" y="6505276"/>
                </a:cubicBezTo>
                <a:cubicBezTo>
                  <a:pt x="5839110" y="6510002"/>
                  <a:pt x="5834959" y="6512366"/>
                  <a:pt x="5830122" y="6512366"/>
                </a:cubicBezTo>
                <a:cubicBezTo>
                  <a:pt x="5824960" y="6512366"/>
                  <a:pt x="5820636" y="6510026"/>
                  <a:pt x="5817145" y="6505346"/>
                </a:cubicBezTo>
                <a:cubicBezTo>
                  <a:pt x="5813658" y="6500666"/>
                  <a:pt x="5811914" y="6493530"/>
                  <a:pt x="5811914" y="6483937"/>
                </a:cubicBezTo>
                <a:cubicBezTo>
                  <a:pt x="5811914" y="6474438"/>
                  <a:pt x="5813635" y="6467336"/>
                  <a:pt x="5817079" y="6462633"/>
                </a:cubicBezTo>
                <a:cubicBezTo>
                  <a:pt x="5820521" y="6457930"/>
                  <a:pt x="5824683" y="6455578"/>
                  <a:pt x="5829564" y="6455578"/>
                </a:cubicBezTo>
                <a:close/>
                <a:moveTo>
                  <a:pt x="2774990" y="6455578"/>
                </a:moveTo>
                <a:cubicBezTo>
                  <a:pt x="2779874" y="6455578"/>
                  <a:pt x="2783923" y="6457962"/>
                  <a:pt x="2787135" y="6462729"/>
                </a:cubicBezTo>
                <a:cubicBezTo>
                  <a:pt x="2790345" y="6467496"/>
                  <a:pt x="2791951" y="6475066"/>
                  <a:pt x="2791951" y="6485437"/>
                </a:cubicBezTo>
                <a:cubicBezTo>
                  <a:pt x="2791951" y="6494460"/>
                  <a:pt x="2790345" y="6501204"/>
                  <a:pt x="2787135" y="6505668"/>
                </a:cubicBezTo>
                <a:cubicBezTo>
                  <a:pt x="2783923" y="6510133"/>
                  <a:pt x="2780133" y="6512366"/>
                  <a:pt x="2775759" y="6512366"/>
                </a:cubicBezTo>
                <a:cubicBezTo>
                  <a:pt x="2771336" y="6512366"/>
                  <a:pt x="2767460" y="6510040"/>
                  <a:pt x="2764133" y="6505389"/>
                </a:cubicBezTo>
                <a:cubicBezTo>
                  <a:pt x="2760806" y="6500738"/>
                  <a:pt x="2759145" y="6493623"/>
                  <a:pt x="2759145" y="6484042"/>
                </a:cubicBezTo>
                <a:cubicBezTo>
                  <a:pt x="2759145" y="6474228"/>
                  <a:pt x="2760704" y="6467031"/>
                  <a:pt x="2763822" y="6462450"/>
                </a:cubicBezTo>
                <a:cubicBezTo>
                  <a:pt x="2766936" y="6457869"/>
                  <a:pt x="2770658" y="6455578"/>
                  <a:pt x="2774990" y="6455578"/>
                </a:cubicBezTo>
                <a:close/>
                <a:moveTo>
                  <a:pt x="2510511" y="6455578"/>
                </a:moveTo>
                <a:cubicBezTo>
                  <a:pt x="2515626" y="6455578"/>
                  <a:pt x="2519836" y="6457881"/>
                  <a:pt x="2523140" y="6462485"/>
                </a:cubicBezTo>
                <a:cubicBezTo>
                  <a:pt x="2525417" y="6465648"/>
                  <a:pt x="2526789" y="6470438"/>
                  <a:pt x="2527255" y="6476856"/>
                </a:cubicBezTo>
                <a:lnTo>
                  <a:pt x="2493349" y="6476856"/>
                </a:lnTo>
                <a:cubicBezTo>
                  <a:pt x="2493675" y="6470345"/>
                  <a:pt x="2495465" y="6465171"/>
                  <a:pt x="2498723" y="6461334"/>
                </a:cubicBezTo>
                <a:cubicBezTo>
                  <a:pt x="2501977" y="6457497"/>
                  <a:pt x="2505907" y="6455578"/>
                  <a:pt x="2510511" y="6455578"/>
                </a:cubicBezTo>
                <a:close/>
                <a:moveTo>
                  <a:pt x="1871776" y="6455578"/>
                </a:moveTo>
                <a:cubicBezTo>
                  <a:pt x="1876939" y="6455578"/>
                  <a:pt x="1881264" y="6457918"/>
                  <a:pt x="1884752" y="6462598"/>
                </a:cubicBezTo>
                <a:cubicBezTo>
                  <a:pt x="1888240" y="6467278"/>
                  <a:pt x="1889984" y="6474391"/>
                  <a:pt x="1889984" y="6483937"/>
                </a:cubicBezTo>
                <a:cubicBezTo>
                  <a:pt x="1889984" y="6493437"/>
                  <a:pt x="1888252" y="6500549"/>
                  <a:pt x="1884787" y="6505276"/>
                </a:cubicBezTo>
                <a:cubicBezTo>
                  <a:pt x="1881322" y="6510002"/>
                  <a:pt x="1877171" y="6512366"/>
                  <a:pt x="1872334" y="6512366"/>
                </a:cubicBezTo>
                <a:cubicBezTo>
                  <a:pt x="1867172" y="6512366"/>
                  <a:pt x="1862846" y="6510026"/>
                  <a:pt x="1859358" y="6505346"/>
                </a:cubicBezTo>
                <a:cubicBezTo>
                  <a:pt x="1855870" y="6500666"/>
                  <a:pt x="1854126" y="6493530"/>
                  <a:pt x="1854126" y="6483937"/>
                </a:cubicBezTo>
                <a:cubicBezTo>
                  <a:pt x="1854126" y="6474438"/>
                  <a:pt x="1855847" y="6467336"/>
                  <a:pt x="1859288" y="6462633"/>
                </a:cubicBezTo>
                <a:cubicBezTo>
                  <a:pt x="1862731" y="6457930"/>
                  <a:pt x="1866893" y="6455578"/>
                  <a:pt x="1871776" y="6455578"/>
                </a:cubicBezTo>
                <a:close/>
                <a:moveTo>
                  <a:pt x="1586584" y="6455578"/>
                </a:moveTo>
                <a:cubicBezTo>
                  <a:pt x="1591700" y="6455578"/>
                  <a:pt x="1595909" y="6457881"/>
                  <a:pt x="1599211" y="6462485"/>
                </a:cubicBezTo>
                <a:cubicBezTo>
                  <a:pt x="1601491" y="6465648"/>
                  <a:pt x="1602862" y="6470438"/>
                  <a:pt x="1603327" y="6476856"/>
                </a:cubicBezTo>
                <a:lnTo>
                  <a:pt x="1569422" y="6476856"/>
                </a:lnTo>
                <a:cubicBezTo>
                  <a:pt x="1569748" y="6470345"/>
                  <a:pt x="1571538" y="6465171"/>
                  <a:pt x="1574794" y="6461334"/>
                </a:cubicBezTo>
                <a:cubicBezTo>
                  <a:pt x="1578050" y="6457497"/>
                  <a:pt x="1581980" y="6455578"/>
                  <a:pt x="1586584" y="6455578"/>
                </a:cubicBezTo>
                <a:close/>
                <a:moveTo>
                  <a:pt x="1317685" y="6455578"/>
                </a:moveTo>
                <a:cubicBezTo>
                  <a:pt x="1322486" y="6455578"/>
                  <a:pt x="1326564" y="6457851"/>
                  <a:pt x="1329920" y="6462398"/>
                </a:cubicBezTo>
                <a:cubicBezTo>
                  <a:pt x="1333275" y="6466944"/>
                  <a:pt x="1334953" y="6473880"/>
                  <a:pt x="1334953" y="6483205"/>
                </a:cubicBezTo>
                <a:cubicBezTo>
                  <a:pt x="1334953" y="6492763"/>
                  <a:pt x="1333322" y="6499734"/>
                  <a:pt x="1330059" y="6504117"/>
                </a:cubicBezTo>
                <a:cubicBezTo>
                  <a:pt x="1326797" y="6508500"/>
                  <a:pt x="1322836" y="6510691"/>
                  <a:pt x="1318175" y="6510691"/>
                </a:cubicBezTo>
                <a:cubicBezTo>
                  <a:pt x="1313514" y="6510691"/>
                  <a:pt x="1309575" y="6508453"/>
                  <a:pt x="1306360" y="6503977"/>
                </a:cubicBezTo>
                <a:cubicBezTo>
                  <a:pt x="1303144" y="6499501"/>
                  <a:pt x="1301536" y="6492390"/>
                  <a:pt x="1301536" y="6482645"/>
                </a:cubicBezTo>
                <a:cubicBezTo>
                  <a:pt x="1301536" y="6473693"/>
                  <a:pt x="1303156" y="6466944"/>
                  <a:pt x="1306395" y="6462398"/>
                </a:cubicBezTo>
                <a:cubicBezTo>
                  <a:pt x="1309635" y="6457851"/>
                  <a:pt x="1313398" y="6455578"/>
                  <a:pt x="1317685" y="6455578"/>
                </a:cubicBezTo>
                <a:close/>
                <a:moveTo>
                  <a:pt x="1071676" y="6455578"/>
                </a:moveTo>
                <a:cubicBezTo>
                  <a:pt x="1076839" y="6455578"/>
                  <a:pt x="1081164" y="6457918"/>
                  <a:pt x="1084652" y="6462598"/>
                </a:cubicBezTo>
                <a:cubicBezTo>
                  <a:pt x="1088140" y="6467278"/>
                  <a:pt x="1089884" y="6474391"/>
                  <a:pt x="1089884" y="6483937"/>
                </a:cubicBezTo>
                <a:cubicBezTo>
                  <a:pt x="1089884" y="6493437"/>
                  <a:pt x="1088152" y="6500549"/>
                  <a:pt x="1084687" y="6505276"/>
                </a:cubicBezTo>
                <a:cubicBezTo>
                  <a:pt x="1081222" y="6510002"/>
                  <a:pt x="1077071" y="6512366"/>
                  <a:pt x="1072234" y="6512366"/>
                </a:cubicBezTo>
                <a:cubicBezTo>
                  <a:pt x="1067072" y="6512366"/>
                  <a:pt x="1062746" y="6510026"/>
                  <a:pt x="1059258" y="6505346"/>
                </a:cubicBezTo>
                <a:cubicBezTo>
                  <a:pt x="1055770" y="6500666"/>
                  <a:pt x="1054026" y="6493530"/>
                  <a:pt x="1054026" y="6483937"/>
                </a:cubicBezTo>
                <a:cubicBezTo>
                  <a:pt x="1054026" y="6474438"/>
                  <a:pt x="1055747" y="6467336"/>
                  <a:pt x="1059188" y="6462633"/>
                </a:cubicBezTo>
                <a:cubicBezTo>
                  <a:pt x="1062630" y="6457930"/>
                  <a:pt x="1066793" y="6455578"/>
                  <a:pt x="1071676" y="6455578"/>
                </a:cubicBezTo>
                <a:close/>
                <a:moveTo>
                  <a:pt x="1139788" y="6455090"/>
                </a:moveTo>
                <a:cubicBezTo>
                  <a:pt x="1144380" y="6455090"/>
                  <a:pt x="1148277" y="6457415"/>
                  <a:pt x="1151478" y="6462066"/>
                </a:cubicBezTo>
                <a:cubicBezTo>
                  <a:pt x="1154680" y="6466717"/>
                  <a:pt x="1156280" y="6473880"/>
                  <a:pt x="1156280" y="6483553"/>
                </a:cubicBezTo>
                <a:cubicBezTo>
                  <a:pt x="1156280" y="6493367"/>
                  <a:pt x="1154633" y="6500622"/>
                  <a:pt x="1151339" y="6505320"/>
                </a:cubicBezTo>
                <a:cubicBezTo>
                  <a:pt x="1148046" y="6510017"/>
                  <a:pt x="1144218" y="6512366"/>
                  <a:pt x="1139857" y="6512366"/>
                </a:cubicBezTo>
                <a:cubicBezTo>
                  <a:pt x="1135310" y="6512366"/>
                  <a:pt x="1131436" y="6510098"/>
                  <a:pt x="1128235" y="6505564"/>
                </a:cubicBezTo>
                <a:cubicBezTo>
                  <a:pt x="1125034" y="6501029"/>
                  <a:pt x="1123434" y="6493971"/>
                  <a:pt x="1123434" y="6484391"/>
                </a:cubicBezTo>
                <a:cubicBezTo>
                  <a:pt x="1123434" y="6474856"/>
                  <a:pt x="1125127" y="6467589"/>
                  <a:pt x="1128514" y="6462590"/>
                </a:cubicBezTo>
                <a:cubicBezTo>
                  <a:pt x="1131901" y="6457590"/>
                  <a:pt x="1135659" y="6455090"/>
                  <a:pt x="1139788" y="6455090"/>
                </a:cubicBezTo>
                <a:close/>
                <a:moveTo>
                  <a:pt x="6224384" y="6446928"/>
                </a:moveTo>
                <a:lnTo>
                  <a:pt x="6224384" y="6521016"/>
                </a:lnTo>
                <a:lnTo>
                  <a:pt x="6234640" y="6521016"/>
                </a:lnTo>
                <a:lnTo>
                  <a:pt x="6234640" y="6446928"/>
                </a:lnTo>
                <a:close/>
                <a:moveTo>
                  <a:pt x="5967211" y="6446928"/>
                </a:moveTo>
                <a:lnTo>
                  <a:pt x="5967211" y="6521016"/>
                </a:lnTo>
                <a:lnTo>
                  <a:pt x="5977467" y="6521016"/>
                </a:lnTo>
                <a:lnTo>
                  <a:pt x="5977467" y="6446928"/>
                </a:lnTo>
                <a:close/>
                <a:moveTo>
                  <a:pt x="2380902" y="6446928"/>
                </a:moveTo>
                <a:lnTo>
                  <a:pt x="2380902" y="6521016"/>
                </a:lnTo>
                <a:lnTo>
                  <a:pt x="2391160" y="6521016"/>
                </a:lnTo>
                <a:lnTo>
                  <a:pt x="2391160" y="6446928"/>
                </a:lnTo>
                <a:close/>
                <a:moveTo>
                  <a:pt x="2287711" y="6446928"/>
                </a:moveTo>
                <a:lnTo>
                  <a:pt x="2306375" y="6521016"/>
                </a:lnTo>
                <a:lnTo>
                  <a:pt x="2317119" y="6521016"/>
                </a:lnTo>
                <a:lnTo>
                  <a:pt x="2329394" y="6464020"/>
                </a:lnTo>
                <a:lnTo>
                  <a:pt x="2331698" y="6476647"/>
                </a:lnTo>
                <a:lnTo>
                  <a:pt x="2341394" y="6521016"/>
                </a:lnTo>
                <a:lnTo>
                  <a:pt x="2352113" y="6521016"/>
                </a:lnTo>
                <a:lnTo>
                  <a:pt x="2371081" y="6446928"/>
                </a:lnTo>
                <a:lnTo>
                  <a:pt x="2361033" y="6446928"/>
                </a:lnTo>
                <a:lnTo>
                  <a:pt x="2350666" y="6489762"/>
                </a:lnTo>
                <a:lnTo>
                  <a:pt x="2347183" y="6504064"/>
                </a:lnTo>
                <a:lnTo>
                  <a:pt x="2344125" y="6489902"/>
                </a:lnTo>
                <a:lnTo>
                  <a:pt x="2335086" y="6446928"/>
                </a:lnTo>
                <a:lnTo>
                  <a:pt x="2324456" y="6446928"/>
                </a:lnTo>
                <a:lnTo>
                  <a:pt x="2314822" y="6490320"/>
                </a:lnTo>
                <a:lnTo>
                  <a:pt x="2311609" y="6505599"/>
                </a:lnTo>
                <a:lnTo>
                  <a:pt x="2308033" y="6489693"/>
                </a:lnTo>
                <a:lnTo>
                  <a:pt x="2298356" y="6446928"/>
                </a:lnTo>
                <a:close/>
                <a:moveTo>
                  <a:pt x="1818925" y="6446928"/>
                </a:moveTo>
                <a:lnTo>
                  <a:pt x="1818925" y="6521016"/>
                </a:lnTo>
                <a:lnTo>
                  <a:pt x="1829180" y="6521016"/>
                </a:lnTo>
                <a:lnTo>
                  <a:pt x="1829180" y="6446928"/>
                </a:lnTo>
                <a:close/>
                <a:moveTo>
                  <a:pt x="1752248" y="6446928"/>
                </a:moveTo>
                <a:lnTo>
                  <a:pt x="1752248" y="6521016"/>
                </a:lnTo>
                <a:lnTo>
                  <a:pt x="1762504" y="6521016"/>
                </a:lnTo>
                <a:lnTo>
                  <a:pt x="1762504" y="6446928"/>
                </a:lnTo>
                <a:close/>
                <a:moveTo>
                  <a:pt x="1266473" y="6446928"/>
                </a:moveTo>
                <a:lnTo>
                  <a:pt x="1266473" y="6521016"/>
                </a:lnTo>
                <a:lnTo>
                  <a:pt x="1276729" y="6521016"/>
                </a:lnTo>
                <a:lnTo>
                  <a:pt x="1276729" y="6446928"/>
                </a:lnTo>
                <a:close/>
                <a:moveTo>
                  <a:pt x="6278772" y="6445253"/>
                </a:moveTo>
                <a:cubicBezTo>
                  <a:pt x="6270586" y="6445253"/>
                  <a:pt x="6264296" y="6447067"/>
                  <a:pt x="6259901" y="6450695"/>
                </a:cubicBezTo>
                <a:cubicBezTo>
                  <a:pt x="6255506" y="6454323"/>
                  <a:pt x="6252587" y="6460113"/>
                  <a:pt x="6251146" y="6468066"/>
                </a:cubicBezTo>
                <a:lnTo>
                  <a:pt x="6261261" y="6469740"/>
                </a:lnTo>
                <a:cubicBezTo>
                  <a:pt x="6262377" y="6464272"/>
                  <a:pt x="6264122" y="6460544"/>
                  <a:pt x="6266493" y="6458558"/>
                </a:cubicBezTo>
                <a:cubicBezTo>
                  <a:pt x="6268865" y="6456572"/>
                  <a:pt x="6272447" y="6455578"/>
                  <a:pt x="6277237" y="6455578"/>
                </a:cubicBezTo>
                <a:cubicBezTo>
                  <a:pt x="6282539" y="6455578"/>
                  <a:pt x="6286469" y="6457067"/>
                  <a:pt x="6289027" y="6460043"/>
                </a:cubicBezTo>
                <a:cubicBezTo>
                  <a:pt x="6290841" y="6462090"/>
                  <a:pt x="6291748" y="6465648"/>
                  <a:pt x="6291748" y="6470717"/>
                </a:cubicBezTo>
                <a:lnTo>
                  <a:pt x="6291678" y="6473926"/>
                </a:lnTo>
                <a:cubicBezTo>
                  <a:pt x="6287771" y="6475627"/>
                  <a:pt x="6281632" y="6477092"/>
                  <a:pt x="6273260" y="6478321"/>
                </a:cubicBezTo>
                <a:cubicBezTo>
                  <a:pt x="6267028" y="6479205"/>
                  <a:pt x="6262377" y="6480577"/>
                  <a:pt x="6259308" y="6482437"/>
                </a:cubicBezTo>
                <a:cubicBezTo>
                  <a:pt x="6256238" y="6484298"/>
                  <a:pt x="6253820" y="6486879"/>
                  <a:pt x="6252052" y="6490181"/>
                </a:cubicBezTo>
                <a:cubicBezTo>
                  <a:pt x="6250285" y="6493483"/>
                  <a:pt x="6249401" y="6497274"/>
                  <a:pt x="6249401" y="6501552"/>
                </a:cubicBezTo>
                <a:cubicBezTo>
                  <a:pt x="6249401" y="6508017"/>
                  <a:pt x="6251285" y="6513156"/>
                  <a:pt x="6255052" y="6516970"/>
                </a:cubicBezTo>
                <a:cubicBezTo>
                  <a:pt x="6258820" y="6520784"/>
                  <a:pt x="6263866" y="6522691"/>
                  <a:pt x="6270191" y="6522691"/>
                </a:cubicBezTo>
                <a:cubicBezTo>
                  <a:pt x="6274191" y="6522691"/>
                  <a:pt x="6278051" y="6521783"/>
                  <a:pt x="6281772" y="6519969"/>
                </a:cubicBezTo>
                <a:cubicBezTo>
                  <a:pt x="6285492" y="6518155"/>
                  <a:pt x="6289073" y="6515457"/>
                  <a:pt x="6292515" y="6511876"/>
                </a:cubicBezTo>
                <a:cubicBezTo>
                  <a:pt x="6292841" y="6515412"/>
                  <a:pt x="6293538" y="6518458"/>
                  <a:pt x="6294608" y="6521016"/>
                </a:cubicBezTo>
                <a:lnTo>
                  <a:pt x="6305352" y="6521016"/>
                </a:lnTo>
                <a:cubicBezTo>
                  <a:pt x="6304049" y="6518133"/>
                  <a:pt x="6303177" y="6515168"/>
                  <a:pt x="6302735" y="6512121"/>
                </a:cubicBezTo>
                <a:cubicBezTo>
                  <a:pt x="6302294" y="6509075"/>
                  <a:pt x="6302073" y="6501692"/>
                  <a:pt x="6302073" y="6489972"/>
                </a:cubicBezTo>
                <a:lnTo>
                  <a:pt x="6302073" y="6473228"/>
                </a:lnTo>
                <a:cubicBezTo>
                  <a:pt x="6302073" y="6466438"/>
                  <a:pt x="6301596" y="6461276"/>
                  <a:pt x="6300643" y="6457741"/>
                </a:cubicBezTo>
                <a:cubicBezTo>
                  <a:pt x="6299689" y="6454206"/>
                  <a:pt x="6297399" y="6451241"/>
                  <a:pt x="6293771" y="6448846"/>
                </a:cubicBezTo>
                <a:cubicBezTo>
                  <a:pt x="6290143" y="6446451"/>
                  <a:pt x="6285143" y="6445253"/>
                  <a:pt x="6278772" y="6445253"/>
                </a:cubicBezTo>
                <a:close/>
                <a:moveTo>
                  <a:pt x="6157704" y="6445253"/>
                </a:moveTo>
                <a:cubicBezTo>
                  <a:pt x="6153525" y="6445253"/>
                  <a:pt x="6149822" y="6446259"/>
                  <a:pt x="6146596" y="6448271"/>
                </a:cubicBezTo>
                <a:cubicBezTo>
                  <a:pt x="6143369" y="6450283"/>
                  <a:pt x="6140642" y="6453324"/>
                  <a:pt x="6138413" y="6457393"/>
                </a:cubicBezTo>
                <a:lnTo>
                  <a:pt x="6138413" y="6446928"/>
                </a:lnTo>
                <a:lnTo>
                  <a:pt x="6129134" y="6446928"/>
                </a:lnTo>
                <a:lnTo>
                  <a:pt x="6129134" y="6521016"/>
                </a:lnTo>
                <a:lnTo>
                  <a:pt x="6139390" y="6521016"/>
                </a:lnTo>
                <a:lnTo>
                  <a:pt x="6139390" y="6480510"/>
                </a:lnTo>
                <a:cubicBezTo>
                  <a:pt x="6139390" y="6471571"/>
                  <a:pt x="6140855" y="6465262"/>
                  <a:pt x="6143785" y="6461584"/>
                </a:cubicBezTo>
                <a:cubicBezTo>
                  <a:pt x="6146715" y="6457906"/>
                  <a:pt x="6150645" y="6456067"/>
                  <a:pt x="6155575" y="6456067"/>
                </a:cubicBezTo>
                <a:cubicBezTo>
                  <a:pt x="6158179" y="6456067"/>
                  <a:pt x="6160470" y="6456753"/>
                  <a:pt x="6162446" y="6458127"/>
                </a:cubicBezTo>
                <a:cubicBezTo>
                  <a:pt x="6164423" y="6459500"/>
                  <a:pt x="6165876" y="6461444"/>
                  <a:pt x="6166807" y="6463958"/>
                </a:cubicBezTo>
                <a:cubicBezTo>
                  <a:pt x="6167737" y="6466472"/>
                  <a:pt x="6168202" y="6470453"/>
                  <a:pt x="6168202" y="6475901"/>
                </a:cubicBezTo>
                <a:lnTo>
                  <a:pt x="6168202" y="6521016"/>
                </a:lnTo>
                <a:lnTo>
                  <a:pt x="6178457" y="6521016"/>
                </a:lnTo>
                <a:lnTo>
                  <a:pt x="6178457" y="6475461"/>
                </a:lnTo>
                <a:cubicBezTo>
                  <a:pt x="6178457" y="6468624"/>
                  <a:pt x="6178039" y="6463555"/>
                  <a:pt x="6177203" y="6460253"/>
                </a:cubicBezTo>
                <a:cubicBezTo>
                  <a:pt x="6176368" y="6456950"/>
                  <a:pt x="6175103" y="6454265"/>
                  <a:pt x="6173408" y="6452195"/>
                </a:cubicBezTo>
                <a:cubicBezTo>
                  <a:pt x="6171713" y="6450125"/>
                  <a:pt x="6169485" y="6448451"/>
                  <a:pt x="6166722" y="6447172"/>
                </a:cubicBezTo>
                <a:cubicBezTo>
                  <a:pt x="6163960" y="6445893"/>
                  <a:pt x="6160953" y="6445253"/>
                  <a:pt x="6157704" y="6445253"/>
                </a:cubicBezTo>
                <a:close/>
                <a:moveTo>
                  <a:pt x="6087368" y="6445253"/>
                </a:moveTo>
                <a:cubicBezTo>
                  <a:pt x="6079136" y="6445253"/>
                  <a:pt x="6072333" y="6448614"/>
                  <a:pt x="6066963" y="6455334"/>
                </a:cubicBezTo>
                <a:cubicBezTo>
                  <a:pt x="6061590" y="6462055"/>
                  <a:pt x="6058901" y="6471810"/>
                  <a:pt x="6058901" y="6484600"/>
                </a:cubicBezTo>
                <a:cubicBezTo>
                  <a:pt x="6058901" y="6496925"/>
                  <a:pt x="6061564" y="6506354"/>
                  <a:pt x="6066892" y="6512889"/>
                </a:cubicBezTo>
                <a:cubicBezTo>
                  <a:pt x="6072218" y="6519423"/>
                  <a:pt x="6079183" y="6522691"/>
                  <a:pt x="6087783" y="6522691"/>
                </a:cubicBezTo>
                <a:cubicBezTo>
                  <a:pt x="6094623" y="6522691"/>
                  <a:pt x="6100352" y="6520679"/>
                  <a:pt x="6104980" y="6516656"/>
                </a:cubicBezTo>
                <a:cubicBezTo>
                  <a:pt x="6109608" y="6512633"/>
                  <a:pt x="6112805" y="6506668"/>
                  <a:pt x="6114573" y="6498762"/>
                </a:cubicBezTo>
                <a:lnTo>
                  <a:pt x="6103969" y="6497157"/>
                </a:lnTo>
                <a:cubicBezTo>
                  <a:pt x="6100945" y="6507296"/>
                  <a:pt x="6095574" y="6512366"/>
                  <a:pt x="6087853" y="6512366"/>
                </a:cubicBezTo>
                <a:cubicBezTo>
                  <a:pt x="6082925" y="6512366"/>
                  <a:pt x="6078737" y="6510249"/>
                  <a:pt x="6075296" y="6506017"/>
                </a:cubicBezTo>
                <a:cubicBezTo>
                  <a:pt x="6071857" y="6501785"/>
                  <a:pt x="6069924" y="6495506"/>
                  <a:pt x="6069507" y="6487181"/>
                </a:cubicBezTo>
                <a:lnTo>
                  <a:pt x="6114852" y="6487181"/>
                </a:lnTo>
                <a:lnTo>
                  <a:pt x="6114921" y="6483832"/>
                </a:lnTo>
                <a:cubicBezTo>
                  <a:pt x="6114921" y="6471322"/>
                  <a:pt x="6112294" y="6461764"/>
                  <a:pt x="6107038" y="6455160"/>
                </a:cubicBezTo>
                <a:cubicBezTo>
                  <a:pt x="6101783" y="6448556"/>
                  <a:pt x="6095225" y="6445253"/>
                  <a:pt x="6087368" y="6445253"/>
                </a:cubicBezTo>
                <a:close/>
                <a:moveTo>
                  <a:pt x="5900531" y="6445253"/>
                </a:moveTo>
                <a:cubicBezTo>
                  <a:pt x="5896351" y="6445253"/>
                  <a:pt x="5892648" y="6446259"/>
                  <a:pt x="5889422" y="6448271"/>
                </a:cubicBezTo>
                <a:cubicBezTo>
                  <a:pt x="5886194" y="6450283"/>
                  <a:pt x="5883469" y="6453324"/>
                  <a:pt x="5881238" y="6457393"/>
                </a:cubicBezTo>
                <a:lnTo>
                  <a:pt x="5881238" y="6446928"/>
                </a:lnTo>
                <a:lnTo>
                  <a:pt x="5871961" y="6446928"/>
                </a:lnTo>
                <a:lnTo>
                  <a:pt x="5871961" y="6521016"/>
                </a:lnTo>
                <a:lnTo>
                  <a:pt x="5882218" y="6521016"/>
                </a:lnTo>
                <a:lnTo>
                  <a:pt x="5882218" y="6480510"/>
                </a:lnTo>
                <a:cubicBezTo>
                  <a:pt x="5882218" y="6471571"/>
                  <a:pt x="5883681" y="6465262"/>
                  <a:pt x="5886612" y="6461584"/>
                </a:cubicBezTo>
                <a:cubicBezTo>
                  <a:pt x="5889540" y="6457906"/>
                  <a:pt x="5893472" y="6456067"/>
                  <a:pt x="5898401" y="6456067"/>
                </a:cubicBezTo>
                <a:cubicBezTo>
                  <a:pt x="5901009" y="6456067"/>
                  <a:pt x="5903296" y="6456753"/>
                  <a:pt x="5905276" y="6458127"/>
                </a:cubicBezTo>
                <a:cubicBezTo>
                  <a:pt x="5907250" y="6459500"/>
                  <a:pt x="5908702" y="6461444"/>
                  <a:pt x="5909634" y="6463958"/>
                </a:cubicBezTo>
                <a:cubicBezTo>
                  <a:pt x="5910564" y="6466472"/>
                  <a:pt x="5911030" y="6470453"/>
                  <a:pt x="5911030" y="6475901"/>
                </a:cubicBezTo>
                <a:lnTo>
                  <a:pt x="5911030" y="6521016"/>
                </a:lnTo>
                <a:lnTo>
                  <a:pt x="5921285" y="6521016"/>
                </a:lnTo>
                <a:lnTo>
                  <a:pt x="5921285" y="6475461"/>
                </a:lnTo>
                <a:cubicBezTo>
                  <a:pt x="5921285" y="6468624"/>
                  <a:pt x="5920866" y="6463555"/>
                  <a:pt x="5920030" y="6460253"/>
                </a:cubicBezTo>
                <a:cubicBezTo>
                  <a:pt x="5919195" y="6456950"/>
                  <a:pt x="5917930" y="6454265"/>
                  <a:pt x="5916235" y="6452195"/>
                </a:cubicBezTo>
                <a:cubicBezTo>
                  <a:pt x="5914539" y="6450125"/>
                  <a:pt x="5912313" y="6448451"/>
                  <a:pt x="5909549" y="6447172"/>
                </a:cubicBezTo>
                <a:cubicBezTo>
                  <a:pt x="5906787" y="6445893"/>
                  <a:pt x="5903781" y="6445253"/>
                  <a:pt x="5900531" y="6445253"/>
                </a:cubicBezTo>
                <a:close/>
                <a:moveTo>
                  <a:pt x="5829842" y="6445253"/>
                </a:moveTo>
                <a:cubicBezTo>
                  <a:pt x="5821611" y="6445253"/>
                  <a:pt x="5814808" y="6448509"/>
                  <a:pt x="5809436" y="6455020"/>
                </a:cubicBezTo>
                <a:cubicBezTo>
                  <a:pt x="5804066" y="6461532"/>
                  <a:pt x="5801381" y="6471182"/>
                  <a:pt x="5801381" y="6483972"/>
                </a:cubicBezTo>
                <a:cubicBezTo>
                  <a:pt x="5801381" y="6496715"/>
                  <a:pt x="5804089" y="6506354"/>
                  <a:pt x="5809506" y="6512889"/>
                </a:cubicBezTo>
                <a:cubicBezTo>
                  <a:pt x="5814925" y="6519423"/>
                  <a:pt x="5821704" y="6522691"/>
                  <a:pt x="5829842" y="6522691"/>
                </a:cubicBezTo>
                <a:cubicBezTo>
                  <a:pt x="5838120" y="6522691"/>
                  <a:pt x="5844934" y="6519435"/>
                  <a:pt x="5850285" y="6512924"/>
                </a:cubicBezTo>
                <a:cubicBezTo>
                  <a:pt x="5855632" y="6506412"/>
                  <a:pt x="5858305" y="6496506"/>
                  <a:pt x="5858305" y="6483205"/>
                </a:cubicBezTo>
                <a:cubicBezTo>
                  <a:pt x="5858305" y="6470926"/>
                  <a:pt x="5855587" y="6461532"/>
                  <a:pt x="5850144" y="6455020"/>
                </a:cubicBezTo>
                <a:cubicBezTo>
                  <a:pt x="5844702" y="6448509"/>
                  <a:pt x="5837938" y="6445253"/>
                  <a:pt x="5829842" y="6445253"/>
                </a:cubicBezTo>
                <a:close/>
                <a:moveTo>
                  <a:pt x="2714271" y="6445253"/>
                </a:moveTo>
                <a:cubicBezTo>
                  <a:pt x="2710094" y="6445253"/>
                  <a:pt x="2706388" y="6446259"/>
                  <a:pt x="2703162" y="6448271"/>
                </a:cubicBezTo>
                <a:cubicBezTo>
                  <a:pt x="2699936" y="6450283"/>
                  <a:pt x="2697209" y="6453324"/>
                  <a:pt x="2694979" y="6457393"/>
                </a:cubicBezTo>
                <a:lnTo>
                  <a:pt x="2694979" y="6446928"/>
                </a:lnTo>
                <a:lnTo>
                  <a:pt x="2685702" y="6446928"/>
                </a:lnTo>
                <a:lnTo>
                  <a:pt x="2685702" y="6521016"/>
                </a:lnTo>
                <a:lnTo>
                  <a:pt x="2695956" y="6521016"/>
                </a:lnTo>
                <a:lnTo>
                  <a:pt x="2695956" y="6480510"/>
                </a:lnTo>
                <a:cubicBezTo>
                  <a:pt x="2695956" y="6471571"/>
                  <a:pt x="2697421" y="6465262"/>
                  <a:pt x="2700353" y="6461584"/>
                </a:cubicBezTo>
                <a:cubicBezTo>
                  <a:pt x="2703282" y="6457906"/>
                  <a:pt x="2707212" y="6456067"/>
                  <a:pt x="2712140" y="6456067"/>
                </a:cubicBezTo>
                <a:cubicBezTo>
                  <a:pt x="2714745" y="6456067"/>
                  <a:pt x="2717037" y="6456753"/>
                  <a:pt x="2719012" y="6458127"/>
                </a:cubicBezTo>
                <a:cubicBezTo>
                  <a:pt x="2720992" y="6459500"/>
                  <a:pt x="2722442" y="6461444"/>
                  <a:pt x="2723374" y="6463958"/>
                </a:cubicBezTo>
                <a:cubicBezTo>
                  <a:pt x="2724302" y="6466472"/>
                  <a:pt x="2724768" y="6470453"/>
                  <a:pt x="2724768" y="6475901"/>
                </a:cubicBezTo>
                <a:lnTo>
                  <a:pt x="2724768" y="6521016"/>
                </a:lnTo>
                <a:lnTo>
                  <a:pt x="2735023" y="6521016"/>
                </a:lnTo>
                <a:lnTo>
                  <a:pt x="2735023" y="6475461"/>
                </a:lnTo>
                <a:cubicBezTo>
                  <a:pt x="2735023" y="6468624"/>
                  <a:pt x="2734605" y="6463555"/>
                  <a:pt x="2733768" y="6460253"/>
                </a:cubicBezTo>
                <a:cubicBezTo>
                  <a:pt x="2732936" y="6456950"/>
                  <a:pt x="2731669" y="6454265"/>
                  <a:pt x="2729976" y="6452195"/>
                </a:cubicBezTo>
                <a:cubicBezTo>
                  <a:pt x="2728278" y="6450125"/>
                  <a:pt x="2726053" y="6448451"/>
                  <a:pt x="2723290" y="6447172"/>
                </a:cubicBezTo>
                <a:cubicBezTo>
                  <a:pt x="2720528" y="6445893"/>
                  <a:pt x="2717521" y="6445253"/>
                  <a:pt x="2714271" y="6445253"/>
                </a:cubicBezTo>
                <a:close/>
                <a:moveTo>
                  <a:pt x="2644839" y="6445253"/>
                </a:moveTo>
                <a:cubicBezTo>
                  <a:pt x="2636651" y="6445253"/>
                  <a:pt x="2630365" y="6447067"/>
                  <a:pt x="2625967" y="6450695"/>
                </a:cubicBezTo>
                <a:cubicBezTo>
                  <a:pt x="2621573" y="6454323"/>
                  <a:pt x="2618653" y="6460113"/>
                  <a:pt x="2617211" y="6468066"/>
                </a:cubicBezTo>
                <a:lnTo>
                  <a:pt x="2627327" y="6469740"/>
                </a:lnTo>
                <a:cubicBezTo>
                  <a:pt x="2628444" y="6464272"/>
                  <a:pt x="2630187" y="6460544"/>
                  <a:pt x="2632562" y="6458558"/>
                </a:cubicBezTo>
                <a:cubicBezTo>
                  <a:pt x="2634933" y="6456572"/>
                  <a:pt x="2638514" y="6455578"/>
                  <a:pt x="2643303" y="6455578"/>
                </a:cubicBezTo>
                <a:cubicBezTo>
                  <a:pt x="2648605" y="6455578"/>
                  <a:pt x="2652535" y="6457067"/>
                  <a:pt x="2655093" y="6460043"/>
                </a:cubicBezTo>
                <a:cubicBezTo>
                  <a:pt x="2656907" y="6462090"/>
                  <a:pt x="2657815" y="6465648"/>
                  <a:pt x="2657815" y="6470717"/>
                </a:cubicBezTo>
                <a:lnTo>
                  <a:pt x="2657744" y="6473926"/>
                </a:lnTo>
                <a:cubicBezTo>
                  <a:pt x="2653837" y="6475627"/>
                  <a:pt x="2647697" y="6477092"/>
                  <a:pt x="2639327" y="6478321"/>
                </a:cubicBezTo>
                <a:cubicBezTo>
                  <a:pt x="2633095" y="6479205"/>
                  <a:pt x="2628444" y="6480577"/>
                  <a:pt x="2625374" y="6482437"/>
                </a:cubicBezTo>
                <a:cubicBezTo>
                  <a:pt x="2622305" y="6484298"/>
                  <a:pt x="2619888" y="6486879"/>
                  <a:pt x="2618117" y="6490181"/>
                </a:cubicBezTo>
                <a:cubicBezTo>
                  <a:pt x="2616351" y="6493483"/>
                  <a:pt x="2615466" y="6497274"/>
                  <a:pt x="2615466" y="6501552"/>
                </a:cubicBezTo>
                <a:cubicBezTo>
                  <a:pt x="2615466" y="6508017"/>
                  <a:pt x="2617352" y="6513156"/>
                  <a:pt x="2621117" y="6516970"/>
                </a:cubicBezTo>
                <a:cubicBezTo>
                  <a:pt x="2624885" y="6520784"/>
                  <a:pt x="2629931" y="6522691"/>
                  <a:pt x="2636258" y="6522691"/>
                </a:cubicBezTo>
                <a:cubicBezTo>
                  <a:pt x="2640257" y="6522691"/>
                  <a:pt x="2644116" y="6521783"/>
                  <a:pt x="2647837" y="6519969"/>
                </a:cubicBezTo>
                <a:cubicBezTo>
                  <a:pt x="2651557" y="6518155"/>
                  <a:pt x="2655138" y="6515457"/>
                  <a:pt x="2658582" y="6511876"/>
                </a:cubicBezTo>
                <a:cubicBezTo>
                  <a:pt x="2658907" y="6515412"/>
                  <a:pt x="2659605" y="6518458"/>
                  <a:pt x="2660674" y="6521016"/>
                </a:cubicBezTo>
                <a:lnTo>
                  <a:pt x="2671419" y="6521016"/>
                </a:lnTo>
                <a:cubicBezTo>
                  <a:pt x="2670114" y="6518133"/>
                  <a:pt x="2669242" y="6515168"/>
                  <a:pt x="2668802" y="6512121"/>
                </a:cubicBezTo>
                <a:cubicBezTo>
                  <a:pt x="2668359" y="6509075"/>
                  <a:pt x="2668139" y="6501692"/>
                  <a:pt x="2668139" y="6489972"/>
                </a:cubicBezTo>
                <a:lnTo>
                  <a:pt x="2668139" y="6473228"/>
                </a:lnTo>
                <a:cubicBezTo>
                  <a:pt x="2668139" y="6466438"/>
                  <a:pt x="2667663" y="6461276"/>
                  <a:pt x="2666708" y="6457741"/>
                </a:cubicBezTo>
                <a:cubicBezTo>
                  <a:pt x="2665757" y="6454206"/>
                  <a:pt x="2663466" y="6451241"/>
                  <a:pt x="2659837" y="6448846"/>
                </a:cubicBezTo>
                <a:cubicBezTo>
                  <a:pt x="2656209" y="6446451"/>
                  <a:pt x="2651208" y="6445253"/>
                  <a:pt x="2644839" y="6445253"/>
                </a:cubicBezTo>
                <a:close/>
                <a:moveTo>
                  <a:pt x="2574815" y="6445253"/>
                </a:moveTo>
                <a:cubicBezTo>
                  <a:pt x="2572348" y="6445253"/>
                  <a:pt x="2570128" y="6446102"/>
                  <a:pt x="2568151" y="6447800"/>
                </a:cubicBezTo>
                <a:cubicBezTo>
                  <a:pt x="2566174" y="6449497"/>
                  <a:pt x="2564001" y="6452951"/>
                  <a:pt x="2561629" y="6458160"/>
                </a:cubicBezTo>
                <a:lnTo>
                  <a:pt x="2561629" y="6446928"/>
                </a:lnTo>
                <a:lnTo>
                  <a:pt x="2552350" y="6446928"/>
                </a:lnTo>
                <a:lnTo>
                  <a:pt x="2552350" y="6521016"/>
                </a:lnTo>
                <a:lnTo>
                  <a:pt x="2562605" y="6521016"/>
                </a:lnTo>
                <a:lnTo>
                  <a:pt x="2562605" y="6482228"/>
                </a:lnTo>
                <a:cubicBezTo>
                  <a:pt x="2562605" y="6476833"/>
                  <a:pt x="2563260" y="6471740"/>
                  <a:pt x="2564558" y="6466950"/>
                </a:cubicBezTo>
                <a:cubicBezTo>
                  <a:pt x="2565303" y="6464206"/>
                  <a:pt x="2566582" y="6462066"/>
                  <a:pt x="2568395" y="6460532"/>
                </a:cubicBezTo>
                <a:cubicBezTo>
                  <a:pt x="2570209" y="6458997"/>
                  <a:pt x="2572211" y="6458229"/>
                  <a:pt x="2574395" y="6458229"/>
                </a:cubicBezTo>
                <a:cubicBezTo>
                  <a:pt x="2576814" y="6458229"/>
                  <a:pt x="2579304" y="6459136"/>
                  <a:pt x="2581860" y="6460950"/>
                </a:cubicBezTo>
                <a:lnTo>
                  <a:pt x="2585348" y="6449300"/>
                </a:lnTo>
                <a:cubicBezTo>
                  <a:pt x="2581767" y="6446602"/>
                  <a:pt x="2578257" y="6445253"/>
                  <a:pt x="2574815" y="6445253"/>
                </a:cubicBezTo>
                <a:close/>
                <a:moveTo>
                  <a:pt x="2510583" y="6445253"/>
                </a:moveTo>
                <a:cubicBezTo>
                  <a:pt x="2502349" y="6445253"/>
                  <a:pt x="2495548" y="6448614"/>
                  <a:pt x="2490178" y="6455334"/>
                </a:cubicBezTo>
                <a:cubicBezTo>
                  <a:pt x="2484802" y="6462055"/>
                  <a:pt x="2482119" y="6471810"/>
                  <a:pt x="2482119" y="6484600"/>
                </a:cubicBezTo>
                <a:cubicBezTo>
                  <a:pt x="2482119" y="6496925"/>
                  <a:pt x="2484780" y="6506354"/>
                  <a:pt x="2490104" y="6512889"/>
                </a:cubicBezTo>
                <a:cubicBezTo>
                  <a:pt x="2495431" y="6519423"/>
                  <a:pt x="2502398" y="6522691"/>
                  <a:pt x="2511000" y="6522691"/>
                </a:cubicBezTo>
                <a:cubicBezTo>
                  <a:pt x="2517838" y="6522691"/>
                  <a:pt x="2523569" y="6520679"/>
                  <a:pt x="2528195" y="6516656"/>
                </a:cubicBezTo>
                <a:cubicBezTo>
                  <a:pt x="2532826" y="6512633"/>
                  <a:pt x="2536021" y="6506668"/>
                  <a:pt x="2537790" y="6498762"/>
                </a:cubicBezTo>
                <a:lnTo>
                  <a:pt x="2527186" y="6497157"/>
                </a:lnTo>
                <a:cubicBezTo>
                  <a:pt x="2524162" y="6507296"/>
                  <a:pt x="2518789" y="6512366"/>
                  <a:pt x="2511068" y="6512366"/>
                </a:cubicBezTo>
                <a:cubicBezTo>
                  <a:pt x="2506139" y="6512366"/>
                  <a:pt x="2501953" y="6510249"/>
                  <a:pt x="2498511" y="6506017"/>
                </a:cubicBezTo>
                <a:cubicBezTo>
                  <a:pt x="2495071" y="6501785"/>
                  <a:pt x="2493141" y="6495506"/>
                  <a:pt x="2492723" y="6487181"/>
                </a:cubicBezTo>
                <a:lnTo>
                  <a:pt x="2538068" y="6487181"/>
                </a:lnTo>
                <a:lnTo>
                  <a:pt x="2538139" y="6483832"/>
                </a:lnTo>
                <a:cubicBezTo>
                  <a:pt x="2538139" y="6471322"/>
                  <a:pt x="2535510" y="6461764"/>
                  <a:pt x="2530255" y="6455160"/>
                </a:cubicBezTo>
                <a:cubicBezTo>
                  <a:pt x="2525001" y="6448556"/>
                  <a:pt x="2518440" y="6445253"/>
                  <a:pt x="2510583" y="6445253"/>
                </a:cubicBezTo>
                <a:close/>
                <a:moveTo>
                  <a:pt x="1942743" y="6445253"/>
                </a:moveTo>
                <a:cubicBezTo>
                  <a:pt x="1938564" y="6445253"/>
                  <a:pt x="1934861" y="6446259"/>
                  <a:pt x="1931635" y="6448271"/>
                </a:cubicBezTo>
                <a:cubicBezTo>
                  <a:pt x="1928408" y="6450283"/>
                  <a:pt x="1925681" y="6453324"/>
                  <a:pt x="1923452" y="6457393"/>
                </a:cubicBezTo>
                <a:lnTo>
                  <a:pt x="1923452" y="6446928"/>
                </a:lnTo>
                <a:lnTo>
                  <a:pt x="1914173" y="6446928"/>
                </a:lnTo>
                <a:lnTo>
                  <a:pt x="1914173" y="6521016"/>
                </a:lnTo>
                <a:lnTo>
                  <a:pt x="1924429" y="6521016"/>
                </a:lnTo>
                <a:lnTo>
                  <a:pt x="1924429" y="6480510"/>
                </a:lnTo>
                <a:cubicBezTo>
                  <a:pt x="1924429" y="6471571"/>
                  <a:pt x="1925894" y="6465262"/>
                  <a:pt x="1928824" y="6461584"/>
                </a:cubicBezTo>
                <a:cubicBezTo>
                  <a:pt x="1931754" y="6457906"/>
                  <a:pt x="1935684" y="6456067"/>
                  <a:pt x="1940614" y="6456067"/>
                </a:cubicBezTo>
                <a:cubicBezTo>
                  <a:pt x="1943218" y="6456067"/>
                  <a:pt x="1945509" y="6456753"/>
                  <a:pt x="1947485" y="6458127"/>
                </a:cubicBezTo>
                <a:cubicBezTo>
                  <a:pt x="1949462" y="6459500"/>
                  <a:pt x="1950915" y="6461444"/>
                  <a:pt x="1951846" y="6463958"/>
                </a:cubicBezTo>
                <a:cubicBezTo>
                  <a:pt x="1952776" y="6466472"/>
                  <a:pt x="1953242" y="6470453"/>
                  <a:pt x="1953242" y="6475901"/>
                </a:cubicBezTo>
                <a:lnTo>
                  <a:pt x="1953242" y="6521016"/>
                </a:lnTo>
                <a:lnTo>
                  <a:pt x="1963497" y="6521016"/>
                </a:lnTo>
                <a:lnTo>
                  <a:pt x="1963497" y="6475461"/>
                </a:lnTo>
                <a:cubicBezTo>
                  <a:pt x="1963497" y="6468624"/>
                  <a:pt x="1963078" y="6463555"/>
                  <a:pt x="1962243" y="6460253"/>
                </a:cubicBezTo>
                <a:cubicBezTo>
                  <a:pt x="1961407" y="6456950"/>
                  <a:pt x="1960142" y="6454265"/>
                  <a:pt x="1958447" y="6452195"/>
                </a:cubicBezTo>
                <a:cubicBezTo>
                  <a:pt x="1956752" y="6450125"/>
                  <a:pt x="1954524" y="6448451"/>
                  <a:pt x="1951761" y="6447172"/>
                </a:cubicBezTo>
                <a:cubicBezTo>
                  <a:pt x="1948998" y="6445893"/>
                  <a:pt x="1945992" y="6445253"/>
                  <a:pt x="1942743" y="6445253"/>
                </a:cubicBezTo>
                <a:close/>
                <a:moveTo>
                  <a:pt x="1872055" y="6445253"/>
                </a:moveTo>
                <a:cubicBezTo>
                  <a:pt x="1863823" y="6445253"/>
                  <a:pt x="1857021" y="6448509"/>
                  <a:pt x="1851649" y="6455020"/>
                </a:cubicBezTo>
                <a:cubicBezTo>
                  <a:pt x="1846277" y="6461532"/>
                  <a:pt x="1843593" y="6471182"/>
                  <a:pt x="1843593" y="6483972"/>
                </a:cubicBezTo>
                <a:cubicBezTo>
                  <a:pt x="1843593" y="6496715"/>
                  <a:pt x="1846301" y="6506354"/>
                  <a:pt x="1851719" y="6512889"/>
                </a:cubicBezTo>
                <a:cubicBezTo>
                  <a:pt x="1857137" y="6519423"/>
                  <a:pt x="1863916" y="6522691"/>
                  <a:pt x="1872055" y="6522691"/>
                </a:cubicBezTo>
                <a:cubicBezTo>
                  <a:pt x="1880334" y="6522691"/>
                  <a:pt x="1887147" y="6519435"/>
                  <a:pt x="1892496" y="6512924"/>
                </a:cubicBezTo>
                <a:cubicBezTo>
                  <a:pt x="1897844" y="6506412"/>
                  <a:pt x="1900519" y="6496506"/>
                  <a:pt x="1900519" y="6483205"/>
                </a:cubicBezTo>
                <a:cubicBezTo>
                  <a:pt x="1900519" y="6470926"/>
                  <a:pt x="1897798" y="6461532"/>
                  <a:pt x="1892356" y="6455020"/>
                </a:cubicBezTo>
                <a:cubicBezTo>
                  <a:pt x="1886915" y="6448509"/>
                  <a:pt x="1880148" y="6445253"/>
                  <a:pt x="1872055" y="6445253"/>
                </a:cubicBezTo>
                <a:close/>
                <a:moveTo>
                  <a:pt x="1803287" y="6445253"/>
                </a:moveTo>
                <a:cubicBezTo>
                  <a:pt x="1800822" y="6445253"/>
                  <a:pt x="1798602" y="6446102"/>
                  <a:pt x="1796625" y="6447800"/>
                </a:cubicBezTo>
                <a:cubicBezTo>
                  <a:pt x="1794648" y="6449497"/>
                  <a:pt x="1792474" y="6452951"/>
                  <a:pt x="1790103" y="6458160"/>
                </a:cubicBezTo>
                <a:lnTo>
                  <a:pt x="1790103" y="6446928"/>
                </a:lnTo>
                <a:lnTo>
                  <a:pt x="1780823" y="6446928"/>
                </a:lnTo>
                <a:lnTo>
                  <a:pt x="1780823" y="6521016"/>
                </a:lnTo>
                <a:lnTo>
                  <a:pt x="1791079" y="6521016"/>
                </a:lnTo>
                <a:lnTo>
                  <a:pt x="1791079" y="6482228"/>
                </a:lnTo>
                <a:cubicBezTo>
                  <a:pt x="1791079" y="6476833"/>
                  <a:pt x="1791730" y="6471740"/>
                  <a:pt x="1793032" y="6466950"/>
                </a:cubicBezTo>
                <a:cubicBezTo>
                  <a:pt x="1793776" y="6464206"/>
                  <a:pt x="1795056" y="6462066"/>
                  <a:pt x="1796869" y="6460532"/>
                </a:cubicBezTo>
                <a:cubicBezTo>
                  <a:pt x="1798683" y="6458997"/>
                  <a:pt x="1800683" y="6458229"/>
                  <a:pt x="1802869" y="6458229"/>
                </a:cubicBezTo>
                <a:cubicBezTo>
                  <a:pt x="1805287" y="6458229"/>
                  <a:pt x="1807775" y="6459136"/>
                  <a:pt x="1810333" y="6460950"/>
                </a:cubicBezTo>
                <a:lnTo>
                  <a:pt x="1813822" y="6449300"/>
                </a:lnTo>
                <a:cubicBezTo>
                  <a:pt x="1810240" y="6446602"/>
                  <a:pt x="1806729" y="6445253"/>
                  <a:pt x="1803287" y="6445253"/>
                </a:cubicBezTo>
                <a:close/>
                <a:moveTo>
                  <a:pt x="1715748" y="6445253"/>
                </a:moveTo>
                <a:cubicBezTo>
                  <a:pt x="1708586" y="6445253"/>
                  <a:pt x="1702982" y="6447230"/>
                  <a:pt x="1698935" y="6451183"/>
                </a:cubicBezTo>
                <a:cubicBezTo>
                  <a:pt x="1694889" y="6455137"/>
                  <a:pt x="1692866" y="6460276"/>
                  <a:pt x="1692866" y="6466601"/>
                </a:cubicBezTo>
                <a:cubicBezTo>
                  <a:pt x="1692866" y="6470275"/>
                  <a:pt x="1693610" y="6473554"/>
                  <a:pt x="1695099" y="6476438"/>
                </a:cubicBezTo>
                <a:cubicBezTo>
                  <a:pt x="1696587" y="6479321"/>
                  <a:pt x="1698680" y="6481623"/>
                  <a:pt x="1701377" y="6483344"/>
                </a:cubicBezTo>
                <a:cubicBezTo>
                  <a:pt x="1704075" y="6485065"/>
                  <a:pt x="1709423" y="6487158"/>
                  <a:pt x="1717423" y="6489623"/>
                </a:cubicBezTo>
                <a:cubicBezTo>
                  <a:pt x="1722957" y="6491297"/>
                  <a:pt x="1726445" y="6492692"/>
                  <a:pt x="1727887" y="6493809"/>
                </a:cubicBezTo>
                <a:cubicBezTo>
                  <a:pt x="1729980" y="6495436"/>
                  <a:pt x="1731026" y="6497715"/>
                  <a:pt x="1731026" y="6500645"/>
                </a:cubicBezTo>
                <a:cubicBezTo>
                  <a:pt x="1731026" y="6504041"/>
                  <a:pt x="1729810" y="6506843"/>
                  <a:pt x="1727373" y="6509052"/>
                </a:cubicBezTo>
                <a:cubicBezTo>
                  <a:pt x="1724937" y="6511261"/>
                  <a:pt x="1721491" y="6512366"/>
                  <a:pt x="1717037" y="6512366"/>
                </a:cubicBezTo>
                <a:cubicBezTo>
                  <a:pt x="1712583" y="6512366"/>
                  <a:pt x="1709010" y="6511092"/>
                  <a:pt x="1706319" y="6508546"/>
                </a:cubicBezTo>
                <a:cubicBezTo>
                  <a:pt x="1703628" y="6506000"/>
                  <a:pt x="1701980" y="6502110"/>
                  <a:pt x="1701377" y="6496878"/>
                </a:cubicBezTo>
                <a:lnTo>
                  <a:pt x="1691122" y="6498832"/>
                </a:lnTo>
                <a:cubicBezTo>
                  <a:pt x="1693447" y="6514738"/>
                  <a:pt x="1701889" y="6522691"/>
                  <a:pt x="1716446" y="6522691"/>
                </a:cubicBezTo>
                <a:cubicBezTo>
                  <a:pt x="1724213" y="6522691"/>
                  <a:pt x="1730340" y="6520501"/>
                  <a:pt x="1734829" y="6516121"/>
                </a:cubicBezTo>
                <a:cubicBezTo>
                  <a:pt x="1739317" y="6511742"/>
                  <a:pt x="1741562" y="6506011"/>
                  <a:pt x="1741562" y="6498930"/>
                </a:cubicBezTo>
                <a:cubicBezTo>
                  <a:pt x="1741562" y="6495109"/>
                  <a:pt x="1740866" y="6491813"/>
                  <a:pt x="1739475" y="6489041"/>
                </a:cubicBezTo>
                <a:cubicBezTo>
                  <a:pt x="1738085" y="6486269"/>
                  <a:pt x="1736139" y="6484080"/>
                  <a:pt x="1733637" y="6482472"/>
                </a:cubicBezTo>
                <a:cubicBezTo>
                  <a:pt x="1731135" y="6480865"/>
                  <a:pt x="1725623" y="6478709"/>
                  <a:pt x="1717100" y="6476005"/>
                </a:cubicBezTo>
                <a:cubicBezTo>
                  <a:pt x="1710904" y="6473967"/>
                  <a:pt x="1707175" y="6472485"/>
                  <a:pt x="1705917" y="6471559"/>
                </a:cubicBezTo>
                <a:cubicBezTo>
                  <a:pt x="1703821" y="6469984"/>
                  <a:pt x="1702772" y="6467830"/>
                  <a:pt x="1702772" y="6465097"/>
                </a:cubicBezTo>
                <a:cubicBezTo>
                  <a:pt x="1702772" y="6462318"/>
                  <a:pt x="1703865" y="6460037"/>
                  <a:pt x="1706052" y="6458253"/>
                </a:cubicBezTo>
                <a:cubicBezTo>
                  <a:pt x="1708237" y="6456470"/>
                  <a:pt x="1711563" y="6455578"/>
                  <a:pt x="1716027" y="6455578"/>
                </a:cubicBezTo>
                <a:cubicBezTo>
                  <a:pt x="1723887" y="6455578"/>
                  <a:pt x="1728282" y="6459625"/>
                  <a:pt x="1729213" y="6467717"/>
                </a:cubicBezTo>
                <a:lnTo>
                  <a:pt x="1739260" y="6466043"/>
                </a:lnTo>
                <a:cubicBezTo>
                  <a:pt x="1738561" y="6460927"/>
                  <a:pt x="1737305" y="6456997"/>
                  <a:pt x="1735491" y="6454253"/>
                </a:cubicBezTo>
                <a:cubicBezTo>
                  <a:pt x="1733677" y="6451509"/>
                  <a:pt x="1731061" y="6449323"/>
                  <a:pt x="1727643" y="6447695"/>
                </a:cubicBezTo>
                <a:cubicBezTo>
                  <a:pt x="1724225" y="6446067"/>
                  <a:pt x="1720260" y="6445253"/>
                  <a:pt x="1715748" y="6445253"/>
                </a:cubicBezTo>
                <a:close/>
                <a:moveTo>
                  <a:pt x="1656992" y="6445253"/>
                </a:moveTo>
                <a:cubicBezTo>
                  <a:pt x="1652814" y="6445253"/>
                  <a:pt x="1649111" y="6446259"/>
                  <a:pt x="1645885" y="6448271"/>
                </a:cubicBezTo>
                <a:cubicBezTo>
                  <a:pt x="1642658" y="6450283"/>
                  <a:pt x="1639931" y="6453324"/>
                  <a:pt x="1637702" y="6457393"/>
                </a:cubicBezTo>
                <a:lnTo>
                  <a:pt x="1637702" y="6446928"/>
                </a:lnTo>
                <a:lnTo>
                  <a:pt x="1628424" y="6446928"/>
                </a:lnTo>
                <a:lnTo>
                  <a:pt x="1628424" y="6521016"/>
                </a:lnTo>
                <a:lnTo>
                  <a:pt x="1638679" y="6521016"/>
                </a:lnTo>
                <a:lnTo>
                  <a:pt x="1638679" y="6480510"/>
                </a:lnTo>
                <a:cubicBezTo>
                  <a:pt x="1638679" y="6471571"/>
                  <a:pt x="1640144" y="6465262"/>
                  <a:pt x="1643074" y="6461584"/>
                </a:cubicBezTo>
                <a:cubicBezTo>
                  <a:pt x="1646004" y="6457906"/>
                  <a:pt x="1649934" y="6456067"/>
                  <a:pt x="1654864" y="6456067"/>
                </a:cubicBezTo>
                <a:cubicBezTo>
                  <a:pt x="1657468" y="6456067"/>
                  <a:pt x="1659759" y="6456753"/>
                  <a:pt x="1661735" y="6458127"/>
                </a:cubicBezTo>
                <a:cubicBezTo>
                  <a:pt x="1663712" y="6459500"/>
                  <a:pt x="1665165" y="6461444"/>
                  <a:pt x="1666095" y="6463958"/>
                </a:cubicBezTo>
                <a:cubicBezTo>
                  <a:pt x="1667026" y="6466472"/>
                  <a:pt x="1667491" y="6470453"/>
                  <a:pt x="1667491" y="6475901"/>
                </a:cubicBezTo>
                <a:lnTo>
                  <a:pt x="1667491" y="6521016"/>
                </a:lnTo>
                <a:lnTo>
                  <a:pt x="1677746" y="6521016"/>
                </a:lnTo>
                <a:lnTo>
                  <a:pt x="1677746" y="6475461"/>
                </a:lnTo>
                <a:cubicBezTo>
                  <a:pt x="1677746" y="6468624"/>
                  <a:pt x="1677328" y="6463555"/>
                  <a:pt x="1676493" y="6460253"/>
                </a:cubicBezTo>
                <a:cubicBezTo>
                  <a:pt x="1675657" y="6456950"/>
                  <a:pt x="1674392" y="6454265"/>
                  <a:pt x="1672697" y="6452195"/>
                </a:cubicBezTo>
                <a:cubicBezTo>
                  <a:pt x="1671002" y="6450125"/>
                  <a:pt x="1668774" y="6448451"/>
                  <a:pt x="1666011" y="6447172"/>
                </a:cubicBezTo>
                <a:cubicBezTo>
                  <a:pt x="1663248" y="6445893"/>
                  <a:pt x="1660242" y="6445253"/>
                  <a:pt x="1656992" y="6445253"/>
                </a:cubicBezTo>
                <a:close/>
                <a:moveTo>
                  <a:pt x="1586654" y="6445253"/>
                </a:moveTo>
                <a:cubicBezTo>
                  <a:pt x="1578422" y="6445253"/>
                  <a:pt x="1571620" y="6448614"/>
                  <a:pt x="1566248" y="6455334"/>
                </a:cubicBezTo>
                <a:cubicBezTo>
                  <a:pt x="1560876" y="6462055"/>
                  <a:pt x="1558191" y="6471810"/>
                  <a:pt x="1558191" y="6484600"/>
                </a:cubicBezTo>
                <a:cubicBezTo>
                  <a:pt x="1558191" y="6496925"/>
                  <a:pt x="1560853" y="6506354"/>
                  <a:pt x="1566178" y="6512889"/>
                </a:cubicBezTo>
                <a:cubicBezTo>
                  <a:pt x="1571504" y="6519423"/>
                  <a:pt x="1578468" y="6522691"/>
                  <a:pt x="1587073" y="6522691"/>
                </a:cubicBezTo>
                <a:cubicBezTo>
                  <a:pt x="1593909" y="6522691"/>
                  <a:pt x="1599643" y="6520679"/>
                  <a:pt x="1604269" y="6516656"/>
                </a:cubicBezTo>
                <a:cubicBezTo>
                  <a:pt x="1608897" y="6512633"/>
                  <a:pt x="1612095" y="6506668"/>
                  <a:pt x="1613862" y="6498762"/>
                </a:cubicBezTo>
                <a:lnTo>
                  <a:pt x="1603258" y="6497157"/>
                </a:lnTo>
                <a:cubicBezTo>
                  <a:pt x="1600235" y="6507296"/>
                  <a:pt x="1594863" y="6512366"/>
                  <a:pt x="1587142" y="6512366"/>
                </a:cubicBezTo>
                <a:cubicBezTo>
                  <a:pt x="1582212" y="6512366"/>
                  <a:pt x="1578027" y="6510249"/>
                  <a:pt x="1574585" y="6506017"/>
                </a:cubicBezTo>
                <a:cubicBezTo>
                  <a:pt x="1571143" y="6501785"/>
                  <a:pt x="1569213" y="6495506"/>
                  <a:pt x="1568795" y="6487181"/>
                </a:cubicBezTo>
                <a:lnTo>
                  <a:pt x="1614140" y="6487181"/>
                </a:lnTo>
                <a:lnTo>
                  <a:pt x="1614210" y="6483832"/>
                </a:lnTo>
                <a:cubicBezTo>
                  <a:pt x="1614210" y="6471322"/>
                  <a:pt x="1611583" y="6461764"/>
                  <a:pt x="1606327" y="6455160"/>
                </a:cubicBezTo>
                <a:cubicBezTo>
                  <a:pt x="1601072" y="6448556"/>
                  <a:pt x="1594514" y="6445253"/>
                  <a:pt x="1586654" y="6445253"/>
                </a:cubicBezTo>
                <a:close/>
                <a:moveTo>
                  <a:pt x="1317373" y="6445253"/>
                </a:moveTo>
                <a:cubicBezTo>
                  <a:pt x="1312489" y="6445253"/>
                  <a:pt x="1308082" y="6446649"/>
                  <a:pt x="1304152" y="6449439"/>
                </a:cubicBezTo>
                <a:cubicBezTo>
                  <a:pt x="1300222" y="6452230"/>
                  <a:pt x="1297048" y="6456602"/>
                  <a:pt x="1294630" y="6462555"/>
                </a:cubicBezTo>
                <a:cubicBezTo>
                  <a:pt x="1292211" y="6468508"/>
                  <a:pt x="1291002" y="6475461"/>
                  <a:pt x="1291002" y="6483414"/>
                </a:cubicBezTo>
                <a:cubicBezTo>
                  <a:pt x="1291002" y="6495274"/>
                  <a:pt x="1293746" y="6504738"/>
                  <a:pt x="1299234" y="6511808"/>
                </a:cubicBezTo>
                <a:cubicBezTo>
                  <a:pt x="1304025" y="6517947"/>
                  <a:pt x="1310047" y="6521016"/>
                  <a:pt x="1317303" y="6521016"/>
                </a:cubicBezTo>
                <a:cubicBezTo>
                  <a:pt x="1320698" y="6521016"/>
                  <a:pt x="1323791" y="6520208"/>
                  <a:pt x="1326581" y="6518591"/>
                </a:cubicBezTo>
                <a:cubicBezTo>
                  <a:pt x="1329372" y="6516974"/>
                  <a:pt x="1331883" y="6514572"/>
                  <a:pt x="1334116" y="6511385"/>
                </a:cubicBezTo>
                <a:cubicBezTo>
                  <a:pt x="1334116" y="6519758"/>
                  <a:pt x="1333813" y="6525246"/>
                  <a:pt x="1333209" y="6527851"/>
                </a:cubicBezTo>
                <a:cubicBezTo>
                  <a:pt x="1332232" y="6532130"/>
                  <a:pt x="1330407" y="6535352"/>
                  <a:pt x="1327732" y="6537515"/>
                </a:cubicBezTo>
                <a:cubicBezTo>
                  <a:pt x="1325058" y="6539678"/>
                  <a:pt x="1321466" y="6540759"/>
                  <a:pt x="1316954" y="6540759"/>
                </a:cubicBezTo>
                <a:cubicBezTo>
                  <a:pt x="1312815" y="6540759"/>
                  <a:pt x="1309583" y="6539788"/>
                  <a:pt x="1307257" y="6537847"/>
                </a:cubicBezTo>
                <a:cubicBezTo>
                  <a:pt x="1304931" y="6535905"/>
                  <a:pt x="1303536" y="6532946"/>
                  <a:pt x="1303071" y="6528969"/>
                </a:cubicBezTo>
                <a:lnTo>
                  <a:pt x="1293025" y="6527155"/>
                </a:lnTo>
                <a:cubicBezTo>
                  <a:pt x="1292886" y="6534643"/>
                  <a:pt x="1294932" y="6540503"/>
                  <a:pt x="1299164" y="6544736"/>
                </a:cubicBezTo>
                <a:cubicBezTo>
                  <a:pt x="1303397" y="6548968"/>
                  <a:pt x="1309443" y="6551084"/>
                  <a:pt x="1317303" y="6551084"/>
                </a:cubicBezTo>
                <a:cubicBezTo>
                  <a:pt x="1323256" y="6551084"/>
                  <a:pt x="1328349" y="6549677"/>
                  <a:pt x="1332581" y="6546864"/>
                </a:cubicBezTo>
                <a:cubicBezTo>
                  <a:pt x="1336813" y="6544050"/>
                  <a:pt x="1339860" y="6540213"/>
                  <a:pt x="1341720" y="6535353"/>
                </a:cubicBezTo>
                <a:cubicBezTo>
                  <a:pt x="1343580" y="6530492"/>
                  <a:pt x="1344510" y="6522365"/>
                  <a:pt x="1344510" y="6510970"/>
                </a:cubicBezTo>
                <a:lnTo>
                  <a:pt x="1344510" y="6446928"/>
                </a:lnTo>
                <a:lnTo>
                  <a:pt x="1335023" y="6446928"/>
                </a:lnTo>
                <a:lnTo>
                  <a:pt x="1335023" y="6455788"/>
                </a:lnTo>
                <a:cubicBezTo>
                  <a:pt x="1332744" y="6452276"/>
                  <a:pt x="1330128" y="6449643"/>
                  <a:pt x="1327174" y="6447887"/>
                </a:cubicBezTo>
                <a:cubicBezTo>
                  <a:pt x="1324221" y="6446131"/>
                  <a:pt x="1320954" y="6445253"/>
                  <a:pt x="1317373" y="6445253"/>
                </a:cubicBezTo>
                <a:close/>
                <a:moveTo>
                  <a:pt x="1250837" y="6445253"/>
                </a:moveTo>
                <a:cubicBezTo>
                  <a:pt x="1248372" y="6445253"/>
                  <a:pt x="1246151" y="6446102"/>
                  <a:pt x="1244175" y="6447800"/>
                </a:cubicBezTo>
                <a:cubicBezTo>
                  <a:pt x="1242198" y="6449497"/>
                  <a:pt x="1240024" y="6452951"/>
                  <a:pt x="1237652" y="6458160"/>
                </a:cubicBezTo>
                <a:lnTo>
                  <a:pt x="1237652" y="6446928"/>
                </a:lnTo>
                <a:lnTo>
                  <a:pt x="1230699" y="6446928"/>
                </a:lnTo>
                <a:lnTo>
                  <a:pt x="1228373" y="6446928"/>
                </a:lnTo>
                <a:lnTo>
                  <a:pt x="1220375" y="6446928"/>
                </a:lnTo>
                <a:lnTo>
                  <a:pt x="1207398" y="6490087"/>
                </a:lnTo>
                <a:cubicBezTo>
                  <a:pt x="1205770" y="6495572"/>
                  <a:pt x="1204375" y="6501197"/>
                  <a:pt x="1203212" y="6506961"/>
                </a:cubicBezTo>
                <a:cubicBezTo>
                  <a:pt x="1201863" y="6500872"/>
                  <a:pt x="1200398" y="6495155"/>
                  <a:pt x="1198817" y="6489809"/>
                </a:cubicBezTo>
                <a:lnTo>
                  <a:pt x="1186120" y="6446928"/>
                </a:lnTo>
                <a:lnTo>
                  <a:pt x="1175028" y="6446928"/>
                </a:lnTo>
                <a:lnTo>
                  <a:pt x="1198138" y="6521126"/>
                </a:lnTo>
                <a:cubicBezTo>
                  <a:pt x="1195762" y="6528679"/>
                  <a:pt x="1194412" y="6532781"/>
                  <a:pt x="1194086" y="6533432"/>
                </a:cubicBezTo>
                <a:cubicBezTo>
                  <a:pt x="1193155" y="6535293"/>
                  <a:pt x="1191980" y="6536666"/>
                  <a:pt x="1190560" y="6537550"/>
                </a:cubicBezTo>
                <a:cubicBezTo>
                  <a:pt x="1189140" y="6538434"/>
                  <a:pt x="1187336" y="6538876"/>
                  <a:pt x="1185149" y="6538876"/>
                </a:cubicBezTo>
                <a:cubicBezTo>
                  <a:pt x="1183520" y="6538876"/>
                  <a:pt x="1181565" y="6538504"/>
                  <a:pt x="1179283" y="6537759"/>
                </a:cubicBezTo>
                <a:lnTo>
                  <a:pt x="1180400" y="6549549"/>
                </a:lnTo>
                <a:cubicBezTo>
                  <a:pt x="1182868" y="6550573"/>
                  <a:pt x="1185081" y="6551084"/>
                  <a:pt x="1187038" y="6551084"/>
                </a:cubicBezTo>
                <a:cubicBezTo>
                  <a:pt x="1189833" y="6551084"/>
                  <a:pt x="1192337" y="6550363"/>
                  <a:pt x="1194549" y="6548922"/>
                </a:cubicBezTo>
                <a:cubicBezTo>
                  <a:pt x="1196762" y="6547480"/>
                  <a:pt x="1198742" y="6545119"/>
                  <a:pt x="1200489" y="6541841"/>
                </a:cubicBezTo>
                <a:cubicBezTo>
                  <a:pt x="1202235" y="6538562"/>
                  <a:pt x="1204623" y="6532039"/>
                  <a:pt x="1207651" y="6522272"/>
                </a:cubicBezTo>
                <a:lnTo>
                  <a:pt x="1228373" y="6454530"/>
                </a:lnTo>
                <a:lnTo>
                  <a:pt x="1228373" y="6521016"/>
                </a:lnTo>
                <a:lnTo>
                  <a:pt x="1238629" y="6521016"/>
                </a:lnTo>
                <a:lnTo>
                  <a:pt x="1238629" y="6482228"/>
                </a:lnTo>
                <a:cubicBezTo>
                  <a:pt x="1238629" y="6476833"/>
                  <a:pt x="1239280" y="6471740"/>
                  <a:pt x="1240582" y="6466950"/>
                </a:cubicBezTo>
                <a:cubicBezTo>
                  <a:pt x="1241326" y="6464206"/>
                  <a:pt x="1242605" y="6462066"/>
                  <a:pt x="1244419" y="6460532"/>
                </a:cubicBezTo>
                <a:cubicBezTo>
                  <a:pt x="1246233" y="6458997"/>
                  <a:pt x="1248233" y="6458229"/>
                  <a:pt x="1250419" y="6458229"/>
                </a:cubicBezTo>
                <a:cubicBezTo>
                  <a:pt x="1252837" y="6458229"/>
                  <a:pt x="1255325" y="6459136"/>
                  <a:pt x="1257883" y="6460950"/>
                </a:cubicBezTo>
                <a:lnTo>
                  <a:pt x="1261371" y="6449300"/>
                </a:lnTo>
                <a:cubicBezTo>
                  <a:pt x="1257790" y="6446602"/>
                  <a:pt x="1254279" y="6445253"/>
                  <a:pt x="1250837" y="6445253"/>
                </a:cubicBezTo>
                <a:close/>
                <a:moveTo>
                  <a:pt x="1141043" y="6445253"/>
                </a:moveTo>
                <a:cubicBezTo>
                  <a:pt x="1137375" y="6445253"/>
                  <a:pt x="1134125" y="6446137"/>
                  <a:pt x="1131292" y="6447904"/>
                </a:cubicBezTo>
                <a:cubicBezTo>
                  <a:pt x="1128460" y="6449672"/>
                  <a:pt x="1125883" y="6452555"/>
                  <a:pt x="1123561" y="6456555"/>
                </a:cubicBezTo>
                <a:lnTo>
                  <a:pt x="1123561" y="6446928"/>
                </a:lnTo>
                <a:lnTo>
                  <a:pt x="1114073" y="6446928"/>
                </a:lnTo>
                <a:lnTo>
                  <a:pt x="1114073" y="6549410"/>
                </a:lnTo>
                <a:lnTo>
                  <a:pt x="1124329" y="6549410"/>
                </a:lnTo>
                <a:lnTo>
                  <a:pt x="1124329" y="6513342"/>
                </a:lnTo>
                <a:cubicBezTo>
                  <a:pt x="1126328" y="6516319"/>
                  <a:pt x="1128700" y="6518621"/>
                  <a:pt x="1131444" y="6520249"/>
                </a:cubicBezTo>
                <a:cubicBezTo>
                  <a:pt x="1134188" y="6521877"/>
                  <a:pt x="1137142" y="6522691"/>
                  <a:pt x="1140304" y="6522691"/>
                </a:cubicBezTo>
                <a:cubicBezTo>
                  <a:pt x="1147420" y="6522691"/>
                  <a:pt x="1153618" y="6519284"/>
                  <a:pt x="1158896" y="6512470"/>
                </a:cubicBezTo>
                <a:cubicBezTo>
                  <a:pt x="1164175" y="6505657"/>
                  <a:pt x="1166814" y="6495948"/>
                  <a:pt x="1166814" y="6483344"/>
                </a:cubicBezTo>
                <a:cubicBezTo>
                  <a:pt x="1166814" y="6475205"/>
                  <a:pt x="1165642" y="6468240"/>
                  <a:pt x="1163297" y="6462450"/>
                </a:cubicBezTo>
                <a:cubicBezTo>
                  <a:pt x="1160952" y="6456660"/>
                  <a:pt x="1157852" y="6452346"/>
                  <a:pt x="1153999" y="6449509"/>
                </a:cubicBezTo>
                <a:cubicBezTo>
                  <a:pt x="1150145" y="6446672"/>
                  <a:pt x="1145827" y="6445253"/>
                  <a:pt x="1141043" y="6445253"/>
                </a:cubicBezTo>
                <a:close/>
                <a:moveTo>
                  <a:pt x="1071955" y="6445253"/>
                </a:moveTo>
                <a:cubicBezTo>
                  <a:pt x="1063723" y="6445253"/>
                  <a:pt x="1056921" y="6448509"/>
                  <a:pt x="1051549" y="6455020"/>
                </a:cubicBezTo>
                <a:cubicBezTo>
                  <a:pt x="1046178" y="6461532"/>
                  <a:pt x="1043492" y="6471182"/>
                  <a:pt x="1043492" y="6483972"/>
                </a:cubicBezTo>
                <a:cubicBezTo>
                  <a:pt x="1043492" y="6496715"/>
                  <a:pt x="1046201" y="6506354"/>
                  <a:pt x="1051619" y="6512889"/>
                </a:cubicBezTo>
                <a:cubicBezTo>
                  <a:pt x="1057037" y="6519423"/>
                  <a:pt x="1063816" y="6522691"/>
                  <a:pt x="1071955" y="6522691"/>
                </a:cubicBezTo>
                <a:cubicBezTo>
                  <a:pt x="1080234" y="6522691"/>
                  <a:pt x="1087047" y="6519435"/>
                  <a:pt x="1092396" y="6512924"/>
                </a:cubicBezTo>
                <a:cubicBezTo>
                  <a:pt x="1097744" y="6506412"/>
                  <a:pt x="1100419" y="6496506"/>
                  <a:pt x="1100419" y="6483205"/>
                </a:cubicBezTo>
                <a:cubicBezTo>
                  <a:pt x="1100419" y="6470926"/>
                  <a:pt x="1097698" y="6461532"/>
                  <a:pt x="1092256" y="6455020"/>
                </a:cubicBezTo>
                <a:cubicBezTo>
                  <a:pt x="1086815" y="6448509"/>
                  <a:pt x="1080048" y="6445253"/>
                  <a:pt x="1071955" y="6445253"/>
                </a:cubicBezTo>
                <a:close/>
                <a:moveTo>
                  <a:pt x="883898" y="6440021"/>
                </a:moveTo>
                <a:cubicBezTo>
                  <a:pt x="876956" y="6440021"/>
                  <a:pt x="871354" y="6442562"/>
                  <a:pt x="867092" y="6447643"/>
                </a:cubicBezTo>
                <a:cubicBezTo>
                  <a:pt x="862829" y="6452725"/>
                  <a:pt x="860698" y="6460114"/>
                  <a:pt x="860698" y="6469810"/>
                </a:cubicBezTo>
                <a:cubicBezTo>
                  <a:pt x="860698" y="6479506"/>
                  <a:pt x="862853" y="6486942"/>
                  <a:pt x="867162" y="6492116"/>
                </a:cubicBezTo>
                <a:cubicBezTo>
                  <a:pt x="871471" y="6497291"/>
                  <a:pt x="876886" y="6499878"/>
                  <a:pt x="883407" y="6499878"/>
                </a:cubicBezTo>
                <a:cubicBezTo>
                  <a:pt x="888485" y="6499878"/>
                  <a:pt x="892923" y="6498192"/>
                  <a:pt x="896719" y="6494820"/>
                </a:cubicBezTo>
                <a:cubicBezTo>
                  <a:pt x="900515" y="6491448"/>
                  <a:pt x="902996" y="6486763"/>
                  <a:pt x="904161" y="6480763"/>
                </a:cubicBezTo>
                <a:lnTo>
                  <a:pt x="897184" y="6478251"/>
                </a:lnTo>
                <a:cubicBezTo>
                  <a:pt x="896299" y="6482530"/>
                  <a:pt x="894527" y="6485844"/>
                  <a:pt x="891869" y="6488193"/>
                </a:cubicBezTo>
                <a:cubicBezTo>
                  <a:pt x="889212" y="6490541"/>
                  <a:pt x="886205" y="6491716"/>
                  <a:pt x="882848" y="6491716"/>
                </a:cubicBezTo>
                <a:cubicBezTo>
                  <a:pt x="878745" y="6491716"/>
                  <a:pt x="875318" y="6489919"/>
                  <a:pt x="872568" y="6486327"/>
                </a:cubicBezTo>
                <a:cubicBezTo>
                  <a:pt x="869817" y="6482735"/>
                  <a:pt x="868442" y="6477392"/>
                  <a:pt x="868442" y="6470301"/>
                </a:cubicBezTo>
                <a:cubicBezTo>
                  <a:pt x="868442" y="6462882"/>
                  <a:pt x="869887" y="6457283"/>
                  <a:pt x="872778" y="6453503"/>
                </a:cubicBezTo>
                <a:cubicBezTo>
                  <a:pt x="875669" y="6449724"/>
                  <a:pt x="879282" y="6447835"/>
                  <a:pt x="883619" y="6447835"/>
                </a:cubicBezTo>
                <a:cubicBezTo>
                  <a:pt x="886510" y="6447835"/>
                  <a:pt x="889085" y="6448730"/>
                  <a:pt x="891347" y="6450521"/>
                </a:cubicBezTo>
                <a:cubicBezTo>
                  <a:pt x="893608" y="6452311"/>
                  <a:pt x="895321" y="6454974"/>
                  <a:pt x="896487" y="6458508"/>
                </a:cubicBezTo>
                <a:lnTo>
                  <a:pt x="903324" y="6456485"/>
                </a:lnTo>
                <a:cubicBezTo>
                  <a:pt x="902066" y="6451276"/>
                  <a:pt x="899713" y="6447230"/>
                  <a:pt x="896266" y="6444347"/>
                </a:cubicBezTo>
                <a:cubicBezTo>
                  <a:pt x="892819" y="6441463"/>
                  <a:pt x="888696" y="6440021"/>
                  <a:pt x="883898" y="6440021"/>
                </a:cubicBezTo>
                <a:close/>
                <a:moveTo>
                  <a:pt x="2030141" y="6429487"/>
                </a:moveTo>
                <a:cubicBezTo>
                  <a:pt x="2031396" y="6434928"/>
                  <a:pt x="2033373" y="6441998"/>
                  <a:pt x="2036069" y="6450695"/>
                </a:cubicBezTo>
                <a:lnTo>
                  <a:pt x="2044784" y="6479019"/>
                </a:lnTo>
                <a:lnTo>
                  <a:pt x="2016217" y="6479019"/>
                </a:lnTo>
                <a:lnTo>
                  <a:pt x="2025546" y="6449021"/>
                </a:lnTo>
                <a:cubicBezTo>
                  <a:pt x="2027526" y="6442556"/>
                  <a:pt x="2029057" y="6436045"/>
                  <a:pt x="2030141" y="6429487"/>
                </a:cubicBezTo>
                <a:close/>
                <a:moveTo>
                  <a:pt x="883232" y="6425650"/>
                </a:moveTo>
                <a:cubicBezTo>
                  <a:pt x="892720" y="6425650"/>
                  <a:pt x="900952" y="6429680"/>
                  <a:pt x="907928" y="6437739"/>
                </a:cubicBezTo>
                <a:cubicBezTo>
                  <a:pt x="915462" y="6446402"/>
                  <a:pt x="919230" y="6457046"/>
                  <a:pt x="919230" y="6469671"/>
                </a:cubicBezTo>
                <a:cubicBezTo>
                  <a:pt x="919230" y="6481410"/>
                  <a:pt x="915927" y="6491495"/>
                  <a:pt x="909323" y="6499926"/>
                </a:cubicBezTo>
                <a:cubicBezTo>
                  <a:pt x="902161" y="6509056"/>
                  <a:pt x="893464" y="6513621"/>
                  <a:pt x="883232" y="6513621"/>
                </a:cubicBezTo>
                <a:cubicBezTo>
                  <a:pt x="873744" y="6513621"/>
                  <a:pt x="865512" y="6509615"/>
                  <a:pt x="858536" y="6501604"/>
                </a:cubicBezTo>
                <a:cubicBezTo>
                  <a:pt x="851001" y="6492939"/>
                  <a:pt x="847234" y="6482295"/>
                  <a:pt x="847234" y="6469671"/>
                </a:cubicBezTo>
                <a:cubicBezTo>
                  <a:pt x="847234" y="6457931"/>
                  <a:pt x="850536" y="6447823"/>
                  <a:pt x="857140" y="6439345"/>
                </a:cubicBezTo>
                <a:cubicBezTo>
                  <a:pt x="864256" y="6430215"/>
                  <a:pt x="872953" y="6425650"/>
                  <a:pt x="883232" y="6425650"/>
                </a:cubicBezTo>
                <a:close/>
                <a:moveTo>
                  <a:pt x="6208297" y="6421046"/>
                </a:moveTo>
                <a:lnTo>
                  <a:pt x="6198042" y="6428580"/>
                </a:lnTo>
                <a:lnTo>
                  <a:pt x="6198042" y="6446928"/>
                </a:lnTo>
                <a:lnTo>
                  <a:pt x="6190507" y="6446928"/>
                </a:lnTo>
                <a:lnTo>
                  <a:pt x="6190507" y="6456695"/>
                </a:lnTo>
                <a:lnTo>
                  <a:pt x="6198042" y="6456695"/>
                </a:lnTo>
                <a:lnTo>
                  <a:pt x="6198042" y="6499320"/>
                </a:lnTo>
                <a:cubicBezTo>
                  <a:pt x="6198042" y="6506668"/>
                  <a:pt x="6198449" y="6511575"/>
                  <a:pt x="6199263" y="6514040"/>
                </a:cubicBezTo>
                <a:cubicBezTo>
                  <a:pt x="6200077" y="6516505"/>
                  <a:pt x="6201577" y="6518447"/>
                  <a:pt x="6203762" y="6519865"/>
                </a:cubicBezTo>
                <a:cubicBezTo>
                  <a:pt x="6205948" y="6521284"/>
                  <a:pt x="6208832" y="6521993"/>
                  <a:pt x="6212413" y="6521993"/>
                </a:cubicBezTo>
                <a:cubicBezTo>
                  <a:pt x="6214692" y="6521993"/>
                  <a:pt x="6217250" y="6521621"/>
                  <a:pt x="6220087" y="6520877"/>
                </a:cubicBezTo>
                <a:lnTo>
                  <a:pt x="6218692" y="6509784"/>
                </a:lnTo>
                <a:cubicBezTo>
                  <a:pt x="6216831" y="6510110"/>
                  <a:pt x="6215320" y="6510273"/>
                  <a:pt x="6214157" y="6510273"/>
                </a:cubicBezTo>
                <a:cubicBezTo>
                  <a:pt x="6211739" y="6510273"/>
                  <a:pt x="6210088" y="6509436"/>
                  <a:pt x="6209204" y="6507761"/>
                </a:cubicBezTo>
                <a:cubicBezTo>
                  <a:pt x="6208599" y="6506599"/>
                  <a:pt x="6208297" y="6504017"/>
                  <a:pt x="6208297" y="6500018"/>
                </a:cubicBezTo>
                <a:lnTo>
                  <a:pt x="6208297" y="6456695"/>
                </a:lnTo>
                <a:lnTo>
                  <a:pt x="6218692" y="6456695"/>
                </a:lnTo>
                <a:lnTo>
                  <a:pt x="6218692" y="6446928"/>
                </a:lnTo>
                <a:lnTo>
                  <a:pt x="6208297" y="6446928"/>
                </a:lnTo>
                <a:close/>
                <a:moveTo>
                  <a:pt x="2421963" y="6421046"/>
                </a:moveTo>
                <a:lnTo>
                  <a:pt x="2411708" y="6428580"/>
                </a:lnTo>
                <a:lnTo>
                  <a:pt x="2411708" y="6446928"/>
                </a:lnTo>
                <a:lnTo>
                  <a:pt x="2404176" y="6446928"/>
                </a:lnTo>
                <a:lnTo>
                  <a:pt x="2404176" y="6456695"/>
                </a:lnTo>
                <a:lnTo>
                  <a:pt x="2411708" y="6456695"/>
                </a:lnTo>
                <a:lnTo>
                  <a:pt x="2411708" y="6499320"/>
                </a:lnTo>
                <a:cubicBezTo>
                  <a:pt x="2411708" y="6506668"/>
                  <a:pt x="2412117" y="6511575"/>
                  <a:pt x="2412932" y="6514040"/>
                </a:cubicBezTo>
                <a:cubicBezTo>
                  <a:pt x="2413745" y="6516505"/>
                  <a:pt x="2415246" y="6518447"/>
                  <a:pt x="2417431" y="6519865"/>
                </a:cubicBezTo>
                <a:cubicBezTo>
                  <a:pt x="2419616" y="6521284"/>
                  <a:pt x="2422501" y="6521993"/>
                  <a:pt x="2426082" y="6521993"/>
                </a:cubicBezTo>
                <a:lnTo>
                  <a:pt x="2432793" y="6521016"/>
                </a:lnTo>
                <a:lnTo>
                  <a:pt x="2486537" y="6521016"/>
                </a:lnTo>
                <a:lnTo>
                  <a:pt x="2486537" y="6510203"/>
                </a:lnTo>
                <a:lnTo>
                  <a:pt x="2458413" y="6510203"/>
                </a:lnTo>
                <a:cubicBezTo>
                  <a:pt x="2454366" y="6510203"/>
                  <a:pt x="2450037" y="6510412"/>
                  <a:pt x="2445434" y="6510831"/>
                </a:cubicBezTo>
                <a:lnTo>
                  <a:pt x="2451797" y="6502250"/>
                </a:lnTo>
                <a:lnTo>
                  <a:pt x="2484792" y="6455230"/>
                </a:lnTo>
                <a:lnTo>
                  <a:pt x="2484792" y="6446928"/>
                </a:lnTo>
                <a:lnTo>
                  <a:pt x="2435051" y="6446928"/>
                </a:lnTo>
                <a:lnTo>
                  <a:pt x="2435051" y="6457113"/>
                </a:lnTo>
                <a:lnTo>
                  <a:pt x="2459836" y="6457113"/>
                </a:lnTo>
                <a:cubicBezTo>
                  <a:pt x="2463190" y="6457113"/>
                  <a:pt x="2467073" y="6456974"/>
                  <a:pt x="2471498" y="6456695"/>
                </a:cubicBezTo>
                <a:lnTo>
                  <a:pt x="2432747" y="6510831"/>
                </a:lnTo>
                <a:lnTo>
                  <a:pt x="2432747" y="6512890"/>
                </a:lnTo>
                <a:lnTo>
                  <a:pt x="2432359" y="6509784"/>
                </a:lnTo>
                <a:cubicBezTo>
                  <a:pt x="2430497" y="6510110"/>
                  <a:pt x="2428986" y="6510273"/>
                  <a:pt x="2427824" y="6510273"/>
                </a:cubicBezTo>
                <a:cubicBezTo>
                  <a:pt x="2425405" y="6510273"/>
                  <a:pt x="2423753" y="6509436"/>
                  <a:pt x="2422869" y="6507761"/>
                </a:cubicBezTo>
                <a:cubicBezTo>
                  <a:pt x="2422267" y="6506599"/>
                  <a:pt x="2421963" y="6504017"/>
                  <a:pt x="2421963" y="6500018"/>
                </a:cubicBezTo>
                <a:lnTo>
                  <a:pt x="2421963" y="6456695"/>
                </a:lnTo>
                <a:lnTo>
                  <a:pt x="2432359" y="6456695"/>
                </a:lnTo>
                <a:lnTo>
                  <a:pt x="2432359" y="6446928"/>
                </a:lnTo>
                <a:lnTo>
                  <a:pt x="2421963" y="6446928"/>
                </a:lnTo>
                <a:close/>
                <a:moveTo>
                  <a:pt x="1440886" y="6421046"/>
                </a:moveTo>
                <a:lnTo>
                  <a:pt x="1430631" y="6428580"/>
                </a:lnTo>
                <a:lnTo>
                  <a:pt x="1430631" y="6446928"/>
                </a:lnTo>
                <a:lnTo>
                  <a:pt x="1423097" y="6446928"/>
                </a:lnTo>
                <a:lnTo>
                  <a:pt x="1423097" y="6456695"/>
                </a:lnTo>
                <a:lnTo>
                  <a:pt x="1430631" y="6456695"/>
                </a:lnTo>
                <a:lnTo>
                  <a:pt x="1430631" y="6499320"/>
                </a:lnTo>
                <a:cubicBezTo>
                  <a:pt x="1430631" y="6506668"/>
                  <a:pt x="1431038" y="6511575"/>
                  <a:pt x="1431852" y="6514040"/>
                </a:cubicBezTo>
                <a:cubicBezTo>
                  <a:pt x="1432666" y="6516505"/>
                  <a:pt x="1434165" y="6518447"/>
                  <a:pt x="1436352" y="6519865"/>
                </a:cubicBezTo>
                <a:cubicBezTo>
                  <a:pt x="1438537" y="6521284"/>
                  <a:pt x="1441421" y="6521993"/>
                  <a:pt x="1445002" y="6521993"/>
                </a:cubicBezTo>
                <a:cubicBezTo>
                  <a:pt x="1447281" y="6521993"/>
                  <a:pt x="1449839" y="6521621"/>
                  <a:pt x="1452676" y="6520877"/>
                </a:cubicBezTo>
                <a:lnTo>
                  <a:pt x="1451281" y="6509784"/>
                </a:lnTo>
                <a:cubicBezTo>
                  <a:pt x="1449420" y="6510110"/>
                  <a:pt x="1447909" y="6510273"/>
                  <a:pt x="1446746" y="6510273"/>
                </a:cubicBezTo>
                <a:cubicBezTo>
                  <a:pt x="1444328" y="6510273"/>
                  <a:pt x="1442677" y="6509436"/>
                  <a:pt x="1441793" y="6507761"/>
                </a:cubicBezTo>
                <a:cubicBezTo>
                  <a:pt x="1441188" y="6506599"/>
                  <a:pt x="1440886" y="6504017"/>
                  <a:pt x="1440886" y="6500018"/>
                </a:cubicBezTo>
                <a:lnTo>
                  <a:pt x="1440886" y="6456695"/>
                </a:lnTo>
                <a:lnTo>
                  <a:pt x="1451281" y="6456695"/>
                </a:lnTo>
                <a:lnTo>
                  <a:pt x="1451281" y="6446928"/>
                </a:lnTo>
                <a:lnTo>
                  <a:pt x="1440886" y="6446928"/>
                </a:lnTo>
                <a:close/>
                <a:moveTo>
                  <a:pt x="6319286" y="6418743"/>
                </a:moveTo>
                <a:lnTo>
                  <a:pt x="6319286" y="6521016"/>
                </a:lnTo>
                <a:lnTo>
                  <a:pt x="6329541" y="6521016"/>
                </a:lnTo>
                <a:lnTo>
                  <a:pt x="6329541" y="6418743"/>
                </a:lnTo>
                <a:close/>
                <a:moveTo>
                  <a:pt x="6224384" y="6418743"/>
                </a:moveTo>
                <a:lnTo>
                  <a:pt x="6224384" y="6433184"/>
                </a:lnTo>
                <a:lnTo>
                  <a:pt x="6234640" y="6433184"/>
                </a:lnTo>
                <a:lnTo>
                  <a:pt x="6234640" y="6418743"/>
                </a:lnTo>
                <a:close/>
                <a:moveTo>
                  <a:pt x="6034363" y="6418743"/>
                </a:moveTo>
                <a:lnTo>
                  <a:pt x="6034363" y="6455439"/>
                </a:lnTo>
                <a:cubicBezTo>
                  <a:pt x="6032461" y="6452230"/>
                  <a:pt x="6030058" y="6449730"/>
                  <a:pt x="6027156" y="6447939"/>
                </a:cubicBezTo>
                <a:cubicBezTo>
                  <a:pt x="6024254" y="6446149"/>
                  <a:pt x="6021107" y="6445253"/>
                  <a:pt x="6017719" y="6445253"/>
                </a:cubicBezTo>
                <a:cubicBezTo>
                  <a:pt x="6012983" y="6445253"/>
                  <a:pt x="6008677" y="6446672"/>
                  <a:pt x="6004799" y="6449509"/>
                </a:cubicBezTo>
                <a:cubicBezTo>
                  <a:pt x="6000920" y="6452346"/>
                  <a:pt x="5997822" y="6456695"/>
                  <a:pt x="5995499" y="6462555"/>
                </a:cubicBezTo>
                <a:cubicBezTo>
                  <a:pt x="5993179" y="6468415"/>
                  <a:pt x="5992018" y="6475554"/>
                  <a:pt x="5992018" y="6483972"/>
                </a:cubicBezTo>
                <a:cubicBezTo>
                  <a:pt x="5992018" y="6496250"/>
                  <a:pt x="5994634" y="6505773"/>
                  <a:pt x="5999867" y="6512540"/>
                </a:cubicBezTo>
                <a:cubicBezTo>
                  <a:pt x="6005100" y="6519307"/>
                  <a:pt x="6011296" y="6522691"/>
                  <a:pt x="6018458" y="6522691"/>
                </a:cubicBezTo>
                <a:cubicBezTo>
                  <a:pt x="6021854" y="6522691"/>
                  <a:pt x="6025015" y="6521749"/>
                  <a:pt x="6027948" y="6519865"/>
                </a:cubicBezTo>
                <a:cubicBezTo>
                  <a:pt x="6030878" y="6517982"/>
                  <a:pt x="6033272" y="6515249"/>
                  <a:pt x="6035132" y="6511668"/>
                </a:cubicBezTo>
                <a:lnTo>
                  <a:pt x="6035132" y="6521016"/>
                </a:lnTo>
                <a:lnTo>
                  <a:pt x="6044760" y="6521016"/>
                </a:lnTo>
                <a:lnTo>
                  <a:pt x="6044760" y="6418743"/>
                </a:lnTo>
                <a:close/>
                <a:moveTo>
                  <a:pt x="2790954" y="6418743"/>
                </a:moveTo>
                <a:lnTo>
                  <a:pt x="2790954" y="6455439"/>
                </a:lnTo>
                <a:cubicBezTo>
                  <a:pt x="2789051" y="6452230"/>
                  <a:pt x="2786647" y="6449730"/>
                  <a:pt x="2783745" y="6447939"/>
                </a:cubicBezTo>
                <a:cubicBezTo>
                  <a:pt x="2780842" y="6446149"/>
                  <a:pt x="2777697" y="6445253"/>
                  <a:pt x="2774311" y="6445253"/>
                </a:cubicBezTo>
                <a:cubicBezTo>
                  <a:pt x="2769573" y="6445253"/>
                  <a:pt x="2765268" y="6446672"/>
                  <a:pt x="2761389" y="6449509"/>
                </a:cubicBezTo>
                <a:cubicBezTo>
                  <a:pt x="2757512" y="6452346"/>
                  <a:pt x="2754414" y="6456695"/>
                  <a:pt x="2752089" y="6462555"/>
                </a:cubicBezTo>
                <a:cubicBezTo>
                  <a:pt x="2749769" y="6468415"/>
                  <a:pt x="2748607" y="6475554"/>
                  <a:pt x="2748607" y="6483972"/>
                </a:cubicBezTo>
                <a:cubicBezTo>
                  <a:pt x="2748607" y="6496250"/>
                  <a:pt x="2751223" y="6505773"/>
                  <a:pt x="2756457" y="6512540"/>
                </a:cubicBezTo>
                <a:cubicBezTo>
                  <a:pt x="2761691" y="6519307"/>
                  <a:pt x="2767884" y="6522691"/>
                  <a:pt x="2775051" y="6522691"/>
                </a:cubicBezTo>
                <a:cubicBezTo>
                  <a:pt x="2778443" y="6522691"/>
                  <a:pt x="2781605" y="6521749"/>
                  <a:pt x="2784536" y="6519865"/>
                </a:cubicBezTo>
                <a:cubicBezTo>
                  <a:pt x="2787466" y="6517982"/>
                  <a:pt x="2789863" y="6515249"/>
                  <a:pt x="2791721" y="6511668"/>
                </a:cubicBezTo>
                <a:lnTo>
                  <a:pt x="2791721" y="6521016"/>
                </a:lnTo>
                <a:lnTo>
                  <a:pt x="2801352" y="6521016"/>
                </a:lnTo>
                <a:lnTo>
                  <a:pt x="2801352" y="6418743"/>
                </a:lnTo>
                <a:close/>
                <a:moveTo>
                  <a:pt x="2590102" y="6418743"/>
                </a:moveTo>
                <a:lnTo>
                  <a:pt x="2590102" y="6521016"/>
                </a:lnTo>
                <a:lnTo>
                  <a:pt x="2600357" y="6521016"/>
                </a:lnTo>
                <a:lnTo>
                  <a:pt x="2600357" y="6418743"/>
                </a:lnTo>
                <a:close/>
                <a:moveTo>
                  <a:pt x="2380902" y="6418743"/>
                </a:moveTo>
                <a:lnTo>
                  <a:pt x="2380902" y="6433184"/>
                </a:lnTo>
                <a:lnTo>
                  <a:pt x="2391160" y="6433184"/>
                </a:lnTo>
                <a:lnTo>
                  <a:pt x="2391160" y="6418743"/>
                </a:lnTo>
                <a:close/>
                <a:moveTo>
                  <a:pt x="2024499" y="6418743"/>
                </a:moveTo>
                <a:lnTo>
                  <a:pt x="1992155" y="6521016"/>
                </a:lnTo>
                <a:lnTo>
                  <a:pt x="2003857" y="6521016"/>
                </a:lnTo>
                <a:lnTo>
                  <a:pt x="2012973" y="6490041"/>
                </a:lnTo>
                <a:lnTo>
                  <a:pt x="2048255" y="6490041"/>
                </a:lnTo>
                <a:lnTo>
                  <a:pt x="2058010" y="6521016"/>
                </a:lnTo>
                <a:lnTo>
                  <a:pt x="2070709" y="6521016"/>
                </a:lnTo>
                <a:lnTo>
                  <a:pt x="2036363" y="6418743"/>
                </a:lnTo>
                <a:close/>
                <a:moveTo>
                  <a:pt x="1818925" y="6418743"/>
                </a:moveTo>
                <a:lnTo>
                  <a:pt x="1818925" y="6433184"/>
                </a:lnTo>
                <a:lnTo>
                  <a:pt x="1829180" y="6433184"/>
                </a:lnTo>
                <a:lnTo>
                  <a:pt x="1829180" y="6418743"/>
                </a:lnTo>
                <a:close/>
                <a:moveTo>
                  <a:pt x="1752248" y="6418743"/>
                </a:moveTo>
                <a:lnTo>
                  <a:pt x="1752248" y="6433184"/>
                </a:lnTo>
                <a:lnTo>
                  <a:pt x="1762504" y="6433184"/>
                </a:lnTo>
                <a:lnTo>
                  <a:pt x="1762504" y="6418743"/>
                </a:lnTo>
                <a:close/>
                <a:moveTo>
                  <a:pt x="1361723" y="6418743"/>
                </a:moveTo>
                <a:lnTo>
                  <a:pt x="1361723" y="6521016"/>
                </a:lnTo>
                <a:lnTo>
                  <a:pt x="1371979" y="6521016"/>
                </a:lnTo>
                <a:lnTo>
                  <a:pt x="1371979" y="6480484"/>
                </a:lnTo>
                <a:cubicBezTo>
                  <a:pt x="1371979" y="6471368"/>
                  <a:pt x="1373548" y="6465020"/>
                  <a:pt x="1376688" y="6461438"/>
                </a:cubicBezTo>
                <a:cubicBezTo>
                  <a:pt x="1379827" y="6457857"/>
                  <a:pt x="1383629" y="6456067"/>
                  <a:pt x="1388094" y="6456067"/>
                </a:cubicBezTo>
                <a:cubicBezTo>
                  <a:pt x="1392094" y="6456067"/>
                  <a:pt x="1395233" y="6457462"/>
                  <a:pt x="1397512" y="6460253"/>
                </a:cubicBezTo>
                <a:cubicBezTo>
                  <a:pt x="1399791" y="6463043"/>
                  <a:pt x="1400930" y="6467647"/>
                  <a:pt x="1400930" y="6474066"/>
                </a:cubicBezTo>
                <a:lnTo>
                  <a:pt x="1400930" y="6521016"/>
                </a:lnTo>
                <a:lnTo>
                  <a:pt x="1411186" y="6521016"/>
                </a:lnTo>
                <a:lnTo>
                  <a:pt x="1411186" y="6474066"/>
                </a:lnTo>
                <a:cubicBezTo>
                  <a:pt x="1411186" y="6463090"/>
                  <a:pt x="1409314" y="6455543"/>
                  <a:pt x="1405570" y="6451427"/>
                </a:cubicBezTo>
                <a:cubicBezTo>
                  <a:pt x="1401826" y="6447311"/>
                  <a:pt x="1396721" y="6445253"/>
                  <a:pt x="1390256" y="6445253"/>
                </a:cubicBezTo>
                <a:cubicBezTo>
                  <a:pt x="1386582" y="6445253"/>
                  <a:pt x="1383222" y="6446102"/>
                  <a:pt x="1380176" y="6447800"/>
                </a:cubicBezTo>
                <a:cubicBezTo>
                  <a:pt x="1377129" y="6449497"/>
                  <a:pt x="1374397" y="6452044"/>
                  <a:pt x="1371979" y="6455439"/>
                </a:cubicBezTo>
                <a:lnTo>
                  <a:pt x="1371979" y="6418743"/>
                </a:lnTo>
                <a:close/>
                <a:moveTo>
                  <a:pt x="1266473" y="6418743"/>
                </a:moveTo>
                <a:lnTo>
                  <a:pt x="1266473" y="6433184"/>
                </a:lnTo>
                <a:lnTo>
                  <a:pt x="1276729" y="6433184"/>
                </a:lnTo>
                <a:lnTo>
                  <a:pt x="1276729" y="6418743"/>
                </a:lnTo>
                <a:close/>
                <a:moveTo>
                  <a:pt x="10863258" y="6418259"/>
                </a:moveTo>
                <a:lnTo>
                  <a:pt x="10904541" y="6418259"/>
                </a:lnTo>
                <a:cubicBezTo>
                  <a:pt x="10924644" y="6418259"/>
                  <a:pt x="10934695" y="6421247"/>
                  <a:pt x="10934695" y="6433947"/>
                </a:cubicBezTo>
                <a:cubicBezTo>
                  <a:pt x="10934695" y="6446647"/>
                  <a:pt x="10924644" y="6450009"/>
                  <a:pt x="10904541" y="6450009"/>
                </a:cubicBezTo>
                <a:lnTo>
                  <a:pt x="10863258" y="6450009"/>
                </a:lnTo>
                <a:close/>
                <a:moveTo>
                  <a:pt x="5958284" y="6416999"/>
                </a:moveTo>
                <a:cubicBezTo>
                  <a:pt x="5954507" y="6416999"/>
                  <a:pt x="5951372" y="6417767"/>
                  <a:pt x="5948876" y="6419302"/>
                </a:cubicBezTo>
                <a:cubicBezTo>
                  <a:pt x="5946381" y="6420836"/>
                  <a:pt x="5944526" y="6423057"/>
                  <a:pt x="5943316" y="6425964"/>
                </a:cubicBezTo>
                <a:cubicBezTo>
                  <a:pt x="5942101" y="6428871"/>
                  <a:pt x="5941497" y="6433231"/>
                  <a:pt x="5941497" y="6439045"/>
                </a:cubicBezTo>
                <a:lnTo>
                  <a:pt x="5941497" y="6446928"/>
                </a:lnTo>
                <a:lnTo>
                  <a:pt x="5932359" y="6446928"/>
                </a:lnTo>
                <a:lnTo>
                  <a:pt x="5932359" y="6456695"/>
                </a:lnTo>
                <a:lnTo>
                  <a:pt x="5941497" y="6456695"/>
                </a:lnTo>
                <a:lnTo>
                  <a:pt x="5941497" y="6521016"/>
                </a:lnTo>
                <a:lnTo>
                  <a:pt x="5951752" y="6521016"/>
                </a:lnTo>
                <a:lnTo>
                  <a:pt x="5951752" y="6456695"/>
                </a:lnTo>
                <a:lnTo>
                  <a:pt x="5963612" y="6456695"/>
                </a:lnTo>
                <a:lnTo>
                  <a:pt x="5963612" y="6446928"/>
                </a:lnTo>
                <a:lnTo>
                  <a:pt x="5951752" y="6446928"/>
                </a:lnTo>
                <a:lnTo>
                  <a:pt x="5951752" y="6440091"/>
                </a:lnTo>
                <a:cubicBezTo>
                  <a:pt x="5951752" y="6435580"/>
                  <a:pt x="5952415" y="6432522"/>
                  <a:pt x="5953740" y="6430917"/>
                </a:cubicBezTo>
                <a:cubicBezTo>
                  <a:pt x="5955066" y="6429313"/>
                  <a:pt x="5957263" y="6428510"/>
                  <a:pt x="5960332" y="6428510"/>
                </a:cubicBezTo>
                <a:cubicBezTo>
                  <a:pt x="5962240" y="6428510"/>
                  <a:pt x="5964262" y="6428743"/>
                  <a:pt x="5966402" y="6429208"/>
                </a:cubicBezTo>
                <a:lnTo>
                  <a:pt x="5967211" y="6423470"/>
                </a:lnTo>
                <a:lnTo>
                  <a:pt x="5967211" y="6433184"/>
                </a:lnTo>
                <a:lnTo>
                  <a:pt x="5977467" y="6433184"/>
                </a:lnTo>
                <a:lnTo>
                  <a:pt x="5977467" y="6418743"/>
                </a:lnTo>
                <a:lnTo>
                  <a:pt x="5967879" y="6418743"/>
                </a:lnTo>
                <a:lnTo>
                  <a:pt x="5967936" y="6418325"/>
                </a:lnTo>
                <a:cubicBezTo>
                  <a:pt x="5964439" y="6417441"/>
                  <a:pt x="5961221" y="6416999"/>
                  <a:pt x="5958284" y="6416999"/>
                </a:cubicBezTo>
                <a:close/>
                <a:moveTo>
                  <a:pt x="883232" y="6416999"/>
                </a:moveTo>
                <a:cubicBezTo>
                  <a:pt x="875883" y="6416999"/>
                  <a:pt x="868895" y="6419197"/>
                  <a:pt x="862268" y="6423592"/>
                </a:cubicBezTo>
                <a:cubicBezTo>
                  <a:pt x="855640" y="6427987"/>
                  <a:pt x="850280" y="6434301"/>
                  <a:pt x="846187" y="6442533"/>
                </a:cubicBezTo>
                <a:cubicBezTo>
                  <a:pt x="842095" y="6450765"/>
                  <a:pt x="840048" y="6459811"/>
                  <a:pt x="840048" y="6469671"/>
                </a:cubicBezTo>
                <a:cubicBezTo>
                  <a:pt x="840048" y="6483763"/>
                  <a:pt x="844188" y="6496053"/>
                  <a:pt x="852466" y="6506540"/>
                </a:cubicBezTo>
                <a:cubicBezTo>
                  <a:pt x="860745" y="6517028"/>
                  <a:pt x="871000" y="6522272"/>
                  <a:pt x="883232" y="6522272"/>
                </a:cubicBezTo>
                <a:cubicBezTo>
                  <a:pt x="890580" y="6522272"/>
                  <a:pt x="897568" y="6520074"/>
                  <a:pt x="904196" y="6515679"/>
                </a:cubicBezTo>
                <a:cubicBezTo>
                  <a:pt x="910823" y="6511284"/>
                  <a:pt x="916183" y="6504971"/>
                  <a:pt x="920276" y="6496739"/>
                </a:cubicBezTo>
                <a:cubicBezTo>
                  <a:pt x="924369" y="6488507"/>
                  <a:pt x="926415" y="6479484"/>
                  <a:pt x="926415" y="6469671"/>
                </a:cubicBezTo>
                <a:cubicBezTo>
                  <a:pt x="926415" y="6455578"/>
                  <a:pt x="922276" y="6443277"/>
                  <a:pt x="913997" y="6432766"/>
                </a:cubicBezTo>
                <a:cubicBezTo>
                  <a:pt x="905719" y="6422255"/>
                  <a:pt x="895464" y="6416999"/>
                  <a:pt x="883232" y="6416999"/>
                </a:cubicBezTo>
                <a:close/>
                <a:moveTo>
                  <a:pt x="5757201" y="6416930"/>
                </a:moveTo>
                <a:cubicBezTo>
                  <a:pt x="5749800" y="6416930"/>
                  <a:pt x="5743096" y="6418919"/>
                  <a:pt x="5737090" y="6422898"/>
                </a:cubicBezTo>
                <a:cubicBezTo>
                  <a:pt x="5731085" y="6426877"/>
                  <a:pt x="5726326" y="6432764"/>
                  <a:pt x="5722810" y="6440560"/>
                </a:cubicBezTo>
                <a:cubicBezTo>
                  <a:pt x="5719296" y="6448355"/>
                  <a:pt x="5717538" y="6457884"/>
                  <a:pt x="5717538" y="6469147"/>
                </a:cubicBezTo>
                <a:cubicBezTo>
                  <a:pt x="5717538" y="6480549"/>
                  <a:pt x="5719294" y="6490439"/>
                  <a:pt x="5722804" y="6498816"/>
                </a:cubicBezTo>
                <a:cubicBezTo>
                  <a:pt x="5726317" y="6507193"/>
                  <a:pt x="5730829" y="6513278"/>
                  <a:pt x="5736339" y="6517071"/>
                </a:cubicBezTo>
                <a:cubicBezTo>
                  <a:pt x="5741851" y="6520864"/>
                  <a:pt x="5748490" y="6522760"/>
                  <a:pt x="5756258" y="6522760"/>
                </a:cubicBezTo>
                <a:cubicBezTo>
                  <a:pt x="5765094" y="6522760"/>
                  <a:pt x="5772593" y="6519935"/>
                  <a:pt x="5778755" y="6514284"/>
                </a:cubicBezTo>
                <a:cubicBezTo>
                  <a:pt x="5784918" y="6508633"/>
                  <a:pt x="5789232" y="6500064"/>
                  <a:pt x="5791699" y="6488576"/>
                </a:cubicBezTo>
                <a:lnTo>
                  <a:pt x="5780536" y="6485158"/>
                </a:lnTo>
                <a:cubicBezTo>
                  <a:pt x="5779046" y="6493902"/>
                  <a:pt x="5776104" y="6500424"/>
                  <a:pt x="5771710" y="6504727"/>
                </a:cubicBezTo>
                <a:cubicBezTo>
                  <a:pt x="5767314" y="6509029"/>
                  <a:pt x="5762094" y="6511180"/>
                  <a:pt x="5756048" y="6511180"/>
                </a:cubicBezTo>
                <a:cubicBezTo>
                  <a:pt x="5747861" y="6511180"/>
                  <a:pt x="5741304" y="6507677"/>
                  <a:pt x="5736375" y="6500672"/>
                </a:cubicBezTo>
                <a:cubicBezTo>
                  <a:pt x="5731443" y="6493666"/>
                  <a:pt x="5728980" y="6483158"/>
                  <a:pt x="5728980" y="6469146"/>
                </a:cubicBezTo>
                <a:cubicBezTo>
                  <a:pt x="5728980" y="6459884"/>
                  <a:pt x="5730202" y="6452227"/>
                  <a:pt x="5732647" y="6446176"/>
                </a:cubicBezTo>
                <a:cubicBezTo>
                  <a:pt x="5735094" y="6440124"/>
                  <a:pt x="5738363" y="6435667"/>
                  <a:pt x="5742462" y="6432805"/>
                </a:cubicBezTo>
                <a:cubicBezTo>
                  <a:pt x="5746560" y="6429942"/>
                  <a:pt x="5751404" y="6428510"/>
                  <a:pt x="5756996" y="6428510"/>
                </a:cubicBezTo>
                <a:cubicBezTo>
                  <a:pt x="5768218" y="6428510"/>
                  <a:pt x="5775694" y="6435603"/>
                  <a:pt x="5779417" y="6449788"/>
                </a:cubicBezTo>
                <a:lnTo>
                  <a:pt x="5790300" y="6446649"/>
                </a:lnTo>
                <a:cubicBezTo>
                  <a:pt x="5787973" y="6436904"/>
                  <a:pt x="5783900" y="6429515"/>
                  <a:pt x="5778080" y="6424481"/>
                </a:cubicBezTo>
                <a:cubicBezTo>
                  <a:pt x="5772261" y="6419447"/>
                  <a:pt x="5765304" y="6416930"/>
                  <a:pt x="5757201" y="6416930"/>
                </a:cubicBezTo>
                <a:close/>
                <a:moveTo>
                  <a:pt x="2249532" y="6416930"/>
                </a:moveTo>
                <a:cubicBezTo>
                  <a:pt x="2240467" y="6416930"/>
                  <a:pt x="2233254" y="6419557"/>
                  <a:pt x="2227909" y="6424813"/>
                </a:cubicBezTo>
                <a:cubicBezTo>
                  <a:pt x="2222556" y="6430068"/>
                  <a:pt x="2219883" y="6436835"/>
                  <a:pt x="2219883" y="6445114"/>
                </a:cubicBezTo>
                <a:cubicBezTo>
                  <a:pt x="2219883" y="6449718"/>
                  <a:pt x="2220813" y="6453846"/>
                  <a:pt x="2222671" y="6457497"/>
                </a:cubicBezTo>
                <a:cubicBezTo>
                  <a:pt x="2224536" y="6461148"/>
                  <a:pt x="2227140" y="6464159"/>
                  <a:pt x="2230487" y="6466531"/>
                </a:cubicBezTo>
                <a:cubicBezTo>
                  <a:pt x="2233835" y="6468903"/>
                  <a:pt x="2239465" y="6471263"/>
                  <a:pt x="2247373" y="6473610"/>
                </a:cubicBezTo>
                <a:cubicBezTo>
                  <a:pt x="2256256" y="6476239"/>
                  <a:pt x="2262035" y="6478273"/>
                  <a:pt x="2264706" y="6479712"/>
                </a:cubicBezTo>
                <a:cubicBezTo>
                  <a:pt x="2267380" y="6481151"/>
                  <a:pt x="2269378" y="6482996"/>
                  <a:pt x="2270706" y="6485247"/>
                </a:cubicBezTo>
                <a:cubicBezTo>
                  <a:pt x="2272029" y="6487498"/>
                  <a:pt x="2272693" y="6490132"/>
                  <a:pt x="2272693" y="6493148"/>
                </a:cubicBezTo>
                <a:cubicBezTo>
                  <a:pt x="2272693" y="6498300"/>
                  <a:pt x="2270867" y="6502488"/>
                  <a:pt x="2267221" y="6505714"/>
                </a:cubicBezTo>
                <a:cubicBezTo>
                  <a:pt x="2263568" y="6508939"/>
                  <a:pt x="2258441" y="6510552"/>
                  <a:pt x="2251834" y="6510552"/>
                </a:cubicBezTo>
                <a:cubicBezTo>
                  <a:pt x="2247228" y="6510552"/>
                  <a:pt x="2243090" y="6509598"/>
                  <a:pt x="2239420" y="6507691"/>
                </a:cubicBezTo>
                <a:cubicBezTo>
                  <a:pt x="2235745" y="6505785"/>
                  <a:pt x="2232919" y="6503262"/>
                  <a:pt x="2230941" y="6500122"/>
                </a:cubicBezTo>
                <a:cubicBezTo>
                  <a:pt x="2228964" y="6496983"/>
                  <a:pt x="2227697" y="6492599"/>
                  <a:pt x="2227140" y="6486972"/>
                </a:cubicBezTo>
                <a:lnTo>
                  <a:pt x="2216673" y="6488088"/>
                </a:lnTo>
                <a:cubicBezTo>
                  <a:pt x="2216905" y="6498739"/>
                  <a:pt x="2220105" y="6507180"/>
                  <a:pt x="2226270" y="6513412"/>
                </a:cubicBezTo>
                <a:cubicBezTo>
                  <a:pt x="2232430" y="6519644"/>
                  <a:pt x="2240699" y="6522760"/>
                  <a:pt x="2251071" y="6522760"/>
                </a:cubicBezTo>
                <a:cubicBezTo>
                  <a:pt x="2257717" y="6522760"/>
                  <a:pt x="2263407" y="6521506"/>
                  <a:pt x="2268127" y="6518997"/>
                </a:cubicBezTo>
                <a:cubicBezTo>
                  <a:pt x="2272847" y="6516488"/>
                  <a:pt x="2276579" y="6512829"/>
                  <a:pt x="2279325" y="6508021"/>
                </a:cubicBezTo>
                <a:cubicBezTo>
                  <a:pt x="2282067" y="6503213"/>
                  <a:pt x="2283436" y="6497882"/>
                  <a:pt x="2283436" y="6492029"/>
                </a:cubicBezTo>
                <a:cubicBezTo>
                  <a:pt x="2283436" y="6486128"/>
                  <a:pt x="2282132" y="6481052"/>
                  <a:pt x="2279522" y="6476801"/>
                </a:cubicBezTo>
                <a:cubicBezTo>
                  <a:pt x="2276914" y="6472550"/>
                  <a:pt x="2273050" y="6469117"/>
                  <a:pt x="2267938" y="6466501"/>
                </a:cubicBezTo>
                <a:cubicBezTo>
                  <a:pt x="2264591" y="6464819"/>
                  <a:pt x="2258781" y="6462833"/>
                  <a:pt x="2250508" y="6460544"/>
                </a:cubicBezTo>
                <a:cubicBezTo>
                  <a:pt x="2242041" y="6458208"/>
                  <a:pt x="2236603" y="6455901"/>
                  <a:pt x="2234185" y="6453622"/>
                </a:cubicBezTo>
                <a:cubicBezTo>
                  <a:pt x="2231767" y="6451344"/>
                  <a:pt x="2230560" y="6448135"/>
                  <a:pt x="2230560" y="6443996"/>
                </a:cubicBezTo>
                <a:cubicBezTo>
                  <a:pt x="2230560" y="6439531"/>
                  <a:pt x="2232208" y="6435893"/>
                  <a:pt x="2235513" y="6433079"/>
                </a:cubicBezTo>
                <a:cubicBezTo>
                  <a:pt x="2238811" y="6430266"/>
                  <a:pt x="2243603" y="6428859"/>
                  <a:pt x="2249881" y="6428859"/>
                </a:cubicBezTo>
                <a:cubicBezTo>
                  <a:pt x="2256067" y="6428859"/>
                  <a:pt x="2260872" y="6430464"/>
                  <a:pt x="2264286" y="6433673"/>
                </a:cubicBezTo>
                <a:cubicBezTo>
                  <a:pt x="2267706" y="6436882"/>
                  <a:pt x="2269693" y="6441812"/>
                  <a:pt x="2270252" y="6448463"/>
                </a:cubicBezTo>
                <a:lnTo>
                  <a:pt x="2280928" y="6447486"/>
                </a:lnTo>
                <a:cubicBezTo>
                  <a:pt x="2280741" y="6441254"/>
                  <a:pt x="2279357" y="6435835"/>
                  <a:pt x="2276778" y="6431231"/>
                </a:cubicBezTo>
                <a:cubicBezTo>
                  <a:pt x="2274194" y="6426627"/>
                  <a:pt x="2270569" y="6423092"/>
                  <a:pt x="2265892" y="6420627"/>
                </a:cubicBezTo>
                <a:cubicBezTo>
                  <a:pt x="2261221" y="6418162"/>
                  <a:pt x="2255762" y="6416930"/>
                  <a:pt x="2249532" y="6416930"/>
                </a:cubicBezTo>
                <a:close/>
                <a:moveTo>
                  <a:pt x="2107530" y="6416930"/>
                </a:moveTo>
                <a:cubicBezTo>
                  <a:pt x="2099203" y="6416930"/>
                  <a:pt x="2091990" y="6418896"/>
                  <a:pt x="2085898" y="6422828"/>
                </a:cubicBezTo>
                <a:cubicBezTo>
                  <a:pt x="2079805" y="6426761"/>
                  <a:pt x="2074875" y="6432869"/>
                  <a:pt x="2071108" y="6441153"/>
                </a:cubicBezTo>
                <a:cubicBezTo>
                  <a:pt x="2067341" y="6449437"/>
                  <a:pt x="2065457" y="6459164"/>
                  <a:pt x="2065457" y="6470333"/>
                </a:cubicBezTo>
                <a:cubicBezTo>
                  <a:pt x="2065457" y="6481363"/>
                  <a:pt x="2067329" y="6490811"/>
                  <a:pt x="2071073" y="6498676"/>
                </a:cubicBezTo>
                <a:cubicBezTo>
                  <a:pt x="2074817" y="6506542"/>
                  <a:pt x="2079898" y="6512522"/>
                  <a:pt x="2086316" y="6516617"/>
                </a:cubicBezTo>
                <a:cubicBezTo>
                  <a:pt x="2092736" y="6520713"/>
                  <a:pt x="2100043" y="6522760"/>
                  <a:pt x="2108228" y="6522760"/>
                </a:cubicBezTo>
                <a:cubicBezTo>
                  <a:pt x="2114364" y="6522760"/>
                  <a:pt x="2120344" y="6521423"/>
                  <a:pt x="2126153" y="6518749"/>
                </a:cubicBezTo>
                <a:cubicBezTo>
                  <a:pt x="2131971" y="6516075"/>
                  <a:pt x="2137595" y="6512087"/>
                  <a:pt x="2143038" y="6506785"/>
                </a:cubicBezTo>
                <a:lnTo>
                  <a:pt x="2143038" y="6468764"/>
                </a:lnTo>
                <a:lnTo>
                  <a:pt x="2107530" y="6468833"/>
                </a:lnTo>
                <a:lnTo>
                  <a:pt x="2107530" y="6480902"/>
                </a:lnTo>
                <a:lnTo>
                  <a:pt x="2132151" y="6480902"/>
                </a:lnTo>
                <a:lnTo>
                  <a:pt x="2132151" y="6499948"/>
                </a:lnTo>
                <a:cubicBezTo>
                  <a:pt x="2129458" y="6502831"/>
                  <a:pt x="2125816" y="6505320"/>
                  <a:pt x="2121238" y="6507412"/>
                </a:cubicBezTo>
                <a:cubicBezTo>
                  <a:pt x="2116657" y="6509505"/>
                  <a:pt x="2112179" y="6510552"/>
                  <a:pt x="2107806" y="6510552"/>
                </a:cubicBezTo>
                <a:cubicBezTo>
                  <a:pt x="2098646" y="6510552"/>
                  <a:pt x="2091200" y="6507142"/>
                  <a:pt x="2085479" y="6500323"/>
                </a:cubicBezTo>
                <a:cubicBezTo>
                  <a:pt x="2079759" y="6493503"/>
                  <a:pt x="2076898" y="6483251"/>
                  <a:pt x="2076898" y="6469566"/>
                </a:cubicBezTo>
                <a:cubicBezTo>
                  <a:pt x="2076898" y="6460582"/>
                  <a:pt x="2078235" y="6452972"/>
                  <a:pt x="2080910" y="6446734"/>
                </a:cubicBezTo>
                <a:cubicBezTo>
                  <a:pt x="2083584" y="6440497"/>
                  <a:pt x="2087119" y="6435900"/>
                  <a:pt x="2091514" y="6432944"/>
                </a:cubicBezTo>
                <a:cubicBezTo>
                  <a:pt x="2095909" y="6429988"/>
                  <a:pt x="2101156" y="6428510"/>
                  <a:pt x="2107247" y="6428510"/>
                </a:cubicBezTo>
                <a:cubicBezTo>
                  <a:pt x="2111432" y="6428510"/>
                  <a:pt x="2115200" y="6429324"/>
                  <a:pt x="2118547" y="6430952"/>
                </a:cubicBezTo>
                <a:cubicBezTo>
                  <a:pt x="2121898" y="6432580"/>
                  <a:pt x="2124598" y="6434824"/>
                  <a:pt x="2126643" y="6437684"/>
                </a:cubicBezTo>
                <a:cubicBezTo>
                  <a:pt x="2128689" y="6440544"/>
                  <a:pt x="2130387" y="6444858"/>
                  <a:pt x="2131738" y="6450625"/>
                </a:cubicBezTo>
                <a:lnTo>
                  <a:pt x="2141711" y="6447277"/>
                </a:lnTo>
                <a:cubicBezTo>
                  <a:pt x="2140221" y="6439975"/>
                  <a:pt x="2137990" y="6434231"/>
                  <a:pt x="2135015" y="6430045"/>
                </a:cubicBezTo>
                <a:cubicBezTo>
                  <a:pt x="2132036" y="6425859"/>
                  <a:pt x="2128247" y="6422627"/>
                  <a:pt x="2123643" y="6420348"/>
                </a:cubicBezTo>
                <a:cubicBezTo>
                  <a:pt x="2119038" y="6418069"/>
                  <a:pt x="2113665" y="6416930"/>
                  <a:pt x="2107530" y="6416930"/>
                </a:cubicBezTo>
                <a:close/>
                <a:moveTo>
                  <a:pt x="1516105" y="6416930"/>
                </a:moveTo>
                <a:cubicBezTo>
                  <a:pt x="1507035" y="6416930"/>
                  <a:pt x="1499827" y="6419557"/>
                  <a:pt x="1494478" y="6424813"/>
                </a:cubicBezTo>
                <a:cubicBezTo>
                  <a:pt x="1489130" y="6430068"/>
                  <a:pt x="1486455" y="6436835"/>
                  <a:pt x="1486455" y="6445114"/>
                </a:cubicBezTo>
                <a:cubicBezTo>
                  <a:pt x="1486455" y="6449718"/>
                  <a:pt x="1487385" y="6453846"/>
                  <a:pt x="1489246" y="6457497"/>
                </a:cubicBezTo>
                <a:cubicBezTo>
                  <a:pt x="1491106" y="6461148"/>
                  <a:pt x="1493711" y="6464159"/>
                  <a:pt x="1497059" y="6466531"/>
                </a:cubicBezTo>
                <a:cubicBezTo>
                  <a:pt x="1500408" y="6468903"/>
                  <a:pt x="1506035" y="6471263"/>
                  <a:pt x="1513942" y="6473610"/>
                </a:cubicBezTo>
                <a:cubicBezTo>
                  <a:pt x="1522825" y="6476239"/>
                  <a:pt x="1528604" y="6478273"/>
                  <a:pt x="1531278" y="6479712"/>
                </a:cubicBezTo>
                <a:cubicBezTo>
                  <a:pt x="1533953" y="6481151"/>
                  <a:pt x="1535952" y="6482996"/>
                  <a:pt x="1537278" y="6485247"/>
                </a:cubicBezTo>
                <a:cubicBezTo>
                  <a:pt x="1538603" y="6487498"/>
                  <a:pt x="1539266" y="6490132"/>
                  <a:pt x="1539266" y="6493148"/>
                </a:cubicBezTo>
                <a:cubicBezTo>
                  <a:pt x="1539266" y="6498300"/>
                  <a:pt x="1537441" y="6502488"/>
                  <a:pt x="1533790" y="6505714"/>
                </a:cubicBezTo>
                <a:cubicBezTo>
                  <a:pt x="1530139" y="6508939"/>
                  <a:pt x="1525011" y="6510552"/>
                  <a:pt x="1518407" y="6510552"/>
                </a:cubicBezTo>
                <a:cubicBezTo>
                  <a:pt x="1513802" y="6510552"/>
                  <a:pt x="1509663" y="6509598"/>
                  <a:pt x="1505989" y="6507691"/>
                </a:cubicBezTo>
                <a:cubicBezTo>
                  <a:pt x="1502315" y="6505785"/>
                  <a:pt x="1499490" y="6503262"/>
                  <a:pt x="1497513" y="6500122"/>
                </a:cubicBezTo>
                <a:cubicBezTo>
                  <a:pt x="1495536" y="6496983"/>
                  <a:pt x="1494269" y="6492599"/>
                  <a:pt x="1493711" y="6486972"/>
                </a:cubicBezTo>
                <a:lnTo>
                  <a:pt x="1483246" y="6488088"/>
                </a:lnTo>
                <a:cubicBezTo>
                  <a:pt x="1483479" y="6498739"/>
                  <a:pt x="1486676" y="6507180"/>
                  <a:pt x="1492839" y="6513412"/>
                </a:cubicBezTo>
                <a:cubicBezTo>
                  <a:pt x="1499001" y="6519644"/>
                  <a:pt x="1507268" y="6522760"/>
                  <a:pt x="1517639" y="6522760"/>
                </a:cubicBezTo>
                <a:cubicBezTo>
                  <a:pt x="1524290" y="6522760"/>
                  <a:pt x="1529976" y="6521506"/>
                  <a:pt x="1534697" y="6518997"/>
                </a:cubicBezTo>
                <a:cubicBezTo>
                  <a:pt x="1539417" y="6516488"/>
                  <a:pt x="1543151" y="6512829"/>
                  <a:pt x="1545894" y="6508021"/>
                </a:cubicBezTo>
                <a:cubicBezTo>
                  <a:pt x="1548638" y="6503213"/>
                  <a:pt x="1550010" y="6497882"/>
                  <a:pt x="1550010" y="6492029"/>
                </a:cubicBezTo>
                <a:cubicBezTo>
                  <a:pt x="1550010" y="6486128"/>
                  <a:pt x="1548705" y="6481052"/>
                  <a:pt x="1546095" y="6476801"/>
                </a:cubicBezTo>
                <a:cubicBezTo>
                  <a:pt x="1543485" y="6472550"/>
                  <a:pt x="1539623" y="6469117"/>
                  <a:pt x="1534510" y="6466501"/>
                </a:cubicBezTo>
                <a:cubicBezTo>
                  <a:pt x="1531163" y="6464819"/>
                  <a:pt x="1525351" y="6462833"/>
                  <a:pt x="1517077" y="6460544"/>
                </a:cubicBezTo>
                <a:cubicBezTo>
                  <a:pt x="1508616" y="6458208"/>
                  <a:pt x="1503176" y="6455901"/>
                  <a:pt x="1500758" y="6453622"/>
                </a:cubicBezTo>
                <a:cubicBezTo>
                  <a:pt x="1498339" y="6451344"/>
                  <a:pt x="1497129" y="6448135"/>
                  <a:pt x="1497129" y="6443996"/>
                </a:cubicBezTo>
                <a:cubicBezTo>
                  <a:pt x="1497129" y="6439531"/>
                  <a:pt x="1498780" y="6435893"/>
                  <a:pt x="1502082" y="6433079"/>
                </a:cubicBezTo>
                <a:cubicBezTo>
                  <a:pt x="1505385" y="6430266"/>
                  <a:pt x="1510175" y="6428859"/>
                  <a:pt x="1516453" y="6428859"/>
                </a:cubicBezTo>
                <a:cubicBezTo>
                  <a:pt x="1522639" y="6428859"/>
                  <a:pt x="1527441" y="6430464"/>
                  <a:pt x="1530860" y="6433673"/>
                </a:cubicBezTo>
                <a:cubicBezTo>
                  <a:pt x="1534278" y="6436882"/>
                  <a:pt x="1536266" y="6441812"/>
                  <a:pt x="1536824" y="6448463"/>
                </a:cubicBezTo>
                <a:lnTo>
                  <a:pt x="1547498" y="6447486"/>
                </a:lnTo>
                <a:cubicBezTo>
                  <a:pt x="1547312" y="6441254"/>
                  <a:pt x="1545928" y="6435835"/>
                  <a:pt x="1543347" y="6431231"/>
                </a:cubicBezTo>
                <a:cubicBezTo>
                  <a:pt x="1540766" y="6426627"/>
                  <a:pt x="1537138" y="6423092"/>
                  <a:pt x="1532464" y="6420627"/>
                </a:cubicBezTo>
                <a:cubicBezTo>
                  <a:pt x="1527790" y="6418162"/>
                  <a:pt x="1522337" y="6416930"/>
                  <a:pt x="1516105" y="6416930"/>
                </a:cubicBezTo>
                <a:close/>
                <a:moveTo>
                  <a:pt x="999314" y="6416930"/>
                </a:moveTo>
                <a:cubicBezTo>
                  <a:pt x="991912" y="6416930"/>
                  <a:pt x="985208" y="6418919"/>
                  <a:pt x="979202" y="6422898"/>
                </a:cubicBezTo>
                <a:cubicBezTo>
                  <a:pt x="973197" y="6426877"/>
                  <a:pt x="968437" y="6432764"/>
                  <a:pt x="964922" y="6440560"/>
                </a:cubicBezTo>
                <a:cubicBezTo>
                  <a:pt x="961408" y="6448355"/>
                  <a:pt x="959650" y="6457884"/>
                  <a:pt x="959650" y="6469147"/>
                </a:cubicBezTo>
                <a:cubicBezTo>
                  <a:pt x="959650" y="6480549"/>
                  <a:pt x="961406" y="6490439"/>
                  <a:pt x="964918" y="6498816"/>
                </a:cubicBezTo>
                <a:cubicBezTo>
                  <a:pt x="968429" y="6507193"/>
                  <a:pt x="972940" y="6513278"/>
                  <a:pt x="978452" y="6517071"/>
                </a:cubicBezTo>
                <a:cubicBezTo>
                  <a:pt x="983963" y="6520864"/>
                  <a:pt x="990602" y="6522760"/>
                  <a:pt x="998369" y="6522760"/>
                </a:cubicBezTo>
                <a:cubicBezTo>
                  <a:pt x="1007205" y="6522760"/>
                  <a:pt x="1014705" y="6519935"/>
                  <a:pt x="1020867" y="6514284"/>
                </a:cubicBezTo>
                <a:cubicBezTo>
                  <a:pt x="1027030" y="6508633"/>
                  <a:pt x="1031344" y="6500064"/>
                  <a:pt x="1033809" y="6488576"/>
                </a:cubicBezTo>
                <a:lnTo>
                  <a:pt x="1022646" y="6485158"/>
                </a:lnTo>
                <a:cubicBezTo>
                  <a:pt x="1021158" y="6493902"/>
                  <a:pt x="1018216" y="6500424"/>
                  <a:pt x="1013821" y="6504727"/>
                </a:cubicBezTo>
                <a:cubicBezTo>
                  <a:pt x="1009426" y="6509029"/>
                  <a:pt x="1004206" y="6511180"/>
                  <a:pt x="998160" y="6511180"/>
                </a:cubicBezTo>
                <a:cubicBezTo>
                  <a:pt x="989974" y="6511180"/>
                  <a:pt x="983416" y="6507677"/>
                  <a:pt x="978486" y="6500672"/>
                </a:cubicBezTo>
                <a:cubicBezTo>
                  <a:pt x="973556" y="6493666"/>
                  <a:pt x="971092" y="6483158"/>
                  <a:pt x="971092" y="6469146"/>
                </a:cubicBezTo>
                <a:cubicBezTo>
                  <a:pt x="971092" y="6459884"/>
                  <a:pt x="972314" y="6452227"/>
                  <a:pt x="974759" y="6446176"/>
                </a:cubicBezTo>
                <a:cubicBezTo>
                  <a:pt x="977204" y="6440124"/>
                  <a:pt x="980476" y="6435667"/>
                  <a:pt x="984574" y="6432805"/>
                </a:cubicBezTo>
                <a:cubicBezTo>
                  <a:pt x="988673" y="6429942"/>
                  <a:pt x="993517" y="6428510"/>
                  <a:pt x="999106" y="6428510"/>
                </a:cubicBezTo>
                <a:cubicBezTo>
                  <a:pt x="1010330" y="6428510"/>
                  <a:pt x="1017805" y="6435603"/>
                  <a:pt x="1021530" y="6449788"/>
                </a:cubicBezTo>
                <a:lnTo>
                  <a:pt x="1032413" y="6446649"/>
                </a:lnTo>
                <a:cubicBezTo>
                  <a:pt x="1030086" y="6436904"/>
                  <a:pt x="1026012" y="6429515"/>
                  <a:pt x="1020193" y="6424481"/>
                </a:cubicBezTo>
                <a:cubicBezTo>
                  <a:pt x="1014374" y="6419447"/>
                  <a:pt x="1007414" y="6416930"/>
                  <a:pt x="999314" y="6416930"/>
                </a:cubicBezTo>
                <a:close/>
                <a:moveTo>
                  <a:pt x="11136920" y="6415084"/>
                </a:moveTo>
                <a:cubicBezTo>
                  <a:pt x="11166990" y="6415084"/>
                  <a:pt x="11180757" y="6429263"/>
                  <a:pt x="11180757" y="6458741"/>
                </a:cubicBezTo>
                <a:cubicBezTo>
                  <a:pt x="11180757" y="6488218"/>
                  <a:pt x="11166990" y="6502397"/>
                  <a:pt x="11136920" y="6502397"/>
                </a:cubicBezTo>
                <a:cubicBezTo>
                  <a:pt x="11106487" y="6502397"/>
                  <a:pt x="11093445" y="6488218"/>
                  <a:pt x="11093445" y="6457621"/>
                </a:cubicBezTo>
                <a:cubicBezTo>
                  <a:pt x="11093445" y="6429263"/>
                  <a:pt x="11107574" y="6415084"/>
                  <a:pt x="11136920" y="6415084"/>
                </a:cubicBezTo>
                <a:close/>
                <a:moveTo>
                  <a:pt x="11241084" y="6397622"/>
                </a:moveTo>
                <a:lnTo>
                  <a:pt x="11241084" y="6521447"/>
                </a:lnTo>
                <a:lnTo>
                  <a:pt x="11276259" y="6521447"/>
                </a:lnTo>
                <a:lnTo>
                  <a:pt x="11274446" y="6427562"/>
                </a:lnTo>
                <a:lnTo>
                  <a:pt x="11344433" y="6521447"/>
                </a:lnTo>
                <a:lnTo>
                  <a:pt x="11383959" y="6521447"/>
                </a:lnTo>
                <a:lnTo>
                  <a:pt x="11383959" y="6397622"/>
                </a:lnTo>
                <a:lnTo>
                  <a:pt x="11349147" y="6397622"/>
                </a:lnTo>
                <a:lnTo>
                  <a:pt x="11350597" y="6486702"/>
                </a:lnTo>
                <a:lnTo>
                  <a:pt x="11284237" y="6397622"/>
                </a:lnTo>
                <a:close/>
                <a:moveTo>
                  <a:pt x="10998196" y="6397622"/>
                </a:moveTo>
                <a:lnTo>
                  <a:pt x="10998196" y="6521447"/>
                </a:lnTo>
                <a:lnTo>
                  <a:pt x="11033121" y="6521447"/>
                </a:lnTo>
                <a:lnTo>
                  <a:pt x="11033121" y="6397622"/>
                </a:lnTo>
                <a:close/>
                <a:moveTo>
                  <a:pt x="10760071" y="6397622"/>
                </a:moveTo>
                <a:lnTo>
                  <a:pt x="10760071" y="6521447"/>
                </a:lnTo>
                <a:lnTo>
                  <a:pt x="10794996" y="6521447"/>
                </a:lnTo>
                <a:lnTo>
                  <a:pt x="10794996" y="6397622"/>
                </a:lnTo>
                <a:close/>
                <a:moveTo>
                  <a:pt x="10637569" y="6397622"/>
                </a:moveTo>
                <a:cubicBezTo>
                  <a:pt x="10599162" y="6397622"/>
                  <a:pt x="10580684" y="6408341"/>
                  <a:pt x="10580684" y="6435324"/>
                </a:cubicBezTo>
                <a:cubicBezTo>
                  <a:pt x="10580684" y="6460459"/>
                  <a:pt x="10597713" y="6471178"/>
                  <a:pt x="10634670" y="6471178"/>
                </a:cubicBezTo>
                <a:lnTo>
                  <a:pt x="10674888" y="6471178"/>
                </a:lnTo>
                <a:cubicBezTo>
                  <a:pt x="10691555" y="6471178"/>
                  <a:pt x="10699163" y="6474135"/>
                  <a:pt x="10699163" y="6485224"/>
                </a:cubicBezTo>
                <a:cubicBezTo>
                  <a:pt x="10699163" y="6495943"/>
                  <a:pt x="10690830" y="6499270"/>
                  <a:pt x="10672714" y="6499270"/>
                </a:cubicBezTo>
                <a:lnTo>
                  <a:pt x="10587206" y="6499270"/>
                </a:lnTo>
                <a:lnTo>
                  <a:pt x="10587206" y="6521447"/>
                </a:lnTo>
                <a:lnTo>
                  <a:pt x="10678149" y="6521447"/>
                </a:lnTo>
                <a:cubicBezTo>
                  <a:pt x="10716555" y="6521447"/>
                  <a:pt x="10734671" y="6510358"/>
                  <a:pt x="10734671" y="6484115"/>
                </a:cubicBezTo>
                <a:cubicBezTo>
                  <a:pt x="10734671" y="6458241"/>
                  <a:pt x="10719091" y="6449370"/>
                  <a:pt x="10683221" y="6449370"/>
                </a:cubicBezTo>
                <a:lnTo>
                  <a:pt x="10637931" y="6449370"/>
                </a:lnTo>
                <a:cubicBezTo>
                  <a:pt x="10623800" y="6449370"/>
                  <a:pt x="10616554" y="6444934"/>
                  <a:pt x="10616554" y="6435694"/>
                </a:cubicBezTo>
                <a:cubicBezTo>
                  <a:pt x="10616554" y="6424235"/>
                  <a:pt x="10624887" y="6419430"/>
                  <a:pt x="10642641" y="6419430"/>
                </a:cubicBezTo>
                <a:lnTo>
                  <a:pt x="10726700" y="6419430"/>
                </a:lnTo>
                <a:lnTo>
                  <a:pt x="10726700" y="6397622"/>
                </a:lnTo>
                <a:close/>
                <a:moveTo>
                  <a:pt x="10413996" y="6397622"/>
                </a:moveTo>
                <a:lnTo>
                  <a:pt x="10413996" y="6521447"/>
                </a:lnTo>
                <a:lnTo>
                  <a:pt x="10448897" y="6521447"/>
                </a:lnTo>
                <a:lnTo>
                  <a:pt x="10447443" y="6427562"/>
                </a:lnTo>
                <a:lnTo>
                  <a:pt x="10517608" y="6521447"/>
                </a:lnTo>
                <a:lnTo>
                  <a:pt x="10556871" y="6521447"/>
                </a:lnTo>
                <a:lnTo>
                  <a:pt x="10556871" y="6397622"/>
                </a:lnTo>
                <a:lnTo>
                  <a:pt x="10522334" y="6397622"/>
                </a:lnTo>
                <a:lnTo>
                  <a:pt x="10523788" y="6486702"/>
                </a:lnTo>
                <a:lnTo>
                  <a:pt x="10457258" y="6397622"/>
                </a:lnTo>
                <a:close/>
                <a:moveTo>
                  <a:pt x="10327466" y="6397622"/>
                </a:moveTo>
                <a:cubicBezTo>
                  <a:pt x="10276126" y="6397622"/>
                  <a:pt x="10252071" y="6417952"/>
                  <a:pt x="10252071" y="6461568"/>
                </a:cubicBezTo>
                <a:cubicBezTo>
                  <a:pt x="10252071" y="6484115"/>
                  <a:pt x="10259970" y="6500379"/>
                  <a:pt x="10276844" y="6510358"/>
                </a:cubicBezTo>
                <a:cubicBezTo>
                  <a:pt x="10292282" y="6520338"/>
                  <a:pt x="10307361" y="6521447"/>
                  <a:pt x="10326748" y="6521447"/>
                </a:cubicBezTo>
                <a:lnTo>
                  <a:pt x="10383833" y="6521447"/>
                </a:lnTo>
                <a:lnTo>
                  <a:pt x="10383833" y="6499639"/>
                </a:lnTo>
                <a:lnTo>
                  <a:pt x="10328184" y="6499639"/>
                </a:lnTo>
                <a:cubicBezTo>
                  <a:pt x="10301616" y="6499639"/>
                  <a:pt x="10290128" y="6491877"/>
                  <a:pt x="10290128" y="6469330"/>
                </a:cubicBezTo>
                <a:lnTo>
                  <a:pt x="10383833" y="6469330"/>
                </a:lnTo>
                <a:lnTo>
                  <a:pt x="10383833" y="6447892"/>
                </a:lnTo>
                <a:lnTo>
                  <a:pt x="10290128" y="6447892"/>
                </a:lnTo>
                <a:cubicBezTo>
                  <a:pt x="10291564" y="6428301"/>
                  <a:pt x="10303771" y="6419061"/>
                  <a:pt x="10328184" y="6419061"/>
                </a:cubicBezTo>
                <a:lnTo>
                  <a:pt x="10383833" y="6419061"/>
                </a:lnTo>
                <a:lnTo>
                  <a:pt x="10383833" y="6397622"/>
                </a:lnTo>
                <a:close/>
                <a:moveTo>
                  <a:pt x="10139094" y="6397622"/>
                </a:moveTo>
                <a:cubicBezTo>
                  <a:pt x="10100325" y="6397622"/>
                  <a:pt x="10082209" y="6408341"/>
                  <a:pt x="10082209" y="6435324"/>
                </a:cubicBezTo>
                <a:cubicBezTo>
                  <a:pt x="10082209" y="6460459"/>
                  <a:pt x="10099238" y="6471178"/>
                  <a:pt x="10136195" y="6471178"/>
                </a:cubicBezTo>
                <a:lnTo>
                  <a:pt x="10176413" y="6471178"/>
                </a:lnTo>
                <a:cubicBezTo>
                  <a:pt x="10192717" y="6471178"/>
                  <a:pt x="10200326" y="6474135"/>
                  <a:pt x="10200326" y="6485224"/>
                </a:cubicBezTo>
                <a:cubicBezTo>
                  <a:pt x="10200326" y="6495943"/>
                  <a:pt x="10191993" y="6499270"/>
                  <a:pt x="10173877" y="6499270"/>
                </a:cubicBezTo>
                <a:lnTo>
                  <a:pt x="10088731" y="6499270"/>
                </a:lnTo>
                <a:lnTo>
                  <a:pt x="10088731" y="6521447"/>
                </a:lnTo>
                <a:lnTo>
                  <a:pt x="10179311" y="6521447"/>
                </a:lnTo>
                <a:cubicBezTo>
                  <a:pt x="10217718" y="6521447"/>
                  <a:pt x="10236196" y="6510358"/>
                  <a:pt x="10236196" y="6484115"/>
                </a:cubicBezTo>
                <a:cubicBezTo>
                  <a:pt x="10236196" y="6458241"/>
                  <a:pt x="10220616" y="6449370"/>
                  <a:pt x="10184384" y="6449370"/>
                </a:cubicBezTo>
                <a:lnTo>
                  <a:pt x="10139456" y="6449370"/>
                </a:lnTo>
                <a:cubicBezTo>
                  <a:pt x="10124963" y="6449370"/>
                  <a:pt x="10117717" y="6444934"/>
                  <a:pt x="10117717" y="6435694"/>
                </a:cubicBezTo>
                <a:cubicBezTo>
                  <a:pt x="10117717" y="6424235"/>
                  <a:pt x="10126050" y="6419430"/>
                  <a:pt x="10144166" y="6419430"/>
                </a:cubicBezTo>
                <a:lnTo>
                  <a:pt x="10228225" y="6419430"/>
                </a:lnTo>
                <a:lnTo>
                  <a:pt x="10228225" y="6397622"/>
                </a:lnTo>
                <a:close/>
                <a:moveTo>
                  <a:pt x="10828333" y="6397621"/>
                </a:moveTo>
                <a:lnTo>
                  <a:pt x="10828333" y="6521446"/>
                </a:lnTo>
                <a:lnTo>
                  <a:pt x="10862629" y="6521446"/>
                </a:lnTo>
                <a:lnTo>
                  <a:pt x="10862629" y="6472655"/>
                </a:lnTo>
                <a:lnTo>
                  <a:pt x="10903128" y="6472655"/>
                </a:lnTo>
                <a:lnTo>
                  <a:pt x="10938884" y="6521446"/>
                </a:lnTo>
                <a:lnTo>
                  <a:pt x="10977558" y="6521446"/>
                </a:lnTo>
                <a:lnTo>
                  <a:pt x="10937059" y="6469698"/>
                </a:lnTo>
                <a:cubicBezTo>
                  <a:pt x="10958221" y="6466002"/>
                  <a:pt x="10969896" y="6453805"/>
                  <a:pt x="10969896" y="6434584"/>
                </a:cubicBezTo>
                <a:cubicBezTo>
                  <a:pt x="10969896" y="6408710"/>
                  <a:pt x="10951653" y="6397621"/>
                  <a:pt x="10912979" y="6397621"/>
                </a:cubicBezTo>
                <a:close/>
                <a:moveTo>
                  <a:pt x="11137895" y="6394446"/>
                </a:moveTo>
                <a:cubicBezTo>
                  <a:pt x="11083436" y="6394446"/>
                  <a:pt x="11056933" y="6415079"/>
                  <a:pt x="11056933" y="6457451"/>
                </a:cubicBezTo>
                <a:cubicBezTo>
                  <a:pt x="11056933" y="6502401"/>
                  <a:pt x="11081984" y="6523034"/>
                  <a:pt x="11137895" y="6523034"/>
                </a:cubicBezTo>
                <a:cubicBezTo>
                  <a:pt x="11193081" y="6523034"/>
                  <a:pt x="11218858" y="6502401"/>
                  <a:pt x="11218858" y="6458556"/>
                </a:cubicBezTo>
                <a:cubicBezTo>
                  <a:pt x="11218858" y="6415079"/>
                  <a:pt x="11193081" y="6394446"/>
                  <a:pt x="11137895" y="6394446"/>
                </a:cubicBezTo>
                <a:close/>
                <a:moveTo>
                  <a:pt x="0" y="0"/>
                </a:moveTo>
                <a:lnTo>
                  <a:pt x="12191996" y="0"/>
                </a:lnTo>
                <a:lnTo>
                  <a:pt x="12191996" y="3141658"/>
                </a:lnTo>
                <a:lnTo>
                  <a:pt x="6095997" y="3141658"/>
                </a:lnTo>
                <a:lnTo>
                  <a:pt x="6095997" y="6237283"/>
                </a:lnTo>
                <a:lnTo>
                  <a:pt x="12191996" y="6237283"/>
                </a:lnTo>
                <a:lnTo>
                  <a:pt x="12191996" y="6857997"/>
                </a:lnTo>
                <a:lnTo>
                  <a:pt x="0" y="6857997"/>
                </a:lnTo>
                <a:close/>
              </a:path>
            </a:pathLst>
          </a:custGeom>
          <a:noFill/>
        </p:spPr>
        <p:txBody>
          <a:bodyPr wrap="square">
            <a:noAutofit/>
          </a:bodyPr>
          <a:lstStyle>
            <a:lvl1pPr algn="ctr">
              <a:defRPr/>
            </a:lvl1pPr>
          </a:lstStyle>
          <a:p>
            <a:r>
              <a:rPr lang="en-US"/>
              <a:t>Click icon to add picture</a:t>
            </a:r>
            <a:endParaRPr lang="de-DE"/>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5005854" cy="457200"/>
          </a:xfrm>
        </p:spPr>
        <p:txBody>
          <a:bodyPr/>
          <a:lstStyle>
            <a:lvl1pPr>
              <a:spcBef>
                <a:spcPts val="500"/>
              </a:spcBef>
              <a:defRPr sz="3100" b="1">
                <a:solidFill>
                  <a:srgbClr val="FFFFFF"/>
                </a:solidFill>
              </a:defRPr>
            </a:lvl1pPr>
          </a:lstStyle>
          <a:p>
            <a:pPr lvl="0"/>
            <a:r>
              <a:rPr lang="en-US" noProof="0"/>
              <a:t>Add Title</a:t>
            </a:r>
          </a:p>
        </p:txBody>
      </p:sp>
      <p:sp>
        <p:nvSpPr>
          <p:cNvPr id="10" name="Textplatzhalter 2"/>
          <p:cNvSpPr>
            <a:spLocks noGrp="1"/>
          </p:cNvSpPr>
          <p:nvPr>
            <p:ph type="body" sz="quarter" idx="11" hasCustomPrompt="1"/>
          </p:nvPr>
        </p:nvSpPr>
        <p:spPr>
          <a:xfrm>
            <a:off x="6395432"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p:ph type="title" hasCustomPrompt="1"/>
          </p:nvPr>
        </p:nvSpPr>
        <p:spPr/>
        <p:txBody>
          <a:bodyPr/>
          <a:lstStyle>
            <a:lvl1pPr>
              <a:defRPr/>
            </a:lvl1pPr>
          </a:lstStyle>
          <a:p>
            <a:r>
              <a:rPr lang="en-US"/>
              <a:t>Add Title</a:t>
            </a:r>
          </a:p>
        </p:txBody>
      </p:sp>
    </p:spTree>
    <p:extLst>
      <p:ext uri="{BB962C8B-B14F-4D97-AF65-F5344CB8AC3E}">
        <p14:creationId xmlns:p14="http://schemas.microsoft.com/office/powerpoint/2010/main" val="24815000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5" y="3141663"/>
            <a:ext cx="11510314" cy="3555699"/>
            <a:chOff x="5" y="3141663"/>
            <a:chExt cx="11510314" cy="3555699"/>
          </a:xfrm>
        </p:grpSpPr>
        <p:sp>
          <p:nvSpPr>
            <p:cNvPr id="15" name="Rechteck 14">
              <a:extLst>
                <a:ext uri="{FF2B5EF4-FFF2-40B4-BE49-F238E27FC236}">
                  <a16:creationId xmlns:a16="http://schemas.microsoft.com/office/drawing/2014/main" id="{1FA4CF6F-55B8-47F1-9CC1-6186CB347971}"/>
                </a:ext>
              </a:extLst>
            </p:cNvPr>
            <p:cNvSpPr/>
            <p:nvPr userDrawn="1"/>
          </p:nvSpPr>
          <p:spPr>
            <a:xfrm>
              <a:off x="5" y="3141663"/>
              <a:ext cx="6095995" cy="3095626"/>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2" name="Bildplatzhalter 11">
            <a:extLst>
              <a:ext uri="{FF2B5EF4-FFF2-40B4-BE49-F238E27FC236}">
                <a16:creationId xmlns:a16="http://schemas.microsoft.com/office/drawing/2014/main" id="{CDE31D27-C1A5-4AB1-9C8A-EF2A7C603F94}"/>
              </a:ext>
            </a:extLst>
          </p:cNvPr>
          <p:cNvSpPr>
            <a:spLocks noGrp="1"/>
          </p:cNvSpPr>
          <p:nvPr>
            <p:ph type="pic" sz="quarter" idx="14"/>
          </p:nvPr>
        </p:nvSpPr>
        <p:spPr>
          <a:xfrm>
            <a:off x="5" y="5"/>
            <a:ext cx="12191996" cy="6857997"/>
          </a:xfrm>
          <a:custGeom>
            <a:avLst/>
            <a:gdLst>
              <a:gd name="connsiteX0" fmla="*/ 11197257 w 12191996"/>
              <a:gd name="connsiteY0" fmla="*/ 6583359 h 6857997"/>
              <a:gd name="connsiteX1" fmla="*/ 11207745 w 12191996"/>
              <a:gd name="connsiteY1" fmla="*/ 6602409 h 6857997"/>
              <a:gd name="connsiteX2" fmla="*/ 11187108 w 12191996"/>
              <a:gd name="connsiteY2" fmla="*/ 6602409 h 6857997"/>
              <a:gd name="connsiteX3" fmla="*/ 11114083 w 12191996"/>
              <a:gd name="connsiteY3" fmla="*/ 6583359 h 6857997"/>
              <a:gd name="connsiteX4" fmla="*/ 11131338 w 12191996"/>
              <a:gd name="connsiteY4" fmla="*/ 6583359 h 6857997"/>
              <a:gd name="connsiteX5" fmla="*/ 11145833 w 12191996"/>
              <a:gd name="connsiteY5" fmla="*/ 6589709 h 6857997"/>
              <a:gd name="connsiteX6" fmla="*/ 11132374 w 12191996"/>
              <a:gd name="connsiteY6" fmla="*/ 6596059 h 6857997"/>
              <a:gd name="connsiteX7" fmla="*/ 11114083 w 12191996"/>
              <a:gd name="connsiteY7" fmla="*/ 6596059 h 6857997"/>
              <a:gd name="connsiteX8" fmla="*/ 10745783 w 12191996"/>
              <a:gd name="connsiteY8" fmla="*/ 6583359 h 6857997"/>
              <a:gd name="connsiteX9" fmla="*/ 10765350 w 12191996"/>
              <a:gd name="connsiteY9" fmla="*/ 6583359 h 6857997"/>
              <a:gd name="connsiteX10" fmla="*/ 10779120 w 12191996"/>
              <a:gd name="connsiteY10" fmla="*/ 6588747 h 6857997"/>
              <a:gd name="connsiteX11" fmla="*/ 10765350 w 12191996"/>
              <a:gd name="connsiteY11" fmla="*/ 6594472 h 6857997"/>
              <a:gd name="connsiteX12" fmla="*/ 10745783 w 12191996"/>
              <a:gd name="connsiteY12" fmla="*/ 6594472 h 6857997"/>
              <a:gd name="connsiteX13" fmla="*/ 10949955 w 12191996"/>
              <a:gd name="connsiteY13" fmla="*/ 6581771 h 6857997"/>
              <a:gd name="connsiteX14" fmla="*/ 10969620 w 12191996"/>
              <a:gd name="connsiteY14" fmla="*/ 6598623 h 6857997"/>
              <a:gd name="connsiteX15" fmla="*/ 10949955 w 12191996"/>
              <a:gd name="connsiteY15" fmla="*/ 6615109 h 6857997"/>
              <a:gd name="connsiteX16" fmla="*/ 10929933 w 12191996"/>
              <a:gd name="connsiteY16" fmla="*/ 6598257 h 6857997"/>
              <a:gd name="connsiteX17" fmla="*/ 10949955 w 12191996"/>
              <a:gd name="connsiteY17" fmla="*/ 6581771 h 6857997"/>
              <a:gd name="connsiteX18" fmla="*/ 10682898 w 12191996"/>
              <a:gd name="connsiteY18" fmla="*/ 6581771 h 6857997"/>
              <a:gd name="connsiteX19" fmla="*/ 10702920 w 12191996"/>
              <a:gd name="connsiteY19" fmla="*/ 6598623 h 6857997"/>
              <a:gd name="connsiteX20" fmla="*/ 10682898 w 12191996"/>
              <a:gd name="connsiteY20" fmla="*/ 6615109 h 6857997"/>
              <a:gd name="connsiteX21" fmla="*/ 10663233 w 12191996"/>
              <a:gd name="connsiteY21" fmla="*/ 6598257 h 6857997"/>
              <a:gd name="connsiteX22" fmla="*/ 10682898 w 12191996"/>
              <a:gd name="connsiteY22" fmla="*/ 6581771 h 6857997"/>
              <a:gd name="connsiteX23" fmla="*/ 11312520 w 12191996"/>
              <a:gd name="connsiteY23" fmla="*/ 6573834 h 6857997"/>
              <a:gd name="connsiteX24" fmla="*/ 11341079 w 12191996"/>
              <a:gd name="connsiteY24" fmla="*/ 6601258 h 6857997"/>
              <a:gd name="connsiteX25" fmla="*/ 11341079 w 12191996"/>
              <a:gd name="connsiteY25" fmla="*/ 6623047 h 6857997"/>
              <a:gd name="connsiteX26" fmla="*/ 11356624 w 12191996"/>
              <a:gd name="connsiteY26" fmla="*/ 6623047 h 6857997"/>
              <a:gd name="connsiteX27" fmla="*/ 11356624 w 12191996"/>
              <a:gd name="connsiteY27" fmla="*/ 6601258 h 6857997"/>
              <a:gd name="connsiteX28" fmla="*/ 11385545 w 12191996"/>
              <a:gd name="connsiteY28" fmla="*/ 6573834 h 6857997"/>
              <a:gd name="connsiteX29" fmla="*/ 11367470 w 12191996"/>
              <a:gd name="connsiteY29" fmla="*/ 6573834 h 6857997"/>
              <a:gd name="connsiteX30" fmla="*/ 11348671 w 12191996"/>
              <a:gd name="connsiteY30" fmla="*/ 6592618 h 6857997"/>
              <a:gd name="connsiteX31" fmla="*/ 11330234 w 12191996"/>
              <a:gd name="connsiteY31" fmla="*/ 6573834 h 6857997"/>
              <a:gd name="connsiteX32" fmla="*/ 11242670 w 12191996"/>
              <a:gd name="connsiteY32" fmla="*/ 6573834 h 6857997"/>
              <a:gd name="connsiteX33" fmla="*/ 11242670 w 12191996"/>
              <a:gd name="connsiteY33" fmla="*/ 6623047 h 6857997"/>
              <a:gd name="connsiteX34" fmla="*/ 11259156 w 12191996"/>
              <a:gd name="connsiteY34" fmla="*/ 6623047 h 6857997"/>
              <a:gd name="connsiteX35" fmla="*/ 11258423 w 12191996"/>
              <a:gd name="connsiteY35" fmla="*/ 6585856 h 6857997"/>
              <a:gd name="connsiteX36" fmla="*/ 11291028 w 12191996"/>
              <a:gd name="connsiteY36" fmla="*/ 6623047 h 6857997"/>
              <a:gd name="connsiteX37" fmla="*/ 11309345 w 12191996"/>
              <a:gd name="connsiteY37" fmla="*/ 6623047 h 6857997"/>
              <a:gd name="connsiteX38" fmla="*/ 11309345 w 12191996"/>
              <a:gd name="connsiteY38" fmla="*/ 6573834 h 6857997"/>
              <a:gd name="connsiteX39" fmla="*/ 11293226 w 12191996"/>
              <a:gd name="connsiteY39" fmla="*/ 6573834 h 6857997"/>
              <a:gd name="connsiteX40" fmla="*/ 11293958 w 12191996"/>
              <a:gd name="connsiteY40" fmla="*/ 6609147 h 6857997"/>
              <a:gd name="connsiteX41" fmla="*/ 11262819 w 12191996"/>
              <a:gd name="connsiteY41" fmla="*/ 6573834 h 6857997"/>
              <a:gd name="connsiteX42" fmla="*/ 11189997 w 12191996"/>
              <a:gd name="connsiteY42" fmla="*/ 6573834 h 6857997"/>
              <a:gd name="connsiteX43" fmla="*/ 11158533 w 12191996"/>
              <a:gd name="connsiteY43" fmla="*/ 6623047 h 6857997"/>
              <a:gd name="connsiteX44" fmla="*/ 11174980 w 12191996"/>
              <a:gd name="connsiteY44" fmla="*/ 6623047 h 6857997"/>
              <a:gd name="connsiteX45" fmla="*/ 11181773 w 12191996"/>
              <a:gd name="connsiteY45" fmla="*/ 6611401 h 6857997"/>
              <a:gd name="connsiteX46" fmla="*/ 11213595 w 12191996"/>
              <a:gd name="connsiteY46" fmla="*/ 6611401 h 6857997"/>
              <a:gd name="connsiteX47" fmla="*/ 11220388 w 12191996"/>
              <a:gd name="connsiteY47" fmla="*/ 6623047 h 6857997"/>
              <a:gd name="connsiteX48" fmla="*/ 11237908 w 12191996"/>
              <a:gd name="connsiteY48" fmla="*/ 6623047 h 6857997"/>
              <a:gd name="connsiteX49" fmla="*/ 11206444 w 12191996"/>
              <a:gd name="connsiteY49" fmla="*/ 6573834 h 6857997"/>
              <a:gd name="connsiteX50" fmla="*/ 11098208 w 12191996"/>
              <a:gd name="connsiteY50" fmla="*/ 6573834 h 6857997"/>
              <a:gd name="connsiteX51" fmla="*/ 11098208 w 12191996"/>
              <a:gd name="connsiteY51" fmla="*/ 6623047 h 6857997"/>
              <a:gd name="connsiteX52" fmla="*/ 11113502 w 12191996"/>
              <a:gd name="connsiteY52" fmla="*/ 6623047 h 6857997"/>
              <a:gd name="connsiteX53" fmla="*/ 11113502 w 12191996"/>
              <a:gd name="connsiteY53" fmla="*/ 6605766 h 6857997"/>
              <a:gd name="connsiteX54" fmla="*/ 11132352 w 12191996"/>
              <a:gd name="connsiteY54" fmla="*/ 6605766 h 6857997"/>
              <a:gd name="connsiteX55" fmla="*/ 11154759 w 12191996"/>
              <a:gd name="connsiteY55" fmla="*/ 6602761 h 6857997"/>
              <a:gd name="connsiteX56" fmla="*/ 11163295 w 12191996"/>
              <a:gd name="connsiteY56" fmla="*/ 6589988 h 6857997"/>
              <a:gd name="connsiteX57" fmla="*/ 11153336 w 12191996"/>
              <a:gd name="connsiteY57" fmla="*/ 6576464 h 6857997"/>
              <a:gd name="connsiteX58" fmla="*/ 11131641 w 12191996"/>
              <a:gd name="connsiteY58" fmla="*/ 6573834 h 6857997"/>
              <a:gd name="connsiteX59" fmla="*/ 10998195 w 12191996"/>
              <a:gd name="connsiteY59" fmla="*/ 6573834 h 6857997"/>
              <a:gd name="connsiteX60" fmla="*/ 10998195 w 12191996"/>
              <a:gd name="connsiteY60" fmla="*/ 6623047 h 6857997"/>
              <a:gd name="connsiteX61" fmla="*/ 11014084 w 12191996"/>
              <a:gd name="connsiteY61" fmla="*/ 6623047 h 6857997"/>
              <a:gd name="connsiteX62" fmla="*/ 11012639 w 12191996"/>
              <a:gd name="connsiteY62" fmla="*/ 6584353 h 6857997"/>
              <a:gd name="connsiteX63" fmla="*/ 11032500 w 12191996"/>
              <a:gd name="connsiteY63" fmla="*/ 6623047 h 6857997"/>
              <a:gd name="connsiteX64" fmla="*/ 11049111 w 12191996"/>
              <a:gd name="connsiteY64" fmla="*/ 6623047 h 6857997"/>
              <a:gd name="connsiteX65" fmla="*/ 11068249 w 12191996"/>
              <a:gd name="connsiteY65" fmla="*/ 6584729 h 6857997"/>
              <a:gd name="connsiteX66" fmla="*/ 11066805 w 12191996"/>
              <a:gd name="connsiteY66" fmla="*/ 6623047 h 6857997"/>
              <a:gd name="connsiteX67" fmla="*/ 11082332 w 12191996"/>
              <a:gd name="connsiteY67" fmla="*/ 6623047 h 6857997"/>
              <a:gd name="connsiteX68" fmla="*/ 11082332 w 12191996"/>
              <a:gd name="connsiteY68" fmla="*/ 6573834 h 6857997"/>
              <a:gd name="connsiteX69" fmla="*/ 11059221 w 12191996"/>
              <a:gd name="connsiteY69" fmla="*/ 6573834 h 6857997"/>
              <a:gd name="connsiteX70" fmla="*/ 11040444 w 12191996"/>
              <a:gd name="connsiteY70" fmla="*/ 6611401 h 6857997"/>
              <a:gd name="connsiteX71" fmla="*/ 11021306 w 12191996"/>
              <a:gd name="connsiteY71" fmla="*/ 6573834 h 6857997"/>
              <a:gd name="connsiteX72" fmla="*/ 10949776 w 12191996"/>
              <a:gd name="connsiteY72" fmla="*/ 6573834 h 6857997"/>
              <a:gd name="connsiteX73" fmla="*/ 10912470 w 12191996"/>
              <a:gd name="connsiteY73" fmla="*/ 6597717 h 6857997"/>
              <a:gd name="connsiteX74" fmla="*/ 10949776 w 12191996"/>
              <a:gd name="connsiteY74" fmla="*/ 6623047 h 6857997"/>
              <a:gd name="connsiteX75" fmla="*/ 10987082 w 12191996"/>
              <a:gd name="connsiteY75" fmla="*/ 6598441 h 6857997"/>
              <a:gd name="connsiteX76" fmla="*/ 10949776 w 12191996"/>
              <a:gd name="connsiteY76" fmla="*/ 6573834 h 6857997"/>
              <a:gd name="connsiteX77" fmla="*/ 10879898 w 12191996"/>
              <a:gd name="connsiteY77" fmla="*/ 6573834 h 6857997"/>
              <a:gd name="connsiteX78" fmla="*/ 10844208 w 12191996"/>
              <a:gd name="connsiteY78" fmla="*/ 6599380 h 6857997"/>
              <a:gd name="connsiteX79" fmla="*/ 10855862 w 12191996"/>
              <a:gd name="connsiteY79" fmla="*/ 6618539 h 6857997"/>
              <a:gd name="connsiteX80" fmla="*/ 10879170 w 12191996"/>
              <a:gd name="connsiteY80" fmla="*/ 6623047 h 6857997"/>
              <a:gd name="connsiteX81" fmla="*/ 10906120 w 12191996"/>
              <a:gd name="connsiteY81" fmla="*/ 6623047 h 6857997"/>
              <a:gd name="connsiteX82" fmla="*/ 10906120 w 12191996"/>
              <a:gd name="connsiteY82" fmla="*/ 6614407 h 6857997"/>
              <a:gd name="connsiteX83" fmla="*/ 10879898 w 12191996"/>
              <a:gd name="connsiteY83" fmla="*/ 6614407 h 6857997"/>
              <a:gd name="connsiteX84" fmla="*/ 10861689 w 12191996"/>
              <a:gd name="connsiteY84" fmla="*/ 6599756 h 6857997"/>
              <a:gd name="connsiteX85" fmla="*/ 10879898 w 12191996"/>
              <a:gd name="connsiteY85" fmla="*/ 6582475 h 6857997"/>
              <a:gd name="connsiteX86" fmla="*/ 10906120 w 12191996"/>
              <a:gd name="connsiteY86" fmla="*/ 6582475 h 6857997"/>
              <a:gd name="connsiteX87" fmla="*/ 10906120 w 12191996"/>
              <a:gd name="connsiteY87" fmla="*/ 6573834 h 6857997"/>
              <a:gd name="connsiteX88" fmla="*/ 10729908 w 12191996"/>
              <a:gd name="connsiteY88" fmla="*/ 6573834 h 6857997"/>
              <a:gd name="connsiteX89" fmla="*/ 10729908 w 12191996"/>
              <a:gd name="connsiteY89" fmla="*/ 6623047 h 6857997"/>
              <a:gd name="connsiteX90" fmla="*/ 10745800 w 12191996"/>
              <a:gd name="connsiteY90" fmla="*/ 6623047 h 6857997"/>
              <a:gd name="connsiteX91" fmla="*/ 10745800 w 12191996"/>
              <a:gd name="connsiteY91" fmla="*/ 6603888 h 6857997"/>
              <a:gd name="connsiteX92" fmla="*/ 10765018 w 12191996"/>
              <a:gd name="connsiteY92" fmla="*/ 6603888 h 6857997"/>
              <a:gd name="connsiteX93" fmla="*/ 10781649 w 12191996"/>
              <a:gd name="connsiteY93" fmla="*/ 6623047 h 6857997"/>
              <a:gd name="connsiteX94" fmla="*/ 10799758 w 12191996"/>
              <a:gd name="connsiteY94" fmla="*/ 6623047 h 6857997"/>
              <a:gd name="connsiteX95" fmla="*/ 10780910 w 12191996"/>
              <a:gd name="connsiteY95" fmla="*/ 6602385 h 6857997"/>
              <a:gd name="connsiteX96" fmla="*/ 10796062 w 12191996"/>
              <a:gd name="connsiteY96" fmla="*/ 6588861 h 6857997"/>
              <a:gd name="connsiteX97" fmla="*/ 10769453 w 12191996"/>
              <a:gd name="connsiteY97" fmla="*/ 6573834 h 6857997"/>
              <a:gd name="connsiteX98" fmla="*/ 10683076 w 12191996"/>
              <a:gd name="connsiteY98" fmla="*/ 6573834 h 6857997"/>
              <a:gd name="connsiteX99" fmla="*/ 10645770 w 12191996"/>
              <a:gd name="connsiteY99" fmla="*/ 6597717 h 6857997"/>
              <a:gd name="connsiteX100" fmla="*/ 10683076 w 12191996"/>
              <a:gd name="connsiteY100" fmla="*/ 6623047 h 6857997"/>
              <a:gd name="connsiteX101" fmla="*/ 10720382 w 12191996"/>
              <a:gd name="connsiteY101" fmla="*/ 6598441 h 6857997"/>
              <a:gd name="connsiteX102" fmla="*/ 10683076 w 12191996"/>
              <a:gd name="connsiteY102" fmla="*/ 6573834 h 6857997"/>
              <a:gd name="connsiteX103" fmla="*/ 10593642 w 12191996"/>
              <a:gd name="connsiteY103" fmla="*/ 6573834 h 6857997"/>
              <a:gd name="connsiteX104" fmla="*/ 10567983 w 12191996"/>
              <a:gd name="connsiteY104" fmla="*/ 6588861 h 6857997"/>
              <a:gd name="connsiteX105" fmla="*/ 10592573 w 12191996"/>
              <a:gd name="connsiteY105" fmla="*/ 6603137 h 6857997"/>
              <a:gd name="connsiteX106" fmla="*/ 10610748 w 12191996"/>
              <a:gd name="connsiteY106" fmla="*/ 6603137 h 6857997"/>
              <a:gd name="connsiteX107" fmla="*/ 10621796 w 12191996"/>
              <a:gd name="connsiteY107" fmla="*/ 6608772 h 6857997"/>
              <a:gd name="connsiteX108" fmla="*/ 10609679 w 12191996"/>
              <a:gd name="connsiteY108" fmla="*/ 6614407 h 6857997"/>
              <a:gd name="connsiteX109" fmla="*/ 10570834 w 12191996"/>
              <a:gd name="connsiteY109" fmla="*/ 6614407 h 6857997"/>
              <a:gd name="connsiteX110" fmla="*/ 10570834 w 12191996"/>
              <a:gd name="connsiteY110" fmla="*/ 6623047 h 6857997"/>
              <a:gd name="connsiteX111" fmla="*/ 10612174 w 12191996"/>
              <a:gd name="connsiteY111" fmla="*/ 6623047 h 6857997"/>
              <a:gd name="connsiteX112" fmla="*/ 10637833 w 12191996"/>
              <a:gd name="connsiteY112" fmla="*/ 6608396 h 6857997"/>
              <a:gd name="connsiteX113" fmla="*/ 10614312 w 12191996"/>
              <a:gd name="connsiteY113" fmla="*/ 6594496 h 6857997"/>
              <a:gd name="connsiteX114" fmla="*/ 10593999 w 12191996"/>
              <a:gd name="connsiteY114" fmla="*/ 6594496 h 6857997"/>
              <a:gd name="connsiteX115" fmla="*/ 10584020 w 12191996"/>
              <a:gd name="connsiteY115" fmla="*/ 6589237 h 6857997"/>
              <a:gd name="connsiteX116" fmla="*/ 10596137 w 12191996"/>
              <a:gd name="connsiteY116" fmla="*/ 6582850 h 6857997"/>
              <a:gd name="connsiteX117" fmla="*/ 10634269 w 12191996"/>
              <a:gd name="connsiteY117" fmla="*/ 6582850 h 6857997"/>
              <a:gd name="connsiteX118" fmla="*/ 10634269 w 12191996"/>
              <a:gd name="connsiteY118" fmla="*/ 6573834 h 6857997"/>
              <a:gd name="connsiteX119" fmla="*/ 10490195 w 12191996"/>
              <a:gd name="connsiteY119" fmla="*/ 6573834 h 6857997"/>
              <a:gd name="connsiteX120" fmla="*/ 10490195 w 12191996"/>
              <a:gd name="connsiteY120" fmla="*/ 6623047 h 6857997"/>
              <a:gd name="connsiteX121" fmla="*/ 10506681 w 12191996"/>
              <a:gd name="connsiteY121" fmla="*/ 6623047 h 6857997"/>
              <a:gd name="connsiteX122" fmla="*/ 10505948 w 12191996"/>
              <a:gd name="connsiteY122" fmla="*/ 6585856 h 6857997"/>
              <a:gd name="connsiteX123" fmla="*/ 10538553 w 12191996"/>
              <a:gd name="connsiteY123" fmla="*/ 6623047 h 6857997"/>
              <a:gd name="connsiteX124" fmla="*/ 10556870 w 12191996"/>
              <a:gd name="connsiteY124" fmla="*/ 6623047 h 6857997"/>
              <a:gd name="connsiteX125" fmla="*/ 10556870 w 12191996"/>
              <a:gd name="connsiteY125" fmla="*/ 6573834 h 6857997"/>
              <a:gd name="connsiteX126" fmla="*/ 10540751 w 12191996"/>
              <a:gd name="connsiteY126" fmla="*/ 6573834 h 6857997"/>
              <a:gd name="connsiteX127" fmla="*/ 10541483 w 12191996"/>
              <a:gd name="connsiteY127" fmla="*/ 6609147 h 6857997"/>
              <a:gd name="connsiteX128" fmla="*/ 10510344 w 12191996"/>
              <a:gd name="connsiteY128" fmla="*/ 6573834 h 6857997"/>
              <a:gd name="connsiteX129" fmla="*/ 10450207 w 12191996"/>
              <a:gd name="connsiteY129" fmla="*/ 6573834 h 6857997"/>
              <a:gd name="connsiteX130" fmla="*/ 10415583 w 12191996"/>
              <a:gd name="connsiteY130" fmla="*/ 6599380 h 6857997"/>
              <a:gd name="connsiteX131" fmla="*/ 10427005 w 12191996"/>
              <a:gd name="connsiteY131" fmla="*/ 6618539 h 6857997"/>
              <a:gd name="connsiteX132" fmla="*/ 10449850 w 12191996"/>
              <a:gd name="connsiteY132" fmla="*/ 6623047 h 6857997"/>
              <a:gd name="connsiteX133" fmla="*/ 10475908 w 12191996"/>
              <a:gd name="connsiteY133" fmla="*/ 6623047 h 6857997"/>
              <a:gd name="connsiteX134" fmla="*/ 10475908 w 12191996"/>
              <a:gd name="connsiteY134" fmla="*/ 6614407 h 6857997"/>
              <a:gd name="connsiteX135" fmla="*/ 10450564 w 12191996"/>
              <a:gd name="connsiteY135" fmla="*/ 6614407 h 6857997"/>
              <a:gd name="connsiteX136" fmla="*/ 10433074 w 12191996"/>
              <a:gd name="connsiteY136" fmla="*/ 6602385 h 6857997"/>
              <a:gd name="connsiteX137" fmla="*/ 10475908 w 12191996"/>
              <a:gd name="connsiteY137" fmla="*/ 6602385 h 6857997"/>
              <a:gd name="connsiteX138" fmla="*/ 10475908 w 12191996"/>
              <a:gd name="connsiteY138" fmla="*/ 6593745 h 6857997"/>
              <a:gd name="connsiteX139" fmla="*/ 10433074 w 12191996"/>
              <a:gd name="connsiteY139" fmla="*/ 6593745 h 6857997"/>
              <a:gd name="connsiteX140" fmla="*/ 10450564 w 12191996"/>
              <a:gd name="connsiteY140" fmla="*/ 6582475 h 6857997"/>
              <a:gd name="connsiteX141" fmla="*/ 10475908 w 12191996"/>
              <a:gd name="connsiteY141" fmla="*/ 6582475 h 6857997"/>
              <a:gd name="connsiteX142" fmla="*/ 10475908 w 12191996"/>
              <a:gd name="connsiteY142" fmla="*/ 6573834 h 6857997"/>
              <a:gd name="connsiteX143" fmla="*/ 10363811 w 12191996"/>
              <a:gd name="connsiteY143" fmla="*/ 6573834 h 6857997"/>
              <a:gd name="connsiteX144" fmla="*/ 10337795 w 12191996"/>
              <a:gd name="connsiteY144" fmla="*/ 6588861 h 6857997"/>
              <a:gd name="connsiteX145" fmla="*/ 10362385 w 12191996"/>
              <a:gd name="connsiteY145" fmla="*/ 6603137 h 6857997"/>
              <a:gd name="connsiteX146" fmla="*/ 10380560 w 12191996"/>
              <a:gd name="connsiteY146" fmla="*/ 6603137 h 6857997"/>
              <a:gd name="connsiteX147" fmla="*/ 10391608 w 12191996"/>
              <a:gd name="connsiteY147" fmla="*/ 6608772 h 6857997"/>
              <a:gd name="connsiteX148" fmla="*/ 10379491 w 12191996"/>
              <a:gd name="connsiteY148" fmla="*/ 6614407 h 6857997"/>
              <a:gd name="connsiteX149" fmla="*/ 10340646 w 12191996"/>
              <a:gd name="connsiteY149" fmla="*/ 6614407 h 6857997"/>
              <a:gd name="connsiteX150" fmla="*/ 10340646 w 12191996"/>
              <a:gd name="connsiteY150" fmla="*/ 6623047 h 6857997"/>
              <a:gd name="connsiteX151" fmla="*/ 10381986 w 12191996"/>
              <a:gd name="connsiteY151" fmla="*/ 6623047 h 6857997"/>
              <a:gd name="connsiteX152" fmla="*/ 10407645 w 12191996"/>
              <a:gd name="connsiteY152" fmla="*/ 6608396 h 6857997"/>
              <a:gd name="connsiteX153" fmla="*/ 10384124 w 12191996"/>
              <a:gd name="connsiteY153" fmla="*/ 6594496 h 6857997"/>
              <a:gd name="connsiteX154" fmla="*/ 10363811 w 12191996"/>
              <a:gd name="connsiteY154" fmla="*/ 6594496 h 6857997"/>
              <a:gd name="connsiteX155" fmla="*/ 10354188 w 12191996"/>
              <a:gd name="connsiteY155" fmla="*/ 6589237 h 6857997"/>
              <a:gd name="connsiteX156" fmla="*/ 10365949 w 12191996"/>
              <a:gd name="connsiteY156" fmla="*/ 6582850 h 6857997"/>
              <a:gd name="connsiteX157" fmla="*/ 10404081 w 12191996"/>
              <a:gd name="connsiteY157" fmla="*/ 6582850 h 6857997"/>
              <a:gd name="connsiteX158" fmla="*/ 10404081 w 12191996"/>
              <a:gd name="connsiteY158" fmla="*/ 6573834 h 6857997"/>
              <a:gd name="connsiteX159" fmla="*/ 10261294 w 12191996"/>
              <a:gd name="connsiteY159" fmla="*/ 6573834 h 6857997"/>
              <a:gd name="connsiteX160" fmla="*/ 10226670 w 12191996"/>
              <a:gd name="connsiteY160" fmla="*/ 6599380 h 6857997"/>
              <a:gd name="connsiteX161" fmla="*/ 10237736 w 12191996"/>
              <a:gd name="connsiteY161" fmla="*/ 6618539 h 6857997"/>
              <a:gd name="connsiteX162" fmla="*/ 10260937 w 12191996"/>
              <a:gd name="connsiteY162" fmla="*/ 6623047 h 6857997"/>
              <a:gd name="connsiteX163" fmla="*/ 10286995 w 12191996"/>
              <a:gd name="connsiteY163" fmla="*/ 6623047 h 6857997"/>
              <a:gd name="connsiteX164" fmla="*/ 10286995 w 12191996"/>
              <a:gd name="connsiteY164" fmla="*/ 6614407 h 6857997"/>
              <a:gd name="connsiteX165" fmla="*/ 10261651 w 12191996"/>
              <a:gd name="connsiteY165" fmla="*/ 6614407 h 6857997"/>
              <a:gd name="connsiteX166" fmla="*/ 10244161 w 12191996"/>
              <a:gd name="connsiteY166" fmla="*/ 6602385 h 6857997"/>
              <a:gd name="connsiteX167" fmla="*/ 10286995 w 12191996"/>
              <a:gd name="connsiteY167" fmla="*/ 6602385 h 6857997"/>
              <a:gd name="connsiteX168" fmla="*/ 10286995 w 12191996"/>
              <a:gd name="connsiteY168" fmla="*/ 6593745 h 6857997"/>
              <a:gd name="connsiteX169" fmla="*/ 10244161 w 12191996"/>
              <a:gd name="connsiteY169" fmla="*/ 6593745 h 6857997"/>
              <a:gd name="connsiteX170" fmla="*/ 10261651 w 12191996"/>
              <a:gd name="connsiteY170" fmla="*/ 6582475 h 6857997"/>
              <a:gd name="connsiteX171" fmla="*/ 10286995 w 12191996"/>
              <a:gd name="connsiteY171" fmla="*/ 6582475 h 6857997"/>
              <a:gd name="connsiteX172" fmla="*/ 10286995 w 12191996"/>
              <a:gd name="connsiteY172" fmla="*/ 6573834 h 6857997"/>
              <a:gd name="connsiteX173" fmla="*/ 10155233 w 12191996"/>
              <a:gd name="connsiteY173" fmla="*/ 6573834 h 6857997"/>
              <a:gd name="connsiteX174" fmla="*/ 10155233 w 12191996"/>
              <a:gd name="connsiteY174" fmla="*/ 6623047 h 6857997"/>
              <a:gd name="connsiteX175" fmla="*/ 10170859 w 12191996"/>
              <a:gd name="connsiteY175" fmla="*/ 6623047 h 6857997"/>
              <a:gd name="connsiteX176" fmla="*/ 10170859 w 12191996"/>
              <a:gd name="connsiteY176" fmla="*/ 6602385 h 6857997"/>
              <a:gd name="connsiteX177" fmla="*/ 10199932 w 12191996"/>
              <a:gd name="connsiteY177" fmla="*/ 6602385 h 6857997"/>
              <a:gd name="connsiteX178" fmla="*/ 10199932 w 12191996"/>
              <a:gd name="connsiteY178" fmla="*/ 6623047 h 6857997"/>
              <a:gd name="connsiteX179" fmla="*/ 10215558 w 12191996"/>
              <a:gd name="connsiteY179" fmla="*/ 6623047 h 6857997"/>
              <a:gd name="connsiteX180" fmla="*/ 10215558 w 12191996"/>
              <a:gd name="connsiteY180" fmla="*/ 6573834 h 6857997"/>
              <a:gd name="connsiteX181" fmla="*/ 10199932 w 12191996"/>
              <a:gd name="connsiteY181" fmla="*/ 6573834 h 6857997"/>
              <a:gd name="connsiteX182" fmla="*/ 10199932 w 12191996"/>
              <a:gd name="connsiteY182" fmla="*/ 6593745 h 6857997"/>
              <a:gd name="connsiteX183" fmla="*/ 10170859 w 12191996"/>
              <a:gd name="connsiteY183" fmla="*/ 6593745 h 6857997"/>
              <a:gd name="connsiteX184" fmla="*/ 10170859 w 12191996"/>
              <a:gd name="connsiteY184" fmla="*/ 6573834 h 6857997"/>
              <a:gd name="connsiteX185" fmla="*/ 10082208 w 12191996"/>
              <a:gd name="connsiteY185" fmla="*/ 6573834 h 6857997"/>
              <a:gd name="connsiteX186" fmla="*/ 10082208 w 12191996"/>
              <a:gd name="connsiteY186" fmla="*/ 6582163 h 6857997"/>
              <a:gd name="connsiteX187" fmla="*/ 10106570 w 12191996"/>
              <a:gd name="connsiteY187" fmla="*/ 6582163 h 6857997"/>
              <a:gd name="connsiteX188" fmla="*/ 10106570 w 12191996"/>
              <a:gd name="connsiteY188" fmla="*/ 6623047 h 6857997"/>
              <a:gd name="connsiteX189" fmla="*/ 10122569 w 12191996"/>
              <a:gd name="connsiteY189" fmla="*/ 6623047 h 6857997"/>
              <a:gd name="connsiteX190" fmla="*/ 10122569 w 12191996"/>
              <a:gd name="connsiteY190" fmla="*/ 6582163 h 6857997"/>
              <a:gd name="connsiteX191" fmla="*/ 10147295 w 12191996"/>
              <a:gd name="connsiteY191" fmla="*/ 6582163 h 6857997"/>
              <a:gd name="connsiteX192" fmla="*/ 10147295 w 12191996"/>
              <a:gd name="connsiteY192" fmla="*/ 6573834 h 6857997"/>
              <a:gd name="connsiteX193" fmla="*/ 2164828 w 12191996"/>
              <a:gd name="connsiteY193" fmla="*/ 6506715 h 6857997"/>
              <a:gd name="connsiteX194" fmla="*/ 2164828 w 12191996"/>
              <a:gd name="connsiteY194" fmla="*/ 6521016 h 6857997"/>
              <a:gd name="connsiteX195" fmla="*/ 2170617 w 12191996"/>
              <a:gd name="connsiteY195" fmla="*/ 6521016 h 6857997"/>
              <a:gd name="connsiteX196" fmla="*/ 2168875 w 12191996"/>
              <a:gd name="connsiteY196" fmla="*/ 6530888 h 6857997"/>
              <a:gd name="connsiteX197" fmla="*/ 2164132 w 12191996"/>
              <a:gd name="connsiteY197" fmla="*/ 6535876 h 6857997"/>
              <a:gd name="connsiteX198" fmla="*/ 2166989 w 12191996"/>
              <a:gd name="connsiteY198" fmla="*/ 6541248 h 6857997"/>
              <a:gd name="connsiteX199" fmla="*/ 2174106 w 12191996"/>
              <a:gd name="connsiteY199" fmla="*/ 6534027 h 6857997"/>
              <a:gd name="connsiteX200" fmla="*/ 2176545 w 12191996"/>
              <a:gd name="connsiteY200" fmla="*/ 6521016 h 6857997"/>
              <a:gd name="connsiteX201" fmla="*/ 2176545 w 12191996"/>
              <a:gd name="connsiteY201" fmla="*/ 6506715 h 6857997"/>
              <a:gd name="connsiteX202" fmla="*/ 6291678 w 12191996"/>
              <a:gd name="connsiteY202" fmla="*/ 6483832 h 6857997"/>
              <a:gd name="connsiteX203" fmla="*/ 6291678 w 12191996"/>
              <a:gd name="connsiteY203" fmla="*/ 6488437 h 6857997"/>
              <a:gd name="connsiteX204" fmla="*/ 6289446 w 12191996"/>
              <a:gd name="connsiteY204" fmla="*/ 6502355 h 6857997"/>
              <a:gd name="connsiteX205" fmla="*/ 6282713 w 12191996"/>
              <a:gd name="connsiteY205" fmla="*/ 6509994 h 6857997"/>
              <a:gd name="connsiteX206" fmla="*/ 6272702 w 12191996"/>
              <a:gd name="connsiteY206" fmla="*/ 6512854 h 6857997"/>
              <a:gd name="connsiteX207" fmla="*/ 6263633 w 12191996"/>
              <a:gd name="connsiteY207" fmla="*/ 6509680 h 6857997"/>
              <a:gd name="connsiteX208" fmla="*/ 6260354 w 12191996"/>
              <a:gd name="connsiteY208" fmla="*/ 6501204 h 6857997"/>
              <a:gd name="connsiteX209" fmla="*/ 6261784 w 12191996"/>
              <a:gd name="connsiteY209" fmla="*/ 6495169 h 6857997"/>
              <a:gd name="connsiteX210" fmla="*/ 6265796 w 12191996"/>
              <a:gd name="connsiteY210" fmla="*/ 6491123 h 6857997"/>
              <a:gd name="connsiteX211" fmla="*/ 6274865 w 12191996"/>
              <a:gd name="connsiteY211" fmla="*/ 6488576 h 6857997"/>
              <a:gd name="connsiteX212" fmla="*/ 6291678 w 12191996"/>
              <a:gd name="connsiteY212" fmla="*/ 6483832 h 6857997"/>
              <a:gd name="connsiteX213" fmla="*/ 2657744 w 12191996"/>
              <a:gd name="connsiteY213" fmla="*/ 6483832 h 6857997"/>
              <a:gd name="connsiteX214" fmla="*/ 2657744 w 12191996"/>
              <a:gd name="connsiteY214" fmla="*/ 6488437 h 6857997"/>
              <a:gd name="connsiteX215" fmla="*/ 2655513 w 12191996"/>
              <a:gd name="connsiteY215" fmla="*/ 6502355 h 6857997"/>
              <a:gd name="connsiteX216" fmla="*/ 2648779 w 12191996"/>
              <a:gd name="connsiteY216" fmla="*/ 6509994 h 6857997"/>
              <a:gd name="connsiteX217" fmla="*/ 2638768 w 12191996"/>
              <a:gd name="connsiteY217" fmla="*/ 6512854 h 6857997"/>
              <a:gd name="connsiteX218" fmla="*/ 2629699 w 12191996"/>
              <a:gd name="connsiteY218" fmla="*/ 6509680 h 6857997"/>
              <a:gd name="connsiteX219" fmla="*/ 2626419 w 12191996"/>
              <a:gd name="connsiteY219" fmla="*/ 6501204 h 6857997"/>
              <a:gd name="connsiteX220" fmla="*/ 2627851 w 12191996"/>
              <a:gd name="connsiteY220" fmla="*/ 6495169 h 6857997"/>
              <a:gd name="connsiteX221" fmla="*/ 2631864 w 12191996"/>
              <a:gd name="connsiteY221" fmla="*/ 6491123 h 6857997"/>
              <a:gd name="connsiteX222" fmla="*/ 2640931 w 12191996"/>
              <a:gd name="connsiteY222" fmla="*/ 6488576 h 6857997"/>
              <a:gd name="connsiteX223" fmla="*/ 2657744 w 12191996"/>
              <a:gd name="connsiteY223" fmla="*/ 6483832 h 6857997"/>
              <a:gd name="connsiteX224" fmla="*/ 6087298 w 12191996"/>
              <a:gd name="connsiteY224" fmla="*/ 6455578 h 6857997"/>
              <a:gd name="connsiteX225" fmla="*/ 6099922 w 12191996"/>
              <a:gd name="connsiteY225" fmla="*/ 6462485 h 6857997"/>
              <a:gd name="connsiteX226" fmla="*/ 6104038 w 12191996"/>
              <a:gd name="connsiteY226" fmla="*/ 6476856 h 6857997"/>
              <a:gd name="connsiteX227" fmla="*/ 6070136 w 12191996"/>
              <a:gd name="connsiteY227" fmla="*/ 6476856 h 6857997"/>
              <a:gd name="connsiteX228" fmla="*/ 6075505 w 12191996"/>
              <a:gd name="connsiteY228" fmla="*/ 6461334 h 6857997"/>
              <a:gd name="connsiteX229" fmla="*/ 6087298 w 12191996"/>
              <a:gd name="connsiteY229" fmla="*/ 6455578 h 6857997"/>
              <a:gd name="connsiteX230" fmla="*/ 6018399 w 12191996"/>
              <a:gd name="connsiteY230" fmla="*/ 6455578 h 6857997"/>
              <a:gd name="connsiteX231" fmla="*/ 6030544 w 12191996"/>
              <a:gd name="connsiteY231" fmla="*/ 6462729 h 6857997"/>
              <a:gd name="connsiteX232" fmla="*/ 6035362 w 12191996"/>
              <a:gd name="connsiteY232" fmla="*/ 6485437 h 6857997"/>
              <a:gd name="connsiteX233" fmla="*/ 6030544 w 12191996"/>
              <a:gd name="connsiteY233" fmla="*/ 6505668 h 6857997"/>
              <a:gd name="connsiteX234" fmla="*/ 6019168 w 12191996"/>
              <a:gd name="connsiteY234" fmla="*/ 6512366 h 6857997"/>
              <a:gd name="connsiteX235" fmla="*/ 6007544 w 12191996"/>
              <a:gd name="connsiteY235" fmla="*/ 6505389 h 6857997"/>
              <a:gd name="connsiteX236" fmla="*/ 6002552 w 12191996"/>
              <a:gd name="connsiteY236" fmla="*/ 6484042 h 6857997"/>
              <a:gd name="connsiteX237" fmla="*/ 6007230 w 12191996"/>
              <a:gd name="connsiteY237" fmla="*/ 6462450 h 6857997"/>
              <a:gd name="connsiteX238" fmla="*/ 6018399 w 12191996"/>
              <a:gd name="connsiteY238" fmla="*/ 6455578 h 6857997"/>
              <a:gd name="connsiteX239" fmla="*/ 5829564 w 12191996"/>
              <a:gd name="connsiteY239" fmla="*/ 6455578 h 6857997"/>
              <a:gd name="connsiteX240" fmla="*/ 5842539 w 12191996"/>
              <a:gd name="connsiteY240" fmla="*/ 6462598 h 6857997"/>
              <a:gd name="connsiteX241" fmla="*/ 5847773 w 12191996"/>
              <a:gd name="connsiteY241" fmla="*/ 6483937 h 6857997"/>
              <a:gd name="connsiteX242" fmla="*/ 5842576 w 12191996"/>
              <a:gd name="connsiteY242" fmla="*/ 6505276 h 6857997"/>
              <a:gd name="connsiteX243" fmla="*/ 5830122 w 12191996"/>
              <a:gd name="connsiteY243" fmla="*/ 6512366 h 6857997"/>
              <a:gd name="connsiteX244" fmla="*/ 5817145 w 12191996"/>
              <a:gd name="connsiteY244" fmla="*/ 6505346 h 6857997"/>
              <a:gd name="connsiteX245" fmla="*/ 5811914 w 12191996"/>
              <a:gd name="connsiteY245" fmla="*/ 6483937 h 6857997"/>
              <a:gd name="connsiteX246" fmla="*/ 5817079 w 12191996"/>
              <a:gd name="connsiteY246" fmla="*/ 6462633 h 6857997"/>
              <a:gd name="connsiteX247" fmla="*/ 5829564 w 12191996"/>
              <a:gd name="connsiteY247" fmla="*/ 6455578 h 6857997"/>
              <a:gd name="connsiteX248" fmla="*/ 2774990 w 12191996"/>
              <a:gd name="connsiteY248" fmla="*/ 6455578 h 6857997"/>
              <a:gd name="connsiteX249" fmla="*/ 2787135 w 12191996"/>
              <a:gd name="connsiteY249" fmla="*/ 6462729 h 6857997"/>
              <a:gd name="connsiteX250" fmla="*/ 2791951 w 12191996"/>
              <a:gd name="connsiteY250" fmla="*/ 6485437 h 6857997"/>
              <a:gd name="connsiteX251" fmla="*/ 2787135 w 12191996"/>
              <a:gd name="connsiteY251" fmla="*/ 6505668 h 6857997"/>
              <a:gd name="connsiteX252" fmla="*/ 2775759 w 12191996"/>
              <a:gd name="connsiteY252" fmla="*/ 6512366 h 6857997"/>
              <a:gd name="connsiteX253" fmla="*/ 2764133 w 12191996"/>
              <a:gd name="connsiteY253" fmla="*/ 6505389 h 6857997"/>
              <a:gd name="connsiteX254" fmla="*/ 2759145 w 12191996"/>
              <a:gd name="connsiteY254" fmla="*/ 6484042 h 6857997"/>
              <a:gd name="connsiteX255" fmla="*/ 2763822 w 12191996"/>
              <a:gd name="connsiteY255" fmla="*/ 6462450 h 6857997"/>
              <a:gd name="connsiteX256" fmla="*/ 2774990 w 12191996"/>
              <a:gd name="connsiteY256" fmla="*/ 6455578 h 6857997"/>
              <a:gd name="connsiteX257" fmla="*/ 2510511 w 12191996"/>
              <a:gd name="connsiteY257" fmla="*/ 6455578 h 6857997"/>
              <a:gd name="connsiteX258" fmla="*/ 2523140 w 12191996"/>
              <a:gd name="connsiteY258" fmla="*/ 6462485 h 6857997"/>
              <a:gd name="connsiteX259" fmla="*/ 2527255 w 12191996"/>
              <a:gd name="connsiteY259" fmla="*/ 6476856 h 6857997"/>
              <a:gd name="connsiteX260" fmla="*/ 2493349 w 12191996"/>
              <a:gd name="connsiteY260" fmla="*/ 6476856 h 6857997"/>
              <a:gd name="connsiteX261" fmla="*/ 2498723 w 12191996"/>
              <a:gd name="connsiteY261" fmla="*/ 6461334 h 6857997"/>
              <a:gd name="connsiteX262" fmla="*/ 2510511 w 12191996"/>
              <a:gd name="connsiteY262" fmla="*/ 6455578 h 6857997"/>
              <a:gd name="connsiteX263" fmla="*/ 1871776 w 12191996"/>
              <a:gd name="connsiteY263" fmla="*/ 6455578 h 6857997"/>
              <a:gd name="connsiteX264" fmla="*/ 1884752 w 12191996"/>
              <a:gd name="connsiteY264" fmla="*/ 6462598 h 6857997"/>
              <a:gd name="connsiteX265" fmla="*/ 1889984 w 12191996"/>
              <a:gd name="connsiteY265" fmla="*/ 6483937 h 6857997"/>
              <a:gd name="connsiteX266" fmla="*/ 1884787 w 12191996"/>
              <a:gd name="connsiteY266" fmla="*/ 6505276 h 6857997"/>
              <a:gd name="connsiteX267" fmla="*/ 1872334 w 12191996"/>
              <a:gd name="connsiteY267" fmla="*/ 6512366 h 6857997"/>
              <a:gd name="connsiteX268" fmla="*/ 1859358 w 12191996"/>
              <a:gd name="connsiteY268" fmla="*/ 6505346 h 6857997"/>
              <a:gd name="connsiteX269" fmla="*/ 1854126 w 12191996"/>
              <a:gd name="connsiteY269" fmla="*/ 6483937 h 6857997"/>
              <a:gd name="connsiteX270" fmla="*/ 1859288 w 12191996"/>
              <a:gd name="connsiteY270" fmla="*/ 6462633 h 6857997"/>
              <a:gd name="connsiteX271" fmla="*/ 1871776 w 12191996"/>
              <a:gd name="connsiteY271" fmla="*/ 6455578 h 6857997"/>
              <a:gd name="connsiteX272" fmla="*/ 1586584 w 12191996"/>
              <a:gd name="connsiteY272" fmla="*/ 6455578 h 6857997"/>
              <a:gd name="connsiteX273" fmla="*/ 1599211 w 12191996"/>
              <a:gd name="connsiteY273" fmla="*/ 6462485 h 6857997"/>
              <a:gd name="connsiteX274" fmla="*/ 1603327 w 12191996"/>
              <a:gd name="connsiteY274" fmla="*/ 6476856 h 6857997"/>
              <a:gd name="connsiteX275" fmla="*/ 1569422 w 12191996"/>
              <a:gd name="connsiteY275" fmla="*/ 6476856 h 6857997"/>
              <a:gd name="connsiteX276" fmla="*/ 1574794 w 12191996"/>
              <a:gd name="connsiteY276" fmla="*/ 6461334 h 6857997"/>
              <a:gd name="connsiteX277" fmla="*/ 1586584 w 12191996"/>
              <a:gd name="connsiteY277" fmla="*/ 6455578 h 6857997"/>
              <a:gd name="connsiteX278" fmla="*/ 1317685 w 12191996"/>
              <a:gd name="connsiteY278" fmla="*/ 6455578 h 6857997"/>
              <a:gd name="connsiteX279" fmla="*/ 1329920 w 12191996"/>
              <a:gd name="connsiteY279" fmla="*/ 6462398 h 6857997"/>
              <a:gd name="connsiteX280" fmla="*/ 1334953 w 12191996"/>
              <a:gd name="connsiteY280" fmla="*/ 6483205 h 6857997"/>
              <a:gd name="connsiteX281" fmla="*/ 1330059 w 12191996"/>
              <a:gd name="connsiteY281" fmla="*/ 6504117 h 6857997"/>
              <a:gd name="connsiteX282" fmla="*/ 1318175 w 12191996"/>
              <a:gd name="connsiteY282" fmla="*/ 6510691 h 6857997"/>
              <a:gd name="connsiteX283" fmla="*/ 1306360 w 12191996"/>
              <a:gd name="connsiteY283" fmla="*/ 6503977 h 6857997"/>
              <a:gd name="connsiteX284" fmla="*/ 1301536 w 12191996"/>
              <a:gd name="connsiteY284" fmla="*/ 6482645 h 6857997"/>
              <a:gd name="connsiteX285" fmla="*/ 1306395 w 12191996"/>
              <a:gd name="connsiteY285" fmla="*/ 6462398 h 6857997"/>
              <a:gd name="connsiteX286" fmla="*/ 1317685 w 12191996"/>
              <a:gd name="connsiteY286" fmla="*/ 6455578 h 6857997"/>
              <a:gd name="connsiteX287" fmla="*/ 1071676 w 12191996"/>
              <a:gd name="connsiteY287" fmla="*/ 6455578 h 6857997"/>
              <a:gd name="connsiteX288" fmla="*/ 1084652 w 12191996"/>
              <a:gd name="connsiteY288" fmla="*/ 6462598 h 6857997"/>
              <a:gd name="connsiteX289" fmla="*/ 1089884 w 12191996"/>
              <a:gd name="connsiteY289" fmla="*/ 6483937 h 6857997"/>
              <a:gd name="connsiteX290" fmla="*/ 1084687 w 12191996"/>
              <a:gd name="connsiteY290" fmla="*/ 6505276 h 6857997"/>
              <a:gd name="connsiteX291" fmla="*/ 1072234 w 12191996"/>
              <a:gd name="connsiteY291" fmla="*/ 6512366 h 6857997"/>
              <a:gd name="connsiteX292" fmla="*/ 1059258 w 12191996"/>
              <a:gd name="connsiteY292" fmla="*/ 6505346 h 6857997"/>
              <a:gd name="connsiteX293" fmla="*/ 1054026 w 12191996"/>
              <a:gd name="connsiteY293" fmla="*/ 6483937 h 6857997"/>
              <a:gd name="connsiteX294" fmla="*/ 1059188 w 12191996"/>
              <a:gd name="connsiteY294" fmla="*/ 6462633 h 6857997"/>
              <a:gd name="connsiteX295" fmla="*/ 1071676 w 12191996"/>
              <a:gd name="connsiteY295" fmla="*/ 6455578 h 6857997"/>
              <a:gd name="connsiteX296" fmla="*/ 1139788 w 12191996"/>
              <a:gd name="connsiteY296" fmla="*/ 6455090 h 6857997"/>
              <a:gd name="connsiteX297" fmla="*/ 1151478 w 12191996"/>
              <a:gd name="connsiteY297" fmla="*/ 6462066 h 6857997"/>
              <a:gd name="connsiteX298" fmla="*/ 1156280 w 12191996"/>
              <a:gd name="connsiteY298" fmla="*/ 6483553 h 6857997"/>
              <a:gd name="connsiteX299" fmla="*/ 1151339 w 12191996"/>
              <a:gd name="connsiteY299" fmla="*/ 6505320 h 6857997"/>
              <a:gd name="connsiteX300" fmla="*/ 1139857 w 12191996"/>
              <a:gd name="connsiteY300" fmla="*/ 6512366 h 6857997"/>
              <a:gd name="connsiteX301" fmla="*/ 1128235 w 12191996"/>
              <a:gd name="connsiteY301" fmla="*/ 6505564 h 6857997"/>
              <a:gd name="connsiteX302" fmla="*/ 1123434 w 12191996"/>
              <a:gd name="connsiteY302" fmla="*/ 6484391 h 6857997"/>
              <a:gd name="connsiteX303" fmla="*/ 1128514 w 12191996"/>
              <a:gd name="connsiteY303" fmla="*/ 6462590 h 6857997"/>
              <a:gd name="connsiteX304" fmla="*/ 1139788 w 12191996"/>
              <a:gd name="connsiteY304" fmla="*/ 6455090 h 6857997"/>
              <a:gd name="connsiteX305" fmla="*/ 6224384 w 12191996"/>
              <a:gd name="connsiteY305" fmla="*/ 6446928 h 6857997"/>
              <a:gd name="connsiteX306" fmla="*/ 6224384 w 12191996"/>
              <a:gd name="connsiteY306" fmla="*/ 6521016 h 6857997"/>
              <a:gd name="connsiteX307" fmla="*/ 6234640 w 12191996"/>
              <a:gd name="connsiteY307" fmla="*/ 6521016 h 6857997"/>
              <a:gd name="connsiteX308" fmla="*/ 6234640 w 12191996"/>
              <a:gd name="connsiteY308" fmla="*/ 6446928 h 6857997"/>
              <a:gd name="connsiteX309" fmla="*/ 5967211 w 12191996"/>
              <a:gd name="connsiteY309" fmla="*/ 6446928 h 6857997"/>
              <a:gd name="connsiteX310" fmla="*/ 5967211 w 12191996"/>
              <a:gd name="connsiteY310" fmla="*/ 6521016 h 6857997"/>
              <a:gd name="connsiteX311" fmla="*/ 5977467 w 12191996"/>
              <a:gd name="connsiteY311" fmla="*/ 6521016 h 6857997"/>
              <a:gd name="connsiteX312" fmla="*/ 5977467 w 12191996"/>
              <a:gd name="connsiteY312" fmla="*/ 6446928 h 6857997"/>
              <a:gd name="connsiteX313" fmla="*/ 2380902 w 12191996"/>
              <a:gd name="connsiteY313" fmla="*/ 6446928 h 6857997"/>
              <a:gd name="connsiteX314" fmla="*/ 2380902 w 12191996"/>
              <a:gd name="connsiteY314" fmla="*/ 6521016 h 6857997"/>
              <a:gd name="connsiteX315" fmla="*/ 2391160 w 12191996"/>
              <a:gd name="connsiteY315" fmla="*/ 6521016 h 6857997"/>
              <a:gd name="connsiteX316" fmla="*/ 2391160 w 12191996"/>
              <a:gd name="connsiteY316" fmla="*/ 6446928 h 6857997"/>
              <a:gd name="connsiteX317" fmla="*/ 2287711 w 12191996"/>
              <a:gd name="connsiteY317" fmla="*/ 6446928 h 6857997"/>
              <a:gd name="connsiteX318" fmla="*/ 2306375 w 12191996"/>
              <a:gd name="connsiteY318" fmla="*/ 6521016 h 6857997"/>
              <a:gd name="connsiteX319" fmla="*/ 2317119 w 12191996"/>
              <a:gd name="connsiteY319" fmla="*/ 6521016 h 6857997"/>
              <a:gd name="connsiteX320" fmla="*/ 2329394 w 12191996"/>
              <a:gd name="connsiteY320" fmla="*/ 6464020 h 6857997"/>
              <a:gd name="connsiteX321" fmla="*/ 2331698 w 12191996"/>
              <a:gd name="connsiteY321" fmla="*/ 6476647 h 6857997"/>
              <a:gd name="connsiteX322" fmla="*/ 2341394 w 12191996"/>
              <a:gd name="connsiteY322" fmla="*/ 6521016 h 6857997"/>
              <a:gd name="connsiteX323" fmla="*/ 2352113 w 12191996"/>
              <a:gd name="connsiteY323" fmla="*/ 6521016 h 6857997"/>
              <a:gd name="connsiteX324" fmla="*/ 2371081 w 12191996"/>
              <a:gd name="connsiteY324" fmla="*/ 6446928 h 6857997"/>
              <a:gd name="connsiteX325" fmla="*/ 2361033 w 12191996"/>
              <a:gd name="connsiteY325" fmla="*/ 6446928 h 6857997"/>
              <a:gd name="connsiteX326" fmla="*/ 2350666 w 12191996"/>
              <a:gd name="connsiteY326" fmla="*/ 6489762 h 6857997"/>
              <a:gd name="connsiteX327" fmla="*/ 2347183 w 12191996"/>
              <a:gd name="connsiteY327" fmla="*/ 6504064 h 6857997"/>
              <a:gd name="connsiteX328" fmla="*/ 2344125 w 12191996"/>
              <a:gd name="connsiteY328" fmla="*/ 6489902 h 6857997"/>
              <a:gd name="connsiteX329" fmla="*/ 2335086 w 12191996"/>
              <a:gd name="connsiteY329" fmla="*/ 6446928 h 6857997"/>
              <a:gd name="connsiteX330" fmla="*/ 2324456 w 12191996"/>
              <a:gd name="connsiteY330" fmla="*/ 6446928 h 6857997"/>
              <a:gd name="connsiteX331" fmla="*/ 2314822 w 12191996"/>
              <a:gd name="connsiteY331" fmla="*/ 6490320 h 6857997"/>
              <a:gd name="connsiteX332" fmla="*/ 2311609 w 12191996"/>
              <a:gd name="connsiteY332" fmla="*/ 6505599 h 6857997"/>
              <a:gd name="connsiteX333" fmla="*/ 2308033 w 12191996"/>
              <a:gd name="connsiteY333" fmla="*/ 6489693 h 6857997"/>
              <a:gd name="connsiteX334" fmla="*/ 2298356 w 12191996"/>
              <a:gd name="connsiteY334" fmla="*/ 6446928 h 6857997"/>
              <a:gd name="connsiteX335" fmla="*/ 1818925 w 12191996"/>
              <a:gd name="connsiteY335" fmla="*/ 6446928 h 6857997"/>
              <a:gd name="connsiteX336" fmla="*/ 1818925 w 12191996"/>
              <a:gd name="connsiteY336" fmla="*/ 6521016 h 6857997"/>
              <a:gd name="connsiteX337" fmla="*/ 1829180 w 12191996"/>
              <a:gd name="connsiteY337" fmla="*/ 6521016 h 6857997"/>
              <a:gd name="connsiteX338" fmla="*/ 1829180 w 12191996"/>
              <a:gd name="connsiteY338" fmla="*/ 6446928 h 6857997"/>
              <a:gd name="connsiteX339" fmla="*/ 1752248 w 12191996"/>
              <a:gd name="connsiteY339" fmla="*/ 6446928 h 6857997"/>
              <a:gd name="connsiteX340" fmla="*/ 1752248 w 12191996"/>
              <a:gd name="connsiteY340" fmla="*/ 6521016 h 6857997"/>
              <a:gd name="connsiteX341" fmla="*/ 1762504 w 12191996"/>
              <a:gd name="connsiteY341" fmla="*/ 6521016 h 6857997"/>
              <a:gd name="connsiteX342" fmla="*/ 1762504 w 12191996"/>
              <a:gd name="connsiteY342" fmla="*/ 6446928 h 6857997"/>
              <a:gd name="connsiteX343" fmla="*/ 1266473 w 12191996"/>
              <a:gd name="connsiteY343" fmla="*/ 6446928 h 6857997"/>
              <a:gd name="connsiteX344" fmla="*/ 1266473 w 12191996"/>
              <a:gd name="connsiteY344" fmla="*/ 6521016 h 6857997"/>
              <a:gd name="connsiteX345" fmla="*/ 1276729 w 12191996"/>
              <a:gd name="connsiteY345" fmla="*/ 6521016 h 6857997"/>
              <a:gd name="connsiteX346" fmla="*/ 1276729 w 12191996"/>
              <a:gd name="connsiteY346" fmla="*/ 6446928 h 6857997"/>
              <a:gd name="connsiteX347" fmla="*/ 6278772 w 12191996"/>
              <a:gd name="connsiteY347" fmla="*/ 6445253 h 6857997"/>
              <a:gd name="connsiteX348" fmla="*/ 6259901 w 12191996"/>
              <a:gd name="connsiteY348" fmla="*/ 6450695 h 6857997"/>
              <a:gd name="connsiteX349" fmla="*/ 6251146 w 12191996"/>
              <a:gd name="connsiteY349" fmla="*/ 6468066 h 6857997"/>
              <a:gd name="connsiteX350" fmla="*/ 6261261 w 12191996"/>
              <a:gd name="connsiteY350" fmla="*/ 6469740 h 6857997"/>
              <a:gd name="connsiteX351" fmla="*/ 6266493 w 12191996"/>
              <a:gd name="connsiteY351" fmla="*/ 6458558 h 6857997"/>
              <a:gd name="connsiteX352" fmla="*/ 6277237 w 12191996"/>
              <a:gd name="connsiteY352" fmla="*/ 6455578 h 6857997"/>
              <a:gd name="connsiteX353" fmla="*/ 6289027 w 12191996"/>
              <a:gd name="connsiteY353" fmla="*/ 6460043 h 6857997"/>
              <a:gd name="connsiteX354" fmla="*/ 6291748 w 12191996"/>
              <a:gd name="connsiteY354" fmla="*/ 6470717 h 6857997"/>
              <a:gd name="connsiteX355" fmla="*/ 6291678 w 12191996"/>
              <a:gd name="connsiteY355" fmla="*/ 6473926 h 6857997"/>
              <a:gd name="connsiteX356" fmla="*/ 6273260 w 12191996"/>
              <a:gd name="connsiteY356" fmla="*/ 6478321 h 6857997"/>
              <a:gd name="connsiteX357" fmla="*/ 6259308 w 12191996"/>
              <a:gd name="connsiteY357" fmla="*/ 6482437 h 6857997"/>
              <a:gd name="connsiteX358" fmla="*/ 6252052 w 12191996"/>
              <a:gd name="connsiteY358" fmla="*/ 6490181 h 6857997"/>
              <a:gd name="connsiteX359" fmla="*/ 6249401 w 12191996"/>
              <a:gd name="connsiteY359" fmla="*/ 6501552 h 6857997"/>
              <a:gd name="connsiteX360" fmla="*/ 6255052 w 12191996"/>
              <a:gd name="connsiteY360" fmla="*/ 6516970 h 6857997"/>
              <a:gd name="connsiteX361" fmla="*/ 6270191 w 12191996"/>
              <a:gd name="connsiteY361" fmla="*/ 6522691 h 6857997"/>
              <a:gd name="connsiteX362" fmla="*/ 6281772 w 12191996"/>
              <a:gd name="connsiteY362" fmla="*/ 6519969 h 6857997"/>
              <a:gd name="connsiteX363" fmla="*/ 6292515 w 12191996"/>
              <a:gd name="connsiteY363" fmla="*/ 6511876 h 6857997"/>
              <a:gd name="connsiteX364" fmla="*/ 6294608 w 12191996"/>
              <a:gd name="connsiteY364" fmla="*/ 6521016 h 6857997"/>
              <a:gd name="connsiteX365" fmla="*/ 6305352 w 12191996"/>
              <a:gd name="connsiteY365" fmla="*/ 6521016 h 6857997"/>
              <a:gd name="connsiteX366" fmla="*/ 6302735 w 12191996"/>
              <a:gd name="connsiteY366" fmla="*/ 6512121 h 6857997"/>
              <a:gd name="connsiteX367" fmla="*/ 6302073 w 12191996"/>
              <a:gd name="connsiteY367" fmla="*/ 6489972 h 6857997"/>
              <a:gd name="connsiteX368" fmla="*/ 6302073 w 12191996"/>
              <a:gd name="connsiteY368" fmla="*/ 6473228 h 6857997"/>
              <a:gd name="connsiteX369" fmla="*/ 6300643 w 12191996"/>
              <a:gd name="connsiteY369" fmla="*/ 6457741 h 6857997"/>
              <a:gd name="connsiteX370" fmla="*/ 6293771 w 12191996"/>
              <a:gd name="connsiteY370" fmla="*/ 6448846 h 6857997"/>
              <a:gd name="connsiteX371" fmla="*/ 6278772 w 12191996"/>
              <a:gd name="connsiteY371" fmla="*/ 6445253 h 6857997"/>
              <a:gd name="connsiteX372" fmla="*/ 6157704 w 12191996"/>
              <a:gd name="connsiteY372" fmla="*/ 6445253 h 6857997"/>
              <a:gd name="connsiteX373" fmla="*/ 6146596 w 12191996"/>
              <a:gd name="connsiteY373" fmla="*/ 6448271 h 6857997"/>
              <a:gd name="connsiteX374" fmla="*/ 6138413 w 12191996"/>
              <a:gd name="connsiteY374" fmla="*/ 6457393 h 6857997"/>
              <a:gd name="connsiteX375" fmla="*/ 6138413 w 12191996"/>
              <a:gd name="connsiteY375" fmla="*/ 6446928 h 6857997"/>
              <a:gd name="connsiteX376" fmla="*/ 6129134 w 12191996"/>
              <a:gd name="connsiteY376" fmla="*/ 6446928 h 6857997"/>
              <a:gd name="connsiteX377" fmla="*/ 6129134 w 12191996"/>
              <a:gd name="connsiteY377" fmla="*/ 6521016 h 6857997"/>
              <a:gd name="connsiteX378" fmla="*/ 6139390 w 12191996"/>
              <a:gd name="connsiteY378" fmla="*/ 6521016 h 6857997"/>
              <a:gd name="connsiteX379" fmla="*/ 6139390 w 12191996"/>
              <a:gd name="connsiteY379" fmla="*/ 6480510 h 6857997"/>
              <a:gd name="connsiteX380" fmla="*/ 6143785 w 12191996"/>
              <a:gd name="connsiteY380" fmla="*/ 6461584 h 6857997"/>
              <a:gd name="connsiteX381" fmla="*/ 6155575 w 12191996"/>
              <a:gd name="connsiteY381" fmla="*/ 6456067 h 6857997"/>
              <a:gd name="connsiteX382" fmla="*/ 6162446 w 12191996"/>
              <a:gd name="connsiteY382" fmla="*/ 6458127 h 6857997"/>
              <a:gd name="connsiteX383" fmla="*/ 6166807 w 12191996"/>
              <a:gd name="connsiteY383" fmla="*/ 6463958 h 6857997"/>
              <a:gd name="connsiteX384" fmla="*/ 6168202 w 12191996"/>
              <a:gd name="connsiteY384" fmla="*/ 6475901 h 6857997"/>
              <a:gd name="connsiteX385" fmla="*/ 6168202 w 12191996"/>
              <a:gd name="connsiteY385" fmla="*/ 6521016 h 6857997"/>
              <a:gd name="connsiteX386" fmla="*/ 6178457 w 12191996"/>
              <a:gd name="connsiteY386" fmla="*/ 6521016 h 6857997"/>
              <a:gd name="connsiteX387" fmla="*/ 6178457 w 12191996"/>
              <a:gd name="connsiteY387" fmla="*/ 6475461 h 6857997"/>
              <a:gd name="connsiteX388" fmla="*/ 6177203 w 12191996"/>
              <a:gd name="connsiteY388" fmla="*/ 6460253 h 6857997"/>
              <a:gd name="connsiteX389" fmla="*/ 6173408 w 12191996"/>
              <a:gd name="connsiteY389" fmla="*/ 6452195 h 6857997"/>
              <a:gd name="connsiteX390" fmla="*/ 6166722 w 12191996"/>
              <a:gd name="connsiteY390" fmla="*/ 6447172 h 6857997"/>
              <a:gd name="connsiteX391" fmla="*/ 6157704 w 12191996"/>
              <a:gd name="connsiteY391" fmla="*/ 6445253 h 6857997"/>
              <a:gd name="connsiteX392" fmla="*/ 6087367 w 12191996"/>
              <a:gd name="connsiteY392" fmla="*/ 6445253 h 6857997"/>
              <a:gd name="connsiteX393" fmla="*/ 6066962 w 12191996"/>
              <a:gd name="connsiteY393" fmla="*/ 6455334 h 6857997"/>
              <a:gd name="connsiteX394" fmla="*/ 6058901 w 12191996"/>
              <a:gd name="connsiteY394" fmla="*/ 6484600 h 6857997"/>
              <a:gd name="connsiteX395" fmla="*/ 6066893 w 12191996"/>
              <a:gd name="connsiteY395" fmla="*/ 6512889 h 6857997"/>
              <a:gd name="connsiteX396" fmla="*/ 6087783 w 12191996"/>
              <a:gd name="connsiteY396" fmla="*/ 6522691 h 6857997"/>
              <a:gd name="connsiteX397" fmla="*/ 6104980 w 12191996"/>
              <a:gd name="connsiteY397" fmla="*/ 6516656 h 6857997"/>
              <a:gd name="connsiteX398" fmla="*/ 6114573 w 12191996"/>
              <a:gd name="connsiteY398" fmla="*/ 6498762 h 6857997"/>
              <a:gd name="connsiteX399" fmla="*/ 6103969 w 12191996"/>
              <a:gd name="connsiteY399" fmla="*/ 6497157 h 6857997"/>
              <a:gd name="connsiteX400" fmla="*/ 6087853 w 12191996"/>
              <a:gd name="connsiteY400" fmla="*/ 6512366 h 6857997"/>
              <a:gd name="connsiteX401" fmla="*/ 6075296 w 12191996"/>
              <a:gd name="connsiteY401" fmla="*/ 6506017 h 6857997"/>
              <a:gd name="connsiteX402" fmla="*/ 6069506 w 12191996"/>
              <a:gd name="connsiteY402" fmla="*/ 6487181 h 6857997"/>
              <a:gd name="connsiteX403" fmla="*/ 6114852 w 12191996"/>
              <a:gd name="connsiteY403" fmla="*/ 6487181 h 6857997"/>
              <a:gd name="connsiteX404" fmla="*/ 6114921 w 12191996"/>
              <a:gd name="connsiteY404" fmla="*/ 6483832 h 6857997"/>
              <a:gd name="connsiteX405" fmla="*/ 6107038 w 12191996"/>
              <a:gd name="connsiteY405" fmla="*/ 6455160 h 6857997"/>
              <a:gd name="connsiteX406" fmla="*/ 6087367 w 12191996"/>
              <a:gd name="connsiteY406" fmla="*/ 6445253 h 6857997"/>
              <a:gd name="connsiteX407" fmla="*/ 5900531 w 12191996"/>
              <a:gd name="connsiteY407" fmla="*/ 6445253 h 6857997"/>
              <a:gd name="connsiteX408" fmla="*/ 5889422 w 12191996"/>
              <a:gd name="connsiteY408" fmla="*/ 6448271 h 6857997"/>
              <a:gd name="connsiteX409" fmla="*/ 5881238 w 12191996"/>
              <a:gd name="connsiteY409" fmla="*/ 6457393 h 6857997"/>
              <a:gd name="connsiteX410" fmla="*/ 5881238 w 12191996"/>
              <a:gd name="connsiteY410" fmla="*/ 6446928 h 6857997"/>
              <a:gd name="connsiteX411" fmla="*/ 5871961 w 12191996"/>
              <a:gd name="connsiteY411" fmla="*/ 6446928 h 6857997"/>
              <a:gd name="connsiteX412" fmla="*/ 5871961 w 12191996"/>
              <a:gd name="connsiteY412" fmla="*/ 6521016 h 6857997"/>
              <a:gd name="connsiteX413" fmla="*/ 5882218 w 12191996"/>
              <a:gd name="connsiteY413" fmla="*/ 6521016 h 6857997"/>
              <a:gd name="connsiteX414" fmla="*/ 5882218 w 12191996"/>
              <a:gd name="connsiteY414" fmla="*/ 6480510 h 6857997"/>
              <a:gd name="connsiteX415" fmla="*/ 5886612 w 12191996"/>
              <a:gd name="connsiteY415" fmla="*/ 6461584 h 6857997"/>
              <a:gd name="connsiteX416" fmla="*/ 5898402 w 12191996"/>
              <a:gd name="connsiteY416" fmla="*/ 6456067 h 6857997"/>
              <a:gd name="connsiteX417" fmla="*/ 5905276 w 12191996"/>
              <a:gd name="connsiteY417" fmla="*/ 6458127 h 6857997"/>
              <a:gd name="connsiteX418" fmla="*/ 5909633 w 12191996"/>
              <a:gd name="connsiteY418" fmla="*/ 6463958 h 6857997"/>
              <a:gd name="connsiteX419" fmla="*/ 5911030 w 12191996"/>
              <a:gd name="connsiteY419" fmla="*/ 6475901 h 6857997"/>
              <a:gd name="connsiteX420" fmla="*/ 5911030 w 12191996"/>
              <a:gd name="connsiteY420" fmla="*/ 6521016 h 6857997"/>
              <a:gd name="connsiteX421" fmla="*/ 5921285 w 12191996"/>
              <a:gd name="connsiteY421" fmla="*/ 6521016 h 6857997"/>
              <a:gd name="connsiteX422" fmla="*/ 5921285 w 12191996"/>
              <a:gd name="connsiteY422" fmla="*/ 6475461 h 6857997"/>
              <a:gd name="connsiteX423" fmla="*/ 5920030 w 12191996"/>
              <a:gd name="connsiteY423" fmla="*/ 6460253 h 6857997"/>
              <a:gd name="connsiteX424" fmla="*/ 5916235 w 12191996"/>
              <a:gd name="connsiteY424" fmla="*/ 6452195 h 6857997"/>
              <a:gd name="connsiteX425" fmla="*/ 5909549 w 12191996"/>
              <a:gd name="connsiteY425" fmla="*/ 6447172 h 6857997"/>
              <a:gd name="connsiteX426" fmla="*/ 5900531 w 12191996"/>
              <a:gd name="connsiteY426" fmla="*/ 6445253 h 6857997"/>
              <a:gd name="connsiteX427" fmla="*/ 5829842 w 12191996"/>
              <a:gd name="connsiteY427" fmla="*/ 6445253 h 6857997"/>
              <a:gd name="connsiteX428" fmla="*/ 5809436 w 12191996"/>
              <a:gd name="connsiteY428" fmla="*/ 6455020 h 6857997"/>
              <a:gd name="connsiteX429" fmla="*/ 5801380 w 12191996"/>
              <a:gd name="connsiteY429" fmla="*/ 6483972 h 6857997"/>
              <a:gd name="connsiteX430" fmla="*/ 5809506 w 12191996"/>
              <a:gd name="connsiteY430" fmla="*/ 6512889 h 6857997"/>
              <a:gd name="connsiteX431" fmla="*/ 5829842 w 12191996"/>
              <a:gd name="connsiteY431" fmla="*/ 6522691 h 6857997"/>
              <a:gd name="connsiteX432" fmla="*/ 5850285 w 12191996"/>
              <a:gd name="connsiteY432" fmla="*/ 6512924 h 6857997"/>
              <a:gd name="connsiteX433" fmla="*/ 5858305 w 12191996"/>
              <a:gd name="connsiteY433" fmla="*/ 6483205 h 6857997"/>
              <a:gd name="connsiteX434" fmla="*/ 5850143 w 12191996"/>
              <a:gd name="connsiteY434" fmla="*/ 6455020 h 6857997"/>
              <a:gd name="connsiteX435" fmla="*/ 5829842 w 12191996"/>
              <a:gd name="connsiteY435" fmla="*/ 6445253 h 6857997"/>
              <a:gd name="connsiteX436" fmla="*/ 2714271 w 12191996"/>
              <a:gd name="connsiteY436" fmla="*/ 6445253 h 6857997"/>
              <a:gd name="connsiteX437" fmla="*/ 2703162 w 12191996"/>
              <a:gd name="connsiteY437" fmla="*/ 6448271 h 6857997"/>
              <a:gd name="connsiteX438" fmla="*/ 2694979 w 12191996"/>
              <a:gd name="connsiteY438" fmla="*/ 6457393 h 6857997"/>
              <a:gd name="connsiteX439" fmla="*/ 2694979 w 12191996"/>
              <a:gd name="connsiteY439" fmla="*/ 6446928 h 6857997"/>
              <a:gd name="connsiteX440" fmla="*/ 2685702 w 12191996"/>
              <a:gd name="connsiteY440" fmla="*/ 6446928 h 6857997"/>
              <a:gd name="connsiteX441" fmla="*/ 2685702 w 12191996"/>
              <a:gd name="connsiteY441" fmla="*/ 6521016 h 6857997"/>
              <a:gd name="connsiteX442" fmla="*/ 2695956 w 12191996"/>
              <a:gd name="connsiteY442" fmla="*/ 6521016 h 6857997"/>
              <a:gd name="connsiteX443" fmla="*/ 2695956 w 12191996"/>
              <a:gd name="connsiteY443" fmla="*/ 6480510 h 6857997"/>
              <a:gd name="connsiteX444" fmla="*/ 2700353 w 12191996"/>
              <a:gd name="connsiteY444" fmla="*/ 6461584 h 6857997"/>
              <a:gd name="connsiteX445" fmla="*/ 2712140 w 12191996"/>
              <a:gd name="connsiteY445" fmla="*/ 6456067 h 6857997"/>
              <a:gd name="connsiteX446" fmla="*/ 2719012 w 12191996"/>
              <a:gd name="connsiteY446" fmla="*/ 6458127 h 6857997"/>
              <a:gd name="connsiteX447" fmla="*/ 2723374 w 12191996"/>
              <a:gd name="connsiteY447" fmla="*/ 6463958 h 6857997"/>
              <a:gd name="connsiteX448" fmla="*/ 2724768 w 12191996"/>
              <a:gd name="connsiteY448" fmla="*/ 6475901 h 6857997"/>
              <a:gd name="connsiteX449" fmla="*/ 2724768 w 12191996"/>
              <a:gd name="connsiteY449" fmla="*/ 6521016 h 6857997"/>
              <a:gd name="connsiteX450" fmla="*/ 2735023 w 12191996"/>
              <a:gd name="connsiteY450" fmla="*/ 6521016 h 6857997"/>
              <a:gd name="connsiteX451" fmla="*/ 2735023 w 12191996"/>
              <a:gd name="connsiteY451" fmla="*/ 6475461 h 6857997"/>
              <a:gd name="connsiteX452" fmla="*/ 2733768 w 12191996"/>
              <a:gd name="connsiteY452" fmla="*/ 6460253 h 6857997"/>
              <a:gd name="connsiteX453" fmla="*/ 2729976 w 12191996"/>
              <a:gd name="connsiteY453" fmla="*/ 6452195 h 6857997"/>
              <a:gd name="connsiteX454" fmla="*/ 2723290 w 12191996"/>
              <a:gd name="connsiteY454" fmla="*/ 6447172 h 6857997"/>
              <a:gd name="connsiteX455" fmla="*/ 2714271 w 12191996"/>
              <a:gd name="connsiteY455" fmla="*/ 6445253 h 6857997"/>
              <a:gd name="connsiteX456" fmla="*/ 2644839 w 12191996"/>
              <a:gd name="connsiteY456" fmla="*/ 6445253 h 6857997"/>
              <a:gd name="connsiteX457" fmla="*/ 2625967 w 12191996"/>
              <a:gd name="connsiteY457" fmla="*/ 6450695 h 6857997"/>
              <a:gd name="connsiteX458" fmla="*/ 2617211 w 12191996"/>
              <a:gd name="connsiteY458" fmla="*/ 6468066 h 6857997"/>
              <a:gd name="connsiteX459" fmla="*/ 2627327 w 12191996"/>
              <a:gd name="connsiteY459" fmla="*/ 6469740 h 6857997"/>
              <a:gd name="connsiteX460" fmla="*/ 2632562 w 12191996"/>
              <a:gd name="connsiteY460" fmla="*/ 6458558 h 6857997"/>
              <a:gd name="connsiteX461" fmla="*/ 2643303 w 12191996"/>
              <a:gd name="connsiteY461" fmla="*/ 6455578 h 6857997"/>
              <a:gd name="connsiteX462" fmla="*/ 2655093 w 12191996"/>
              <a:gd name="connsiteY462" fmla="*/ 6460043 h 6857997"/>
              <a:gd name="connsiteX463" fmla="*/ 2657815 w 12191996"/>
              <a:gd name="connsiteY463" fmla="*/ 6470717 h 6857997"/>
              <a:gd name="connsiteX464" fmla="*/ 2657744 w 12191996"/>
              <a:gd name="connsiteY464" fmla="*/ 6473926 h 6857997"/>
              <a:gd name="connsiteX465" fmla="*/ 2639327 w 12191996"/>
              <a:gd name="connsiteY465" fmla="*/ 6478321 h 6857997"/>
              <a:gd name="connsiteX466" fmla="*/ 2625374 w 12191996"/>
              <a:gd name="connsiteY466" fmla="*/ 6482437 h 6857997"/>
              <a:gd name="connsiteX467" fmla="*/ 2618117 w 12191996"/>
              <a:gd name="connsiteY467" fmla="*/ 6490181 h 6857997"/>
              <a:gd name="connsiteX468" fmla="*/ 2615466 w 12191996"/>
              <a:gd name="connsiteY468" fmla="*/ 6501552 h 6857997"/>
              <a:gd name="connsiteX469" fmla="*/ 2621117 w 12191996"/>
              <a:gd name="connsiteY469" fmla="*/ 6516970 h 6857997"/>
              <a:gd name="connsiteX470" fmla="*/ 2636258 w 12191996"/>
              <a:gd name="connsiteY470" fmla="*/ 6522691 h 6857997"/>
              <a:gd name="connsiteX471" fmla="*/ 2647837 w 12191996"/>
              <a:gd name="connsiteY471" fmla="*/ 6519969 h 6857997"/>
              <a:gd name="connsiteX472" fmla="*/ 2658582 w 12191996"/>
              <a:gd name="connsiteY472" fmla="*/ 6511876 h 6857997"/>
              <a:gd name="connsiteX473" fmla="*/ 2660674 w 12191996"/>
              <a:gd name="connsiteY473" fmla="*/ 6521016 h 6857997"/>
              <a:gd name="connsiteX474" fmla="*/ 2671419 w 12191996"/>
              <a:gd name="connsiteY474" fmla="*/ 6521016 h 6857997"/>
              <a:gd name="connsiteX475" fmla="*/ 2668802 w 12191996"/>
              <a:gd name="connsiteY475" fmla="*/ 6512121 h 6857997"/>
              <a:gd name="connsiteX476" fmla="*/ 2668139 w 12191996"/>
              <a:gd name="connsiteY476" fmla="*/ 6489972 h 6857997"/>
              <a:gd name="connsiteX477" fmla="*/ 2668139 w 12191996"/>
              <a:gd name="connsiteY477" fmla="*/ 6473228 h 6857997"/>
              <a:gd name="connsiteX478" fmla="*/ 2666708 w 12191996"/>
              <a:gd name="connsiteY478" fmla="*/ 6457741 h 6857997"/>
              <a:gd name="connsiteX479" fmla="*/ 2659837 w 12191996"/>
              <a:gd name="connsiteY479" fmla="*/ 6448846 h 6857997"/>
              <a:gd name="connsiteX480" fmla="*/ 2644839 w 12191996"/>
              <a:gd name="connsiteY480" fmla="*/ 6445253 h 6857997"/>
              <a:gd name="connsiteX481" fmla="*/ 2574815 w 12191996"/>
              <a:gd name="connsiteY481" fmla="*/ 6445253 h 6857997"/>
              <a:gd name="connsiteX482" fmla="*/ 2568151 w 12191996"/>
              <a:gd name="connsiteY482" fmla="*/ 6447800 h 6857997"/>
              <a:gd name="connsiteX483" fmla="*/ 2561629 w 12191996"/>
              <a:gd name="connsiteY483" fmla="*/ 6458160 h 6857997"/>
              <a:gd name="connsiteX484" fmla="*/ 2561629 w 12191996"/>
              <a:gd name="connsiteY484" fmla="*/ 6446928 h 6857997"/>
              <a:gd name="connsiteX485" fmla="*/ 2552350 w 12191996"/>
              <a:gd name="connsiteY485" fmla="*/ 6446928 h 6857997"/>
              <a:gd name="connsiteX486" fmla="*/ 2552350 w 12191996"/>
              <a:gd name="connsiteY486" fmla="*/ 6521016 h 6857997"/>
              <a:gd name="connsiteX487" fmla="*/ 2562605 w 12191996"/>
              <a:gd name="connsiteY487" fmla="*/ 6521016 h 6857997"/>
              <a:gd name="connsiteX488" fmla="*/ 2562605 w 12191996"/>
              <a:gd name="connsiteY488" fmla="*/ 6482228 h 6857997"/>
              <a:gd name="connsiteX489" fmla="*/ 2564558 w 12191996"/>
              <a:gd name="connsiteY489" fmla="*/ 6466950 h 6857997"/>
              <a:gd name="connsiteX490" fmla="*/ 2568395 w 12191996"/>
              <a:gd name="connsiteY490" fmla="*/ 6460532 h 6857997"/>
              <a:gd name="connsiteX491" fmla="*/ 2574395 w 12191996"/>
              <a:gd name="connsiteY491" fmla="*/ 6458229 h 6857997"/>
              <a:gd name="connsiteX492" fmla="*/ 2581860 w 12191996"/>
              <a:gd name="connsiteY492" fmla="*/ 6460950 h 6857997"/>
              <a:gd name="connsiteX493" fmla="*/ 2585348 w 12191996"/>
              <a:gd name="connsiteY493" fmla="*/ 6449300 h 6857997"/>
              <a:gd name="connsiteX494" fmla="*/ 2574815 w 12191996"/>
              <a:gd name="connsiteY494" fmla="*/ 6445253 h 6857997"/>
              <a:gd name="connsiteX495" fmla="*/ 2510583 w 12191996"/>
              <a:gd name="connsiteY495" fmla="*/ 6445253 h 6857997"/>
              <a:gd name="connsiteX496" fmla="*/ 2490178 w 12191996"/>
              <a:gd name="connsiteY496" fmla="*/ 6455334 h 6857997"/>
              <a:gd name="connsiteX497" fmla="*/ 2482119 w 12191996"/>
              <a:gd name="connsiteY497" fmla="*/ 6484600 h 6857997"/>
              <a:gd name="connsiteX498" fmla="*/ 2490104 w 12191996"/>
              <a:gd name="connsiteY498" fmla="*/ 6512889 h 6857997"/>
              <a:gd name="connsiteX499" fmla="*/ 2511000 w 12191996"/>
              <a:gd name="connsiteY499" fmla="*/ 6522691 h 6857997"/>
              <a:gd name="connsiteX500" fmla="*/ 2528195 w 12191996"/>
              <a:gd name="connsiteY500" fmla="*/ 6516656 h 6857997"/>
              <a:gd name="connsiteX501" fmla="*/ 2537790 w 12191996"/>
              <a:gd name="connsiteY501" fmla="*/ 6498762 h 6857997"/>
              <a:gd name="connsiteX502" fmla="*/ 2527186 w 12191996"/>
              <a:gd name="connsiteY502" fmla="*/ 6497157 h 6857997"/>
              <a:gd name="connsiteX503" fmla="*/ 2511068 w 12191996"/>
              <a:gd name="connsiteY503" fmla="*/ 6512366 h 6857997"/>
              <a:gd name="connsiteX504" fmla="*/ 2498511 w 12191996"/>
              <a:gd name="connsiteY504" fmla="*/ 6506017 h 6857997"/>
              <a:gd name="connsiteX505" fmla="*/ 2492723 w 12191996"/>
              <a:gd name="connsiteY505" fmla="*/ 6487181 h 6857997"/>
              <a:gd name="connsiteX506" fmla="*/ 2538068 w 12191996"/>
              <a:gd name="connsiteY506" fmla="*/ 6487181 h 6857997"/>
              <a:gd name="connsiteX507" fmla="*/ 2538139 w 12191996"/>
              <a:gd name="connsiteY507" fmla="*/ 6483832 h 6857997"/>
              <a:gd name="connsiteX508" fmla="*/ 2530255 w 12191996"/>
              <a:gd name="connsiteY508" fmla="*/ 6455160 h 6857997"/>
              <a:gd name="connsiteX509" fmla="*/ 2510583 w 12191996"/>
              <a:gd name="connsiteY509" fmla="*/ 6445253 h 6857997"/>
              <a:gd name="connsiteX510" fmla="*/ 1942743 w 12191996"/>
              <a:gd name="connsiteY510" fmla="*/ 6445253 h 6857997"/>
              <a:gd name="connsiteX511" fmla="*/ 1931635 w 12191996"/>
              <a:gd name="connsiteY511" fmla="*/ 6448271 h 6857997"/>
              <a:gd name="connsiteX512" fmla="*/ 1923452 w 12191996"/>
              <a:gd name="connsiteY512" fmla="*/ 6457393 h 6857997"/>
              <a:gd name="connsiteX513" fmla="*/ 1923452 w 12191996"/>
              <a:gd name="connsiteY513" fmla="*/ 6446928 h 6857997"/>
              <a:gd name="connsiteX514" fmla="*/ 1914173 w 12191996"/>
              <a:gd name="connsiteY514" fmla="*/ 6446928 h 6857997"/>
              <a:gd name="connsiteX515" fmla="*/ 1914173 w 12191996"/>
              <a:gd name="connsiteY515" fmla="*/ 6521016 h 6857997"/>
              <a:gd name="connsiteX516" fmla="*/ 1924429 w 12191996"/>
              <a:gd name="connsiteY516" fmla="*/ 6521016 h 6857997"/>
              <a:gd name="connsiteX517" fmla="*/ 1924429 w 12191996"/>
              <a:gd name="connsiteY517" fmla="*/ 6480510 h 6857997"/>
              <a:gd name="connsiteX518" fmla="*/ 1928824 w 12191996"/>
              <a:gd name="connsiteY518" fmla="*/ 6461584 h 6857997"/>
              <a:gd name="connsiteX519" fmla="*/ 1940614 w 12191996"/>
              <a:gd name="connsiteY519" fmla="*/ 6456067 h 6857997"/>
              <a:gd name="connsiteX520" fmla="*/ 1947485 w 12191996"/>
              <a:gd name="connsiteY520" fmla="*/ 6458127 h 6857997"/>
              <a:gd name="connsiteX521" fmla="*/ 1951846 w 12191996"/>
              <a:gd name="connsiteY521" fmla="*/ 6463958 h 6857997"/>
              <a:gd name="connsiteX522" fmla="*/ 1953242 w 12191996"/>
              <a:gd name="connsiteY522" fmla="*/ 6475901 h 6857997"/>
              <a:gd name="connsiteX523" fmla="*/ 1953242 w 12191996"/>
              <a:gd name="connsiteY523" fmla="*/ 6521016 h 6857997"/>
              <a:gd name="connsiteX524" fmla="*/ 1963497 w 12191996"/>
              <a:gd name="connsiteY524" fmla="*/ 6521016 h 6857997"/>
              <a:gd name="connsiteX525" fmla="*/ 1963497 w 12191996"/>
              <a:gd name="connsiteY525" fmla="*/ 6475461 h 6857997"/>
              <a:gd name="connsiteX526" fmla="*/ 1962243 w 12191996"/>
              <a:gd name="connsiteY526" fmla="*/ 6460253 h 6857997"/>
              <a:gd name="connsiteX527" fmla="*/ 1958447 w 12191996"/>
              <a:gd name="connsiteY527" fmla="*/ 6452195 h 6857997"/>
              <a:gd name="connsiteX528" fmla="*/ 1951761 w 12191996"/>
              <a:gd name="connsiteY528" fmla="*/ 6447172 h 6857997"/>
              <a:gd name="connsiteX529" fmla="*/ 1942743 w 12191996"/>
              <a:gd name="connsiteY529" fmla="*/ 6445253 h 6857997"/>
              <a:gd name="connsiteX530" fmla="*/ 1872055 w 12191996"/>
              <a:gd name="connsiteY530" fmla="*/ 6445253 h 6857997"/>
              <a:gd name="connsiteX531" fmla="*/ 1851649 w 12191996"/>
              <a:gd name="connsiteY531" fmla="*/ 6455020 h 6857997"/>
              <a:gd name="connsiteX532" fmla="*/ 1843593 w 12191996"/>
              <a:gd name="connsiteY532" fmla="*/ 6483972 h 6857997"/>
              <a:gd name="connsiteX533" fmla="*/ 1851719 w 12191996"/>
              <a:gd name="connsiteY533" fmla="*/ 6512889 h 6857997"/>
              <a:gd name="connsiteX534" fmla="*/ 1872055 w 12191996"/>
              <a:gd name="connsiteY534" fmla="*/ 6522691 h 6857997"/>
              <a:gd name="connsiteX535" fmla="*/ 1892496 w 12191996"/>
              <a:gd name="connsiteY535" fmla="*/ 6512924 h 6857997"/>
              <a:gd name="connsiteX536" fmla="*/ 1900519 w 12191996"/>
              <a:gd name="connsiteY536" fmla="*/ 6483205 h 6857997"/>
              <a:gd name="connsiteX537" fmla="*/ 1892356 w 12191996"/>
              <a:gd name="connsiteY537" fmla="*/ 6455020 h 6857997"/>
              <a:gd name="connsiteX538" fmla="*/ 1872055 w 12191996"/>
              <a:gd name="connsiteY538" fmla="*/ 6445253 h 6857997"/>
              <a:gd name="connsiteX539" fmla="*/ 1803287 w 12191996"/>
              <a:gd name="connsiteY539" fmla="*/ 6445253 h 6857997"/>
              <a:gd name="connsiteX540" fmla="*/ 1796625 w 12191996"/>
              <a:gd name="connsiteY540" fmla="*/ 6447800 h 6857997"/>
              <a:gd name="connsiteX541" fmla="*/ 1790103 w 12191996"/>
              <a:gd name="connsiteY541" fmla="*/ 6458160 h 6857997"/>
              <a:gd name="connsiteX542" fmla="*/ 1790103 w 12191996"/>
              <a:gd name="connsiteY542" fmla="*/ 6446928 h 6857997"/>
              <a:gd name="connsiteX543" fmla="*/ 1780823 w 12191996"/>
              <a:gd name="connsiteY543" fmla="*/ 6446928 h 6857997"/>
              <a:gd name="connsiteX544" fmla="*/ 1780823 w 12191996"/>
              <a:gd name="connsiteY544" fmla="*/ 6521016 h 6857997"/>
              <a:gd name="connsiteX545" fmla="*/ 1791079 w 12191996"/>
              <a:gd name="connsiteY545" fmla="*/ 6521016 h 6857997"/>
              <a:gd name="connsiteX546" fmla="*/ 1791079 w 12191996"/>
              <a:gd name="connsiteY546" fmla="*/ 6482228 h 6857997"/>
              <a:gd name="connsiteX547" fmla="*/ 1793032 w 12191996"/>
              <a:gd name="connsiteY547" fmla="*/ 6466950 h 6857997"/>
              <a:gd name="connsiteX548" fmla="*/ 1796869 w 12191996"/>
              <a:gd name="connsiteY548" fmla="*/ 6460532 h 6857997"/>
              <a:gd name="connsiteX549" fmla="*/ 1802869 w 12191996"/>
              <a:gd name="connsiteY549" fmla="*/ 6458229 h 6857997"/>
              <a:gd name="connsiteX550" fmla="*/ 1810333 w 12191996"/>
              <a:gd name="connsiteY550" fmla="*/ 6460950 h 6857997"/>
              <a:gd name="connsiteX551" fmla="*/ 1813822 w 12191996"/>
              <a:gd name="connsiteY551" fmla="*/ 6449300 h 6857997"/>
              <a:gd name="connsiteX552" fmla="*/ 1803287 w 12191996"/>
              <a:gd name="connsiteY552" fmla="*/ 6445253 h 6857997"/>
              <a:gd name="connsiteX553" fmla="*/ 1715748 w 12191996"/>
              <a:gd name="connsiteY553" fmla="*/ 6445253 h 6857997"/>
              <a:gd name="connsiteX554" fmla="*/ 1698935 w 12191996"/>
              <a:gd name="connsiteY554" fmla="*/ 6451183 h 6857997"/>
              <a:gd name="connsiteX555" fmla="*/ 1692866 w 12191996"/>
              <a:gd name="connsiteY555" fmla="*/ 6466601 h 6857997"/>
              <a:gd name="connsiteX556" fmla="*/ 1695099 w 12191996"/>
              <a:gd name="connsiteY556" fmla="*/ 6476438 h 6857997"/>
              <a:gd name="connsiteX557" fmla="*/ 1701377 w 12191996"/>
              <a:gd name="connsiteY557" fmla="*/ 6483344 h 6857997"/>
              <a:gd name="connsiteX558" fmla="*/ 1717423 w 12191996"/>
              <a:gd name="connsiteY558" fmla="*/ 6489623 h 6857997"/>
              <a:gd name="connsiteX559" fmla="*/ 1727887 w 12191996"/>
              <a:gd name="connsiteY559" fmla="*/ 6493809 h 6857997"/>
              <a:gd name="connsiteX560" fmla="*/ 1731026 w 12191996"/>
              <a:gd name="connsiteY560" fmla="*/ 6500645 h 6857997"/>
              <a:gd name="connsiteX561" fmla="*/ 1727373 w 12191996"/>
              <a:gd name="connsiteY561" fmla="*/ 6509052 h 6857997"/>
              <a:gd name="connsiteX562" fmla="*/ 1717037 w 12191996"/>
              <a:gd name="connsiteY562" fmla="*/ 6512366 h 6857997"/>
              <a:gd name="connsiteX563" fmla="*/ 1706319 w 12191996"/>
              <a:gd name="connsiteY563" fmla="*/ 6508546 h 6857997"/>
              <a:gd name="connsiteX564" fmla="*/ 1701377 w 12191996"/>
              <a:gd name="connsiteY564" fmla="*/ 6496878 h 6857997"/>
              <a:gd name="connsiteX565" fmla="*/ 1691122 w 12191996"/>
              <a:gd name="connsiteY565" fmla="*/ 6498832 h 6857997"/>
              <a:gd name="connsiteX566" fmla="*/ 1716446 w 12191996"/>
              <a:gd name="connsiteY566" fmla="*/ 6522691 h 6857997"/>
              <a:gd name="connsiteX567" fmla="*/ 1734829 w 12191996"/>
              <a:gd name="connsiteY567" fmla="*/ 6516121 h 6857997"/>
              <a:gd name="connsiteX568" fmla="*/ 1741562 w 12191996"/>
              <a:gd name="connsiteY568" fmla="*/ 6498930 h 6857997"/>
              <a:gd name="connsiteX569" fmla="*/ 1739475 w 12191996"/>
              <a:gd name="connsiteY569" fmla="*/ 6489041 h 6857997"/>
              <a:gd name="connsiteX570" fmla="*/ 1733637 w 12191996"/>
              <a:gd name="connsiteY570" fmla="*/ 6482472 h 6857997"/>
              <a:gd name="connsiteX571" fmla="*/ 1717100 w 12191996"/>
              <a:gd name="connsiteY571" fmla="*/ 6476005 h 6857997"/>
              <a:gd name="connsiteX572" fmla="*/ 1705917 w 12191996"/>
              <a:gd name="connsiteY572" fmla="*/ 6471559 h 6857997"/>
              <a:gd name="connsiteX573" fmla="*/ 1702772 w 12191996"/>
              <a:gd name="connsiteY573" fmla="*/ 6465097 h 6857997"/>
              <a:gd name="connsiteX574" fmla="*/ 1706052 w 12191996"/>
              <a:gd name="connsiteY574" fmla="*/ 6458253 h 6857997"/>
              <a:gd name="connsiteX575" fmla="*/ 1716027 w 12191996"/>
              <a:gd name="connsiteY575" fmla="*/ 6455578 h 6857997"/>
              <a:gd name="connsiteX576" fmla="*/ 1729213 w 12191996"/>
              <a:gd name="connsiteY576" fmla="*/ 6467717 h 6857997"/>
              <a:gd name="connsiteX577" fmla="*/ 1739260 w 12191996"/>
              <a:gd name="connsiteY577" fmla="*/ 6466043 h 6857997"/>
              <a:gd name="connsiteX578" fmla="*/ 1735491 w 12191996"/>
              <a:gd name="connsiteY578" fmla="*/ 6454253 h 6857997"/>
              <a:gd name="connsiteX579" fmla="*/ 1727643 w 12191996"/>
              <a:gd name="connsiteY579" fmla="*/ 6447695 h 6857997"/>
              <a:gd name="connsiteX580" fmla="*/ 1715748 w 12191996"/>
              <a:gd name="connsiteY580" fmla="*/ 6445253 h 6857997"/>
              <a:gd name="connsiteX581" fmla="*/ 1656992 w 12191996"/>
              <a:gd name="connsiteY581" fmla="*/ 6445253 h 6857997"/>
              <a:gd name="connsiteX582" fmla="*/ 1645885 w 12191996"/>
              <a:gd name="connsiteY582" fmla="*/ 6448271 h 6857997"/>
              <a:gd name="connsiteX583" fmla="*/ 1637702 w 12191996"/>
              <a:gd name="connsiteY583" fmla="*/ 6457393 h 6857997"/>
              <a:gd name="connsiteX584" fmla="*/ 1637702 w 12191996"/>
              <a:gd name="connsiteY584" fmla="*/ 6446928 h 6857997"/>
              <a:gd name="connsiteX585" fmla="*/ 1628424 w 12191996"/>
              <a:gd name="connsiteY585" fmla="*/ 6446928 h 6857997"/>
              <a:gd name="connsiteX586" fmla="*/ 1628424 w 12191996"/>
              <a:gd name="connsiteY586" fmla="*/ 6521016 h 6857997"/>
              <a:gd name="connsiteX587" fmla="*/ 1638679 w 12191996"/>
              <a:gd name="connsiteY587" fmla="*/ 6521016 h 6857997"/>
              <a:gd name="connsiteX588" fmla="*/ 1638679 w 12191996"/>
              <a:gd name="connsiteY588" fmla="*/ 6480510 h 6857997"/>
              <a:gd name="connsiteX589" fmla="*/ 1643074 w 12191996"/>
              <a:gd name="connsiteY589" fmla="*/ 6461584 h 6857997"/>
              <a:gd name="connsiteX590" fmla="*/ 1654864 w 12191996"/>
              <a:gd name="connsiteY590" fmla="*/ 6456067 h 6857997"/>
              <a:gd name="connsiteX591" fmla="*/ 1661735 w 12191996"/>
              <a:gd name="connsiteY591" fmla="*/ 6458127 h 6857997"/>
              <a:gd name="connsiteX592" fmla="*/ 1666095 w 12191996"/>
              <a:gd name="connsiteY592" fmla="*/ 6463958 h 6857997"/>
              <a:gd name="connsiteX593" fmla="*/ 1667491 w 12191996"/>
              <a:gd name="connsiteY593" fmla="*/ 6475901 h 6857997"/>
              <a:gd name="connsiteX594" fmla="*/ 1667491 w 12191996"/>
              <a:gd name="connsiteY594" fmla="*/ 6521016 h 6857997"/>
              <a:gd name="connsiteX595" fmla="*/ 1677746 w 12191996"/>
              <a:gd name="connsiteY595" fmla="*/ 6521016 h 6857997"/>
              <a:gd name="connsiteX596" fmla="*/ 1677746 w 12191996"/>
              <a:gd name="connsiteY596" fmla="*/ 6475461 h 6857997"/>
              <a:gd name="connsiteX597" fmla="*/ 1676493 w 12191996"/>
              <a:gd name="connsiteY597" fmla="*/ 6460253 h 6857997"/>
              <a:gd name="connsiteX598" fmla="*/ 1672697 w 12191996"/>
              <a:gd name="connsiteY598" fmla="*/ 6452195 h 6857997"/>
              <a:gd name="connsiteX599" fmla="*/ 1666011 w 12191996"/>
              <a:gd name="connsiteY599" fmla="*/ 6447172 h 6857997"/>
              <a:gd name="connsiteX600" fmla="*/ 1656992 w 12191996"/>
              <a:gd name="connsiteY600" fmla="*/ 6445253 h 6857997"/>
              <a:gd name="connsiteX601" fmla="*/ 1586654 w 12191996"/>
              <a:gd name="connsiteY601" fmla="*/ 6445253 h 6857997"/>
              <a:gd name="connsiteX602" fmla="*/ 1566248 w 12191996"/>
              <a:gd name="connsiteY602" fmla="*/ 6455334 h 6857997"/>
              <a:gd name="connsiteX603" fmla="*/ 1558191 w 12191996"/>
              <a:gd name="connsiteY603" fmla="*/ 6484600 h 6857997"/>
              <a:gd name="connsiteX604" fmla="*/ 1566178 w 12191996"/>
              <a:gd name="connsiteY604" fmla="*/ 6512889 h 6857997"/>
              <a:gd name="connsiteX605" fmla="*/ 1587073 w 12191996"/>
              <a:gd name="connsiteY605" fmla="*/ 6522691 h 6857997"/>
              <a:gd name="connsiteX606" fmla="*/ 1604269 w 12191996"/>
              <a:gd name="connsiteY606" fmla="*/ 6516656 h 6857997"/>
              <a:gd name="connsiteX607" fmla="*/ 1613862 w 12191996"/>
              <a:gd name="connsiteY607" fmla="*/ 6498762 h 6857997"/>
              <a:gd name="connsiteX608" fmla="*/ 1603258 w 12191996"/>
              <a:gd name="connsiteY608" fmla="*/ 6497157 h 6857997"/>
              <a:gd name="connsiteX609" fmla="*/ 1587142 w 12191996"/>
              <a:gd name="connsiteY609" fmla="*/ 6512366 h 6857997"/>
              <a:gd name="connsiteX610" fmla="*/ 1574585 w 12191996"/>
              <a:gd name="connsiteY610" fmla="*/ 6506017 h 6857997"/>
              <a:gd name="connsiteX611" fmla="*/ 1568795 w 12191996"/>
              <a:gd name="connsiteY611" fmla="*/ 6487181 h 6857997"/>
              <a:gd name="connsiteX612" fmla="*/ 1614140 w 12191996"/>
              <a:gd name="connsiteY612" fmla="*/ 6487181 h 6857997"/>
              <a:gd name="connsiteX613" fmla="*/ 1614210 w 12191996"/>
              <a:gd name="connsiteY613" fmla="*/ 6483832 h 6857997"/>
              <a:gd name="connsiteX614" fmla="*/ 1606327 w 12191996"/>
              <a:gd name="connsiteY614" fmla="*/ 6455160 h 6857997"/>
              <a:gd name="connsiteX615" fmla="*/ 1586654 w 12191996"/>
              <a:gd name="connsiteY615" fmla="*/ 6445253 h 6857997"/>
              <a:gd name="connsiteX616" fmla="*/ 1317373 w 12191996"/>
              <a:gd name="connsiteY616" fmla="*/ 6445253 h 6857997"/>
              <a:gd name="connsiteX617" fmla="*/ 1304152 w 12191996"/>
              <a:gd name="connsiteY617" fmla="*/ 6449439 h 6857997"/>
              <a:gd name="connsiteX618" fmla="*/ 1294630 w 12191996"/>
              <a:gd name="connsiteY618" fmla="*/ 6462555 h 6857997"/>
              <a:gd name="connsiteX619" fmla="*/ 1291002 w 12191996"/>
              <a:gd name="connsiteY619" fmla="*/ 6483414 h 6857997"/>
              <a:gd name="connsiteX620" fmla="*/ 1299234 w 12191996"/>
              <a:gd name="connsiteY620" fmla="*/ 6511808 h 6857997"/>
              <a:gd name="connsiteX621" fmla="*/ 1317303 w 12191996"/>
              <a:gd name="connsiteY621" fmla="*/ 6521016 h 6857997"/>
              <a:gd name="connsiteX622" fmla="*/ 1326581 w 12191996"/>
              <a:gd name="connsiteY622" fmla="*/ 6518591 h 6857997"/>
              <a:gd name="connsiteX623" fmla="*/ 1334116 w 12191996"/>
              <a:gd name="connsiteY623" fmla="*/ 6511385 h 6857997"/>
              <a:gd name="connsiteX624" fmla="*/ 1333209 w 12191996"/>
              <a:gd name="connsiteY624" fmla="*/ 6527851 h 6857997"/>
              <a:gd name="connsiteX625" fmla="*/ 1327732 w 12191996"/>
              <a:gd name="connsiteY625" fmla="*/ 6537515 h 6857997"/>
              <a:gd name="connsiteX626" fmla="*/ 1316954 w 12191996"/>
              <a:gd name="connsiteY626" fmla="*/ 6540759 h 6857997"/>
              <a:gd name="connsiteX627" fmla="*/ 1307257 w 12191996"/>
              <a:gd name="connsiteY627" fmla="*/ 6537847 h 6857997"/>
              <a:gd name="connsiteX628" fmla="*/ 1303071 w 12191996"/>
              <a:gd name="connsiteY628" fmla="*/ 6528969 h 6857997"/>
              <a:gd name="connsiteX629" fmla="*/ 1293025 w 12191996"/>
              <a:gd name="connsiteY629" fmla="*/ 6527155 h 6857997"/>
              <a:gd name="connsiteX630" fmla="*/ 1299164 w 12191996"/>
              <a:gd name="connsiteY630" fmla="*/ 6544736 h 6857997"/>
              <a:gd name="connsiteX631" fmla="*/ 1317303 w 12191996"/>
              <a:gd name="connsiteY631" fmla="*/ 6551084 h 6857997"/>
              <a:gd name="connsiteX632" fmla="*/ 1332581 w 12191996"/>
              <a:gd name="connsiteY632" fmla="*/ 6546864 h 6857997"/>
              <a:gd name="connsiteX633" fmla="*/ 1341720 w 12191996"/>
              <a:gd name="connsiteY633" fmla="*/ 6535353 h 6857997"/>
              <a:gd name="connsiteX634" fmla="*/ 1344510 w 12191996"/>
              <a:gd name="connsiteY634" fmla="*/ 6510970 h 6857997"/>
              <a:gd name="connsiteX635" fmla="*/ 1344510 w 12191996"/>
              <a:gd name="connsiteY635" fmla="*/ 6446928 h 6857997"/>
              <a:gd name="connsiteX636" fmla="*/ 1335023 w 12191996"/>
              <a:gd name="connsiteY636" fmla="*/ 6446928 h 6857997"/>
              <a:gd name="connsiteX637" fmla="*/ 1335023 w 12191996"/>
              <a:gd name="connsiteY637" fmla="*/ 6455788 h 6857997"/>
              <a:gd name="connsiteX638" fmla="*/ 1327174 w 12191996"/>
              <a:gd name="connsiteY638" fmla="*/ 6447887 h 6857997"/>
              <a:gd name="connsiteX639" fmla="*/ 1317373 w 12191996"/>
              <a:gd name="connsiteY639" fmla="*/ 6445253 h 6857997"/>
              <a:gd name="connsiteX640" fmla="*/ 1250837 w 12191996"/>
              <a:gd name="connsiteY640" fmla="*/ 6445253 h 6857997"/>
              <a:gd name="connsiteX641" fmla="*/ 1244175 w 12191996"/>
              <a:gd name="connsiteY641" fmla="*/ 6447800 h 6857997"/>
              <a:gd name="connsiteX642" fmla="*/ 1237652 w 12191996"/>
              <a:gd name="connsiteY642" fmla="*/ 6458160 h 6857997"/>
              <a:gd name="connsiteX643" fmla="*/ 1237652 w 12191996"/>
              <a:gd name="connsiteY643" fmla="*/ 6446928 h 6857997"/>
              <a:gd name="connsiteX644" fmla="*/ 1230699 w 12191996"/>
              <a:gd name="connsiteY644" fmla="*/ 6446928 h 6857997"/>
              <a:gd name="connsiteX645" fmla="*/ 1228373 w 12191996"/>
              <a:gd name="connsiteY645" fmla="*/ 6446928 h 6857997"/>
              <a:gd name="connsiteX646" fmla="*/ 1220375 w 12191996"/>
              <a:gd name="connsiteY646" fmla="*/ 6446928 h 6857997"/>
              <a:gd name="connsiteX647" fmla="*/ 1207398 w 12191996"/>
              <a:gd name="connsiteY647" fmla="*/ 6490087 h 6857997"/>
              <a:gd name="connsiteX648" fmla="*/ 1203212 w 12191996"/>
              <a:gd name="connsiteY648" fmla="*/ 6506961 h 6857997"/>
              <a:gd name="connsiteX649" fmla="*/ 1198817 w 12191996"/>
              <a:gd name="connsiteY649" fmla="*/ 6489809 h 6857997"/>
              <a:gd name="connsiteX650" fmla="*/ 1186120 w 12191996"/>
              <a:gd name="connsiteY650" fmla="*/ 6446928 h 6857997"/>
              <a:gd name="connsiteX651" fmla="*/ 1175028 w 12191996"/>
              <a:gd name="connsiteY651" fmla="*/ 6446928 h 6857997"/>
              <a:gd name="connsiteX652" fmla="*/ 1198138 w 12191996"/>
              <a:gd name="connsiteY652" fmla="*/ 6521126 h 6857997"/>
              <a:gd name="connsiteX653" fmla="*/ 1194086 w 12191996"/>
              <a:gd name="connsiteY653" fmla="*/ 6533432 h 6857997"/>
              <a:gd name="connsiteX654" fmla="*/ 1190560 w 12191996"/>
              <a:gd name="connsiteY654" fmla="*/ 6537550 h 6857997"/>
              <a:gd name="connsiteX655" fmla="*/ 1185149 w 12191996"/>
              <a:gd name="connsiteY655" fmla="*/ 6538876 h 6857997"/>
              <a:gd name="connsiteX656" fmla="*/ 1179283 w 12191996"/>
              <a:gd name="connsiteY656" fmla="*/ 6537759 h 6857997"/>
              <a:gd name="connsiteX657" fmla="*/ 1180400 w 12191996"/>
              <a:gd name="connsiteY657" fmla="*/ 6549549 h 6857997"/>
              <a:gd name="connsiteX658" fmla="*/ 1187038 w 12191996"/>
              <a:gd name="connsiteY658" fmla="*/ 6551084 h 6857997"/>
              <a:gd name="connsiteX659" fmla="*/ 1194549 w 12191996"/>
              <a:gd name="connsiteY659" fmla="*/ 6548922 h 6857997"/>
              <a:gd name="connsiteX660" fmla="*/ 1200489 w 12191996"/>
              <a:gd name="connsiteY660" fmla="*/ 6541841 h 6857997"/>
              <a:gd name="connsiteX661" fmla="*/ 1207651 w 12191996"/>
              <a:gd name="connsiteY661" fmla="*/ 6522272 h 6857997"/>
              <a:gd name="connsiteX662" fmla="*/ 1228373 w 12191996"/>
              <a:gd name="connsiteY662" fmla="*/ 6454530 h 6857997"/>
              <a:gd name="connsiteX663" fmla="*/ 1228373 w 12191996"/>
              <a:gd name="connsiteY663" fmla="*/ 6521016 h 6857997"/>
              <a:gd name="connsiteX664" fmla="*/ 1238629 w 12191996"/>
              <a:gd name="connsiteY664" fmla="*/ 6521016 h 6857997"/>
              <a:gd name="connsiteX665" fmla="*/ 1238629 w 12191996"/>
              <a:gd name="connsiteY665" fmla="*/ 6482228 h 6857997"/>
              <a:gd name="connsiteX666" fmla="*/ 1240582 w 12191996"/>
              <a:gd name="connsiteY666" fmla="*/ 6466950 h 6857997"/>
              <a:gd name="connsiteX667" fmla="*/ 1244419 w 12191996"/>
              <a:gd name="connsiteY667" fmla="*/ 6460532 h 6857997"/>
              <a:gd name="connsiteX668" fmla="*/ 1250419 w 12191996"/>
              <a:gd name="connsiteY668" fmla="*/ 6458229 h 6857997"/>
              <a:gd name="connsiteX669" fmla="*/ 1257883 w 12191996"/>
              <a:gd name="connsiteY669" fmla="*/ 6460950 h 6857997"/>
              <a:gd name="connsiteX670" fmla="*/ 1261371 w 12191996"/>
              <a:gd name="connsiteY670" fmla="*/ 6449300 h 6857997"/>
              <a:gd name="connsiteX671" fmla="*/ 1250837 w 12191996"/>
              <a:gd name="connsiteY671" fmla="*/ 6445253 h 6857997"/>
              <a:gd name="connsiteX672" fmla="*/ 1141043 w 12191996"/>
              <a:gd name="connsiteY672" fmla="*/ 6445253 h 6857997"/>
              <a:gd name="connsiteX673" fmla="*/ 1131292 w 12191996"/>
              <a:gd name="connsiteY673" fmla="*/ 6447904 h 6857997"/>
              <a:gd name="connsiteX674" fmla="*/ 1123561 w 12191996"/>
              <a:gd name="connsiteY674" fmla="*/ 6456555 h 6857997"/>
              <a:gd name="connsiteX675" fmla="*/ 1123561 w 12191996"/>
              <a:gd name="connsiteY675" fmla="*/ 6446928 h 6857997"/>
              <a:gd name="connsiteX676" fmla="*/ 1114073 w 12191996"/>
              <a:gd name="connsiteY676" fmla="*/ 6446928 h 6857997"/>
              <a:gd name="connsiteX677" fmla="*/ 1114073 w 12191996"/>
              <a:gd name="connsiteY677" fmla="*/ 6549410 h 6857997"/>
              <a:gd name="connsiteX678" fmla="*/ 1124329 w 12191996"/>
              <a:gd name="connsiteY678" fmla="*/ 6549410 h 6857997"/>
              <a:gd name="connsiteX679" fmla="*/ 1124329 w 12191996"/>
              <a:gd name="connsiteY679" fmla="*/ 6513342 h 6857997"/>
              <a:gd name="connsiteX680" fmla="*/ 1131444 w 12191996"/>
              <a:gd name="connsiteY680" fmla="*/ 6520249 h 6857997"/>
              <a:gd name="connsiteX681" fmla="*/ 1140304 w 12191996"/>
              <a:gd name="connsiteY681" fmla="*/ 6522691 h 6857997"/>
              <a:gd name="connsiteX682" fmla="*/ 1158896 w 12191996"/>
              <a:gd name="connsiteY682" fmla="*/ 6512470 h 6857997"/>
              <a:gd name="connsiteX683" fmla="*/ 1166814 w 12191996"/>
              <a:gd name="connsiteY683" fmla="*/ 6483344 h 6857997"/>
              <a:gd name="connsiteX684" fmla="*/ 1163297 w 12191996"/>
              <a:gd name="connsiteY684" fmla="*/ 6462450 h 6857997"/>
              <a:gd name="connsiteX685" fmla="*/ 1153999 w 12191996"/>
              <a:gd name="connsiteY685" fmla="*/ 6449509 h 6857997"/>
              <a:gd name="connsiteX686" fmla="*/ 1141043 w 12191996"/>
              <a:gd name="connsiteY686" fmla="*/ 6445253 h 6857997"/>
              <a:gd name="connsiteX687" fmla="*/ 1071955 w 12191996"/>
              <a:gd name="connsiteY687" fmla="*/ 6445253 h 6857997"/>
              <a:gd name="connsiteX688" fmla="*/ 1051549 w 12191996"/>
              <a:gd name="connsiteY688" fmla="*/ 6455020 h 6857997"/>
              <a:gd name="connsiteX689" fmla="*/ 1043492 w 12191996"/>
              <a:gd name="connsiteY689" fmla="*/ 6483972 h 6857997"/>
              <a:gd name="connsiteX690" fmla="*/ 1051619 w 12191996"/>
              <a:gd name="connsiteY690" fmla="*/ 6512889 h 6857997"/>
              <a:gd name="connsiteX691" fmla="*/ 1071955 w 12191996"/>
              <a:gd name="connsiteY691" fmla="*/ 6522691 h 6857997"/>
              <a:gd name="connsiteX692" fmla="*/ 1092396 w 12191996"/>
              <a:gd name="connsiteY692" fmla="*/ 6512924 h 6857997"/>
              <a:gd name="connsiteX693" fmla="*/ 1100419 w 12191996"/>
              <a:gd name="connsiteY693" fmla="*/ 6483205 h 6857997"/>
              <a:gd name="connsiteX694" fmla="*/ 1092256 w 12191996"/>
              <a:gd name="connsiteY694" fmla="*/ 6455020 h 6857997"/>
              <a:gd name="connsiteX695" fmla="*/ 1071955 w 12191996"/>
              <a:gd name="connsiteY695" fmla="*/ 6445253 h 6857997"/>
              <a:gd name="connsiteX696" fmla="*/ 883898 w 12191996"/>
              <a:gd name="connsiteY696" fmla="*/ 6440021 h 6857997"/>
              <a:gd name="connsiteX697" fmla="*/ 867092 w 12191996"/>
              <a:gd name="connsiteY697" fmla="*/ 6447643 h 6857997"/>
              <a:gd name="connsiteX698" fmla="*/ 860698 w 12191996"/>
              <a:gd name="connsiteY698" fmla="*/ 6469810 h 6857997"/>
              <a:gd name="connsiteX699" fmla="*/ 867162 w 12191996"/>
              <a:gd name="connsiteY699" fmla="*/ 6492116 h 6857997"/>
              <a:gd name="connsiteX700" fmla="*/ 883407 w 12191996"/>
              <a:gd name="connsiteY700" fmla="*/ 6499878 h 6857997"/>
              <a:gd name="connsiteX701" fmla="*/ 896719 w 12191996"/>
              <a:gd name="connsiteY701" fmla="*/ 6494820 h 6857997"/>
              <a:gd name="connsiteX702" fmla="*/ 904161 w 12191996"/>
              <a:gd name="connsiteY702" fmla="*/ 6480763 h 6857997"/>
              <a:gd name="connsiteX703" fmla="*/ 897184 w 12191996"/>
              <a:gd name="connsiteY703" fmla="*/ 6478251 h 6857997"/>
              <a:gd name="connsiteX704" fmla="*/ 891869 w 12191996"/>
              <a:gd name="connsiteY704" fmla="*/ 6488193 h 6857997"/>
              <a:gd name="connsiteX705" fmla="*/ 882848 w 12191996"/>
              <a:gd name="connsiteY705" fmla="*/ 6491716 h 6857997"/>
              <a:gd name="connsiteX706" fmla="*/ 872568 w 12191996"/>
              <a:gd name="connsiteY706" fmla="*/ 6486327 h 6857997"/>
              <a:gd name="connsiteX707" fmla="*/ 868442 w 12191996"/>
              <a:gd name="connsiteY707" fmla="*/ 6470301 h 6857997"/>
              <a:gd name="connsiteX708" fmla="*/ 872778 w 12191996"/>
              <a:gd name="connsiteY708" fmla="*/ 6453503 h 6857997"/>
              <a:gd name="connsiteX709" fmla="*/ 883619 w 12191996"/>
              <a:gd name="connsiteY709" fmla="*/ 6447835 h 6857997"/>
              <a:gd name="connsiteX710" fmla="*/ 891347 w 12191996"/>
              <a:gd name="connsiteY710" fmla="*/ 6450521 h 6857997"/>
              <a:gd name="connsiteX711" fmla="*/ 896487 w 12191996"/>
              <a:gd name="connsiteY711" fmla="*/ 6458508 h 6857997"/>
              <a:gd name="connsiteX712" fmla="*/ 903324 w 12191996"/>
              <a:gd name="connsiteY712" fmla="*/ 6456485 h 6857997"/>
              <a:gd name="connsiteX713" fmla="*/ 896266 w 12191996"/>
              <a:gd name="connsiteY713" fmla="*/ 6444347 h 6857997"/>
              <a:gd name="connsiteX714" fmla="*/ 883898 w 12191996"/>
              <a:gd name="connsiteY714" fmla="*/ 6440021 h 6857997"/>
              <a:gd name="connsiteX715" fmla="*/ 2030141 w 12191996"/>
              <a:gd name="connsiteY715" fmla="*/ 6429487 h 6857997"/>
              <a:gd name="connsiteX716" fmla="*/ 2036069 w 12191996"/>
              <a:gd name="connsiteY716" fmla="*/ 6450695 h 6857997"/>
              <a:gd name="connsiteX717" fmla="*/ 2044784 w 12191996"/>
              <a:gd name="connsiteY717" fmla="*/ 6479019 h 6857997"/>
              <a:gd name="connsiteX718" fmla="*/ 2016217 w 12191996"/>
              <a:gd name="connsiteY718" fmla="*/ 6479019 h 6857997"/>
              <a:gd name="connsiteX719" fmla="*/ 2025546 w 12191996"/>
              <a:gd name="connsiteY719" fmla="*/ 6449021 h 6857997"/>
              <a:gd name="connsiteX720" fmla="*/ 2030141 w 12191996"/>
              <a:gd name="connsiteY720" fmla="*/ 6429487 h 6857997"/>
              <a:gd name="connsiteX721" fmla="*/ 883232 w 12191996"/>
              <a:gd name="connsiteY721" fmla="*/ 6425650 h 6857997"/>
              <a:gd name="connsiteX722" fmla="*/ 907928 w 12191996"/>
              <a:gd name="connsiteY722" fmla="*/ 6437739 h 6857997"/>
              <a:gd name="connsiteX723" fmla="*/ 919230 w 12191996"/>
              <a:gd name="connsiteY723" fmla="*/ 6469671 h 6857997"/>
              <a:gd name="connsiteX724" fmla="*/ 909323 w 12191996"/>
              <a:gd name="connsiteY724" fmla="*/ 6499926 h 6857997"/>
              <a:gd name="connsiteX725" fmla="*/ 883232 w 12191996"/>
              <a:gd name="connsiteY725" fmla="*/ 6513621 h 6857997"/>
              <a:gd name="connsiteX726" fmla="*/ 858536 w 12191996"/>
              <a:gd name="connsiteY726" fmla="*/ 6501604 h 6857997"/>
              <a:gd name="connsiteX727" fmla="*/ 847234 w 12191996"/>
              <a:gd name="connsiteY727" fmla="*/ 6469671 h 6857997"/>
              <a:gd name="connsiteX728" fmla="*/ 857140 w 12191996"/>
              <a:gd name="connsiteY728" fmla="*/ 6439345 h 6857997"/>
              <a:gd name="connsiteX729" fmla="*/ 883232 w 12191996"/>
              <a:gd name="connsiteY729" fmla="*/ 6425650 h 6857997"/>
              <a:gd name="connsiteX730" fmla="*/ 6208297 w 12191996"/>
              <a:gd name="connsiteY730" fmla="*/ 6421046 h 6857997"/>
              <a:gd name="connsiteX731" fmla="*/ 6198042 w 12191996"/>
              <a:gd name="connsiteY731" fmla="*/ 6428580 h 6857997"/>
              <a:gd name="connsiteX732" fmla="*/ 6198042 w 12191996"/>
              <a:gd name="connsiteY732" fmla="*/ 6446928 h 6857997"/>
              <a:gd name="connsiteX733" fmla="*/ 6190507 w 12191996"/>
              <a:gd name="connsiteY733" fmla="*/ 6446928 h 6857997"/>
              <a:gd name="connsiteX734" fmla="*/ 6190507 w 12191996"/>
              <a:gd name="connsiteY734" fmla="*/ 6456695 h 6857997"/>
              <a:gd name="connsiteX735" fmla="*/ 6198042 w 12191996"/>
              <a:gd name="connsiteY735" fmla="*/ 6456695 h 6857997"/>
              <a:gd name="connsiteX736" fmla="*/ 6198042 w 12191996"/>
              <a:gd name="connsiteY736" fmla="*/ 6499320 h 6857997"/>
              <a:gd name="connsiteX737" fmla="*/ 6199263 w 12191996"/>
              <a:gd name="connsiteY737" fmla="*/ 6514040 h 6857997"/>
              <a:gd name="connsiteX738" fmla="*/ 6203762 w 12191996"/>
              <a:gd name="connsiteY738" fmla="*/ 6519865 h 6857997"/>
              <a:gd name="connsiteX739" fmla="*/ 6212413 w 12191996"/>
              <a:gd name="connsiteY739" fmla="*/ 6521993 h 6857997"/>
              <a:gd name="connsiteX740" fmla="*/ 6220087 w 12191996"/>
              <a:gd name="connsiteY740" fmla="*/ 6520877 h 6857997"/>
              <a:gd name="connsiteX741" fmla="*/ 6218692 w 12191996"/>
              <a:gd name="connsiteY741" fmla="*/ 6509784 h 6857997"/>
              <a:gd name="connsiteX742" fmla="*/ 6214157 w 12191996"/>
              <a:gd name="connsiteY742" fmla="*/ 6510273 h 6857997"/>
              <a:gd name="connsiteX743" fmla="*/ 6209204 w 12191996"/>
              <a:gd name="connsiteY743" fmla="*/ 6507761 h 6857997"/>
              <a:gd name="connsiteX744" fmla="*/ 6208297 w 12191996"/>
              <a:gd name="connsiteY744" fmla="*/ 6500018 h 6857997"/>
              <a:gd name="connsiteX745" fmla="*/ 6208297 w 12191996"/>
              <a:gd name="connsiteY745" fmla="*/ 6456695 h 6857997"/>
              <a:gd name="connsiteX746" fmla="*/ 6218692 w 12191996"/>
              <a:gd name="connsiteY746" fmla="*/ 6456695 h 6857997"/>
              <a:gd name="connsiteX747" fmla="*/ 6218692 w 12191996"/>
              <a:gd name="connsiteY747" fmla="*/ 6446928 h 6857997"/>
              <a:gd name="connsiteX748" fmla="*/ 6208297 w 12191996"/>
              <a:gd name="connsiteY748" fmla="*/ 6446928 h 6857997"/>
              <a:gd name="connsiteX749" fmla="*/ 2421963 w 12191996"/>
              <a:gd name="connsiteY749" fmla="*/ 6421046 h 6857997"/>
              <a:gd name="connsiteX750" fmla="*/ 2411708 w 12191996"/>
              <a:gd name="connsiteY750" fmla="*/ 6428580 h 6857997"/>
              <a:gd name="connsiteX751" fmla="*/ 2411708 w 12191996"/>
              <a:gd name="connsiteY751" fmla="*/ 6446928 h 6857997"/>
              <a:gd name="connsiteX752" fmla="*/ 2404176 w 12191996"/>
              <a:gd name="connsiteY752" fmla="*/ 6446928 h 6857997"/>
              <a:gd name="connsiteX753" fmla="*/ 2404176 w 12191996"/>
              <a:gd name="connsiteY753" fmla="*/ 6456695 h 6857997"/>
              <a:gd name="connsiteX754" fmla="*/ 2411708 w 12191996"/>
              <a:gd name="connsiteY754" fmla="*/ 6456695 h 6857997"/>
              <a:gd name="connsiteX755" fmla="*/ 2411708 w 12191996"/>
              <a:gd name="connsiteY755" fmla="*/ 6499320 h 6857997"/>
              <a:gd name="connsiteX756" fmla="*/ 2412932 w 12191996"/>
              <a:gd name="connsiteY756" fmla="*/ 6514040 h 6857997"/>
              <a:gd name="connsiteX757" fmla="*/ 2417431 w 12191996"/>
              <a:gd name="connsiteY757" fmla="*/ 6519865 h 6857997"/>
              <a:gd name="connsiteX758" fmla="*/ 2426082 w 12191996"/>
              <a:gd name="connsiteY758" fmla="*/ 6521993 h 6857997"/>
              <a:gd name="connsiteX759" fmla="*/ 2432793 w 12191996"/>
              <a:gd name="connsiteY759" fmla="*/ 6521016 h 6857997"/>
              <a:gd name="connsiteX760" fmla="*/ 2486537 w 12191996"/>
              <a:gd name="connsiteY760" fmla="*/ 6521016 h 6857997"/>
              <a:gd name="connsiteX761" fmla="*/ 2486537 w 12191996"/>
              <a:gd name="connsiteY761" fmla="*/ 6510203 h 6857997"/>
              <a:gd name="connsiteX762" fmla="*/ 2458413 w 12191996"/>
              <a:gd name="connsiteY762" fmla="*/ 6510203 h 6857997"/>
              <a:gd name="connsiteX763" fmla="*/ 2445434 w 12191996"/>
              <a:gd name="connsiteY763" fmla="*/ 6510831 h 6857997"/>
              <a:gd name="connsiteX764" fmla="*/ 2451797 w 12191996"/>
              <a:gd name="connsiteY764" fmla="*/ 6502250 h 6857997"/>
              <a:gd name="connsiteX765" fmla="*/ 2484792 w 12191996"/>
              <a:gd name="connsiteY765" fmla="*/ 6455230 h 6857997"/>
              <a:gd name="connsiteX766" fmla="*/ 2484792 w 12191996"/>
              <a:gd name="connsiteY766" fmla="*/ 6446928 h 6857997"/>
              <a:gd name="connsiteX767" fmla="*/ 2435051 w 12191996"/>
              <a:gd name="connsiteY767" fmla="*/ 6446928 h 6857997"/>
              <a:gd name="connsiteX768" fmla="*/ 2435051 w 12191996"/>
              <a:gd name="connsiteY768" fmla="*/ 6457113 h 6857997"/>
              <a:gd name="connsiteX769" fmla="*/ 2459836 w 12191996"/>
              <a:gd name="connsiteY769" fmla="*/ 6457113 h 6857997"/>
              <a:gd name="connsiteX770" fmla="*/ 2471498 w 12191996"/>
              <a:gd name="connsiteY770" fmla="*/ 6456695 h 6857997"/>
              <a:gd name="connsiteX771" fmla="*/ 2432747 w 12191996"/>
              <a:gd name="connsiteY771" fmla="*/ 6510831 h 6857997"/>
              <a:gd name="connsiteX772" fmla="*/ 2432747 w 12191996"/>
              <a:gd name="connsiteY772" fmla="*/ 6512890 h 6857997"/>
              <a:gd name="connsiteX773" fmla="*/ 2432359 w 12191996"/>
              <a:gd name="connsiteY773" fmla="*/ 6509784 h 6857997"/>
              <a:gd name="connsiteX774" fmla="*/ 2427824 w 12191996"/>
              <a:gd name="connsiteY774" fmla="*/ 6510273 h 6857997"/>
              <a:gd name="connsiteX775" fmla="*/ 2422869 w 12191996"/>
              <a:gd name="connsiteY775" fmla="*/ 6507761 h 6857997"/>
              <a:gd name="connsiteX776" fmla="*/ 2421963 w 12191996"/>
              <a:gd name="connsiteY776" fmla="*/ 6500018 h 6857997"/>
              <a:gd name="connsiteX777" fmla="*/ 2421963 w 12191996"/>
              <a:gd name="connsiteY777" fmla="*/ 6456695 h 6857997"/>
              <a:gd name="connsiteX778" fmla="*/ 2432359 w 12191996"/>
              <a:gd name="connsiteY778" fmla="*/ 6456695 h 6857997"/>
              <a:gd name="connsiteX779" fmla="*/ 2432359 w 12191996"/>
              <a:gd name="connsiteY779" fmla="*/ 6446928 h 6857997"/>
              <a:gd name="connsiteX780" fmla="*/ 2421963 w 12191996"/>
              <a:gd name="connsiteY780" fmla="*/ 6446928 h 6857997"/>
              <a:gd name="connsiteX781" fmla="*/ 1440886 w 12191996"/>
              <a:gd name="connsiteY781" fmla="*/ 6421046 h 6857997"/>
              <a:gd name="connsiteX782" fmla="*/ 1430631 w 12191996"/>
              <a:gd name="connsiteY782" fmla="*/ 6428580 h 6857997"/>
              <a:gd name="connsiteX783" fmla="*/ 1430631 w 12191996"/>
              <a:gd name="connsiteY783" fmla="*/ 6446928 h 6857997"/>
              <a:gd name="connsiteX784" fmla="*/ 1423097 w 12191996"/>
              <a:gd name="connsiteY784" fmla="*/ 6446928 h 6857997"/>
              <a:gd name="connsiteX785" fmla="*/ 1423097 w 12191996"/>
              <a:gd name="connsiteY785" fmla="*/ 6456695 h 6857997"/>
              <a:gd name="connsiteX786" fmla="*/ 1430631 w 12191996"/>
              <a:gd name="connsiteY786" fmla="*/ 6456695 h 6857997"/>
              <a:gd name="connsiteX787" fmla="*/ 1430631 w 12191996"/>
              <a:gd name="connsiteY787" fmla="*/ 6499320 h 6857997"/>
              <a:gd name="connsiteX788" fmla="*/ 1431852 w 12191996"/>
              <a:gd name="connsiteY788" fmla="*/ 6514040 h 6857997"/>
              <a:gd name="connsiteX789" fmla="*/ 1436352 w 12191996"/>
              <a:gd name="connsiteY789" fmla="*/ 6519865 h 6857997"/>
              <a:gd name="connsiteX790" fmla="*/ 1445002 w 12191996"/>
              <a:gd name="connsiteY790" fmla="*/ 6521993 h 6857997"/>
              <a:gd name="connsiteX791" fmla="*/ 1452676 w 12191996"/>
              <a:gd name="connsiteY791" fmla="*/ 6520877 h 6857997"/>
              <a:gd name="connsiteX792" fmla="*/ 1451281 w 12191996"/>
              <a:gd name="connsiteY792" fmla="*/ 6509784 h 6857997"/>
              <a:gd name="connsiteX793" fmla="*/ 1446746 w 12191996"/>
              <a:gd name="connsiteY793" fmla="*/ 6510273 h 6857997"/>
              <a:gd name="connsiteX794" fmla="*/ 1441793 w 12191996"/>
              <a:gd name="connsiteY794" fmla="*/ 6507761 h 6857997"/>
              <a:gd name="connsiteX795" fmla="*/ 1440886 w 12191996"/>
              <a:gd name="connsiteY795" fmla="*/ 6500018 h 6857997"/>
              <a:gd name="connsiteX796" fmla="*/ 1440886 w 12191996"/>
              <a:gd name="connsiteY796" fmla="*/ 6456695 h 6857997"/>
              <a:gd name="connsiteX797" fmla="*/ 1451281 w 12191996"/>
              <a:gd name="connsiteY797" fmla="*/ 6456695 h 6857997"/>
              <a:gd name="connsiteX798" fmla="*/ 1451281 w 12191996"/>
              <a:gd name="connsiteY798" fmla="*/ 6446928 h 6857997"/>
              <a:gd name="connsiteX799" fmla="*/ 1440886 w 12191996"/>
              <a:gd name="connsiteY799" fmla="*/ 6446928 h 6857997"/>
              <a:gd name="connsiteX800" fmla="*/ 6319286 w 12191996"/>
              <a:gd name="connsiteY800" fmla="*/ 6418743 h 6857997"/>
              <a:gd name="connsiteX801" fmla="*/ 6319286 w 12191996"/>
              <a:gd name="connsiteY801" fmla="*/ 6521016 h 6857997"/>
              <a:gd name="connsiteX802" fmla="*/ 6329541 w 12191996"/>
              <a:gd name="connsiteY802" fmla="*/ 6521016 h 6857997"/>
              <a:gd name="connsiteX803" fmla="*/ 6329541 w 12191996"/>
              <a:gd name="connsiteY803" fmla="*/ 6418743 h 6857997"/>
              <a:gd name="connsiteX804" fmla="*/ 6224384 w 12191996"/>
              <a:gd name="connsiteY804" fmla="*/ 6418743 h 6857997"/>
              <a:gd name="connsiteX805" fmla="*/ 6224384 w 12191996"/>
              <a:gd name="connsiteY805" fmla="*/ 6433184 h 6857997"/>
              <a:gd name="connsiteX806" fmla="*/ 6234640 w 12191996"/>
              <a:gd name="connsiteY806" fmla="*/ 6433184 h 6857997"/>
              <a:gd name="connsiteX807" fmla="*/ 6234640 w 12191996"/>
              <a:gd name="connsiteY807" fmla="*/ 6418743 h 6857997"/>
              <a:gd name="connsiteX808" fmla="*/ 6034363 w 12191996"/>
              <a:gd name="connsiteY808" fmla="*/ 6418743 h 6857997"/>
              <a:gd name="connsiteX809" fmla="*/ 6034363 w 12191996"/>
              <a:gd name="connsiteY809" fmla="*/ 6455439 h 6857997"/>
              <a:gd name="connsiteX810" fmla="*/ 6027156 w 12191996"/>
              <a:gd name="connsiteY810" fmla="*/ 6447939 h 6857997"/>
              <a:gd name="connsiteX811" fmla="*/ 6017719 w 12191996"/>
              <a:gd name="connsiteY811" fmla="*/ 6445253 h 6857997"/>
              <a:gd name="connsiteX812" fmla="*/ 6004799 w 12191996"/>
              <a:gd name="connsiteY812" fmla="*/ 6449509 h 6857997"/>
              <a:gd name="connsiteX813" fmla="*/ 5995500 w 12191996"/>
              <a:gd name="connsiteY813" fmla="*/ 6462555 h 6857997"/>
              <a:gd name="connsiteX814" fmla="*/ 5992018 w 12191996"/>
              <a:gd name="connsiteY814" fmla="*/ 6483972 h 6857997"/>
              <a:gd name="connsiteX815" fmla="*/ 5999866 w 12191996"/>
              <a:gd name="connsiteY815" fmla="*/ 6512540 h 6857997"/>
              <a:gd name="connsiteX816" fmla="*/ 6018459 w 12191996"/>
              <a:gd name="connsiteY816" fmla="*/ 6522691 h 6857997"/>
              <a:gd name="connsiteX817" fmla="*/ 6027948 w 12191996"/>
              <a:gd name="connsiteY817" fmla="*/ 6519865 h 6857997"/>
              <a:gd name="connsiteX818" fmla="*/ 6035132 w 12191996"/>
              <a:gd name="connsiteY818" fmla="*/ 6511668 h 6857997"/>
              <a:gd name="connsiteX819" fmla="*/ 6035132 w 12191996"/>
              <a:gd name="connsiteY819" fmla="*/ 6521016 h 6857997"/>
              <a:gd name="connsiteX820" fmla="*/ 6044761 w 12191996"/>
              <a:gd name="connsiteY820" fmla="*/ 6521016 h 6857997"/>
              <a:gd name="connsiteX821" fmla="*/ 6044761 w 12191996"/>
              <a:gd name="connsiteY821" fmla="*/ 6418743 h 6857997"/>
              <a:gd name="connsiteX822" fmla="*/ 2790954 w 12191996"/>
              <a:gd name="connsiteY822" fmla="*/ 6418743 h 6857997"/>
              <a:gd name="connsiteX823" fmla="*/ 2790954 w 12191996"/>
              <a:gd name="connsiteY823" fmla="*/ 6455439 h 6857997"/>
              <a:gd name="connsiteX824" fmla="*/ 2783745 w 12191996"/>
              <a:gd name="connsiteY824" fmla="*/ 6447939 h 6857997"/>
              <a:gd name="connsiteX825" fmla="*/ 2774311 w 12191996"/>
              <a:gd name="connsiteY825" fmla="*/ 6445253 h 6857997"/>
              <a:gd name="connsiteX826" fmla="*/ 2761389 w 12191996"/>
              <a:gd name="connsiteY826" fmla="*/ 6449509 h 6857997"/>
              <a:gd name="connsiteX827" fmla="*/ 2752089 w 12191996"/>
              <a:gd name="connsiteY827" fmla="*/ 6462555 h 6857997"/>
              <a:gd name="connsiteX828" fmla="*/ 2748607 w 12191996"/>
              <a:gd name="connsiteY828" fmla="*/ 6483972 h 6857997"/>
              <a:gd name="connsiteX829" fmla="*/ 2756457 w 12191996"/>
              <a:gd name="connsiteY829" fmla="*/ 6512540 h 6857997"/>
              <a:gd name="connsiteX830" fmla="*/ 2775051 w 12191996"/>
              <a:gd name="connsiteY830" fmla="*/ 6522691 h 6857997"/>
              <a:gd name="connsiteX831" fmla="*/ 2784536 w 12191996"/>
              <a:gd name="connsiteY831" fmla="*/ 6519865 h 6857997"/>
              <a:gd name="connsiteX832" fmla="*/ 2791721 w 12191996"/>
              <a:gd name="connsiteY832" fmla="*/ 6511668 h 6857997"/>
              <a:gd name="connsiteX833" fmla="*/ 2791721 w 12191996"/>
              <a:gd name="connsiteY833" fmla="*/ 6521016 h 6857997"/>
              <a:gd name="connsiteX834" fmla="*/ 2801352 w 12191996"/>
              <a:gd name="connsiteY834" fmla="*/ 6521016 h 6857997"/>
              <a:gd name="connsiteX835" fmla="*/ 2801352 w 12191996"/>
              <a:gd name="connsiteY835" fmla="*/ 6418743 h 6857997"/>
              <a:gd name="connsiteX836" fmla="*/ 2590102 w 12191996"/>
              <a:gd name="connsiteY836" fmla="*/ 6418743 h 6857997"/>
              <a:gd name="connsiteX837" fmla="*/ 2590102 w 12191996"/>
              <a:gd name="connsiteY837" fmla="*/ 6521016 h 6857997"/>
              <a:gd name="connsiteX838" fmla="*/ 2600357 w 12191996"/>
              <a:gd name="connsiteY838" fmla="*/ 6521016 h 6857997"/>
              <a:gd name="connsiteX839" fmla="*/ 2600357 w 12191996"/>
              <a:gd name="connsiteY839" fmla="*/ 6418743 h 6857997"/>
              <a:gd name="connsiteX840" fmla="*/ 2380902 w 12191996"/>
              <a:gd name="connsiteY840" fmla="*/ 6418743 h 6857997"/>
              <a:gd name="connsiteX841" fmla="*/ 2380902 w 12191996"/>
              <a:gd name="connsiteY841" fmla="*/ 6433184 h 6857997"/>
              <a:gd name="connsiteX842" fmla="*/ 2391160 w 12191996"/>
              <a:gd name="connsiteY842" fmla="*/ 6433184 h 6857997"/>
              <a:gd name="connsiteX843" fmla="*/ 2391160 w 12191996"/>
              <a:gd name="connsiteY843" fmla="*/ 6418743 h 6857997"/>
              <a:gd name="connsiteX844" fmla="*/ 2024499 w 12191996"/>
              <a:gd name="connsiteY844" fmla="*/ 6418743 h 6857997"/>
              <a:gd name="connsiteX845" fmla="*/ 1992155 w 12191996"/>
              <a:gd name="connsiteY845" fmla="*/ 6521016 h 6857997"/>
              <a:gd name="connsiteX846" fmla="*/ 2003857 w 12191996"/>
              <a:gd name="connsiteY846" fmla="*/ 6521016 h 6857997"/>
              <a:gd name="connsiteX847" fmla="*/ 2012973 w 12191996"/>
              <a:gd name="connsiteY847" fmla="*/ 6490041 h 6857997"/>
              <a:gd name="connsiteX848" fmla="*/ 2048255 w 12191996"/>
              <a:gd name="connsiteY848" fmla="*/ 6490041 h 6857997"/>
              <a:gd name="connsiteX849" fmla="*/ 2058010 w 12191996"/>
              <a:gd name="connsiteY849" fmla="*/ 6521016 h 6857997"/>
              <a:gd name="connsiteX850" fmla="*/ 2070709 w 12191996"/>
              <a:gd name="connsiteY850" fmla="*/ 6521016 h 6857997"/>
              <a:gd name="connsiteX851" fmla="*/ 2036363 w 12191996"/>
              <a:gd name="connsiteY851" fmla="*/ 6418743 h 6857997"/>
              <a:gd name="connsiteX852" fmla="*/ 1818925 w 12191996"/>
              <a:gd name="connsiteY852" fmla="*/ 6418743 h 6857997"/>
              <a:gd name="connsiteX853" fmla="*/ 1818925 w 12191996"/>
              <a:gd name="connsiteY853" fmla="*/ 6433184 h 6857997"/>
              <a:gd name="connsiteX854" fmla="*/ 1829180 w 12191996"/>
              <a:gd name="connsiteY854" fmla="*/ 6433184 h 6857997"/>
              <a:gd name="connsiteX855" fmla="*/ 1829180 w 12191996"/>
              <a:gd name="connsiteY855" fmla="*/ 6418743 h 6857997"/>
              <a:gd name="connsiteX856" fmla="*/ 1752248 w 12191996"/>
              <a:gd name="connsiteY856" fmla="*/ 6418743 h 6857997"/>
              <a:gd name="connsiteX857" fmla="*/ 1752248 w 12191996"/>
              <a:gd name="connsiteY857" fmla="*/ 6433184 h 6857997"/>
              <a:gd name="connsiteX858" fmla="*/ 1762504 w 12191996"/>
              <a:gd name="connsiteY858" fmla="*/ 6433184 h 6857997"/>
              <a:gd name="connsiteX859" fmla="*/ 1762504 w 12191996"/>
              <a:gd name="connsiteY859" fmla="*/ 6418743 h 6857997"/>
              <a:gd name="connsiteX860" fmla="*/ 1361723 w 12191996"/>
              <a:gd name="connsiteY860" fmla="*/ 6418743 h 6857997"/>
              <a:gd name="connsiteX861" fmla="*/ 1361723 w 12191996"/>
              <a:gd name="connsiteY861" fmla="*/ 6521016 h 6857997"/>
              <a:gd name="connsiteX862" fmla="*/ 1371979 w 12191996"/>
              <a:gd name="connsiteY862" fmla="*/ 6521016 h 6857997"/>
              <a:gd name="connsiteX863" fmla="*/ 1371979 w 12191996"/>
              <a:gd name="connsiteY863" fmla="*/ 6480484 h 6857997"/>
              <a:gd name="connsiteX864" fmla="*/ 1376688 w 12191996"/>
              <a:gd name="connsiteY864" fmla="*/ 6461438 h 6857997"/>
              <a:gd name="connsiteX865" fmla="*/ 1388094 w 12191996"/>
              <a:gd name="connsiteY865" fmla="*/ 6456067 h 6857997"/>
              <a:gd name="connsiteX866" fmla="*/ 1397512 w 12191996"/>
              <a:gd name="connsiteY866" fmla="*/ 6460253 h 6857997"/>
              <a:gd name="connsiteX867" fmla="*/ 1400930 w 12191996"/>
              <a:gd name="connsiteY867" fmla="*/ 6474066 h 6857997"/>
              <a:gd name="connsiteX868" fmla="*/ 1400930 w 12191996"/>
              <a:gd name="connsiteY868" fmla="*/ 6521016 h 6857997"/>
              <a:gd name="connsiteX869" fmla="*/ 1411186 w 12191996"/>
              <a:gd name="connsiteY869" fmla="*/ 6521016 h 6857997"/>
              <a:gd name="connsiteX870" fmla="*/ 1411186 w 12191996"/>
              <a:gd name="connsiteY870" fmla="*/ 6474066 h 6857997"/>
              <a:gd name="connsiteX871" fmla="*/ 1405570 w 12191996"/>
              <a:gd name="connsiteY871" fmla="*/ 6451427 h 6857997"/>
              <a:gd name="connsiteX872" fmla="*/ 1390256 w 12191996"/>
              <a:gd name="connsiteY872" fmla="*/ 6445253 h 6857997"/>
              <a:gd name="connsiteX873" fmla="*/ 1380176 w 12191996"/>
              <a:gd name="connsiteY873" fmla="*/ 6447800 h 6857997"/>
              <a:gd name="connsiteX874" fmla="*/ 1371979 w 12191996"/>
              <a:gd name="connsiteY874" fmla="*/ 6455439 h 6857997"/>
              <a:gd name="connsiteX875" fmla="*/ 1371979 w 12191996"/>
              <a:gd name="connsiteY875" fmla="*/ 6418743 h 6857997"/>
              <a:gd name="connsiteX876" fmla="*/ 1266473 w 12191996"/>
              <a:gd name="connsiteY876" fmla="*/ 6418743 h 6857997"/>
              <a:gd name="connsiteX877" fmla="*/ 1266473 w 12191996"/>
              <a:gd name="connsiteY877" fmla="*/ 6433184 h 6857997"/>
              <a:gd name="connsiteX878" fmla="*/ 1276729 w 12191996"/>
              <a:gd name="connsiteY878" fmla="*/ 6433184 h 6857997"/>
              <a:gd name="connsiteX879" fmla="*/ 1276729 w 12191996"/>
              <a:gd name="connsiteY879" fmla="*/ 6418743 h 6857997"/>
              <a:gd name="connsiteX880" fmla="*/ 10863258 w 12191996"/>
              <a:gd name="connsiteY880" fmla="*/ 6418259 h 6857997"/>
              <a:gd name="connsiteX881" fmla="*/ 10904541 w 12191996"/>
              <a:gd name="connsiteY881" fmla="*/ 6418259 h 6857997"/>
              <a:gd name="connsiteX882" fmla="*/ 10934695 w 12191996"/>
              <a:gd name="connsiteY882" fmla="*/ 6433947 h 6857997"/>
              <a:gd name="connsiteX883" fmla="*/ 10904541 w 12191996"/>
              <a:gd name="connsiteY883" fmla="*/ 6450009 h 6857997"/>
              <a:gd name="connsiteX884" fmla="*/ 10863258 w 12191996"/>
              <a:gd name="connsiteY884" fmla="*/ 6450009 h 6857997"/>
              <a:gd name="connsiteX885" fmla="*/ 5958284 w 12191996"/>
              <a:gd name="connsiteY885" fmla="*/ 6416999 h 6857997"/>
              <a:gd name="connsiteX886" fmla="*/ 5948876 w 12191996"/>
              <a:gd name="connsiteY886" fmla="*/ 6419302 h 6857997"/>
              <a:gd name="connsiteX887" fmla="*/ 5943316 w 12191996"/>
              <a:gd name="connsiteY887" fmla="*/ 6425964 h 6857997"/>
              <a:gd name="connsiteX888" fmla="*/ 5941497 w 12191996"/>
              <a:gd name="connsiteY888" fmla="*/ 6439045 h 6857997"/>
              <a:gd name="connsiteX889" fmla="*/ 5941497 w 12191996"/>
              <a:gd name="connsiteY889" fmla="*/ 6446928 h 6857997"/>
              <a:gd name="connsiteX890" fmla="*/ 5932359 w 12191996"/>
              <a:gd name="connsiteY890" fmla="*/ 6446928 h 6857997"/>
              <a:gd name="connsiteX891" fmla="*/ 5932359 w 12191996"/>
              <a:gd name="connsiteY891" fmla="*/ 6456695 h 6857997"/>
              <a:gd name="connsiteX892" fmla="*/ 5941497 w 12191996"/>
              <a:gd name="connsiteY892" fmla="*/ 6456695 h 6857997"/>
              <a:gd name="connsiteX893" fmla="*/ 5941497 w 12191996"/>
              <a:gd name="connsiteY893" fmla="*/ 6521016 h 6857997"/>
              <a:gd name="connsiteX894" fmla="*/ 5951752 w 12191996"/>
              <a:gd name="connsiteY894" fmla="*/ 6521016 h 6857997"/>
              <a:gd name="connsiteX895" fmla="*/ 5951752 w 12191996"/>
              <a:gd name="connsiteY895" fmla="*/ 6456695 h 6857997"/>
              <a:gd name="connsiteX896" fmla="*/ 5963612 w 12191996"/>
              <a:gd name="connsiteY896" fmla="*/ 6456695 h 6857997"/>
              <a:gd name="connsiteX897" fmla="*/ 5963612 w 12191996"/>
              <a:gd name="connsiteY897" fmla="*/ 6446928 h 6857997"/>
              <a:gd name="connsiteX898" fmla="*/ 5951752 w 12191996"/>
              <a:gd name="connsiteY898" fmla="*/ 6446928 h 6857997"/>
              <a:gd name="connsiteX899" fmla="*/ 5951752 w 12191996"/>
              <a:gd name="connsiteY899" fmla="*/ 6440091 h 6857997"/>
              <a:gd name="connsiteX900" fmla="*/ 5953740 w 12191996"/>
              <a:gd name="connsiteY900" fmla="*/ 6430917 h 6857997"/>
              <a:gd name="connsiteX901" fmla="*/ 5960331 w 12191996"/>
              <a:gd name="connsiteY901" fmla="*/ 6428510 h 6857997"/>
              <a:gd name="connsiteX902" fmla="*/ 5966402 w 12191996"/>
              <a:gd name="connsiteY902" fmla="*/ 6429208 h 6857997"/>
              <a:gd name="connsiteX903" fmla="*/ 5967211 w 12191996"/>
              <a:gd name="connsiteY903" fmla="*/ 6423470 h 6857997"/>
              <a:gd name="connsiteX904" fmla="*/ 5967211 w 12191996"/>
              <a:gd name="connsiteY904" fmla="*/ 6433184 h 6857997"/>
              <a:gd name="connsiteX905" fmla="*/ 5977467 w 12191996"/>
              <a:gd name="connsiteY905" fmla="*/ 6433184 h 6857997"/>
              <a:gd name="connsiteX906" fmla="*/ 5977467 w 12191996"/>
              <a:gd name="connsiteY906" fmla="*/ 6418743 h 6857997"/>
              <a:gd name="connsiteX907" fmla="*/ 5967879 w 12191996"/>
              <a:gd name="connsiteY907" fmla="*/ 6418743 h 6857997"/>
              <a:gd name="connsiteX908" fmla="*/ 5967935 w 12191996"/>
              <a:gd name="connsiteY908" fmla="*/ 6418325 h 6857997"/>
              <a:gd name="connsiteX909" fmla="*/ 5958284 w 12191996"/>
              <a:gd name="connsiteY909" fmla="*/ 6416999 h 6857997"/>
              <a:gd name="connsiteX910" fmla="*/ 883232 w 12191996"/>
              <a:gd name="connsiteY910" fmla="*/ 6416999 h 6857997"/>
              <a:gd name="connsiteX911" fmla="*/ 862268 w 12191996"/>
              <a:gd name="connsiteY911" fmla="*/ 6423592 h 6857997"/>
              <a:gd name="connsiteX912" fmla="*/ 846187 w 12191996"/>
              <a:gd name="connsiteY912" fmla="*/ 6442533 h 6857997"/>
              <a:gd name="connsiteX913" fmla="*/ 840048 w 12191996"/>
              <a:gd name="connsiteY913" fmla="*/ 6469671 h 6857997"/>
              <a:gd name="connsiteX914" fmla="*/ 852466 w 12191996"/>
              <a:gd name="connsiteY914" fmla="*/ 6506540 h 6857997"/>
              <a:gd name="connsiteX915" fmla="*/ 883232 w 12191996"/>
              <a:gd name="connsiteY915" fmla="*/ 6522272 h 6857997"/>
              <a:gd name="connsiteX916" fmla="*/ 904196 w 12191996"/>
              <a:gd name="connsiteY916" fmla="*/ 6515679 h 6857997"/>
              <a:gd name="connsiteX917" fmla="*/ 920276 w 12191996"/>
              <a:gd name="connsiteY917" fmla="*/ 6496739 h 6857997"/>
              <a:gd name="connsiteX918" fmla="*/ 926415 w 12191996"/>
              <a:gd name="connsiteY918" fmla="*/ 6469671 h 6857997"/>
              <a:gd name="connsiteX919" fmla="*/ 913997 w 12191996"/>
              <a:gd name="connsiteY919" fmla="*/ 6432766 h 6857997"/>
              <a:gd name="connsiteX920" fmla="*/ 883232 w 12191996"/>
              <a:gd name="connsiteY920" fmla="*/ 6416999 h 6857997"/>
              <a:gd name="connsiteX921" fmla="*/ 5757201 w 12191996"/>
              <a:gd name="connsiteY921" fmla="*/ 6416930 h 6857997"/>
              <a:gd name="connsiteX922" fmla="*/ 5737090 w 12191996"/>
              <a:gd name="connsiteY922" fmla="*/ 6422898 h 6857997"/>
              <a:gd name="connsiteX923" fmla="*/ 5722810 w 12191996"/>
              <a:gd name="connsiteY923" fmla="*/ 6440560 h 6857997"/>
              <a:gd name="connsiteX924" fmla="*/ 5717538 w 12191996"/>
              <a:gd name="connsiteY924" fmla="*/ 6469147 h 6857997"/>
              <a:gd name="connsiteX925" fmla="*/ 5722804 w 12191996"/>
              <a:gd name="connsiteY925" fmla="*/ 6498816 h 6857997"/>
              <a:gd name="connsiteX926" fmla="*/ 5736339 w 12191996"/>
              <a:gd name="connsiteY926" fmla="*/ 6517071 h 6857997"/>
              <a:gd name="connsiteX927" fmla="*/ 5756258 w 12191996"/>
              <a:gd name="connsiteY927" fmla="*/ 6522760 h 6857997"/>
              <a:gd name="connsiteX928" fmla="*/ 5778755 w 12191996"/>
              <a:gd name="connsiteY928" fmla="*/ 6514284 h 6857997"/>
              <a:gd name="connsiteX929" fmla="*/ 5791698 w 12191996"/>
              <a:gd name="connsiteY929" fmla="*/ 6488576 h 6857997"/>
              <a:gd name="connsiteX930" fmla="*/ 5780536 w 12191996"/>
              <a:gd name="connsiteY930" fmla="*/ 6485158 h 6857997"/>
              <a:gd name="connsiteX931" fmla="*/ 5771710 w 12191996"/>
              <a:gd name="connsiteY931" fmla="*/ 6504727 h 6857997"/>
              <a:gd name="connsiteX932" fmla="*/ 5756048 w 12191996"/>
              <a:gd name="connsiteY932" fmla="*/ 6511180 h 6857997"/>
              <a:gd name="connsiteX933" fmla="*/ 5736375 w 12191996"/>
              <a:gd name="connsiteY933" fmla="*/ 6500672 h 6857997"/>
              <a:gd name="connsiteX934" fmla="*/ 5728981 w 12191996"/>
              <a:gd name="connsiteY934" fmla="*/ 6469146 h 6857997"/>
              <a:gd name="connsiteX935" fmla="*/ 5732647 w 12191996"/>
              <a:gd name="connsiteY935" fmla="*/ 6446176 h 6857997"/>
              <a:gd name="connsiteX936" fmla="*/ 5742462 w 12191996"/>
              <a:gd name="connsiteY936" fmla="*/ 6432805 h 6857997"/>
              <a:gd name="connsiteX937" fmla="*/ 5756996 w 12191996"/>
              <a:gd name="connsiteY937" fmla="*/ 6428510 h 6857997"/>
              <a:gd name="connsiteX938" fmla="*/ 5779417 w 12191996"/>
              <a:gd name="connsiteY938" fmla="*/ 6449788 h 6857997"/>
              <a:gd name="connsiteX939" fmla="*/ 5790300 w 12191996"/>
              <a:gd name="connsiteY939" fmla="*/ 6446649 h 6857997"/>
              <a:gd name="connsiteX940" fmla="*/ 5778080 w 12191996"/>
              <a:gd name="connsiteY940" fmla="*/ 6424481 h 6857997"/>
              <a:gd name="connsiteX941" fmla="*/ 5757201 w 12191996"/>
              <a:gd name="connsiteY941" fmla="*/ 6416930 h 6857997"/>
              <a:gd name="connsiteX942" fmla="*/ 2249532 w 12191996"/>
              <a:gd name="connsiteY942" fmla="*/ 6416930 h 6857997"/>
              <a:gd name="connsiteX943" fmla="*/ 2227909 w 12191996"/>
              <a:gd name="connsiteY943" fmla="*/ 6424813 h 6857997"/>
              <a:gd name="connsiteX944" fmla="*/ 2219883 w 12191996"/>
              <a:gd name="connsiteY944" fmla="*/ 6445114 h 6857997"/>
              <a:gd name="connsiteX945" fmla="*/ 2222671 w 12191996"/>
              <a:gd name="connsiteY945" fmla="*/ 6457497 h 6857997"/>
              <a:gd name="connsiteX946" fmla="*/ 2230487 w 12191996"/>
              <a:gd name="connsiteY946" fmla="*/ 6466531 h 6857997"/>
              <a:gd name="connsiteX947" fmla="*/ 2247373 w 12191996"/>
              <a:gd name="connsiteY947" fmla="*/ 6473610 h 6857997"/>
              <a:gd name="connsiteX948" fmla="*/ 2264706 w 12191996"/>
              <a:gd name="connsiteY948" fmla="*/ 6479712 h 6857997"/>
              <a:gd name="connsiteX949" fmla="*/ 2270706 w 12191996"/>
              <a:gd name="connsiteY949" fmla="*/ 6485247 h 6857997"/>
              <a:gd name="connsiteX950" fmla="*/ 2272693 w 12191996"/>
              <a:gd name="connsiteY950" fmla="*/ 6493148 h 6857997"/>
              <a:gd name="connsiteX951" fmla="*/ 2267221 w 12191996"/>
              <a:gd name="connsiteY951" fmla="*/ 6505714 h 6857997"/>
              <a:gd name="connsiteX952" fmla="*/ 2251834 w 12191996"/>
              <a:gd name="connsiteY952" fmla="*/ 6510552 h 6857997"/>
              <a:gd name="connsiteX953" fmla="*/ 2239420 w 12191996"/>
              <a:gd name="connsiteY953" fmla="*/ 6507691 h 6857997"/>
              <a:gd name="connsiteX954" fmla="*/ 2230941 w 12191996"/>
              <a:gd name="connsiteY954" fmla="*/ 6500122 h 6857997"/>
              <a:gd name="connsiteX955" fmla="*/ 2227140 w 12191996"/>
              <a:gd name="connsiteY955" fmla="*/ 6486972 h 6857997"/>
              <a:gd name="connsiteX956" fmla="*/ 2216673 w 12191996"/>
              <a:gd name="connsiteY956" fmla="*/ 6488088 h 6857997"/>
              <a:gd name="connsiteX957" fmla="*/ 2226270 w 12191996"/>
              <a:gd name="connsiteY957" fmla="*/ 6513412 h 6857997"/>
              <a:gd name="connsiteX958" fmla="*/ 2251071 w 12191996"/>
              <a:gd name="connsiteY958" fmla="*/ 6522760 h 6857997"/>
              <a:gd name="connsiteX959" fmla="*/ 2268127 w 12191996"/>
              <a:gd name="connsiteY959" fmla="*/ 6518997 h 6857997"/>
              <a:gd name="connsiteX960" fmla="*/ 2279325 w 12191996"/>
              <a:gd name="connsiteY960" fmla="*/ 6508021 h 6857997"/>
              <a:gd name="connsiteX961" fmla="*/ 2283436 w 12191996"/>
              <a:gd name="connsiteY961" fmla="*/ 6492029 h 6857997"/>
              <a:gd name="connsiteX962" fmla="*/ 2279522 w 12191996"/>
              <a:gd name="connsiteY962" fmla="*/ 6476801 h 6857997"/>
              <a:gd name="connsiteX963" fmla="*/ 2267938 w 12191996"/>
              <a:gd name="connsiteY963" fmla="*/ 6466501 h 6857997"/>
              <a:gd name="connsiteX964" fmla="*/ 2250508 w 12191996"/>
              <a:gd name="connsiteY964" fmla="*/ 6460544 h 6857997"/>
              <a:gd name="connsiteX965" fmla="*/ 2234185 w 12191996"/>
              <a:gd name="connsiteY965" fmla="*/ 6453622 h 6857997"/>
              <a:gd name="connsiteX966" fmla="*/ 2230560 w 12191996"/>
              <a:gd name="connsiteY966" fmla="*/ 6443996 h 6857997"/>
              <a:gd name="connsiteX967" fmla="*/ 2235513 w 12191996"/>
              <a:gd name="connsiteY967" fmla="*/ 6433079 h 6857997"/>
              <a:gd name="connsiteX968" fmla="*/ 2249881 w 12191996"/>
              <a:gd name="connsiteY968" fmla="*/ 6428859 h 6857997"/>
              <a:gd name="connsiteX969" fmla="*/ 2264286 w 12191996"/>
              <a:gd name="connsiteY969" fmla="*/ 6433673 h 6857997"/>
              <a:gd name="connsiteX970" fmla="*/ 2270252 w 12191996"/>
              <a:gd name="connsiteY970" fmla="*/ 6448463 h 6857997"/>
              <a:gd name="connsiteX971" fmla="*/ 2280928 w 12191996"/>
              <a:gd name="connsiteY971" fmla="*/ 6447486 h 6857997"/>
              <a:gd name="connsiteX972" fmla="*/ 2276778 w 12191996"/>
              <a:gd name="connsiteY972" fmla="*/ 6431231 h 6857997"/>
              <a:gd name="connsiteX973" fmla="*/ 2265892 w 12191996"/>
              <a:gd name="connsiteY973" fmla="*/ 6420627 h 6857997"/>
              <a:gd name="connsiteX974" fmla="*/ 2249532 w 12191996"/>
              <a:gd name="connsiteY974" fmla="*/ 6416930 h 6857997"/>
              <a:gd name="connsiteX975" fmla="*/ 2107530 w 12191996"/>
              <a:gd name="connsiteY975" fmla="*/ 6416930 h 6857997"/>
              <a:gd name="connsiteX976" fmla="*/ 2085898 w 12191996"/>
              <a:gd name="connsiteY976" fmla="*/ 6422828 h 6857997"/>
              <a:gd name="connsiteX977" fmla="*/ 2071108 w 12191996"/>
              <a:gd name="connsiteY977" fmla="*/ 6441153 h 6857997"/>
              <a:gd name="connsiteX978" fmla="*/ 2065457 w 12191996"/>
              <a:gd name="connsiteY978" fmla="*/ 6470333 h 6857997"/>
              <a:gd name="connsiteX979" fmla="*/ 2071073 w 12191996"/>
              <a:gd name="connsiteY979" fmla="*/ 6498676 h 6857997"/>
              <a:gd name="connsiteX980" fmla="*/ 2086316 w 12191996"/>
              <a:gd name="connsiteY980" fmla="*/ 6516617 h 6857997"/>
              <a:gd name="connsiteX981" fmla="*/ 2108228 w 12191996"/>
              <a:gd name="connsiteY981" fmla="*/ 6522760 h 6857997"/>
              <a:gd name="connsiteX982" fmla="*/ 2126153 w 12191996"/>
              <a:gd name="connsiteY982" fmla="*/ 6518749 h 6857997"/>
              <a:gd name="connsiteX983" fmla="*/ 2143038 w 12191996"/>
              <a:gd name="connsiteY983" fmla="*/ 6506785 h 6857997"/>
              <a:gd name="connsiteX984" fmla="*/ 2143038 w 12191996"/>
              <a:gd name="connsiteY984" fmla="*/ 6468764 h 6857997"/>
              <a:gd name="connsiteX985" fmla="*/ 2107530 w 12191996"/>
              <a:gd name="connsiteY985" fmla="*/ 6468833 h 6857997"/>
              <a:gd name="connsiteX986" fmla="*/ 2107530 w 12191996"/>
              <a:gd name="connsiteY986" fmla="*/ 6480902 h 6857997"/>
              <a:gd name="connsiteX987" fmla="*/ 2132151 w 12191996"/>
              <a:gd name="connsiteY987" fmla="*/ 6480902 h 6857997"/>
              <a:gd name="connsiteX988" fmla="*/ 2132151 w 12191996"/>
              <a:gd name="connsiteY988" fmla="*/ 6499948 h 6857997"/>
              <a:gd name="connsiteX989" fmla="*/ 2121238 w 12191996"/>
              <a:gd name="connsiteY989" fmla="*/ 6507412 h 6857997"/>
              <a:gd name="connsiteX990" fmla="*/ 2107806 w 12191996"/>
              <a:gd name="connsiteY990" fmla="*/ 6510552 h 6857997"/>
              <a:gd name="connsiteX991" fmla="*/ 2085479 w 12191996"/>
              <a:gd name="connsiteY991" fmla="*/ 6500323 h 6857997"/>
              <a:gd name="connsiteX992" fmla="*/ 2076898 w 12191996"/>
              <a:gd name="connsiteY992" fmla="*/ 6469566 h 6857997"/>
              <a:gd name="connsiteX993" fmla="*/ 2080910 w 12191996"/>
              <a:gd name="connsiteY993" fmla="*/ 6446734 h 6857997"/>
              <a:gd name="connsiteX994" fmla="*/ 2091514 w 12191996"/>
              <a:gd name="connsiteY994" fmla="*/ 6432944 h 6857997"/>
              <a:gd name="connsiteX995" fmla="*/ 2107247 w 12191996"/>
              <a:gd name="connsiteY995" fmla="*/ 6428510 h 6857997"/>
              <a:gd name="connsiteX996" fmla="*/ 2118547 w 12191996"/>
              <a:gd name="connsiteY996" fmla="*/ 6430952 h 6857997"/>
              <a:gd name="connsiteX997" fmla="*/ 2126643 w 12191996"/>
              <a:gd name="connsiteY997" fmla="*/ 6437684 h 6857997"/>
              <a:gd name="connsiteX998" fmla="*/ 2131738 w 12191996"/>
              <a:gd name="connsiteY998" fmla="*/ 6450625 h 6857997"/>
              <a:gd name="connsiteX999" fmla="*/ 2141711 w 12191996"/>
              <a:gd name="connsiteY999" fmla="*/ 6447277 h 6857997"/>
              <a:gd name="connsiteX1000" fmla="*/ 2135015 w 12191996"/>
              <a:gd name="connsiteY1000" fmla="*/ 6430045 h 6857997"/>
              <a:gd name="connsiteX1001" fmla="*/ 2123643 w 12191996"/>
              <a:gd name="connsiteY1001" fmla="*/ 6420348 h 6857997"/>
              <a:gd name="connsiteX1002" fmla="*/ 2107530 w 12191996"/>
              <a:gd name="connsiteY1002" fmla="*/ 6416930 h 6857997"/>
              <a:gd name="connsiteX1003" fmla="*/ 1516105 w 12191996"/>
              <a:gd name="connsiteY1003" fmla="*/ 6416930 h 6857997"/>
              <a:gd name="connsiteX1004" fmla="*/ 1494478 w 12191996"/>
              <a:gd name="connsiteY1004" fmla="*/ 6424813 h 6857997"/>
              <a:gd name="connsiteX1005" fmla="*/ 1486455 w 12191996"/>
              <a:gd name="connsiteY1005" fmla="*/ 6445114 h 6857997"/>
              <a:gd name="connsiteX1006" fmla="*/ 1489246 w 12191996"/>
              <a:gd name="connsiteY1006" fmla="*/ 6457497 h 6857997"/>
              <a:gd name="connsiteX1007" fmla="*/ 1497059 w 12191996"/>
              <a:gd name="connsiteY1007" fmla="*/ 6466531 h 6857997"/>
              <a:gd name="connsiteX1008" fmla="*/ 1513942 w 12191996"/>
              <a:gd name="connsiteY1008" fmla="*/ 6473610 h 6857997"/>
              <a:gd name="connsiteX1009" fmla="*/ 1531278 w 12191996"/>
              <a:gd name="connsiteY1009" fmla="*/ 6479712 h 6857997"/>
              <a:gd name="connsiteX1010" fmla="*/ 1537278 w 12191996"/>
              <a:gd name="connsiteY1010" fmla="*/ 6485247 h 6857997"/>
              <a:gd name="connsiteX1011" fmla="*/ 1539266 w 12191996"/>
              <a:gd name="connsiteY1011" fmla="*/ 6493148 h 6857997"/>
              <a:gd name="connsiteX1012" fmla="*/ 1533790 w 12191996"/>
              <a:gd name="connsiteY1012" fmla="*/ 6505714 h 6857997"/>
              <a:gd name="connsiteX1013" fmla="*/ 1518407 w 12191996"/>
              <a:gd name="connsiteY1013" fmla="*/ 6510552 h 6857997"/>
              <a:gd name="connsiteX1014" fmla="*/ 1505989 w 12191996"/>
              <a:gd name="connsiteY1014" fmla="*/ 6507691 h 6857997"/>
              <a:gd name="connsiteX1015" fmla="*/ 1497513 w 12191996"/>
              <a:gd name="connsiteY1015" fmla="*/ 6500122 h 6857997"/>
              <a:gd name="connsiteX1016" fmla="*/ 1493711 w 12191996"/>
              <a:gd name="connsiteY1016" fmla="*/ 6486972 h 6857997"/>
              <a:gd name="connsiteX1017" fmla="*/ 1483246 w 12191996"/>
              <a:gd name="connsiteY1017" fmla="*/ 6488088 h 6857997"/>
              <a:gd name="connsiteX1018" fmla="*/ 1492839 w 12191996"/>
              <a:gd name="connsiteY1018" fmla="*/ 6513412 h 6857997"/>
              <a:gd name="connsiteX1019" fmla="*/ 1517639 w 12191996"/>
              <a:gd name="connsiteY1019" fmla="*/ 6522760 h 6857997"/>
              <a:gd name="connsiteX1020" fmla="*/ 1534697 w 12191996"/>
              <a:gd name="connsiteY1020" fmla="*/ 6518997 h 6857997"/>
              <a:gd name="connsiteX1021" fmla="*/ 1545894 w 12191996"/>
              <a:gd name="connsiteY1021" fmla="*/ 6508021 h 6857997"/>
              <a:gd name="connsiteX1022" fmla="*/ 1550010 w 12191996"/>
              <a:gd name="connsiteY1022" fmla="*/ 6492029 h 6857997"/>
              <a:gd name="connsiteX1023" fmla="*/ 1546095 w 12191996"/>
              <a:gd name="connsiteY1023" fmla="*/ 6476801 h 6857997"/>
              <a:gd name="connsiteX1024" fmla="*/ 1534510 w 12191996"/>
              <a:gd name="connsiteY1024" fmla="*/ 6466501 h 6857997"/>
              <a:gd name="connsiteX1025" fmla="*/ 1517077 w 12191996"/>
              <a:gd name="connsiteY1025" fmla="*/ 6460544 h 6857997"/>
              <a:gd name="connsiteX1026" fmla="*/ 1500758 w 12191996"/>
              <a:gd name="connsiteY1026" fmla="*/ 6453622 h 6857997"/>
              <a:gd name="connsiteX1027" fmla="*/ 1497129 w 12191996"/>
              <a:gd name="connsiteY1027" fmla="*/ 6443996 h 6857997"/>
              <a:gd name="connsiteX1028" fmla="*/ 1502082 w 12191996"/>
              <a:gd name="connsiteY1028" fmla="*/ 6433079 h 6857997"/>
              <a:gd name="connsiteX1029" fmla="*/ 1516453 w 12191996"/>
              <a:gd name="connsiteY1029" fmla="*/ 6428859 h 6857997"/>
              <a:gd name="connsiteX1030" fmla="*/ 1530860 w 12191996"/>
              <a:gd name="connsiteY1030" fmla="*/ 6433673 h 6857997"/>
              <a:gd name="connsiteX1031" fmla="*/ 1536824 w 12191996"/>
              <a:gd name="connsiteY1031" fmla="*/ 6448463 h 6857997"/>
              <a:gd name="connsiteX1032" fmla="*/ 1547498 w 12191996"/>
              <a:gd name="connsiteY1032" fmla="*/ 6447486 h 6857997"/>
              <a:gd name="connsiteX1033" fmla="*/ 1543347 w 12191996"/>
              <a:gd name="connsiteY1033" fmla="*/ 6431231 h 6857997"/>
              <a:gd name="connsiteX1034" fmla="*/ 1532464 w 12191996"/>
              <a:gd name="connsiteY1034" fmla="*/ 6420627 h 6857997"/>
              <a:gd name="connsiteX1035" fmla="*/ 1516105 w 12191996"/>
              <a:gd name="connsiteY1035" fmla="*/ 6416930 h 6857997"/>
              <a:gd name="connsiteX1036" fmla="*/ 999314 w 12191996"/>
              <a:gd name="connsiteY1036" fmla="*/ 6416930 h 6857997"/>
              <a:gd name="connsiteX1037" fmla="*/ 979202 w 12191996"/>
              <a:gd name="connsiteY1037" fmla="*/ 6422898 h 6857997"/>
              <a:gd name="connsiteX1038" fmla="*/ 964922 w 12191996"/>
              <a:gd name="connsiteY1038" fmla="*/ 6440560 h 6857997"/>
              <a:gd name="connsiteX1039" fmla="*/ 959650 w 12191996"/>
              <a:gd name="connsiteY1039" fmla="*/ 6469147 h 6857997"/>
              <a:gd name="connsiteX1040" fmla="*/ 964918 w 12191996"/>
              <a:gd name="connsiteY1040" fmla="*/ 6498816 h 6857997"/>
              <a:gd name="connsiteX1041" fmla="*/ 978452 w 12191996"/>
              <a:gd name="connsiteY1041" fmla="*/ 6517071 h 6857997"/>
              <a:gd name="connsiteX1042" fmla="*/ 998369 w 12191996"/>
              <a:gd name="connsiteY1042" fmla="*/ 6522760 h 6857997"/>
              <a:gd name="connsiteX1043" fmla="*/ 1020867 w 12191996"/>
              <a:gd name="connsiteY1043" fmla="*/ 6514284 h 6857997"/>
              <a:gd name="connsiteX1044" fmla="*/ 1033809 w 12191996"/>
              <a:gd name="connsiteY1044" fmla="*/ 6488576 h 6857997"/>
              <a:gd name="connsiteX1045" fmla="*/ 1022646 w 12191996"/>
              <a:gd name="connsiteY1045" fmla="*/ 6485158 h 6857997"/>
              <a:gd name="connsiteX1046" fmla="*/ 1013821 w 12191996"/>
              <a:gd name="connsiteY1046" fmla="*/ 6504727 h 6857997"/>
              <a:gd name="connsiteX1047" fmla="*/ 998160 w 12191996"/>
              <a:gd name="connsiteY1047" fmla="*/ 6511180 h 6857997"/>
              <a:gd name="connsiteX1048" fmla="*/ 978486 w 12191996"/>
              <a:gd name="connsiteY1048" fmla="*/ 6500672 h 6857997"/>
              <a:gd name="connsiteX1049" fmla="*/ 971092 w 12191996"/>
              <a:gd name="connsiteY1049" fmla="*/ 6469146 h 6857997"/>
              <a:gd name="connsiteX1050" fmla="*/ 974759 w 12191996"/>
              <a:gd name="connsiteY1050" fmla="*/ 6446176 h 6857997"/>
              <a:gd name="connsiteX1051" fmla="*/ 984574 w 12191996"/>
              <a:gd name="connsiteY1051" fmla="*/ 6432805 h 6857997"/>
              <a:gd name="connsiteX1052" fmla="*/ 999106 w 12191996"/>
              <a:gd name="connsiteY1052" fmla="*/ 6428510 h 6857997"/>
              <a:gd name="connsiteX1053" fmla="*/ 1021530 w 12191996"/>
              <a:gd name="connsiteY1053" fmla="*/ 6449788 h 6857997"/>
              <a:gd name="connsiteX1054" fmla="*/ 1032413 w 12191996"/>
              <a:gd name="connsiteY1054" fmla="*/ 6446649 h 6857997"/>
              <a:gd name="connsiteX1055" fmla="*/ 1020193 w 12191996"/>
              <a:gd name="connsiteY1055" fmla="*/ 6424481 h 6857997"/>
              <a:gd name="connsiteX1056" fmla="*/ 999314 w 12191996"/>
              <a:gd name="connsiteY1056" fmla="*/ 6416930 h 6857997"/>
              <a:gd name="connsiteX1057" fmla="*/ 11136920 w 12191996"/>
              <a:gd name="connsiteY1057" fmla="*/ 6415084 h 6857997"/>
              <a:gd name="connsiteX1058" fmla="*/ 11180757 w 12191996"/>
              <a:gd name="connsiteY1058" fmla="*/ 6458741 h 6857997"/>
              <a:gd name="connsiteX1059" fmla="*/ 11136920 w 12191996"/>
              <a:gd name="connsiteY1059" fmla="*/ 6502397 h 6857997"/>
              <a:gd name="connsiteX1060" fmla="*/ 11093445 w 12191996"/>
              <a:gd name="connsiteY1060" fmla="*/ 6457621 h 6857997"/>
              <a:gd name="connsiteX1061" fmla="*/ 11136920 w 12191996"/>
              <a:gd name="connsiteY1061" fmla="*/ 6415084 h 6857997"/>
              <a:gd name="connsiteX1062" fmla="*/ 11241084 w 12191996"/>
              <a:gd name="connsiteY1062" fmla="*/ 6397622 h 6857997"/>
              <a:gd name="connsiteX1063" fmla="*/ 11241084 w 12191996"/>
              <a:gd name="connsiteY1063" fmla="*/ 6521447 h 6857997"/>
              <a:gd name="connsiteX1064" fmla="*/ 11276259 w 12191996"/>
              <a:gd name="connsiteY1064" fmla="*/ 6521447 h 6857997"/>
              <a:gd name="connsiteX1065" fmla="*/ 11274446 w 12191996"/>
              <a:gd name="connsiteY1065" fmla="*/ 6427562 h 6857997"/>
              <a:gd name="connsiteX1066" fmla="*/ 11344433 w 12191996"/>
              <a:gd name="connsiteY1066" fmla="*/ 6521447 h 6857997"/>
              <a:gd name="connsiteX1067" fmla="*/ 11383959 w 12191996"/>
              <a:gd name="connsiteY1067" fmla="*/ 6521447 h 6857997"/>
              <a:gd name="connsiteX1068" fmla="*/ 11383959 w 12191996"/>
              <a:gd name="connsiteY1068" fmla="*/ 6397622 h 6857997"/>
              <a:gd name="connsiteX1069" fmla="*/ 11349147 w 12191996"/>
              <a:gd name="connsiteY1069" fmla="*/ 6397622 h 6857997"/>
              <a:gd name="connsiteX1070" fmla="*/ 11350597 w 12191996"/>
              <a:gd name="connsiteY1070" fmla="*/ 6486702 h 6857997"/>
              <a:gd name="connsiteX1071" fmla="*/ 11284237 w 12191996"/>
              <a:gd name="connsiteY1071" fmla="*/ 6397622 h 6857997"/>
              <a:gd name="connsiteX1072" fmla="*/ 10998196 w 12191996"/>
              <a:gd name="connsiteY1072" fmla="*/ 6397622 h 6857997"/>
              <a:gd name="connsiteX1073" fmla="*/ 10998196 w 12191996"/>
              <a:gd name="connsiteY1073" fmla="*/ 6521447 h 6857997"/>
              <a:gd name="connsiteX1074" fmla="*/ 11033121 w 12191996"/>
              <a:gd name="connsiteY1074" fmla="*/ 6521447 h 6857997"/>
              <a:gd name="connsiteX1075" fmla="*/ 11033121 w 12191996"/>
              <a:gd name="connsiteY1075" fmla="*/ 6397622 h 6857997"/>
              <a:gd name="connsiteX1076" fmla="*/ 10760071 w 12191996"/>
              <a:gd name="connsiteY1076" fmla="*/ 6397622 h 6857997"/>
              <a:gd name="connsiteX1077" fmla="*/ 10760071 w 12191996"/>
              <a:gd name="connsiteY1077" fmla="*/ 6521447 h 6857997"/>
              <a:gd name="connsiteX1078" fmla="*/ 10794996 w 12191996"/>
              <a:gd name="connsiteY1078" fmla="*/ 6521447 h 6857997"/>
              <a:gd name="connsiteX1079" fmla="*/ 10794996 w 12191996"/>
              <a:gd name="connsiteY1079" fmla="*/ 6397622 h 6857997"/>
              <a:gd name="connsiteX1080" fmla="*/ 10637569 w 12191996"/>
              <a:gd name="connsiteY1080" fmla="*/ 6397622 h 6857997"/>
              <a:gd name="connsiteX1081" fmla="*/ 10580684 w 12191996"/>
              <a:gd name="connsiteY1081" fmla="*/ 6435324 h 6857997"/>
              <a:gd name="connsiteX1082" fmla="*/ 10634670 w 12191996"/>
              <a:gd name="connsiteY1082" fmla="*/ 6471178 h 6857997"/>
              <a:gd name="connsiteX1083" fmla="*/ 10674888 w 12191996"/>
              <a:gd name="connsiteY1083" fmla="*/ 6471178 h 6857997"/>
              <a:gd name="connsiteX1084" fmla="*/ 10699163 w 12191996"/>
              <a:gd name="connsiteY1084" fmla="*/ 6485224 h 6857997"/>
              <a:gd name="connsiteX1085" fmla="*/ 10672714 w 12191996"/>
              <a:gd name="connsiteY1085" fmla="*/ 6499270 h 6857997"/>
              <a:gd name="connsiteX1086" fmla="*/ 10587206 w 12191996"/>
              <a:gd name="connsiteY1086" fmla="*/ 6499270 h 6857997"/>
              <a:gd name="connsiteX1087" fmla="*/ 10587206 w 12191996"/>
              <a:gd name="connsiteY1087" fmla="*/ 6521447 h 6857997"/>
              <a:gd name="connsiteX1088" fmla="*/ 10678149 w 12191996"/>
              <a:gd name="connsiteY1088" fmla="*/ 6521447 h 6857997"/>
              <a:gd name="connsiteX1089" fmla="*/ 10734671 w 12191996"/>
              <a:gd name="connsiteY1089" fmla="*/ 6484115 h 6857997"/>
              <a:gd name="connsiteX1090" fmla="*/ 10683221 w 12191996"/>
              <a:gd name="connsiteY1090" fmla="*/ 6449370 h 6857997"/>
              <a:gd name="connsiteX1091" fmla="*/ 10637931 w 12191996"/>
              <a:gd name="connsiteY1091" fmla="*/ 6449370 h 6857997"/>
              <a:gd name="connsiteX1092" fmla="*/ 10616554 w 12191996"/>
              <a:gd name="connsiteY1092" fmla="*/ 6435694 h 6857997"/>
              <a:gd name="connsiteX1093" fmla="*/ 10642641 w 12191996"/>
              <a:gd name="connsiteY1093" fmla="*/ 6419430 h 6857997"/>
              <a:gd name="connsiteX1094" fmla="*/ 10726700 w 12191996"/>
              <a:gd name="connsiteY1094" fmla="*/ 6419430 h 6857997"/>
              <a:gd name="connsiteX1095" fmla="*/ 10726700 w 12191996"/>
              <a:gd name="connsiteY1095" fmla="*/ 6397622 h 6857997"/>
              <a:gd name="connsiteX1096" fmla="*/ 10413996 w 12191996"/>
              <a:gd name="connsiteY1096" fmla="*/ 6397622 h 6857997"/>
              <a:gd name="connsiteX1097" fmla="*/ 10413996 w 12191996"/>
              <a:gd name="connsiteY1097" fmla="*/ 6521447 h 6857997"/>
              <a:gd name="connsiteX1098" fmla="*/ 10448897 w 12191996"/>
              <a:gd name="connsiteY1098" fmla="*/ 6521447 h 6857997"/>
              <a:gd name="connsiteX1099" fmla="*/ 10447443 w 12191996"/>
              <a:gd name="connsiteY1099" fmla="*/ 6427562 h 6857997"/>
              <a:gd name="connsiteX1100" fmla="*/ 10517608 w 12191996"/>
              <a:gd name="connsiteY1100" fmla="*/ 6521447 h 6857997"/>
              <a:gd name="connsiteX1101" fmla="*/ 10556871 w 12191996"/>
              <a:gd name="connsiteY1101" fmla="*/ 6521447 h 6857997"/>
              <a:gd name="connsiteX1102" fmla="*/ 10556871 w 12191996"/>
              <a:gd name="connsiteY1102" fmla="*/ 6397622 h 6857997"/>
              <a:gd name="connsiteX1103" fmla="*/ 10522334 w 12191996"/>
              <a:gd name="connsiteY1103" fmla="*/ 6397622 h 6857997"/>
              <a:gd name="connsiteX1104" fmla="*/ 10523788 w 12191996"/>
              <a:gd name="connsiteY1104" fmla="*/ 6486702 h 6857997"/>
              <a:gd name="connsiteX1105" fmla="*/ 10457258 w 12191996"/>
              <a:gd name="connsiteY1105" fmla="*/ 6397622 h 6857997"/>
              <a:gd name="connsiteX1106" fmla="*/ 10327466 w 12191996"/>
              <a:gd name="connsiteY1106" fmla="*/ 6397622 h 6857997"/>
              <a:gd name="connsiteX1107" fmla="*/ 10252071 w 12191996"/>
              <a:gd name="connsiteY1107" fmla="*/ 6461568 h 6857997"/>
              <a:gd name="connsiteX1108" fmla="*/ 10276844 w 12191996"/>
              <a:gd name="connsiteY1108" fmla="*/ 6510358 h 6857997"/>
              <a:gd name="connsiteX1109" fmla="*/ 10326748 w 12191996"/>
              <a:gd name="connsiteY1109" fmla="*/ 6521447 h 6857997"/>
              <a:gd name="connsiteX1110" fmla="*/ 10383833 w 12191996"/>
              <a:gd name="connsiteY1110" fmla="*/ 6521447 h 6857997"/>
              <a:gd name="connsiteX1111" fmla="*/ 10383833 w 12191996"/>
              <a:gd name="connsiteY1111" fmla="*/ 6499639 h 6857997"/>
              <a:gd name="connsiteX1112" fmla="*/ 10328184 w 12191996"/>
              <a:gd name="connsiteY1112" fmla="*/ 6499639 h 6857997"/>
              <a:gd name="connsiteX1113" fmla="*/ 10290128 w 12191996"/>
              <a:gd name="connsiteY1113" fmla="*/ 6469330 h 6857997"/>
              <a:gd name="connsiteX1114" fmla="*/ 10383833 w 12191996"/>
              <a:gd name="connsiteY1114" fmla="*/ 6469330 h 6857997"/>
              <a:gd name="connsiteX1115" fmla="*/ 10383833 w 12191996"/>
              <a:gd name="connsiteY1115" fmla="*/ 6447892 h 6857997"/>
              <a:gd name="connsiteX1116" fmla="*/ 10290128 w 12191996"/>
              <a:gd name="connsiteY1116" fmla="*/ 6447892 h 6857997"/>
              <a:gd name="connsiteX1117" fmla="*/ 10328184 w 12191996"/>
              <a:gd name="connsiteY1117" fmla="*/ 6419061 h 6857997"/>
              <a:gd name="connsiteX1118" fmla="*/ 10383833 w 12191996"/>
              <a:gd name="connsiteY1118" fmla="*/ 6419061 h 6857997"/>
              <a:gd name="connsiteX1119" fmla="*/ 10383833 w 12191996"/>
              <a:gd name="connsiteY1119" fmla="*/ 6397622 h 6857997"/>
              <a:gd name="connsiteX1120" fmla="*/ 10139094 w 12191996"/>
              <a:gd name="connsiteY1120" fmla="*/ 6397622 h 6857997"/>
              <a:gd name="connsiteX1121" fmla="*/ 10082209 w 12191996"/>
              <a:gd name="connsiteY1121" fmla="*/ 6435324 h 6857997"/>
              <a:gd name="connsiteX1122" fmla="*/ 10136195 w 12191996"/>
              <a:gd name="connsiteY1122" fmla="*/ 6471178 h 6857997"/>
              <a:gd name="connsiteX1123" fmla="*/ 10176413 w 12191996"/>
              <a:gd name="connsiteY1123" fmla="*/ 6471178 h 6857997"/>
              <a:gd name="connsiteX1124" fmla="*/ 10200326 w 12191996"/>
              <a:gd name="connsiteY1124" fmla="*/ 6485224 h 6857997"/>
              <a:gd name="connsiteX1125" fmla="*/ 10173877 w 12191996"/>
              <a:gd name="connsiteY1125" fmla="*/ 6499270 h 6857997"/>
              <a:gd name="connsiteX1126" fmla="*/ 10088731 w 12191996"/>
              <a:gd name="connsiteY1126" fmla="*/ 6499270 h 6857997"/>
              <a:gd name="connsiteX1127" fmla="*/ 10088731 w 12191996"/>
              <a:gd name="connsiteY1127" fmla="*/ 6521447 h 6857997"/>
              <a:gd name="connsiteX1128" fmla="*/ 10179311 w 12191996"/>
              <a:gd name="connsiteY1128" fmla="*/ 6521447 h 6857997"/>
              <a:gd name="connsiteX1129" fmla="*/ 10236196 w 12191996"/>
              <a:gd name="connsiteY1129" fmla="*/ 6484115 h 6857997"/>
              <a:gd name="connsiteX1130" fmla="*/ 10184384 w 12191996"/>
              <a:gd name="connsiteY1130" fmla="*/ 6449370 h 6857997"/>
              <a:gd name="connsiteX1131" fmla="*/ 10139456 w 12191996"/>
              <a:gd name="connsiteY1131" fmla="*/ 6449370 h 6857997"/>
              <a:gd name="connsiteX1132" fmla="*/ 10117717 w 12191996"/>
              <a:gd name="connsiteY1132" fmla="*/ 6435694 h 6857997"/>
              <a:gd name="connsiteX1133" fmla="*/ 10144166 w 12191996"/>
              <a:gd name="connsiteY1133" fmla="*/ 6419430 h 6857997"/>
              <a:gd name="connsiteX1134" fmla="*/ 10228225 w 12191996"/>
              <a:gd name="connsiteY1134" fmla="*/ 6419430 h 6857997"/>
              <a:gd name="connsiteX1135" fmla="*/ 10228225 w 12191996"/>
              <a:gd name="connsiteY1135" fmla="*/ 6397622 h 6857997"/>
              <a:gd name="connsiteX1136" fmla="*/ 10828333 w 12191996"/>
              <a:gd name="connsiteY1136" fmla="*/ 6397621 h 6857997"/>
              <a:gd name="connsiteX1137" fmla="*/ 10828333 w 12191996"/>
              <a:gd name="connsiteY1137" fmla="*/ 6521446 h 6857997"/>
              <a:gd name="connsiteX1138" fmla="*/ 10862629 w 12191996"/>
              <a:gd name="connsiteY1138" fmla="*/ 6521446 h 6857997"/>
              <a:gd name="connsiteX1139" fmla="*/ 10862629 w 12191996"/>
              <a:gd name="connsiteY1139" fmla="*/ 6472655 h 6857997"/>
              <a:gd name="connsiteX1140" fmla="*/ 10903128 w 12191996"/>
              <a:gd name="connsiteY1140" fmla="*/ 6472655 h 6857997"/>
              <a:gd name="connsiteX1141" fmla="*/ 10938884 w 12191996"/>
              <a:gd name="connsiteY1141" fmla="*/ 6521446 h 6857997"/>
              <a:gd name="connsiteX1142" fmla="*/ 10977558 w 12191996"/>
              <a:gd name="connsiteY1142" fmla="*/ 6521446 h 6857997"/>
              <a:gd name="connsiteX1143" fmla="*/ 10937059 w 12191996"/>
              <a:gd name="connsiteY1143" fmla="*/ 6469698 h 6857997"/>
              <a:gd name="connsiteX1144" fmla="*/ 10969896 w 12191996"/>
              <a:gd name="connsiteY1144" fmla="*/ 6434584 h 6857997"/>
              <a:gd name="connsiteX1145" fmla="*/ 10912979 w 12191996"/>
              <a:gd name="connsiteY1145" fmla="*/ 6397621 h 6857997"/>
              <a:gd name="connsiteX1146" fmla="*/ 11137895 w 12191996"/>
              <a:gd name="connsiteY1146" fmla="*/ 6394446 h 6857997"/>
              <a:gd name="connsiteX1147" fmla="*/ 11056933 w 12191996"/>
              <a:gd name="connsiteY1147" fmla="*/ 6457451 h 6857997"/>
              <a:gd name="connsiteX1148" fmla="*/ 11137895 w 12191996"/>
              <a:gd name="connsiteY1148" fmla="*/ 6523034 h 6857997"/>
              <a:gd name="connsiteX1149" fmla="*/ 11218858 w 12191996"/>
              <a:gd name="connsiteY1149" fmla="*/ 6458556 h 6857997"/>
              <a:gd name="connsiteX1150" fmla="*/ 11137895 w 12191996"/>
              <a:gd name="connsiteY1150" fmla="*/ 6394446 h 6857997"/>
              <a:gd name="connsiteX1151" fmla="*/ 0 w 12191996"/>
              <a:gd name="connsiteY1151" fmla="*/ 0 h 6857997"/>
              <a:gd name="connsiteX1152" fmla="*/ 12191996 w 12191996"/>
              <a:gd name="connsiteY1152" fmla="*/ 0 h 6857997"/>
              <a:gd name="connsiteX1153" fmla="*/ 12191996 w 12191996"/>
              <a:gd name="connsiteY1153" fmla="*/ 6857997 h 6857997"/>
              <a:gd name="connsiteX1154" fmla="*/ 0 w 12191996"/>
              <a:gd name="connsiteY1154" fmla="*/ 6857997 h 6857997"/>
              <a:gd name="connsiteX1155" fmla="*/ 0 w 12191996"/>
              <a:gd name="connsiteY1155" fmla="*/ 6237283 h 6857997"/>
              <a:gd name="connsiteX1156" fmla="*/ 6095995 w 12191996"/>
              <a:gd name="connsiteY1156" fmla="*/ 6237283 h 6857997"/>
              <a:gd name="connsiteX1157" fmla="*/ 6095995 w 12191996"/>
              <a:gd name="connsiteY1157" fmla="*/ 3138970 h 6857997"/>
              <a:gd name="connsiteX1158" fmla="*/ 0 w 12191996"/>
              <a:gd name="connsiteY1158" fmla="*/ 3138970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91996" h="6857997">
                <a:moveTo>
                  <a:pt x="11197257" y="6583359"/>
                </a:moveTo>
                <a:lnTo>
                  <a:pt x="11207745" y="6602409"/>
                </a:lnTo>
                <a:lnTo>
                  <a:pt x="11187108" y="6602409"/>
                </a:lnTo>
                <a:close/>
                <a:moveTo>
                  <a:pt x="11114083" y="6583359"/>
                </a:moveTo>
                <a:lnTo>
                  <a:pt x="11131338" y="6583359"/>
                </a:lnTo>
                <a:cubicBezTo>
                  <a:pt x="11141347" y="6583359"/>
                  <a:pt x="11145833" y="6584696"/>
                  <a:pt x="11145833" y="6589709"/>
                </a:cubicBezTo>
                <a:cubicBezTo>
                  <a:pt x="11145833" y="6594054"/>
                  <a:pt x="11141347" y="6596059"/>
                  <a:pt x="11132374" y="6596059"/>
                </a:cubicBezTo>
                <a:lnTo>
                  <a:pt x="11114083" y="6596059"/>
                </a:lnTo>
                <a:close/>
                <a:moveTo>
                  <a:pt x="10745783" y="6583359"/>
                </a:moveTo>
                <a:lnTo>
                  <a:pt x="10765350" y="6583359"/>
                </a:lnTo>
                <a:cubicBezTo>
                  <a:pt x="10774772" y="6583359"/>
                  <a:pt x="10779120" y="6584370"/>
                  <a:pt x="10779120" y="6588747"/>
                </a:cubicBezTo>
                <a:cubicBezTo>
                  <a:pt x="10779120" y="6593125"/>
                  <a:pt x="10774772" y="6594472"/>
                  <a:pt x="10765350" y="6594472"/>
                </a:cubicBezTo>
                <a:lnTo>
                  <a:pt x="10745783" y="6594472"/>
                </a:lnTo>
                <a:close/>
                <a:moveTo>
                  <a:pt x="10949955" y="6581771"/>
                </a:moveTo>
                <a:cubicBezTo>
                  <a:pt x="10963542" y="6581771"/>
                  <a:pt x="10969620" y="6587267"/>
                  <a:pt x="10969620" y="6598623"/>
                </a:cubicBezTo>
                <a:cubicBezTo>
                  <a:pt x="10969620" y="6609614"/>
                  <a:pt x="10963542" y="6615109"/>
                  <a:pt x="10949955" y="6615109"/>
                </a:cubicBezTo>
                <a:cubicBezTo>
                  <a:pt x="10936011" y="6615109"/>
                  <a:pt x="10929933" y="6609614"/>
                  <a:pt x="10929933" y="6598257"/>
                </a:cubicBezTo>
                <a:cubicBezTo>
                  <a:pt x="10929933" y="6587267"/>
                  <a:pt x="10936369" y="6581771"/>
                  <a:pt x="10949955" y="6581771"/>
                </a:cubicBezTo>
                <a:close/>
                <a:moveTo>
                  <a:pt x="10682898" y="6581771"/>
                </a:moveTo>
                <a:cubicBezTo>
                  <a:pt x="10696842" y="6581771"/>
                  <a:pt x="10702920" y="6587267"/>
                  <a:pt x="10702920" y="6598623"/>
                </a:cubicBezTo>
                <a:cubicBezTo>
                  <a:pt x="10702920" y="6609614"/>
                  <a:pt x="10696842" y="6615109"/>
                  <a:pt x="10682898" y="6615109"/>
                </a:cubicBezTo>
                <a:cubicBezTo>
                  <a:pt x="10669311" y="6615109"/>
                  <a:pt x="10663233" y="6609614"/>
                  <a:pt x="10663233" y="6598257"/>
                </a:cubicBezTo>
                <a:cubicBezTo>
                  <a:pt x="10663233" y="6587267"/>
                  <a:pt x="10669669" y="6581771"/>
                  <a:pt x="10682898" y="6581771"/>
                </a:cubicBezTo>
                <a:close/>
                <a:moveTo>
                  <a:pt x="11312520" y="6573834"/>
                </a:moveTo>
                <a:lnTo>
                  <a:pt x="11341079" y="6601258"/>
                </a:lnTo>
                <a:lnTo>
                  <a:pt x="11341079" y="6623047"/>
                </a:lnTo>
                <a:lnTo>
                  <a:pt x="11356624" y="6623047"/>
                </a:lnTo>
                <a:lnTo>
                  <a:pt x="11356624" y="6601258"/>
                </a:lnTo>
                <a:lnTo>
                  <a:pt x="11385545" y="6573834"/>
                </a:lnTo>
                <a:lnTo>
                  <a:pt x="11367470" y="6573834"/>
                </a:lnTo>
                <a:lnTo>
                  <a:pt x="11348671" y="6592618"/>
                </a:lnTo>
                <a:lnTo>
                  <a:pt x="11330234" y="6573834"/>
                </a:lnTo>
                <a:close/>
                <a:moveTo>
                  <a:pt x="11242670" y="6573834"/>
                </a:moveTo>
                <a:lnTo>
                  <a:pt x="11242670" y="6623047"/>
                </a:lnTo>
                <a:lnTo>
                  <a:pt x="11259156" y="6623047"/>
                </a:lnTo>
                <a:lnTo>
                  <a:pt x="11258423" y="6585856"/>
                </a:lnTo>
                <a:lnTo>
                  <a:pt x="11291028" y="6623047"/>
                </a:lnTo>
                <a:lnTo>
                  <a:pt x="11309345" y="6623047"/>
                </a:lnTo>
                <a:lnTo>
                  <a:pt x="11309345" y="6573834"/>
                </a:lnTo>
                <a:lnTo>
                  <a:pt x="11293226" y="6573834"/>
                </a:lnTo>
                <a:lnTo>
                  <a:pt x="11293958" y="6609147"/>
                </a:lnTo>
                <a:lnTo>
                  <a:pt x="11262819" y="6573834"/>
                </a:lnTo>
                <a:close/>
                <a:moveTo>
                  <a:pt x="11189997" y="6573834"/>
                </a:moveTo>
                <a:lnTo>
                  <a:pt x="11158533" y="6623047"/>
                </a:lnTo>
                <a:lnTo>
                  <a:pt x="11174980" y="6623047"/>
                </a:lnTo>
                <a:lnTo>
                  <a:pt x="11181773" y="6611401"/>
                </a:lnTo>
                <a:lnTo>
                  <a:pt x="11213595" y="6611401"/>
                </a:lnTo>
                <a:lnTo>
                  <a:pt x="11220388" y="6623047"/>
                </a:lnTo>
                <a:lnTo>
                  <a:pt x="11237908" y="6623047"/>
                </a:lnTo>
                <a:lnTo>
                  <a:pt x="11206444" y="6573834"/>
                </a:lnTo>
                <a:close/>
                <a:moveTo>
                  <a:pt x="11098208" y="6573834"/>
                </a:moveTo>
                <a:lnTo>
                  <a:pt x="11098208" y="6623047"/>
                </a:lnTo>
                <a:lnTo>
                  <a:pt x="11113502" y="6623047"/>
                </a:lnTo>
                <a:lnTo>
                  <a:pt x="11113502" y="6605766"/>
                </a:lnTo>
                <a:lnTo>
                  <a:pt x="11132352" y="6605766"/>
                </a:lnTo>
                <a:cubicBezTo>
                  <a:pt x="11141599" y="6605766"/>
                  <a:pt x="11148713" y="6605766"/>
                  <a:pt x="11154759" y="6602761"/>
                </a:cubicBezTo>
                <a:cubicBezTo>
                  <a:pt x="11160450" y="6600131"/>
                  <a:pt x="11163295" y="6595999"/>
                  <a:pt x="11163295" y="6589988"/>
                </a:cubicBezTo>
                <a:cubicBezTo>
                  <a:pt x="11163295" y="6583977"/>
                  <a:pt x="11159738" y="6579094"/>
                  <a:pt x="11153336" y="6576464"/>
                </a:cubicBezTo>
                <a:cubicBezTo>
                  <a:pt x="11148713" y="6574586"/>
                  <a:pt x="11141599" y="6573834"/>
                  <a:pt x="11131641" y="6573834"/>
                </a:cubicBezTo>
                <a:close/>
                <a:moveTo>
                  <a:pt x="10998195" y="6573834"/>
                </a:moveTo>
                <a:lnTo>
                  <a:pt x="10998195" y="6623047"/>
                </a:lnTo>
                <a:lnTo>
                  <a:pt x="11014084" y="6623047"/>
                </a:lnTo>
                <a:lnTo>
                  <a:pt x="11012639" y="6584353"/>
                </a:lnTo>
                <a:lnTo>
                  <a:pt x="11032500" y="6623047"/>
                </a:lnTo>
                <a:lnTo>
                  <a:pt x="11049111" y="6623047"/>
                </a:lnTo>
                <a:lnTo>
                  <a:pt x="11068249" y="6584729"/>
                </a:lnTo>
                <a:lnTo>
                  <a:pt x="11066805" y="6623047"/>
                </a:lnTo>
                <a:lnTo>
                  <a:pt x="11082332" y="6623047"/>
                </a:lnTo>
                <a:lnTo>
                  <a:pt x="11082332" y="6573834"/>
                </a:lnTo>
                <a:lnTo>
                  <a:pt x="11059221" y="6573834"/>
                </a:lnTo>
                <a:lnTo>
                  <a:pt x="11040444" y="6611401"/>
                </a:lnTo>
                <a:lnTo>
                  <a:pt x="11021306" y="6573834"/>
                </a:lnTo>
                <a:close/>
                <a:moveTo>
                  <a:pt x="10949776" y="6573834"/>
                </a:moveTo>
                <a:cubicBezTo>
                  <a:pt x="10924422" y="6573834"/>
                  <a:pt x="10912470" y="6581433"/>
                  <a:pt x="10912470" y="6597717"/>
                </a:cubicBezTo>
                <a:cubicBezTo>
                  <a:pt x="10912470" y="6615086"/>
                  <a:pt x="10923698" y="6623047"/>
                  <a:pt x="10949776" y="6623047"/>
                </a:cubicBezTo>
                <a:cubicBezTo>
                  <a:pt x="10975130" y="6623047"/>
                  <a:pt x="10987082" y="6615086"/>
                  <a:pt x="10987082" y="6598441"/>
                </a:cubicBezTo>
                <a:cubicBezTo>
                  <a:pt x="10987082" y="6581433"/>
                  <a:pt x="10975130" y="6573834"/>
                  <a:pt x="10949776" y="6573834"/>
                </a:cubicBezTo>
                <a:close/>
                <a:moveTo>
                  <a:pt x="10879898" y="6573834"/>
                </a:moveTo>
                <a:cubicBezTo>
                  <a:pt x="10855498" y="6573834"/>
                  <a:pt x="10844208" y="6582099"/>
                  <a:pt x="10844208" y="6599380"/>
                </a:cubicBezTo>
                <a:cubicBezTo>
                  <a:pt x="10844208" y="6608396"/>
                  <a:pt x="10848214" y="6614782"/>
                  <a:pt x="10855862" y="6618539"/>
                </a:cubicBezTo>
                <a:cubicBezTo>
                  <a:pt x="10863146" y="6622672"/>
                  <a:pt x="10870065" y="6623047"/>
                  <a:pt x="10879170" y="6623047"/>
                </a:cubicBezTo>
                <a:lnTo>
                  <a:pt x="10906120" y="6623047"/>
                </a:lnTo>
                <a:lnTo>
                  <a:pt x="10906120" y="6614407"/>
                </a:lnTo>
                <a:lnTo>
                  <a:pt x="10879898" y="6614407"/>
                </a:lnTo>
                <a:cubicBezTo>
                  <a:pt x="10866788" y="6614407"/>
                  <a:pt x="10861689" y="6610650"/>
                  <a:pt x="10861689" y="6599756"/>
                </a:cubicBezTo>
                <a:cubicBezTo>
                  <a:pt x="10861689" y="6587734"/>
                  <a:pt x="10866788" y="6582475"/>
                  <a:pt x="10879898" y="6582475"/>
                </a:cubicBezTo>
                <a:lnTo>
                  <a:pt x="10906120" y="6582475"/>
                </a:lnTo>
                <a:lnTo>
                  <a:pt x="10906120" y="6573834"/>
                </a:lnTo>
                <a:close/>
                <a:moveTo>
                  <a:pt x="10729908" y="6573834"/>
                </a:moveTo>
                <a:lnTo>
                  <a:pt x="10729908" y="6623047"/>
                </a:lnTo>
                <a:lnTo>
                  <a:pt x="10745800" y="6623047"/>
                </a:lnTo>
                <a:lnTo>
                  <a:pt x="10745800" y="6603888"/>
                </a:lnTo>
                <a:lnTo>
                  <a:pt x="10765018" y="6603888"/>
                </a:lnTo>
                <a:lnTo>
                  <a:pt x="10781649" y="6623047"/>
                </a:lnTo>
                <a:lnTo>
                  <a:pt x="10799758" y="6623047"/>
                </a:lnTo>
                <a:lnTo>
                  <a:pt x="10780910" y="6602385"/>
                </a:lnTo>
                <a:cubicBezTo>
                  <a:pt x="10790519" y="6601258"/>
                  <a:pt x="10796062" y="6596375"/>
                  <a:pt x="10796062" y="6588861"/>
                </a:cubicBezTo>
                <a:cubicBezTo>
                  <a:pt x="10796062" y="6578342"/>
                  <a:pt x="10787562" y="6573834"/>
                  <a:pt x="10769453" y="6573834"/>
                </a:cubicBezTo>
                <a:close/>
                <a:moveTo>
                  <a:pt x="10683076" y="6573834"/>
                </a:moveTo>
                <a:cubicBezTo>
                  <a:pt x="10658085" y="6573834"/>
                  <a:pt x="10645770" y="6581433"/>
                  <a:pt x="10645770" y="6597717"/>
                </a:cubicBezTo>
                <a:cubicBezTo>
                  <a:pt x="10645770" y="6615086"/>
                  <a:pt x="10657360" y="6623047"/>
                  <a:pt x="10683076" y="6623047"/>
                </a:cubicBezTo>
                <a:cubicBezTo>
                  <a:pt x="10708792" y="6623047"/>
                  <a:pt x="10720382" y="6615086"/>
                  <a:pt x="10720382" y="6598441"/>
                </a:cubicBezTo>
                <a:cubicBezTo>
                  <a:pt x="10720382" y="6581433"/>
                  <a:pt x="10708792" y="6573834"/>
                  <a:pt x="10683076" y="6573834"/>
                </a:cubicBezTo>
                <a:close/>
                <a:moveTo>
                  <a:pt x="10593642" y="6573834"/>
                </a:moveTo>
                <a:cubicBezTo>
                  <a:pt x="10576180" y="6573834"/>
                  <a:pt x="10567983" y="6578342"/>
                  <a:pt x="10567983" y="6588861"/>
                </a:cubicBezTo>
                <a:cubicBezTo>
                  <a:pt x="10567983" y="6598629"/>
                  <a:pt x="10575467" y="6603137"/>
                  <a:pt x="10592573" y="6603137"/>
                </a:cubicBezTo>
                <a:lnTo>
                  <a:pt x="10610748" y="6603137"/>
                </a:lnTo>
                <a:cubicBezTo>
                  <a:pt x="10618232" y="6603137"/>
                  <a:pt x="10621796" y="6604264"/>
                  <a:pt x="10621796" y="6608772"/>
                </a:cubicBezTo>
                <a:cubicBezTo>
                  <a:pt x="10621796" y="6612904"/>
                  <a:pt x="10617876" y="6614407"/>
                  <a:pt x="10609679" y="6614407"/>
                </a:cubicBezTo>
                <a:lnTo>
                  <a:pt x="10570834" y="6614407"/>
                </a:lnTo>
                <a:lnTo>
                  <a:pt x="10570834" y="6623047"/>
                </a:lnTo>
                <a:lnTo>
                  <a:pt x="10612174" y="6623047"/>
                </a:lnTo>
                <a:cubicBezTo>
                  <a:pt x="10629636" y="6623047"/>
                  <a:pt x="10637833" y="6618539"/>
                  <a:pt x="10637833" y="6608396"/>
                </a:cubicBezTo>
                <a:cubicBezTo>
                  <a:pt x="10637833" y="6598253"/>
                  <a:pt x="10630705" y="6594496"/>
                  <a:pt x="10614312" y="6594496"/>
                </a:cubicBezTo>
                <a:lnTo>
                  <a:pt x="10593999" y="6594496"/>
                </a:lnTo>
                <a:cubicBezTo>
                  <a:pt x="10587584" y="6594496"/>
                  <a:pt x="10584020" y="6592618"/>
                  <a:pt x="10584020" y="6589237"/>
                </a:cubicBezTo>
                <a:cubicBezTo>
                  <a:pt x="10584020" y="6584729"/>
                  <a:pt x="10587940" y="6582850"/>
                  <a:pt x="10596137" y="6582850"/>
                </a:cubicBezTo>
                <a:lnTo>
                  <a:pt x="10634269" y="6582850"/>
                </a:lnTo>
                <a:lnTo>
                  <a:pt x="10634269" y="6573834"/>
                </a:lnTo>
                <a:close/>
                <a:moveTo>
                  <a:pt x="10490195" y="6573834"/>
                </a:moveTo>
                <a:lnTo>
                  <a:pt x="10490195" y="6623047"/>
                </a:lnTo>
                <a:lnTo>
                  <a:pt x="10506681" y="6623047"/>
                </a:lnTo>
                <a:lnTo>
                  <a:pt x="10505948" y="6585856"/>
                </a:lnTo>
                <a:lnTo>
                  <a:pt x="10538553" y="6623047"/>
                </a:lnTo>
                <a:lnTo>
                  <a:pt x="10556870" y="6623047"/>
                </a:lnTo>
                <a:lnTo>
                  <a:pt x="10556870" y="6573834"/>
                </a:lnTo>
                <a:lnTo>
                  <a:pt x="10540751" y="6573834"/>
                </a:lnTo>
                <a:lnTo>
                  <a:pt x="10541483" y="6609147"/>
                </a:lnTo>
                <a:lnTo>
                  <a:pt x="10510344" y="6573834"/>
                </a:lnTo>
                <a:close/>
                <a:moveTo>
                  <a:pt x="10450207" y="6573834"/>
                </a:moveTo>
                <a:cubicBezTo>
                  <a:pt x="10426649" y="6573834"/>
                  <a:pt x="10415583" y="6582099"/>
                  <a:pt x="10415583" y="6599380"/>
                </a:cubicBezTo>
                <a:cubicBezTo>
                  <a:pt x="10415583" y="6608396"/>
                  <a:pt x="10419153" y="6614782"/>
                  <a:pt x="10427005" y="6618539"/>
                </a:cubicBezTo>
                <a:cubicBezTo>
                  <a:pt x="10434145" y="6622672"/>
                  <a:pt x="10440927" y="6623047"/>
                  <a:pt x="10449850" y="6623047"/>
                </a:cubicBezTo>
                <a:lnTo>
                  <a:pt x="10475908" y="6623047"/>
                </a:lnTo>
                <a:lnTo>
                  <a:pt x="10475908" y="6614407"/>
                </a:lnTo>
                <a:lnTo>
                  <a:pt x="10450564" y="6614407"/>
                </a:lnTo>
                <a:cubicBezTo>
                  <a:pt x="10438428" y="6614407"/>
                  <a:pt x="10433074" y="6611401"/>
                  <a:pt x="10433074" y="6602385"/>
                </a:cubicBezTo>
                <a:lnTo>
                  <a:pt x="10475908" y="6602385"/>
                </a:lnTo>
                <a:lnTo>
                  <a:pt x="10475908" y="6593745"/>
                </a:lnTo>
                <a:lnTo>
                  <a:pt x="10433074" y="6593745"/>
                </a:lnTo>
                <a:cubicBezTo>
                  <a:pt x="10433788" y="6586231"/>
                  <a:pt x="10439499" y="6582475"/>
                  <a:pt x="10450564" y="6582475"/>
                </a:cubicBezTo>
                <a:lnTo>
                  <a:pt x="10475908" y="6582475"/>
                </a:lnTo>
                <a:lnTo>
                  <a:pt x="10475908" y="6573834"/>
                </a:lnTo>
                <a:close/>
                <a:moveTo>
                  <a:pt x="10363811" y="6573834"/>
                </a:moveTo>
                <a:cubicBezTo>
                  <a:pt x="10345992" y="6573834"/>
                  <a:pt x="10337795" y="6578342"/>
                  <a:pt x="10337795" y="6588861"/>
                </a:cubicBezTo>
                <a:cubicBezTo>
                  <a:pt x="10337795" y="6598629"/>
                  <a:pt x="10345635" y="6603137"/>
                  <a:pt x="10362385" y="6603137"/>
                </a:cubicBezTo>
                <a:lnTo>
                  <a:pt x="10380560" y="6603137"/>
                </a:lnTo>
                <a:cubicBezTo>
                  <a:pt x="10388044" y="6603137"/>
                  <a:pt x="10391608" y="6604264"/>
                  <a:pt x="10391608" y="6608772"/>
                </a:cubicBezTo>
                <a:cubicBezTo>
                  <a:pt x="10391608" y="6612904"/>
                  <a:pt x="10387688" y="6614407"/>
                  <a:pt x="10379491" y="6614407"/>
                </a:cubicBezTo>
                <a:lnTo>
                  <a:pt x="10340646" y="6614407"/>
                </a:lnTo>
                <a:lnTo>
                  <a:pt x="10340646" y="6623047"/>
                </a:lnTo>
                <a:lnTo>
                  <a:pt x="10381986" y="6623047"/>
                </a:lnTo>
                <a:cubicBezTo>
                  <a:pt x="10399448" y="6623047"/>
                  <a:pt x="10407645" y="6618539"/>
                  <a:pt x="10407645" y="6608396"/>
                </a:cubicBezTo>
                <a:cubicBezTo>
                  <a:pt x="10407645" y="6598253"/>
                  <a:pt x="10400874" y="6594496"/>
                  <a:pt x="10384124" y="6594496"/>
                </a:cubicBezTo>
                <a:lnTo>
                  <a:pt x="10363811" y="6594496"/>
                </a:lnTo>
                <a:cubicBezTo>
                  <a:pt x="10357396" y="6594496"/>
                  <a:pt x="10354188" y="6592618"/>
                  <a:pt x="10354188" y="6589237"/>
                </a:cubicBezTo>
                <a:cubicBezTo>
                  <a:pt x="10354188" y="6584729"/>
                  <a:pt x="10357752" y="6582850"/>
                  <a:pt x="10365949" y="6582850"/>
                </a:cubicBezTo>
                <a:lnTo>
                  <a:pt x="10404081" y="6582850"/>
                </a:lnTo>
                <a:lnTo>
                  <a:pt x="10404081" y="6573834"/>
                </a:lnTo>
                <a:close/>
                <a:moveTo>
                  <a:pt x="10261294" y="6573834"/>
                </a:moveTo>
                <a:cubicBezTo>
                  <a:pt x="10237736" y="6573834"/>
                  <a:pt x="10226670" y="6582099"/>
                  <a:pt x="10226670" y="6599380"/>
                </a:cubicBezTo>
                <a:cubicBezTo>
                  <a:pt x="10226670" y="6608396"/>
                  <a:pt x="10230240" y="6614782"/>
                  <a:pt x="10237736" y="6618539"/>
                </a:cubicBezTo>
                <a:cubicBezTo>
                  <a:pt x="10245232" y="6622672"/>
                  <a:pt x="10252014" y="6623047"/>
                  <a:pt x="10260937" y="6623047"/>
                </a:cubicBezTo>
                <a:lnTo>
                  <a:pt x="10286995" y="6623047"/>
                </a:lnTo>
                <a:lnTo>
                  <a:pt x="10286995" y="6614407"/>
                </a:lnTo>
                <a:lnTo>
                  <a:pt x="10261651" y="6614407"/>
                </a:lnTo>
                <a:cubicBezTo>
                  <a:pt x="10249515" y="6614407"/>
                  <a:pt x="10244161" y="6611401"/>
                  <a:pt x="10244161" y="6602385"/>
                </a:cubicBezTo>
                <a:lnTo>
                  <a:pt x="10286995" y="6602385"/>
                </a:lnTo>
                <a:lnTo>
                  <a:pt x="10286995" y="6593745"/>
                </a:lnTo>
                <a:lnTo>
                  <a:pt x="10244161" y="6593745"/>
                </a:lnTo>
                <a:cubicBezTo>
                  <a:pt x="10244875" y="6586231"/>
                  <a:pt x="10250586" y="6582475"/>
                  <a:pt x="10261651" y="6582475"/>
                </a:cubicBezTo>
                <a:lnTo>
                  <a:pt x="10286995" y="6582475"/>
                </a:lnTo>
                <a:lnTo>
                  <a:pt x="10286995" y="6573834"/>
                </a:lnTo>
                <a:close/>
                <a:moveTo>
                  <a:pt x="10155233" y="6573834"/>
                </a:moveTo>
                <a:lnTo>
                  <a:pt x="10155233" y="6623047"/>
                </a:lnTo>
                <a:lnTo>
                  <a:pt x="10170859" y="6623047"/>
                </a:lnTo>
                <a:lnTo>
                  <a:pt x="10170859" y="6602385"/>
                </a:lnTo>
                <a:lnTo>
                  <a:pt x="10199932" y="6602385"/>
                </a:lnTo>
                <a:lnTo>
                  <a:pt x="10199932" y="6623047"/>
                </a:lnTo>
                <a:lnTo>
                  <a:pt x="10215558" y="6623047"/>
                </a:lnTo>
                <a:lnTo>
                  <a:pt x="10215558" y="6573834"/>
                </a:lnTo>
                <a:lnTo>
                  <a:pt x="10199932" y="6573834"/>
                </a:lnTo>
                <a:lnTo>
                  <a:pt x="10199932" y="6593745"/>
                </a:lnTo>
                <a:lnTo>
                  <a:pt x="10170859" y="6593745"/>
                </a:lnTo>
                <a:lnTo>
                  <a:pt x="10170859" y="6573834"/>
                </a:lnTo>
                <a:close/>
                <a:moveTo>
                  <a:pt x="10082208" y="6573834"/>
                </a:moveTo>
                <a:lnTo>
                  <a:pt x="10082208" y="6582163"/>
                </a:lnTo>
                <a:lnTo>
                  <a:pt x="10106570" y="6582163"/>
                </a:lnTo>
                <a:lnTo>
                  <a:pt x="10106570" y="6623047"/>
                </a:lnTo>
                <a:lnTo>
                  <a:pt x="10122569" y="6623047"/>
                </a:lnTo>
                <a:lnTo>
                  <a:pt x="10122569" y="6582163"/>
                </a:lnTo>
                <a:lnTo>
                  <a:pt x="10147295" y="6582163"/>
                </a:lnTo>
                <a:lnTo>
                  <a:pt x="10147295" y="6573834"/>
                </a:lnTo>
                <a:close/>
                <a:moveTo>
                  <a:pt x="2164828" y="6506715"/>
                </a:moveTo>
                <a:lnTo>
                  <a:pt x="2164828" y="6521016"/>
                </a:lnTo>
                <a:lnTo>
                  <a:pt x="2170617" y="6521016"/>
                </a:lnTo>
                <a:cubicBezTo>
                  <a:pt x="2170525" y="6525388"/>
                  <a:pt x="2169942" y="6528679"/>
                  <a:pt x="2168875" y="6530888"/>
                </a:cubicBezTo>
                <a:cubicBezTo>
                  <a:pt x="2167801" y="6533097"/>
                  <a:pt x="2166224" y="6534760"/>
                  <a:pt x="2164132" y="6535876"/>
                </a:cubicBezTo>
                <a:lnTo>
                  <a:pt x="2166989" y="6541248"/>
                </a:lnTo>
                <a:cubicBezTo>
                  <a:pt x="2170103" y="6539573"/>
                  <a:pt x="2172478" y="6537166"/>
                  <a:pt x="2174106" y="6534027"/>
                </a:cubicBezTo>
                <a:cubicBezTo>
                  <a:pt x="2175732" y="6530888"/>
                  <a:pt x="2176545" y="6526551"/>
                  <a:pt x="2176545" y="6521016"/>
                </a:cubicBezTo>
                <a:lnTo>
                  <a:pt x="2176545" y="6506715"/>
                </a:lnTo>
                <a:close/>
                <a:moveTo>
                  <a:pt x="6291678" y="6483832"/>
                </a:moveTo>
                <a:lnTo>
                  <a:pt x="6291678" y="6488437"/>
                </a:lnTo>
                <a:cubicBezTo>
                  <a:pt x="6291678" y="6494529"/>
                  <a:pt x="6290934" y="6499169"/>
                  <a:pt x="6289446" y="6502355"/>
                </a:cubicBezTo>
                <a:cubicBezTo>
                  <a:pt x="6287957" y="6505540"/>
                  <a:pt x="6285713" y="6508087"/>
                  <a:pt x="6282713" y="6509994"/>
                </a:cubicBezTo>
                <a:cubicBezTo>
                  <a:pt x="6279714" y="6511901"/>
                  <a:pt x="6276377" y="6512854"/>
                  <a:pt x="6272702" y="6512854"/>
                </a:cubicBezTo>
                <a:cubicBezTo>
                  <a:pt x="6268842" y="6512854"/>
                  <a:pt x="6265819" y="6511796"/>
                  <a:pt x="6263633" y="6509680"/>
                </a:cubicBezTo>
                <a:cubicBezTo>
                  <a:pt x="6261447" y="6507564"/>
                  <a:pt x="6260354" y="6504738"/>
                  <a:pt x="6260354" y="6501204"/>
                </a:cubicBezTo>
                <a:cubicBezTo>
                  <a:pt x="6260354" y="6498925"/>
                  <a:pt x="6260831" y="6496913"/>
                  <a:pt x="6261784" y="6495169"/>
                </a:cubicBezTo>
                <a:cubicBezTo>
                  <a:pt x="6262738" y="6493425"/>
                  <a:pt x="6264075" y="6492076"/>
                  <a:pt x="6265796" y="6491123"/>
                </a:cubicBezTo>
                <a:cubicBezTo>
                  <a:pt x="6267517" y="6490169"/>
                  <a:pt x="6270540" y="6489321"/>
                  <a:pt x="6274865" y="6488576"/>
                </a:cubicBezTo>
                <a:cubicBezTo>
                  <a:pt x="6282306" y="6487274"/>
                  <a:pt x="6287911" y="6485693"/>
                  <a:pt x="6291678" y="6483832"/>
                </a:cubicBezTo>
                <a:close/>
                <a:moveTo>
                  <a:pt x="2657744" y="6483832"/>
                </a:moveTo>
                <a:lnTo>
                  <a:pt x="2657744" y="6488437"/>
                </a:lnTo>
                <a:cubicBezTo>
                  <a:pt x="2657744" y="6494529"/>
                  <a:pt x="2657002" y="6499169"/>
                  <a:pt x="2655513" y="6502355"/>
                </a:cubicBezTo>
                <a:cubicBezTo>
                  <a:pt x="2654022" y="6505540"/>
                  <a:pt x="2651779" y="6508087"/>
                  <a:pt x="2648779" y="6509994"/>
                </a:cubicBezTo>
                <a:cubicBezTo>
                  <a:pt x="2645781" y="6511901"/>
                  <a:pt x="2642444" y="6512854"/>
                  <a:pt x="2638768" y="6512854"/>
                </a:cubicBezTo>
                <a:cubicBezTo>
                  <a:pt x="2634908" y="6512854"/>
                  <a:pt x="2631884" y="6511796"/>
                  <a:pt x="2629699" y="6509680"/>
                </a:cubicBezTo>
                <a:cubicBezTo>
                  <a:pt x="2627512" y="6507564"/>
                  <a:pt x="2626419" y="6504738"/>
                  <a:pt x="2626419" y="6501204"/>
                </a:cubicBezTo>
                <a:cubicBezTo>
                  <a:pt x="2626419" y="6498925"/>
                  <a:pt x="2626899" y="6496913"/>
                  <a:pt x="2627851" y="6495169"/>
                </a:cubicBezTo>
                <a:cubicBezTo>
                  <a:pt x="2628803" y="6493425"/>
                  <a:pt x="2630143" y="6492076"/>
                  <a:pt x="2631864" y="6491123"/>
                </a:cubicBezTo>
                <a:cubicBezTo>
                  <a:pt x="2633583" y="6490169"/>
                  <a:pt x="2636607" y="6489321"/>
                  <a:pt x="2640931" y="6488576"/>
                </a:cubicBezTo>
                <a:cubicBezTo>
                  <a:pt x="2648373" y="6487274"/>
                  <a:pt x="2653976" y="6485693"/>
                  <a:pt x="2657744" y="6483832"/>
                </a:cubicBezTo>
                <a:close/>
                <a:moveTo>
                  <a:pt x="6087298" y="6455578"/>
                </a:moveTo>
                <a:cubicBezTo>
                  <a:pt x="6092411" y="6455578"/>
                  <a:pt x="6096620" y="6457881"/>
                  <a:pt x="6099922" y="6462485"/>
                </a:cubicBezTo>
                <a:cubicBezTo>
                  <a:pt x="6102201" y="6465648"/>
                  <a:pt x="6103573" y="6470438"/>
                  <a:pt x="6104038" y="6476856"/>
                </a:cubicBezTo>
                <a:lnTo>
                  <a:pt x="6070136" y="6476856"/>
                </a:lnTo>
                <a:cubicBezTo>
                  <a:pt x="6070462" y="6470345"/>
                  <a:pt x="6072252" y="6465171"/>
                  <a:pt x="6075505" y="6461334"/>
                </a:cubicBezTo>
                <a:cubicBezTo>
                  <a:pt x="6078764" y="6457497"/>
                  <a:pt x="6082694" y="6455578"/>
                  <a:pt x="6087298" y="6455578"/>
                </a:cubicBezTo>
                <a:close/>
                <a:moveTo>
                  <a:pt x="6018399" y="6455578"/>
                </a:moveTo>
                <a:cubicBezTo>
                  <a:pt x="6023285" y="6455578"/>
                  <a:pt x="6027334" y="6457962"/>
                  <a:pt x="6030544" y="6462729"/>
                </a:cubicBezTo>
                <a:cubicBezTo>
                  <a:pt x="6033756" y="6467496"/>
                  <a:pt x="6035362" y="6475066"/>
                  <a:pt x="6035362" y="6485437"/>
                </a:cubicBezTo>
                <a:cubicBezTo>
                  <a:pt x="6035362" y="6494460"/>
                  <a:pt x="6033756" y="6501204"/>
                  <a:pt x="6030544" y="6505668"/>
                </a:cubicBezTo>
                <a:cubicBezTo>
                  <a:pt x="6027334" y="6510133"/>
                  <a:pt x="6023542" y="6512366"/>
                  <a:pt x="6019168" y="6512366"/>
                </a:cubicBezTo>
                <a:cubicBezTo>
                  <a:pt x="6014745" y="6512366"/>
                  <a:pt x="6010872" y="6510040"/>
                  <a:pt x="6007544" y="6505389"/>
                </a:cubicBezTo>
                <a:cubicBezTo>
                  <a:pt x="6004217" y="6500738"/>
                  <a:pt x="6002552" y="6493623"/>
                  <a:pt x="6002552" y="6484042"/>
                </a:cubicBezTo>
                <a:cubicBezTo>
                  <a:pt x="6002552" y="6474228"/>
                  <a:pt x="6004113" y="6467031"/>
                  <a:pt x="6007230" y="6462450"/>
                </a:cubicBezTo>
                <a:cubicBezTo>
                  <a:pt x="6010347" y="6457869"/>
                  <a:pt x="6014069" y="6455578"/>
                  <a:pt x="6018399" y="6455578"/>
                </a:cubicBezTo>
                <a:close/>
                <a:moveTo>
                  <a:pt x="5829564" y="6455578"/>
                </a:moveTo>
                <a:cubicBezTo>
                  <a:pt x="5834728" y="6455578"/>
                  <a:pt x="5839051" y="6457918"/>
                  <a:pt x="5842539" y="6462598"/>
                </a:cubicBezTo>
                <a:cubicBezTo>
                  <a:pt x="5846028" y="6467278"/>
                  <a:pt x="5847773" y="6474391"/>
                  <a:pt x="5847773" y="6483937"/>
                </a:cubicBezTo>
                <a:cubicBezTo>
                  <a:pt x="5847773" y="6493437"/>
                  <a:pt x="5846040" y="6500549"/>
                  <a:pt x="5842576" y="6505276"/>
                </a:cubicBezTo>
                <a:cubicBezTo>
                  <a:pt x="5839110" y="6510002"/>
                  <a:pt x="5834960" y="6512366"/>
                  <a:pt x="5830122" y="6512366"/>
                </a:cubicBezTo>
                <a:cubicBezTo>
                  <a:pt x="5824960" y="6512366"/>
                  <a:pt x="5820635" y="6510026"/>
                  <a:pt x="5817145" y="6505346"/>
                </a:cubicBezTo>
                <a:cubicBezTo>
                  <a:pt x="5813658" y="6500666"/>
                  <a:pt x="5811914" y="6493530"/>
                  <a:pt x="5811914" y="6483937"/>
                </a:cubicBezTo>
                <a:cubicBezTo>
                  <a:pt x="5811914" y="6474438"/>
                  <a:pt x="5813635" y="6467336"/>
                  <a:pt x="5817079" y="6462633"/>
                </a:cubicBezTo>
                <a:cubicBezTo>
                  <a:pt x="5820520" y="6457930"/>
                  <a:pt x="5824683" y="6455578"/>
                  <a:pt x="5829564" y="6455578"/>
                </a:cubicBezTo>
                <a:close/>
                <a:moveTo>
                  <a:pt x="2774990" y="6455578"/>
                </a:moveTo>
                <a:cubicBezTo>
                  <a:pt x="2779874" y="6455578"/>
                  <a:pt x="2783923" y="6457962"/>
                  <a:pt x="2787135" y="6462729"/>
                </a:cubicBezTo>
                <a:cubicBezTo>
                  <a:pt x="2790345" y="6467496"/>
                  <a:pt x="2791951" y="6475066"/>
                  <a:pt x="2791951" y="6485437"/>
                </a:cubicBezTo>
                <a:cubicBezTo>
                  <a:pt x="2791951" y="6494460"/>
                  <a:pt x="2790345" y="6501204"/>
                  <a:pt x="2787135" y="6505668"/>
                </a:cubicBezTo>
                <a:cubicBezTo>
                  <a:pt x="2783923" y="6510133"/>
                  <a:pt x="2780133" y="6512366"/>
                  <a:pt x="2775759" y="6512366"/>
                </a:cubicBezTo>
                <a:cubicBezTo>
                  <a:pt x="2771336" y="6512366"/>
                  <a:pt x="2767460" y="6510040"/>
                  <a:pt x="2764133" y="6505389"/>
                </a:cubicBezTo>
                <a:cubicBezTo>
                  <a:pt x="2760806" y="6500738"/>
                  <a:pt x="2759145" y="6493623"/>
                  <a:pt x="2759145" y="6484042"/>
                </a:cubicBezTo>
                <a:cubicBezTo>
                  <a:pt x="2759145" y="6474228"/>
                  <a:pt x="2760704" y="6467031"/>
                  <a:pt x="2763822" y="6462450"/>
                </a:cubicBezTo>
                <a:cubicBezTo>
                  <a:pt x="2766936" y="6457869"/>
                  <a:pt x="2770658" y="6455578"/>
                  <a:pt x="2774990" y="6455578"/>
                </a:cubicBezTo>
                <a:close/>
                <a:moveTo>
                  <a:pt x="2510511" y="6455578"/>
                </a:moveTo>
                <a:cubicBezTo>
                  <a:pt x="2515626" y="6455578"/>
                  <a:pt x="2519836" y="6457881"/>
                  <a:pt x="2523140" y="6462485"/>
                </a:cubicBezTo>
                <a:cubicBezTo>
                  <a:pt x="2525417" y="6465648"/>
                  <a:pt x="2526789" y="6470438"/>
                  <a:pt x="2527255" y="6476856"/>
                </a:cubicBezTo>
                <a:lnTo>
                  <a:pt x="2493349" y="6476856"/>
                </a:lnTo>
                <a:cubicBezTo>
                  <a:pt x="2493675" y="6470345"/>
                  <a:pt x="2495465" y="6465171"/>
                  <a:pt x="2498723" y="6461334"/>
                </a:cubicBezTo>
                <a:cubicBezTo>
                  <a:pt x="2501977" y="6457497"/>
                  <a:pt x="2505907" y="6455578"/>
                  <a:pt x="2510511" y="6455578"/>
                </a:cubicBezTo>
                <a:close/>
                <a:moveTo>
                  <a:pt x="1871776" y="6455578"/>
                </a:moveTo>
                <a:cubicBezTo>
                  <a:pt x="1876939" y="6455578"/>
                  <a:pt x="1881264" y="6457918"/>
                  <a:pt x="1884752" y="6462598"/>
                </a:cubicBezTo>
                <a:cubicBezTo>
                  <a:pt x="1888240" y="6467278"/>
                  <a:pt x="1889984" y="6474391"/>
                  <a:pt x="1889984" y="6483937"/>
                </a:cubicBezTo>
                <a:cubicBezTo>
                  <a:pt x="1889984" y="6493437"/>
                  <a:pt x="1888252" y="6500549"/>
                  <a:pt x="1884787" y="6505276"/>
                </a:cubicBezTo>
                <a:cubicBezTo>
                  <a:pt x="1881322" y="6510002"/>
                  <a:pt x="1877171" y="6512366"/>
                  <a:pt x="1872334" y="6512366"/>
                </a:cubicBezTo>
                <a:cubicBezTo>
                  <a:pt x="1867172" y="6512366"/>
                  <a:pt x="1862846" y="6510026"/>
                  <a:pt x="1859358" y="6505346"/>
                </a:cubicBezTo>
                <a:cubicBezTo>
                  <a:pt x="1855870" y="6500666"/>
                  <a:pt x="1854126" y="6493530"/>
                  <a:pt x="1854126" y="6483937"/>
                </a:cubicBezTo>
                <a:cubicBezTo>
                  <a:pt x="1854126" y="6474438"/>
                  <a:pt x="1855847" y="6467336"/>
                  <a:pt x="1859288" y="6462633"/>
                </a:cubicBezTo>
                <a:cubicBezTo>
                  <a:pt x="1862731" y="6457930"/>
                  <a:pt x="1866893" y="6455578"/>
                  <a:pt x="1871776" y="6455578"/>
                </a:cubicBezTo>
                <a:close/>
                <a:moveTo>
                  <a:pt x="1586584" y="6455578"/>
                </a:moveTo>
                <a:cubicBezTo>
                  <a:pt x="1591700" y="6455578"/>
                  <a:pt x="1595909" y="6457881"/>
                  <a:pt x="1599211" y="6462485"/>
                </a:cubicBezTo>
                <a:cubicBezTo>
                  <a:pt x="1601491" y="6465648"/>
                  <a:pt x="1602862" y="6470438"/>
                  <a:pt x="1603327" y="6476856"/>
                </a:cubicBezTo>
                <a:lnTo>
                  <a:pt x="1569422" y="6476856"/>
                </a:lnTo>
                <a:cubicBezTo>
                  <a:pt x="1569748" y="6470345"/>
                  <a:pt x="1571538" y="6465171"/>
                  <a:pt x="1574794" y="6461334"/>
                </a:cubicBezTo>
                <a:cubicBezTo>
                  <a:pt x="1578050" y="6457497"/>
                  <a:pt x="1581980" y="6455578"/>
                  <a:pt x="1586584" y="6455578"/>
                </a:cubicBezTo>
                <a:close/>
                <a:moveTo>
                  <a:pt x="1317685" y="6455578"/>
                </a:moveTo>
                <a:cubicBezTo>
                  <a:pt x="1322486" y="6455578"/>
                  <a:pt x="1326564" y="6457851"/>
                  <a:pt x="1329920" y="6462398"/>
                </a:cubicBezTo>
                <a:cubicBezTo>
                  <a:pt x="1333275" y="6466944"/>
                  <a:pt x="1334953" y="6473880"/>
                  <a:pt x="1334953" y="6483205"/>
                </a:cubicBezTo>
                <a:cubicBezTo>
                  <a:pt x="1334953" y="6492763"/>
                  <a:pt x="1333322" y="6499734"/>
                  <a:pt x="1330059" y="6504117"/>
                </a:cubicBezTo>
                <a:cubicBezTo>
                  <a:pt x="1326797" y="6508500"/>
                  <a:pt x="1322836" y="6510691"/>
                  <a:pt x="1318175" y="6510691"/>
                </a:cubicBezTo>
                <a:cubicBezTo>
                  <a:pt x="1313514" y="6510691"/>
                  <a:pt x="1309575" y="6508453"/>
                  <a:pt x="1306360" y="6503977"/>
                </a:cubicBezTo>
                <a:cubicBezTo>
                  <a:pt x="1303144" y="6499501"/>
                  <a:pt x="1301536" y="6492390"/>
                  <a:pt x="1301536" y="6482645"/>
                </a:cubicBezTo>
                <a:cubicBezTo>
                  <a:pt x="1301536" y="6473693"/>
                  <a:pt x="1303156" y="6466944"/>
                  <a:pt x="1306395" y="6462398"/>
                </a:cubicBezTo>
                <a:cubicBezTo>
                  <a:pt x="1309635" y="6457851"/>
                  <a:pt x="1313398" y="6455578"/>
                  <a:pt x="1317685" y="6455578"/>
                </a:cubicBezTo>
                <a:close/>
                <a:moveTo>
                  <a:pt x="1071676" y="6455578"/>
                </a:moveTo>
                <a:cubicBezTo>
                  <a:pt x="1076839" y="6455578"/>
                  <a:pt x="1081164" y="6457918"/>
                  <a:pt x="1084652" y="6462598"/>
                </a:cubicBezTo>
                <a:cubicBezTo>
                  <a:pt x="1088140" y="6467278"/>
                  <a:pt x="1089884" y="6474391"/>
                  <a:pt x="1089884" y="6483937"/>
                </a:cubicBezTo>
                <a:cubicBezTo>
                  <a:pt x="1089884" y="6493437"/>
                  <a:pt x="1088152" y="6500549"/>
                  <a:pt x="1084687" y="6505276"/>
                </a:cubicBezTo>
                <a:cubicBezTo>
                  <a:pt x="1081222" y="6510002"/>
                  <a:pt x="1077071" y="6512366"/>
                  <a:pt x="1072234" y="6512366"/>
                </a:cubicBezTo>
                <a:cubicBezTo>
                  <a:pt x="1067072" y="6512366"/>
                  <a:pt x="1062746" y="6510026"/>
                  <a:pt x="1059258" y="6505346"/>
                </a:cubicBezTo>
                <a:cubicBezTo>
                  <a:pt x="1055770" y="6500666"/>
                  <a:pt x="1054026" y="6493530"/>
                  <a:pt x="1054026" y="6483937"/>
                </a:cubicBezTo>
                <a:cubicBezTo>
                  <a:pt x="1054026" y="6474438"/>
                  <a:pt x="1055747" y="6467336"/>
                  <a:pt x="1059188" y="6462633"/>
                </a:cubicBezTo>
                <a:cubicBezTo>
                  <a:pt x="1062630" y="6457930"/>
                  <a:pt x="1066793" y="6455578"/>
                  <a:pt x="1071676" y="6455578"/>
                </a:cubicBezTo>
                <a:close/>
                <a:moveTo>
                  <a:pt x="1139788" y="6455090"/>
                </a:moveTo>
                <a:cubicBezTo>
                  <a:pt x="1144380" y="6455090"/>
                  <a:pt x="1148277" y="6457415"/>
                  <a:pt x="1151478" y="6462066"/>
                </a:cubicBezTo>
                <a:cubicBezTo>
                  <a:pt x="1154680" y="6466717"/>
                  <a:pt x="1156280" y="6473880"/>
                  <a:pt x="1156280" y="6483553"/>
                </a:cubicBezTo>
                <a:cubicBezTo>
                  <a:pt x="1156280" y="6493367"/>
                  <a:pt x="1154633" y="6500622"/>
                  <a:pt x="1151339" y="6505320"/>
                </a:cubicBezTo>
                <a:cubicBezTo>
                  <a:pt x="1148046" y="6510017"/>
                  <a:pt x="1144218" y="6512366"/>
                  <a:pt x="1139857" y="6512366"/>
                </a:cubicBezTo>
                <a:cubicBezTo>
                  <a:pt x="1135310" y="6512366"/>
                  <a:pt x="1131436" y="6510098"/>
                  <a:pt x="1128235" y="6505564"/>
                </a:cubicBezTo>
                <a:cubicBezTo>
                  <a:pt x="1125034" y="6501029"/>
                  <a:pt x="1123434" y="6493971"/>
                  <a:pt x="1123434" y="6484391"/>
                </a:cubicBezTo>
                <a:cubicBezTo>
                  <a:pt x="1123434" y="6474856"/>
                  <a:pt x="1125127" y="6467589"/>
                  <a:pt x="1128514" y="6462590"/>
                </a:cubicBezTo>
                <a:cubicBezTo>
                  <a:pt x="1131901" y="6457590"/>
                  <a:pt x="1135659" y="6455090"/>
                  <a:pt x="1139788" y="6455090"/>
                </a:cubicBezTo>
                <a:close/>
                <a:moveTo>
                  <a:pt x="6224384" y="6446928"/>
                </a:moveTo>
                <a:lnTo>
                  <a:pt x="6224384" y="6521016"/>
                </a:lnTo>
                <a:lnTo>
                  <a:pt x="6234640" y="6521016"/>
                </a:lnTo>
                <a:lnTo>
                  <a:pt x="6234640" y="6446928"/>
                </a:lnTo>
                <a:close/>
                <a:moveTo>
                  <a:pt x="5967211" y="6446928"/>
                </a:moveTo>
                <a:lnTo>
                  <a:pt x="5967211" y="6521016"/>
                </a:lnTo>
                <a:lnTo>
                  <a:pt x="5977467" y="6521016"/>
                </a:lnTo>
                <a:lnTo>
                  <a:pt x="5977467" y="6446928"/>
                </a:lnTo>
                <a:close/>
                <a:moveTo>
                  <a:pt x="2380902" y="6446928"/>
                </a:moveTo>
                <a:lnTo>
                  <a:pt x="2380902" y="6521016"/>
                </a:lnTo>
                <a:lnTo>
                  <a:pt x="2391160" y="6521016"/>
                </a:lnTo>
                <a:lnTo>
                  <a:pt x="2391160" y="6446928"/>
                </a:lnTo>
                <a:close/>
                <a:moveTo>
                  <a:pt x="2287711" y="6446928"/>
                </a:moveTo>
                <a:lnTo>
                  <a:pt x="2306375" y="6521016"/>
                </a:lnTo>
                <a:lnTo>
                  <a:pt x="2317119" y="6521016"/>
                </a:lnTo>
                <a:lnTo>
                  <a:pt x="2329394" y="6464020"/>
                </a:lnTo>
                <a:lnTo>
                  <a:pt x="2331698" y="6476647"/>
                </a:lnTo>
                <a:lnTo>
                  <a:pt x="2341394" y="6521016"/>
                </a:lnTo>
                <a:lnTo>
                  <a:pt x="2352113" y="6521016"/>
                </a:lnTo>
                <a:lnTo>
                  <a:pt x="2371081" y="6446928"/>
                </a:lnTo>
                <a:lnTo>
                  <a:pt x="2361033" y="6446928"/>
                </a:lnTo>
                <a:lnTo>
                  <a:pt x="2350666" y="6489762"/>
                </a:lnTo>
                <a:lnTo>
                  <a:pt x="2347183" y="6504064"/>
                </a:lnTo>
                <a:lnTo>
                  <a:pt x="2344125" y="6489902"/>
                </a:lnTo>
                <a:lnTo>
                  <a:pt x="2335086" y="6446928"/>
                </a:lnTo>
                <a:lnTo>
                  <a:pt x="2324456" y="6446928"/>
                </a:lnTo>
                <a:lnTo>
                  <a:pt x="2314822" y="6490320"/>
                </a:lnTo>
                <a:lnTo>
                  <a:pt x="2311609" y="6505599"/>
                </a:lnTo>
                <a:lnTo>
                  <a:pt x="2308033" y="6489693"/>
                </a:lnTo>
                <a:lnTo>
                  <a:pt x="2298356" y="6446928"/>
                </a:lnTo>
                <a:close/>
                <a:moveTo>
                  <a:pt x="1818925" y="6446928"/>
                </a:moveTo>
                <a:lnTo>
                  <a:pt x="1818925" y="6521016"/>
                </a:lnTo>
                <a:lnTo>
                  <a:pt x="1829180" y="6521016"/>
                </a:lnTo>
                <a:lnTo>
                  <a:pt x="1829180" y="6446928"/>
                </a:lnTo>
                <a:close/>
                <a:moveTo>
                  <a:pt x="1752248" y="6446928"/>
                </a:moveTo>
                <a:lnTo>
                  <a:pt x="1752248" y="6521016"/>
                </a:lnTo>
                <a:lnTo>
                  <a:pt x="1762504" y="6521016"/>
                </a:lnTo>
                <a:lnTo>
                  <a:pt x="1762504" y="6446928"/>
                </a:lnTo>
                <a:close/>
                <a:moveTo>
                  <a:pt x="1266473" y="6446928"/>
                </a:moveTo>
                <a:lnTo>
                  <a:pt x="1266473" y="6521016"/>
                </a:lnTo>
                <a:lnTo>
                  <a:pt x="1276729" y="6521016"/>
                </a:lnTo>
                <a:lnTo>
                  <a:pt x="1276729" y="6446928"/>
                </a:lnTo>
                <a:close/>
                <a:moveTo>
                  <a:pt x="6278772" y="6445253"/>
                </a:moveTo>
                <a:cubicBezTo>
                  <a:pt x="6270586" y="6445253"/>
                  <a:pt x="6264296" y="6447067"/>
                  <a:pt x="6259901" y="6450695"/>
                </a:cubicBezTo>
                <a:cubicBezTo>
                  <a:pt x="6255506" y="6454323"/>
                  <a:pt x="6252587" y="6460113"/>
                  <a:pt x="6251146" y="6468066"/>
                </a:cubicBezTo>
                <a:lnTo>
                  <a:pt x="6261261" y="6469740"/>
                </a:lnTo>
                <a:cubicBezTo>
                  <a:pt x="6262377" y="6464272"/>
                  <a:pt x="6264122" y="6460544"/>
                  <a:pt x="6266493" y="6458558"/>
                </a:cubicBezTo>
                <a:cubicBezTo>
                  <a:pt x="6268865" y="6456572"/>
                  <a:pt x="6272447" y="6455578"/>
                  <a:pt x="6277237" y="6455578"/>
                </a:cubicBezTo>
                <a:cubicBezTo>
                  <a:pt x="6282539" y="6455578"/>
                  <a:pt x="6286469" y="6457067"/>
                  <a:pt x="6289027" y="6460043"/>
                </a:cubicBezTo>
                <a:cubicBezTo>
                  <a:pt x="6290841" y="6462090"/>
                  <a:pt x="6291748" y="6465648"/>
                  <a:pt x="6291748" y="6470717"/>
                </a:cubicBezTo>
                <a:lnTo>
                  <a:pt x="6291678" y="6473926"/>
                </a:lnTo>
                <a:cubicBezTo>
                  <a:pt x="6287771" y="6475627"/>
                  <a:pt x="6281632" y="6477092"/>
                  <a:pt x="6273260" y="6478321"/>
                </a:cubicBezTo>
                <a:cubicBezTo>
                  <a:pt x="6267028" y="6479205"/>
                  <a:pt x="6262377" y="6480577"/>
                  <a:pt x="6259308" y="6482437"/>
                </a:cubicBezTo>
                <a:cubicBezTo>
                  <a:pt x="6256238" y="6484298"/>
                  <a:pt x="6253820" y="6486879"/>
                  <a:pt x="6252052" y="6490181"/>
                </a:cubicBezTo>
                <a:cubicBezTo>
                  <a:pt x="6250285" y="6493483"/>
                  <a:pt x="6249401" y="6497274"/>
                  <a:pt x="6249401" y="6501552"/>
                </a:cubicBezTo>
                <a:cubicBezTo>
                  <a:pt x="6249401" y="6508017"/>
                  <a:pt x="6251285" y="6513156"/>
                  <a:pt x="6255052" y="6516970"/>
                </a:cubicBezTo>
                <a:cubicBezTo>
                  <a:pt x="6258820" y="6520784"/>
                  <a:pt x="6263866" y="6522691"/>
                  <a:pt x="6270191" y="6522691"/>
                </a:cubicBezTo>
                <a:cubicBezTo>
                  <a:pt x="6274191" y="6522691"/>
                  <a:pt x="6278051" y="6521783"/>
                  <a:pt x="6281772" y="6519969"/>
                </a:cubicBezTo>
                <a:cubicBezTo>
                  <a:pt x="6285492" y="6518155"/>
                  <a:pt x="6289073" y="6515457"/>
                  <a:pt x="6292515" y="6511876"/>
                </a:cubicBezTo>
                <a:cubicBezTo>
                  <a:pt x="6292841" y="6515412"/>
                  <a:pt x="6293538" y="6518458"/>
                  <a:pt x="6294608" y="6521016"/>
                </a:cubicBezTo>
                <a:lnTo>
                  <a:pt x="6305352" y="6521016"/>
                </a:lnTo>
                <a:cubicBezTo>
                  <a:pt x="6304049" y="6518133"/>
                  <a:pt x="6303177" y="6515168"/>
                  <a:pt x="6302735" y="6512121"/>
                </a:cubicBezTo>
                <a:cubicBezTo>
                  <a:pt x="6302294" y="6509075"/>
                  <a:pt x="6302073" y="6501692"/>
                  <a:pt x="6302073" y="6489972"/>
                </a:cubicBezTo>
                <a:lnTo>
                  <a:pt x="6302073" y="6473228"/>
                </a:lnTo>
                <a:cubicBezTo>
                  <a:pt x="6302073" y="6466438"/>
                  <a:pt x="6301596" y="6461276"/>
                  <a:pt x="6300643" y="6457741"/>
                </a:cubicBezTo>
                <a:cubicBezTo>
                  <a:pt x="6299689" y="6454206"/>
                  <a:pt x="6297399" y="6451241"/>
                  <a:pt x="6293771" y="6448846"/>
                </a:cubicBezTo>
                <a:cubicBezTo>
                  <a:pt x="6290143" y="6446451"/>
                  <a:pt x="6285143" y="6445253"/>
                  <a:pt x="6278772" y="6445253"/>
                </a:cubicBezTo>
                <a:close/>
                <a:moveTo>
                  <a:pt x="6157704" y="6445253"/>
                </a:moveTo>
                <a:cubicBezTo>
                  <a:pt x="6153525" y="6445253"/>
                  <a:pt x="6149822" y="6446259"/>
                  <a:pt x="6146596" y="6448271"/>
                </a:cubicBezTo>
                <a:cubicBezTo>
                  <a:pt x="6143369" y="6450283"/>
                  <a:pt x="6140642" y="6453324"/>
                  <a:pt x="6138413" y="6457393"/>
                </a:cubicBezTo>
                <a:lnTo>
                  <a:pt x="6138413" y="6446928"/>
                </a:lnTo>
                <a:lnTo>
                  <a:pt x="6129134" y="6446928"/>
                </a:lnTo>
                <a:lnTo>
                  <a:pt x="6129134" y="6521016"/>
                </a:lnTo>
                <a:lnTo>
                  <a:pt x="6139390" y="6521016"/>
                </a:lnTo>
                <a:lnTo>
                  <a:pt x="6139390" y="6480510"/>
                </a:lnTo>
                <a:cubicBezTo>
                  <a:pt x="6139390" y="6471571"/>
                  <a:pt x="6140855" y="6465262"/>
                  <a:pt x="6143785" y="6461584"/>
                </a:cubicBezTo>
                <a:cubicBezTo>
                  <a:pt x="6146715" y="6457906"/>
                  <a:pt x="6150645" y="6456067"/>
                  <a:pt x="6155575" y="6456067"/>
                </a:cubicBezTo>
                <a:cubicBezTo>
                  <a:pt x="6158179" y="6456067"/>
                  <a:pt x="6160470" y="6456753"/>
                  <a:pt x="6162446" y="6458127"/>
                </a:cubicBezTo>
                <a:cubicBezTo>
                  <a:pt x="6164423" y="6459500"/>
                  <a:pt x="6165876" y="6461444"/>
                  <a:pt x="6166807" y="6463958"/>
                </a:cubicBezTo>
                <a:cubicBezTo>
                  <a:pt x="6167737" y="6466472"/>
                  <a:pt x="6168202" y="6470453"/>
                  <a:pt x="6168202" y="6475901"/>
                </a:cubicBezTo>
                <a:lnTo>
                  <a:pt x="6168202" y="6521016"/>
                </a:lnTo>
                <a:lnTo>
                  <a:pt x="6178457" y="6521016"/>
                </a:lnTo>
                <a:lnTo>
                  <a:pt x="6178457" y="6475461"/>
                </a:lnTo>
                <a:cubicBezTo>
                  <a:pt x="6178457" y="6468624"/>
                  <a:pt x="6178039" y="6463555"/>
                  <a:pt x="6177203" y="6460253"/>
                </a:cubicBezTo>
                <a:cubicBezTo>
                  <a:pt x="6176368" y="6456950"/>
                  <a:pt x="6175103" y="6454265"/>
                  <a:pt x="6173408" y="6452195"/>
                </a:cubicBezTo>
                <a:cubicBezTo>
                  <a:pt x="6171713" y="6450125"/>
                  <a:pt x="6169485" y="6448451"/>
                  <a:pt x="6166722" y="6447172"/>
                </a:cubicBezTo>
                <a:cubicBezTo>
                  <a:pt x="6163960" y="6445893"/>
                  <a:pt x="6160953" y="6445253"/>
                  <a:pt x="6157704" y="6445253"/>
                </a:cubicBezTo>
                <a:close/>
                <a:moveTo>
                  <a:pt x="6087367" y="6445253"/>
                </a:moveTo>
                <a:cubicBezTo>
                  <a:pt x="6079136" y="6445253"/>
                  <a:pt x="6072333" y="6448614"/>
                  <a:pt x="6066962" y="6455334"/>
                </a:cubicBezTo>
                <a:cubicBezTo>
                  <a:pt x="6061591" y="6462055"/>
                  <a:pt x="6058901" y="6471810"/>
                  <a:pt x="6058901" y="6484600"/>
                </a:cubicBezTo>
                <a:cubicBezTo>
                  <a:pt x="6058901" y="6496925"/>
                  <a:pt x="6061564" y="6506354"/>
                  <a:pt x="6066893" y="6512889"/>
                </a:cubicBezTo>
                <a:cubicBezTo>
                  <a:pt x="6072218" y="6519423"/>
                  <a:pt x="6079182" y="6522691"/>
                  <a:pt x="6087783" y="6522691"/>
                </a:cubicBezTo>
                <a:cubicBezTo>
                  <a:pt x="6094622" y="6522691"/>
                  <a:pt x="6100352" y="6520679"/>
                  <a:pt x="6104980" y="6516656"/>
                </a:cubicBezTo>
                <a:cubicBezTo>
                  <a:pt x="6109608" y="6512633"/>
                  <a:pt x="6112805" y="6506668"/>
                  <a:pt x="6114573" y="6498762"/>
                </a:cubicBezTo>
                <a:lnTo>
                  <a:pt x="6103969" y="6497157"/>
                </a:lnTo>
                <a:cubicBezTo>
                  <a:pt x="6100945" y="6507296"/>
                  <a:pt x="6095574" y="6512366"/>
                  <a:pt x="6087853" y="6512366"/>
                </a:cubicBezTo>
                <a:cubicBezTo>
                  <a:pt x="6082926" y="6512366"/>
                  <a:pt x="6078737" y="6510249"/>
                  <a:pt x="6075296" y="6506017"/>
                </a:cubicBezTo>
                <a:cubicBezTo>
                  <a:pt x="6071858" y="6501785"/>
                  <a:pt x="6069924" y="6495506"/>
                  <a:pt x="6069506" y="6487181"/>
                </a:cubicBezTo>
                <a:lnTo>
                  <a:pt x="6114852" y="6487181"/>
                </a:lnTo>
                <a:lnTo>
                  <a:pt x="6114921" y="6483832"/>
                </a:lnTo>
                <a:cubicBezTo>
                  <a:pt x="6114921" y="6471322"/>
                  <a:pt x="6112294" y="6461764"/>
                  <a:pt x="6107038" y="6455160"/>
                </a:cubicBezTo>
                <a:cubicBezTo>
                  <a:pt x="6101783" y="6448556"/>
                  <a:pt x="6095225" y="6445253"/>
                  <a:pt x="6087367" y="6445253"/>
                </a:cubicBezTo>
                <a:close/>
                <a:moveTo>
                  <a:pt x="5900531" y="6445253"/>
                </a:moveTo>
                <a:cubicBezTo>
                  <a:pt x="5896351" y="6445253"/>
                  <a:pt x="5892648" y="6446259"/>
                  <a:pt x="5889422" y="6448271"/>
                </a:cubicBezTo>
                <a:cubicBezTo>
                  <a:pt x="5886194" y="6450283"/>
                  <a:pt x="5883469" y="6453324"/>
                  <a:pt x="5881238" y="6457393"/>
                </a:cubicBezTo>
                <a:lnTo>
                  <a:pt x="5881238" y="6446928"/>
                </a:lnTo>
                <a:lnTo>
                  <a:pt x="5871961" y="6446928"/>
                </a:lnTo>
                <a:lnTo>
                  <a:pt x="5871961" y="6521016"/>
                </a:lnTo>
                <a:lnTo>
                  <a:pt x="5882218" y="6521016"/>
                </a:lnTo>
                <a:lnTo>
                  <a:pt x="5882218" y="6480510"/>
                </a:lnTo>
                <a:cubicBezTo>
                  <a:pt x="5882218" y="6471571"/>
                  <a:pt x="5883681" y="6465262"/>
                  <a:pt x="5886612" y="6461584"/>
                </a:cubicBezTo>
                <a:cubicBezTo>
                  <a:pt x="5889540" y="6457906"/>
                  <a:pt x="5893471" y="6456067"/>
                  <a:pt x="5898402" y="6456067"/>
                </a:cubicBezTo>
                <a:cubicBezTo>
                  <a:pt x="5901009" y="6456067"/>
                  <a:pt x="5903296" y="6456753"/>
                  <a:pt x="5905276" y="6458127"/>
                </a:cubicBezTo>
                <a:cubicBezTo>
                  <a:pt x="5907250" y="6459500"/>
                  <a:pt x="5908702" y="6461444"/>
                  <a:pt x="5909633" y="6463958"/>
                </a:cubicBezTo>
                <a:cubicBezTo>
                  <a:pt x="5910564" y="6466472"/>
                  <a:pt x="5911030" y="6470453"/>
                  <a:pt x="5911030" y="6475901"/>
                </a:cubicBezTo>
                <a:lnTo>
                  <a:pt x="5911030" y="6521016"/>
                </a:lnTo>
                <a:lnTo>
                  <a:pt x="5921285" y="6521016"/>
                </a:lnTo>
                <a:lnTo>
                  <a:pt x="5921285" y="6475461"/>
                </a:lnTo>
                <a:cubicBezTo>
                  <a:pt x="5921285" y="6468624"/>
                  <a:pt x="5920866" y="6463555"/>
                  <a:pt x="5920030" y="6460253"/>
                </a:cubicBezTo>
                <a:cubicBezTo>
                  <a:pt x="5919194" y="6456950"/>
                  <a:pt x="5917929" y="6454265"/>
                  <a:pt x="5916235" y="6452195"/>
                </a:cubicBezTo>
                <a:cubicBezTo>
                  <a:pt x="5914540" y="6450125"/>
                  <a:pt x="5912313" y="6448451"/>
                  <a:pt x="5909549" y="6447172"/>
                </a:cubicBezTo>
                <a:cubicBezTo>
                  <a:pt x="5906787" y="6445893"/>
                  <a:pt x="5903781" y="6445253"/>
                  <a:pt x="5900531" y="6445253"/>
                </a:cubicBezTo>
                <a:close/>
                <a:moveTo>
                  <a:pt x="5829842" y="6445253"/>
                </a:moveTo>
                <a:cubicBezTo>
                  <a:pt x="5821611" y="6445253"/>
                  <a:pt x="5814808" y="6448509"/>
                  <a:pt x="5809436" y="6455020"/>
                </a:cubicBezTo>
                <a:cubicBezTo>
                  <a:pt x="5804066" y="6461532"/>
                  <a:pt x="5801380" y="6471182"/>
                  <a:pt x="5801380" y="6483972"/>
                </a:cubicBezTo>
                <a:cubicBezTo>
                  <a:pt x="5801380" y="6496715"/>
                  <a:pt x="5804089" y="6506354"/>
                  <a:pt x="5809506" y="6512889"/>
                </a:cubicBezTo>
                <a:cubicBezTo>
                  <a:pt x="5814925" y="6519423"/>
                  <a:pt x="5821705" y="6522691"/>
                  <a:pt x="5829842" y="6522691"/>
                </a:cubicBezTo>
                <a:cubicBezTo>
                  <a:pt x="5838120" y="6522691"/>
                  <a:pt x="5844934" y="6519435"/>
                  <a:pt x="5850285" y="6512924"/>
                </a:cubicBezTo>
                <a:cubicBezTo>
                  <a:pt x="5855632" y="6506412"/>
                  <a:pt x="5858305" y="6496506"/>
                  <a:pt x="5858305" y="6483205"/>
                </a:cubicBezTo>
                <a:cubicBezTo>
                  <a:pt x="5858305" y="6470926"/>
                  <a:pt x="5855587" y="6461532"/>
                  <a:pt x="5850143" y="6455020"/>
                </a:cubicBezTo>
                <a:cubicBezTo>
                  <a:pt x="5844702" y="6448509"/>
                  <a:pt x="5837938" y="6445253"/>
                  <a:pt x="5829842" y="6445253"/>
                </a:cubicBezTo>
                <a:close/>
                <a:moveTo>
                  <a:pt x="2714271" y="6445253"/>
                </a:moveTo>
                <a:cubicBezTo>
                  <a:pt x="2710094" y="6445253"/>
                  <a:pt x="2706388" y="6446259"/>
                  <a:pt x="2703162" y="6448271"/>
                </a:cubicBezTo>
                <a:cubicBezTo>
                  <a:pt x="2699936" y="6450283"/>
                  <a:pt x="2697209" y="6453324"/>
                  <a:pt x="2694979" y="6457393"/>
                </a:cubicBezTo>
                <a:lnTo>
                  <a:pt x="2694979" y="6446928"/>
                </a:lnTo>
                <a:lnTo>
                  <a:pt x="2685702" y="6446928"/>
                </a:lnTo>
                <a:lnTo>
                  <a:pt x="2685702" y="6521016"/>
                </a:lnTo>
                <a:lnTo>
                  <a:pt x="2695956" y="6521016"/>
                </a:lnTo>
                <a:lnTo>
                  <a:pt x="2695956" y="6480510"/>
                </a:lnTo>
                <a:cubicBezTo>
                  <a:pt x="2695956" y="6471571"/>
                  <a:pt x="2697421" y="6465262"/>
                  <a:pt x="2700353" y="6461584"/>
                </a:cubicBezTo>
                <a:cubicBezTo>
                  <a:pt x="2703282" y="6457906"/>
                  <a:pt x="2707212" y="6456067"/>
                  <a:pt x="2712140" y="6456067"/>
                </a:cubicBezTo>
                <a:cubicBezTo>
                  <a:pt x="2714745" y="6456067"/>
                  <a:pt x="2717037" y="6456753"/>
                  <a:pt x="2719012" y="6458127"/>
                </a:cubicBezTo>
                <a:cubicBezTo>
                  <a:pt x="2720992" y="6459500"/>
                  <a:pt x="2722442" y="6461444"/>
                  <a:pt x="2723374" y="6463958"/>
                </a:cubicBezTo>
                <a:cubicBezTo>
                  <a:pt x="2724302" y="6466472"/>
                  <a:pt x="2724768" y="6470453"/>
                  <a:pt x="2724768" y="6475901"/>
                </a:cubicBezTo>
                <a:lnTo>
                  <a:pt x="2724768" y="6521016"/>
                </a:lnTo>
                <a:lnTo>
                  <a:pt x="2735023" y="6521016"/>
                </a:lnTo>
                <a:lnTo>
                  <a:pt x="2735023" y="6475461"/>
                </a:lnTo>
                <a:cubicBezTo>
                  <a:pt x="2735023" y="6468624"/>
                  <a:pt x="2734605" y="6463555"/>
                  <a:pt x="2733768" y="6460253"/>
                </a:cubicBezTo>
                <a:cubicBezTo>
                  <a:pt x="2732936" y="6456950"/>
                  <a:pt x="2731669" y="6454265"/>
                  <a:pt x="2729976" y="6452195"/>
                </a:cubicBezTo>
                <a:cubicBezTo>
                  <a:pt x="2728278" y="6450125"/>
                  <a:pt x="2726053" y="6448451"/>
                  <a:pt x="2723290" y="6447172"/>
                </a:cubicBezTo>
                <a:cubicBezTo>
                  <a:pt x="2720528" y="6445893"/>
                  <a:pt x="2717521" y="6445253"/>
                  <a:pt x="2714271" y="6445253"/>
                </a:cubicBezTo>
                <a:close/>
                <a:moveTo>
                  <a:pt x="2644839" y="6445253"/>
                </a:moveTo>
                <a:cubicBezTo>
                  <a:pt x="2636651" y="6445253"/>
                  <a:pt x="2630365" y="6447067"/>
                  <a:pt x="2625967" y="6450695"/>
                </a:cubicBezTo>
                <a:cubicBezTo>
                  <a:pt x="2621573" y="6454323"/>
                  <a:pt x="2618653" y="6460113"/>
                  <a:pt x="2617211" y="6468066"/>
                </a:cubicBezTo>
                <a:lnTo>
                  <a:pt x="2627327" y="6469740"/>
                </a:lnTo>
                <a:cubicBezTo>
                  <a:pt x="2628444" y="6464272"/>
                  <a:pt x="2630187" y="6460544"/>
                  <a:pt x="2632562" y="6458558"/>
                </a:cubicBezTo>
                <a:cubicBezTo>
                  <a:pt x="2634933" y="6456572"/>
                  <a:pt x="2638514" y="6455578"/>
                  <a:pt x="2643303" y="6455578"/>
                </a:cubicBezTo>
                <a:cubicBezTo>
                  <a:pt x="2648605" y="6455578"/>
                  <a:pt x="2652535" y="6457067"/>
                  <a:pt x="2655093" y="6460043"/>
                </a:cubicBezTo>
                <a:cubicBezTo>
                  <a:pt x="2656907" y="6462090"/>
                  <a:pt x="2657815" y="6465648"/>
                  <a:pt x="2657815" y="6470717"/>
                </a:cubicBezTo>
                <a:lnTo>
                  <a:pt x="2657744" y="6473926"/>
                </a:lnTo>
                <a:cubicBezTo>
                  <a:pt x="2653837" y="6475627"/>
                  <a:pt x="2647697" y="6477092"/>
                  <a:pt x="2639327" y="6478321"/>
                </a:cubicBezTo>
                <a:cubicBezTo>
                  <a:pt x="2633095" y="6479205"/>
                  <a:pt x="2628444" y="6480577"/>
                  <a:pt x="2625374" y="6482437"/>
                </a:cubicBezTo>
                <a:cubicBezTo>
                  <a:pt x="2622305" y="6484298"/>
                  <a:pt x="2619888" y="6486879"/>
                  <a:pt x="2618117" y="6490181"/>
                </a:cubicBezTo>
                <a:cubicBezTo>
                  <a:pt x="2616351" y="6493483"/>
                  <a:pt x="2615466" y="6497274"/>
                  <a:pt x="2615466" y="6501552"/>
                </a:cubicBezTo>
                <a:cubicBezTo>
                  <a:pt x="2615466" y="6508017"/>
                  <a:pt x="2617352" y="6513156"/>
                  <a:pt x="2621117" y="6516970"/>
                </a:cubicBezTo>
                <a:cubicBezTo>
                  <a:pt x="2624885" y="6520784"/>
                  <a:pt x="2629931" y="6522691"/>
                  <a:pt x="2636258" y="6522691"/>
                </a:cubicBezTo>
                <a:cubicBezTo>
                  <a:pt x="2640257" y="6522691"/>
                  <a:pt x="2644116" y="6521783"/>
                  <a:pt x="2647837" y="6519969"/>
                </a:cubicBezTo>
                <a:cubicBezTo>
                  <a:pt x="2651557" y="6518155"/>
                  <a:pt x="2655138" y="6515457"/>
                  <a:pt x="2658582" y="6511876"/>
                </a:cubicBezTo>
                <a:cubicBezTo>
                  <a:pt x="2658907" y="6515412"/>
                  <a:pt x="2659605" y="6518458"/>
                  <a:pt x="2660674" y="6521016"/>
                </a:cubicBezTo>
                <a:lnTo>
                  <a:pt x="2671419" y="6521016"/>
                </a:lnTo>
                <a:cubicBezTo>
                  <a:pt x="2670114" y="6518133"/>
                  <a:pt x="2669242" y="6515168"/>
                  <a:pt x="2668802" y="6512121"/>
                </a:cubicBezTo>
                <a:cubicBezTo>
                  <a:pt x="2668359" y="6509075"/>
                  <a:pt x="2668139" y="6501692"/>
                  <a:pt x="2668139" y="6489972"/>
                </a:cubicBezTo>
                <a:lnTo>
                  <a:pt x="2668139" y="6473228"/>
                </a:lnTo>
                <a:cubicBezTo>
                  <a:pt x="2668139" y="6466438"/>
                  <a:pt x="2667663" y="6461276"/>
                  <a:pt x="2666708" y="6457741"/>
                </a:cubicBezTo>
                <a:cubicBezTo>
                  <a:pt x="2665757" y="6454206"/>
                  <a:pt x="2663466" y="6451241"/>
                  <a:pt x="2659837" y="6448846"/>
                </a:cubicBezTo>
                <a:cubicBezTo>
                  <a:pt x="2656209" y="6446451"/>
                  <a:pt x="2651208" y="6445253"/>
                  <a:pt x="2644839" y="6445253"/>
                </a:cubicBezTo>
                <a:close/>
                <a:moveTo>
                  <a:pt x="2574815" y="6445253"/>
                </a:moveTo>
                <a:cubicBezTo>
                  <a:pt x="2572348" y="6445253"/>
                  <a:pt x="2570128" y="6446102"/>
                  <a:pt x="2568151" y="6447800"/>
                </a:cubicBezTo>
                <a:cubicBezTo>
                  <a:pt x="2566174" y="6449497"/>
                  <a:pt x="2564001" y="6452951"/>
                  <a:pt x="2561629" y="6458160"/>
                </a:cubicBezTo>
                <a:lnTo>
                  <a:pt x="2561629" y="6446928"/>
                </a:lnTo>
                <a:lnTo>
                  <a:pt x="2552350" y="6446928"/>
                </a:lnTo>
                <a:lnTo>
                  <a:pt x="2552350" y="6521016"/>
                </a:lnTo>
                <a:lnTo>
                  <a:pt x="2562605" y="6521016"/>
                </a:lnTo>
                <a:lnTo>
                  <a:pt x="2562605" y="6482228"/>
                </a:lnTo>
                <a:cubicBezTo>
                  <a:pt x="2562605" y="6476833"/>
                  <a:pt x="2563260" y="6471740"/>
                  <a:pt x="2564558" y="6466950"/>
                </a:cubicBezTo>
                <a:cubicBezTo>
                  <a:pt x="2565303" y="6464206"/>
                  <a:pt x="2566582" y="6462066"/>
                  <a:pt x="2568395" y="6460532"/>
                </a:cubicBezTo>
                <a:cubicBezTo>
                  <a:pt x="2570209" y="6458997"/>
                  <a:pt x="2572211" y="6458229"/>
                  <a:pt x="2574395" y="6458229"/>
                </a:cubicBezTo>
                <a:cubicBezTo>
                  <a:pt x="2576814" y="6458229"/>
                  <a:pt x="2579304" y="6459136"/>
                  <a:pt x="2581860" y="6460950"/>
                </a:cubicBezTo>
                <a:lnTo>
                  <a:pt x="2585348" y="6449300"/>
                </a:lnTo>
                <a:cubicBezTo>
                  <a:pt x="2581767" y="6446602"/>
                  <a:pt x="2578257" y="6445253"/>
                  <a:pt x="2574815" y="6445253"/>
                </a:cubicBezTo>
                <a:close/>
                <a:moveTo>
                  <a:pt x="2510583" y="6445253"/>
                </a:moveTo>
                <a:cubicBezTo>
                  <a:pt x="2502349" y="6445253"/>
                  <a:pt x="2495548" y="6448614"/>
                  <a:pt x="2490178" y="6455334"/>
                </a:cubicBezTo>
                <a:cubicBezTo>
                  <a:pt x="2484802" y="6462055"/>
                  <a:pt x="2482119" y="6471810"/>
                  <a:pt x="2482119" y="6484600"/>
                </a:cubicBezTo>
                <a:cubicBezTo>
                  <a:pt x="2482119" y="6496925"/>
                  <a:pt x="2484780" y="6506354"/>
                  <a:pt x="2490104" y="6512889"/>
                </a:cubicBezTo>
                <a:cubicBezTo>
                  <a:pt x="2495431" y="6519423"/>
                  <a:pt x="2502398" y="6522691"/>
                  <a:pt x="2511000" y="6522691"/>
                </a:cubicBezTo>
                <a:cubicBezTo>
                  <a:pt x="2517838" y="6522691"/>
                  <a:pt x="2523569" y="6520679"/>
                  <a:pt x="2528195" y="6516656"/>
                </a:cubicBezTo>
                <a:cubicBezTo>
                  <a:pt x="2532826" y="6512633"/>
                  <a:pt x="2536021" y="6506668"/>
                  <a:pt x="2537790" y="6498762"/>
                </a:cubicBezTo>
                <a:lnTo>
                  <a:pt x="2527186" y="6497157"/>
                </a:lnTo>
                <a:cubicBezTo>
                  <a:pt x="2524162" y="6507296"/>
                  <a:pt x="2518789" y="6512366"/>
                  <a:pt x="2511068" y="6512366"/>
                </a:cubicBezTo>
                <a:cubicBezTo>
                  <a:pt x="2506139" y="6512366"/>
                  <a:pt x="2501953" y="6510249"/>
                  <a:pt x="2498511" y="6506017"/>
                </a:cubicBezTo>
                <a:cubicBezTo>
                  <a:pt x="2495071" y="6501785"/>
                  <a:pt x="2493141" y="6495506"/>
                  <a:pt x="2492723" y="6487181"/>
                </a:cubicBezTo>
                <a:lnTo>
                  <a:pt x="2538068" y="6487181"/>
                </a:lnTo>
                <a:lnTo>
                  <a:pt x="2538139" y="6483832"/>
                </a:lnTo>
                <a:cubicBezTo>
                  <a:pt x="2538139" y="6471322"/>
                  <a:pt x="2535510" y="6461764"/>
                  <a:pt x="2530255" y="6455160"/>
                </a:cubicBezTo>
                <a:cubicBezTo>
                  <a:pt x="2525001" y="6448556"/>
                  <a:pt x="2518440" y="6445253"/>
                  <a:pt x="2510583" y="6445253"/>
                </a:cubicBezTo>
                <a:close/>
                <a:moveTo>
                  <a:pt x="1942743" y="6445253"/>
                </a:moveTo>
                <a:cubicBezTo>
                  <a:pt x="1938564" y="6445253"/>
                  <a:pt x="1934861" y="6446259"/>
                  <a:pt x="1931635" y="6448271"/>
                </a:cubicBezTo>
                <a:cubicBezTo>
                  <a:pt x="1928408" y="6450283"/>
                  <a:pt x="1925681" y="6453324"/>
                  <a:pt x="1923452" y="6457393"/>
                </a:cubicBezTo>
                <a:lnTo>
                  <a:pt x="1923452" y="6446928"/>
                </a:lnTo>
                <a:lnTo>
                  <a:pt x="1914173" y="6446928"/>
                </a:lnTo>
                <a:lnTo>
                  <a:pt x="1914173" y="6521016"/>
                </a:lnTo>
                <a:lnTo>
                  <a:pt x="1924429" y="6521016"/>
                </a:lnTo>
                <a:lnTo>
                  <a:pt x="1924429" y="6480510"/>
                </a:lnTo>
                <a:cubicBezTo>
                  <a:pt x="1924429" y="6471571"/>
                  <a:pt x="1925894" y="6465262"/>
                  <a:pt x="1928824" y="6461584"/>
                </a:cubicBezTo>
                <a:cubicBezTo>
                  <a:pt x="1931754" y="6457906"/>
                  <a:pt x="1935684" y="6456067"/>
                  <a:pt x="1940614" y="6456067"/>
                </a:cubicBezTo>
                <a:cubicBezTo>
                  <a:pt x="1943218" y="6456067"/>
                  <a:pt x="1945509" y="6456753"/>
                  <a:pt x="1947485" y="6458127"/>
                </a:cubicBezTo>
                <a:cubicBezTo>
                  <a:pt x="1949462" y="6459500"/>
                  <a:pt x="1950915" y="6461444"/>
                  <a:pt x="1951846" y="6463958"/>
                </a:cubicBezTo>
                <a:cubicBezTo>
                  <a:pt x="1952776" y="6466472"/>
                  <a:pt x="1953242" y="6470453"/>
                  <a:pt x="1953242" y="6475901"/>
                </a:cubicBezTo>
                <a:lnTo>
                  <a:pt x="1953242" y="6521016"/>
                </a:lnTo>
                <a:lnTo>
                  <a:pt x="1963497" y="6521016"/>
                </a:lnTo>
                <a:lnTo>
                  <a:pt x="1963497" y="6475461"/>
                </a:lnTo>
                <a:cubicBezTo>
                  <a:pt x="1963497" y="6468624"/>
                  <a:pt x="1963078" y="6463555"/>
                  <a:pt x="1962243" y="6460253"/>
                </a:cubicBezTo>
                <a:cubicBezTo>
                  <a:pt x="1961407" y="6456950"/>
                  <a:pt x="1960142" y="6454265"/>
                  <a:pt x="1958447" y="6452195"/>
                </a:cubicBezTo>
                <a:cubicBezTo>
                  <a:pt x="1956752" y="6450125"/>
                  <a:pt x="1954524" y="6448451"/>
                  <a:pt x="1951761" y="6447172"/>
                </a:cubicBezTo>
                <a:cubicBezTo>
                  <a:pt x="1948998" y="6445893"/>
                  <a:pt x="1945992" y="6445253"/>
                  <a:pt x="1942743" y="6445253"/>
                </a:cubicBezTo>
                <a:close/>
                <a:moveTo>
                  <a:pt x="1872055" y="6445253"/>
                </a:moveTo>
                <a:cubicBezTo>
                  <a:pt x="1863823" y="6445253"/>
                  <a:pt x="1857021" y="6448509"/>
                  <a:pt x="1851649" y="6455020"/>
                </a:cubicBezTo>
                <a:cubicBezTo>
                  <a:pt x="1846277" y="6461532"/>
                  <a:pt x="1843593" y="6471182"/>
                  <a:pt x="1843593" y="6483972"/>
                </a:cubicBezTo>
                <a:cubicBezTo>
                  <a:pt x="1843593" y="6496715"/>
                  <a:pt x="1846301" y="6506354"/>
                  <a:pt x="1851719" y="6512889"/>
                </a:cubicBezTo>
                <a:cubicBezTo>
                  <a:pt x="1857137" y="6519423"/>
                  <a:pt x="1863916" y="6522691"/>
                  <a:pt x="1872055" y="6522691"/>
                </a:cubicBezTo>
                <a:cubicBezTo>
                  <a:pt x="1880334" y="6522691"/>
                  <a:pt x="1887147" y="6519435"/>
                  <a:pt x="1892496" y="6512924"/>
                </a:cubicBezTo>
                <a:cubicBezTo>
                  <a:pt x="1897844" y="6506412"/>
                  <a:pt x="1900519" y="6496506"/>
                  <a:pt x="1900519" y="6483205"/>
                </a:cubicBezTo>
                <a:cubicBezTo>
                  <a:pt x="1900519" y="6470926"/>
                  <a:pt x="1897798" y="6461532"/>
                  <a:pt x="1892356" y="6455020"/>
                </a:cubicBezTo>
                <a:cubicBezTo>
                  <a:pt x="1886915" y="6448509"/>
                  <a:pt x="1880148" y="6445253"/>
                  <a:pt x="1872055" y="6445253"/>
                </a:cubicBezTo>
                <a:close/>
                <a:moveTo>
                  <a:pt x="1803287" y="6445253"/>
                </a:moveTo>
                <a:cubicBezTo>
                  <a:pt x="1800822" y="6445253"/>
                  <a:pt x="1798602" y="6446102"/>
                  <a:pt x="1796625" y="6447800"/>
                </a:cubicBezTo>
                <a:cubicBezTo>
                  <a:pt x="1794648" y="6449497"/>
                  <a:pt x="1792474" y="6452951"/>
                  <a:pt x="1790103" y="6458160"/>
                </a:cubicBezTo>
                <a:lnTo>
                  <a:pt x="1790103" y="6446928"/>
                </a:lnTo>
                <a:lnTo>
                  <a:pt x="1780823" y="6446928"/>
                </a:lnTo>
                <a:lnTo>
                  <a:pt x="1780823" y="6521016"/>
                </a:lnTo>
                <a:lnTo>
                  <a:pt x="1791079" y="6521016"/>
                </a:lnTo>
                <a:lnTo>
                  <a:pt x="1791079" y="6482228"/>
                </a:lnTo>
                <a:cubicBezTo>
                  <a:pt x="1791079" y="6476833"/>
                  <a:pt x="1791730" y="6471740"/>
                  <a:pt x="1793032" y="6466950"/>
                </a:cubicBezTo>
                <a:cubicBezTo>
                  <a:pt x="1793776" y="6464206"/>
                  <a:pt x="1795056" y="6462066"/>
                  <a:pt x="1796869" y="6460532"/>
                </a:cubicBezTo>
                <a:cubicBezTo>
                  <a:pt x="1798683" y="6458997"/>
                  <a:pt x="1800683" y="6458229"/>
                  <a:pt x="1802869" y="6458229"/>
                </a:cubicBezTo>
                <a:cubicBezTo>
                  <a:pt x="1805287" y="6458229"/>
                  <a:pt x="1807775" y="6459136"/>
                  <a:pt x="1810333" y="6460950"/>
                </a:cubicBezTo>
                <a:lnTo>
                  <a:pt x="1813822" y="6449300"/>
                </a:lnTo>
                <a:cubicBezTo>
                  <a:pt x="1810240" y="6446602"/>
                  <a:pt x="1806729" y="6445253"/>
                  <a:pt x="1803287" y="6445253"/>
                </a:cubicBezTo>
                <a:close/>
                <a:moveTo>
                  <a:pt x="1715748" y="6445253"/>
                </a:moveTo>
                <a:cubicBezTo>
                  <a:pt x="1708586" y="6445253"/>
                  <a:pt x="1702982" y="6447230"/>
                  <a:pt x="1698935" y="6451183"/>
                </a:cubicBezTo>
                <a:cubicBezTo>
                  <a:pt x="1694889" y="6455137"/>
                  <a:pt x="1692866" y="6460276"/>
                  <a:pt x="1692866" y="6466601"/>
                </a:cubicBezTo>
                <a:cubicBezTo>
                  <a:pt x="1692866" y="6470275"/>
                  <a:pt x="1693610" y="6473554"/>
                  <a:pt x="1695099" y="6476438"/>
                </a:cubicBezTo>
                <a:cubicBezTo>
                  <a:pt x="1696587" y="6479321"/>
                  <a:pt x="1698680" y="6481623"/>
                  <a:pt x="1701377" y="6483344"/>
                </a:cubicBezTo>
                <a:cubicBezTo>
                  <a:pt x="1704075" y="6485065"/>
                  <a:pt x="1709423" y="6487158"/>
                  <a:pt x="1717423" y="6489623"/>
                </a:cubicBezTo>
                <a:cubicBezTo>
                  <a:pt x="1722957" y="6491297"/>
                  <a:pt x="1726445" y="6492692"/>
                  <a:pt x="1727887" y="6493809"/>
                </a:cubicBezTo>
                <a:cubicBezTo>
                  <a:pt x="1729980" y="6495436"/>
                  <a:pt x="1731026" y="6497715"/>
                  <a:pt x="1731026" y="6500645"/>
                </a:cubicBezTo>
                <a:cubicBezTo>
                  <a:pt x="1731026" y="6504041"/>
                  <a:pt x="1729810" y="6506843"/>
                  <a:pt x="1727373" y="6509052"/>
                </a:cubicBezTo>
                <a:cubicBezTo>
                  <a:pt x="1724937" y="6511261"/>
                  <a:pt x="1721491" y="6512366"/>
                  <a:pt x="1717037" y="6512366"/>
                </a:cubicBezTo>
                <a:cubicBezTo>
                  <a:pt x="1712583" y="6512366"/>
                  <a:pt x="1709010" y="6511092"/>
                  <a:pt x="1706319" y="6508546"/>
                </a:cubicBezTo>
                <a:cubicBezTo>
                  <a:pt x="1703628" y="6506000"/>
                  <a:pt x="1701980" y="6502110"/>
                  <a:pt x="1701377" y="6496878"/>
                </a:cubicBezTo>
                <a:lnTo>
                  <a:pt x="1691122" y="6498832"/>
                </a:lnTo>
                <a:cubicBezTo>
                  <a:pt x="1693447" y="6514738"/>
                  <a:pt x="1701889" y="6522691"/>
                  <a:pt x="1716446" y="6522691"/>
                </a:cubicBezTo>
                <a:cubicBezTo>
                  <a:pt x="1724213" y="6522691"/>
                  <a:pt x="1730340" y="6520501"/>
                  <a:pt x="1734829" y="6516121"/>
                </a:cubicBezTo>
                <a:cubicBezTo>
                  <a:pt x="1739317" y="6511742"/>
                  <a:pt x="1741562" y="6506011"/>
                  <a:pt x="1741562" y="6498930"/>
                </a:cubicBezTo>
                <a:cubicBezTo>
                  <a:pt x="1741562" y="6495109"/>
                  <a:pt x="1740866" y="6491813"/>
                  <a:pt x="1739475" y="6489041"/>
                </a:cubicBezTo>
                <a:cubicBezTo>
                  <a:pt x="1738085" y="6486269"/>
                  <a:pt x="1736139" y="6484080"/>
                  <a:pt x="1733637" y="6482472"/>
                </a:cubicBezTo>
                <a:cubicBezTo>
                  <a:pt x="1731135" y="6480865"/>
                  <a:pt x="1725623" y="6478709"/>
                  <a:pt x="1717100" y="6476005"/>
                </a:cubicBezTo>
                <a:cubicBezTo>
                  <a:pt x="1710904" y="6473967"/>
                  <a:pt x="1707175" y="6472485"/>
                  <a:pt x="1705917" y="6471559"/>
                </a:cubicBezTo>
                <a:cubicBezTo>
                  <a:pt x="1703821" y="6469984"/>
                  <a:pt x="1702772" y="6467830"/>
                  <a:pt x="1702772" y="6465097"/>
                </a:cubicBezTo>
                <a:cubicBezTo>
                  <a:pt x="1702772" y="6462318"/>
                  <a:pt x="1703865" y="6460037"/>
                  <a:pt x="1706052" y="6458253"/>
                </a:cubicBezTo>
                <a:cubicBezTo>
                  <a:pt x="1708237" y="6456470"/>
                  <a:pt x="1711563" y="6455578"/>
                  <a:pt x="1716027" y="6455578"/>
                </a:cubicBezTo>
                <a:cubicBezTo>
                  <a:pt x="1723887" y="6455578"/>
                  <a:pt x="1728282" y="6459625"/>
                  <a:pt x="1729213" y="6467717"/>
                </a:cubicBezTo>
                <a:lnTo>
                  <a:pt x="1739260" y="6466043"/>
                </a:lnTo>
                <a:cubicBezTo>
                  <a:pt x="1738561" y="6460927"/>
                  <a:pt x="1737305" y="6456997"/>
                  <a:pt x="1735491" y="6454253"/>
                </a:cubicBezTo>
                <a:cubicBezTo>
                  <a:pt x="1733677" y="6451509"/>
                  <a:pt x="1731061" y="6449323"/>
                  <a:pt x="1727643" y="6447695"/>
                </a:cubicBezTo>
                <a:cubicBezTo>
                  <a:pt x="1724225" y="6446067"/>
                  <a:pt x="1720260" y="6445253"/>
                  <a:pt x="1715748" y="6445253"/>
                </a:cubicBezTo>
                <a:close/>
                <a:moveTo>
                  <a:pt x="1656992" y="6445253"/>
                </a:moveTo>
                <a:cubicBezTo>
                  <a:pt x="1652814" y="6445253"/>
                  <a:pt x="1649111" y="6446259"/>
                  <a:pt x="1645885" y="6448271"/>
                </a:cubicBezTo>
                <a:cubicBezTo>
                  <a:pt x="1642658" y="6450283"/>
                  <a:pt x="1639931" y="6453324"/>
                  <a:pt x="1637702" y="6457393"/>
                </a:cubicBezTo>
                <a:lnTo>
                  <a:pt x="1637702" y="6446928"/>
                </a:lnTo>
                <a:lnTo>
                  <a:pt x="1628424" y="6446928"/>
                </a:lnTo>
                <a:lnTo>
                  <a:pt x="1628424" y="6521016"/>
                </a:lnTo>
                <a:lnTo>
                  <a:pt x="1638679" y="6521016"/>
                </a:lnTo>
                <a:lnTo>
                  <a:pt x="1638679" y="6480510"/>
                </a:lnTo>
                <a:cubicBezTo>
                  <a:pt x="1638679" y="6471571"/>
                  <a:pt x="1640144" y="6465262"/>
                  <a:pt x="1643074" y="6461584"/>
                </a:cubicBezTo>
                <a:cubicBezTo>
                  <a:pt x="1646004" y="6457906"/>
                  <a:pt x="1649934" y="6456067"/>
                  <a:pt x="1654864" y="6456067"/>
                </a:cubicBezTo>
                <a:cubicBezTo>
                  <a:pt x="1657468" y="6456067"/>
                  <a:pt x="1659759" y="6456753"/>
                  <a:pt x="1661735" y="6458127"/>
                </a:cubicBezTo>
                <a:cubicBezTo>
                  <a:pt x="1663712" y="6459500"/>
                  <a:pt x="1665165" y="6461444"/>
                  <a:pt x="1666095" y="6463958"/>
                </a:cubicBezTo>
                <a:cubicBezTo>
                  <a:pt x="1667026" y="6466472"/>
                  <a:pt x="1667491" y="6470453"/>
                  <a:pt x="1667491" y="6475901"/>
                </a:cubicBezTo>
                <a:lnTo>
                  <a:pt x="1667491" y="6521016"/>
                </a:lnTo>
                <a:lnTo>
                  <a:pt x="1677746" y="6521016"/>
                </a:lnTo>
                <a:lnTo>
                  <a:pt x="1677746" y="6475461"/>
                </a:lnTo>
                <a:cubicBezTo>
                  <a:pt x="1677746" y="6468624"/>
                  <a:pt x="1677328" y="6463555"/>
                  <a:pt x="1676493" y="6460253"/>
                </a:cubicBezTo>
                <a:cubicBezTo>
                  <a:pt x="1675657" y="6456950"/>
                  <a:pt x="1674392" y="6454265"/>
                  <a:pt x="1672697" y="6452195"/>
                </a:cubicBezTo>
                <a:cubicBezTo>
                  <a:pt x="1671002" y="6450125"/>
                  <a:pt x="1668774" y="6448451"/>
                  <a:pt x="1666011" y="6447172"/>
                </a:cubicBezTo>
                <a:cubicBezTo>
                  <a:pt x="1663248" y="6445893"/>
                  <a:pt x="1660242" y="6445253"/>
                  <a:pt x="1656992" y="6445253"/>
                </a:cubicBezTo>
                <a:close/>
                <a:moveTo>
                  <a:pt x="1586654" y="6445253"/>
                </a:moveTo>
                <a:cubicBezTo>
                  <a:pt x="1578422" y="6445253"/>
                  <a:pt x="1571620" y="6448614"/>
                  <a:pt x="1566248" y="6455334"/>
                </a:cubicBezTo>
                <a:cubicBezTo>
                  <a:pt x="1560876" y="6462055"/>
                  <a:pt x="1558191" y="6471810"/>
                  <a:pt x="1558191" y="6484600"/>
                </a:cubicBezTo>
                <a:cubicBezTo>
                  <a:pt x="1558191" y="6496925"/>
                  <a:pt x="1560853" y="6506354"/>
                  <a:pt x="1566178" y="6512889"/>
                </a:cubicBezTo>
                <a:cubicBezTo>
                  <a:pt x="1571504" y="6519423"/>
                  <a:pt x="1578468" y="6522691"/>
                  <a:pt x="1587073" y="6522691"/>
                </a:cubicBezTo>
                <a:cubicBezTo>
                  <a:pt x="1593909" y="6522691"/>
                  <a:pt x="1599643" y="6520679"/>
                  <a:pt x="1604269" y="6516656"/>
                </a:cubicBezTo>
                <a:cubicBezTo>
                  <a:pt x="1608897" y="6512633"/>
                  <a:pt x="1612095" y="6506668"/>
                  <a:pt x="1613862" y="6498762"/>
                </a:cubicBezTo>
                <a:lnTo>
                  <a:pt x="1603258" y="6497157"/>
                </a:lnTo>
                <a:cubicBezTo>
                  <a:pt x="1600235" y="6507296"/>
                  <a:pt x="1594863" y="6512366"/>
                  <a:pt x="1587142" y="6512366"/>
                </a:cubicBezTo>
                <a:cubicBezTo>
                  <a:pt x="1582212" y="6512366"/>
                  <a:pt x="1578027" y="6510249"/>
                  <a:pt x="1574585" y="6506017"/>
                </a:cubicBezTo>
                <a:cubicBezTo>
                  <a:pt x="1571143" y="6501785"/>
                  <a:pt x="1569213" y="6495506"/>
                  <a:pt x="1568795" y="6487181"/>
                </a:cubicBezTo>
                <a:lnTo>
                  <a:pt x="1614140" y="6487181"/>
                </a:lnTo>
                <a:lnTo>
                  <a:pt x="1614210" y="6483832"/>
                </a:lnTo>
                <a:cubicBezTo>
                  <a:pt x="1614210" y="6471322"/>
                  <a:pt x="1611583" y="6461764"/>
                  <a:pt x="1606327" y="6455160"/>
                </a:cubicBezTo>
                <a:cubicBezTo>
                  <a:pt x="1601072" y="6448556"/>
                  <a:pt x="1594514" y="6445253"/>
                  <a:pt x="1586654" y="6445253"/>
                </a:cubicBezTo>
                <a:close/>
                <a:moveTo>
                  <a:pt x="1317373" y="6445253"/>
                </a:moveTo>
                <a:cubicBezTo>
                  <a:pt x="1312489" y="6445253"/>
                  <a:pt x="1308082" y="6446649"/>
                  <a:pt x="1304152" y="6449439"/>
                </a:cubicBezTo>
                <a:cubicBezTo>
                  <a:pt x="1300222" y="6452230"/>
                  <a:pt x="1297048" y="6456602"/>
                  <a:pt x="1294630" y="6462555"/>
                </a:cubicBezTo>
                <a:cubicBezTo>
                  <a:pt x="1292211" y="6468508"/>
                  <a:pt x="1291002" y="6475461"/>
                  <a:pt x="1291002" y="6483414"/>
                </a:cubicBezTo>
                <a:cubicBezTo>
                  <a:pt x="1291002" y="6495274"/>
                  <a:pt x="1293746" y="6504738"/>
                  <a:pt x="1299234" y="6511808"/>
                </a:cubicBezTo>
                <a:cubicBezTo>
                  <a:pt x="1304025" y="6517947"/>
                  <a:pt x="1310047" y="6521016"/>
                  <a:pt x="1317303" y="6521016"/>
                </a:cubicBezTo>
                <a:cubicBezTo>
                  <a:pt x="1320698" y="6521016"/>
                  <a:pt x="1323791" y="6520208"/>
                  <a:pt x="1326581" y="6518591"/>
                </a:cubicBezTo>
                <a:cubicBezTo>
                  <a:pt x="1329372" y="6516974"/>
                  <a:pt x="1331883" y="6514572"/>
                  <a:pt x="1334116" y="6511385"/>
                </a:cubicBezTo>
                <a:cubicBezTo>
                  <a:pt x="1334116" y="6519758"/>
                  <a:pt x="1333813" y="6525246"/>
                  <a:pt x="1333209" y="6527851"/>
                </a:cubicBezTo>
                <a:cubicBezTo>
                  <a:pt x="1332232" y="6532130"/>
                  <a:pt x="1330407" y="6535352"/>
                  <a:pt x="1327732" y="6537515"/>
                </a:cubicBezTo>
                <a:cubicBezTo>
                  <a:pt x="1325058" y="6539678"/>
                  <a:pt x="1321466" y="6540759"/>
                  <a:pt x="1316954" y="6540759"/>
                </a:cubicBezTo>
                <a:cubicBezTo>
                  <a:pt x="1312815" y="6540759"/>
                  <a:pt x="1309583" y="6539788"/>
                  <a:pt x="1307257" y="6537847"/>
                </a:cubicBezTo>
                <a:cubicBezTo>
                  <a:pt x="1304931" y="6535905"/>
                  <a:pt x="1303536" y="6532946"/>
                  <a:pt x="1303071" y="6528969"/>
                </a:cubicBezTo>
                <a:lnTo>
                  <a:pt x="1293025" y="6527155"/>
                </a:lnTo>
                <a:cubicBezTo>
                  <a:pt x="1292886" y="6534643"/>
                  <a:pt x="1294932" y="6540503"/>
                  <a:pt x="1299164" y="6544736"/>
                </a:cubicBezTo>
                <a:cubicBezTo>
                  <a:pt x="1303397" y="6548968"/>
                  <a:pt x="1309443" y="6551084"/>
                  <a:pt x="1317303" y="6551084"/>
                </a:cubicBezTo>
                <a:cubicBezTo>
                  <a:pt x="1323256" y="6551084"/>
                  <a:pt x="1328349" y="6549677"/>
                  <a:pt x="1332581" y="6546864"/>
                </a:cubicBezTo>
                <a:cubicBezTo>
                  <a:pt x="1336813" y="6544050"/>
                  <a:pt x="1339860" y="6540213"/>
                  <a:pt x="1341720" y="6535353"/>
                </a:cubicBezTo>
                <a:cubicBezTo>
                  <a:pt x="1343580" y="6530492"/>
                  <a:pt x="1344510" y="6522365"/>
                  <a:pt x="1344510" y="6510970"/>
                </a:cubicBezTo>
                <a:lnTo>
                  <a:pt x="1344510" y="6446928"/>
                </a:lnTo>
                <a:lnTo>
                  <a:pt x="1335023" y="6446928"/>
                </a:lnTo>
                <a:lnTo>
                  <a:pt x="1335023" y="6455788"/>
                </a:lnTo>
                <a:cubicBezTo>
                  <a:pt x="1332744" y="6452276"/>
                  <a:pt x="1330128" y="6449643"/>
                  <a:pt x="1327174" y="6447887"/>
                </a:cubicBezTo>
                <a:cubicBezTo>
                  <a:pt x="1324221" y="6446131"/>
                  <a:pt x="1320954" y="6445253"/>
                  <a:pt x="1317373" y="6445253"/>
                </a:cubicBezTo>
                <a:close/>
                <a:moveTo>
                  <a:pt x="1250837" y="6445253"/>
                </a:moveTo>
                <a:cubicBezTo>
                  <a:pt x="1248372" y="6445253"/>
                  <a:pt x="1246151" y="6446102"/>
                  <a:pt x="1244175" y="6447800"/>
                </a:cubicBezTo>
                <a:cubicBezTo>
                  <a:pt x="1242198" y="6449497"/>
                  <a:pt x="1240024" y="6452951"/>
                  <a:pt x="1237652" y="6458160"/>
                </a:cubicBezTo>
                <a:lnTo>
                  <a:pt x="1237652" y="6446928"/>
                </a:lnTo>
                <a:lnTo>
                  <a:pt x="1230699" y="6446928"/>
                </a:lnTo>
                <a:lnTo>
                  <a:pt x="1228373" y="6446928"/>
                </a:lnTo>
                <a:lnTo>
                  <a:pt x="1220375" y="6446928"/>
                </a:lnTo>
                <a:lnTo>
                  <a:pt x="1207398" y="6490087"/>
                </a:lnTo>
                <a:cubicBezTo>
                  <a:pt x="1205770" y="6495572"/>
                  <a:pt x="1204375" y="6501197"/>
                  <a:pt x="1203212" y="6506961"/>
                </a:cubicBezTo>
                <a:cubicBezTo>
                  <a:pt x="1201863" y="6500872"/>
                  <a:pt x="1200398" y="6495155"/>
                  <a:pt x="1198817" y="6489809"/>
                </a:cubicBezTo>
                <a:lnTo>
                  <a:pt x="1186120" y="6446928"/>
                </a:lnTo>
                <a:lnTo>
                  <a:pt x="1175028" y="6446928"/>
                </a:lnTo>
                <a:lnTo>
                  <a:pt x="1198138" y="6521126"/>
                </a:lnTo>
                <a:cubicBezTo>
                  <a:pt x="1195762" y="6528679"/>
                  <a:pt x="1194412" y="6532781"/>
                  <a:pt x="1194086" y="6533432"/>
                </a:cubicBezTo>
                <a:cubicBezTo>
                  <a:pt x="1193155" y="6535293"/>
                  <a:pt x="1191980" y="6536666"/>
                  <a:pt x="1190560" y="6537550"/>
                </a:cubicBezTo>
                <a:cubicBezTo>
                  <a:pt x="1189140" y="6538434"/>
                  <a:pt x="1187336" y="6538876"/>
                  <a:pt x="1185149" y="6538876"/>
                </a:cubicBezTo>
                <a:cubicBezTo>
                  <a:pt x="1183520" y="6538876"/>
                  <a:pt x="1181565" y="6538504"/>
                  <a:pt x="1179283" y="6537759"/>
                </a:cubicBezTo>
                <a:lnTo>
                  <a:pt x="1180400" y="6549549"/>
                </a:lnTo>
                <a:cubicBezTo>
                  <a:pt x="1182868" y="6550573"/>
                  <a:pt x="1185081" y="6551084"/>
                  <a:pt x="1187038" y="6551084"/>
                </a:cubicBezTo>
                <a:cubicBezTo>
                  <a:pt x="1189833" y="6551084"/>
                  <a:pt x="1192337" y="6550363"/>
                  <a:pt x="1194549" y="6548922"/>
                </a:cubicBezTo>
                <a:cubicBezTo>
                  <a:pt x="1196762" y="6547480"/>
                  <a:pt x="1198742" y="6545119"/>
                  <a:pt x="1200489" y="6541841"/>
                </a:cubicBezTo>
                <a:cubicBezTo>
                  <a:pt x="1202235" y="6538562"/>
                  <a:pt x="1204623" y="6532039"/>
                  <a:pt x="1207651" y="6522272"/>
                </a:cubicBezTo>
                <a:lnTo>
                  <a:pt x="1228373" y="6454530"/>
                </a:lnTo>
                <a:lnTo>
                  <a:pt x="1228373" y="6521016"/>
                </a:lnTo>
                <a:lnTo>
                  <a:pt x="1238629" y="6521016"/>
                </a:lnTo>
                <a:lnTo>
                  <a:pt x="1238629" y="6482228"/>
                </a:lnTo>
                <a:cubicBezTo>
                  <a:pt x="1238629" y="6476833"/>
                  <a:pt x="1239280" y="6471740"/>
                  <a:pt x="1240582" y="6466950"/>
                </a:cubicBezTo>
                <a:cubicBezTo>
                  <a:pt x="1241326" y="6464206"/>
                  <a:pt x="1242605" y="6462066"/>
                  <a:pt x="1244419" y="6460532"/>
                </a:cubicBezTo>
                <a:cubicBezTo>
                  <a:pt x="1246233" y="6458997"/>
                  <a:pt x="1248233" y="6458229"/>
                  <a:pt x="1250419" y="6458229"/>
                </a:cubicBezTo>
                <a:cubicBezTo>
                  <a:pt x="1252837" y="6458229"/>
                  <a:pt x="1255325" y="6459136"/>
                  <a:pt x="1257883" y="6460950"/>
                </a:cubicBezTo>
                <a:lnTo>
                  <a:pt x="1261371" y="6449300"/>
                </a:lnTo>
                <a:cubicBezTo>
                  <a:pt x="1257790" y="6446602"/>
                  <a:pt x="1254279" y="6445253"/>
                  <a:pt x="1250837" y="6445253"/>
                </a:cubicBezTo>
                <a:close/>
                <a:moveTo>
                  <a:pt x="1141043" y="6445253"/>
                </a:moveTo>
                <a:cubicBezTo>
                  <a:pt x="1137375" y="6445253"/>
                  <a:pt x="1134125" y="6446137"/>
                  <a:pt x="1131292" y="6447904"/>
                </a:cubicBezTo>
                <a:cubicBezTo>
                  <a:pt x="1128460" y="6449672"/>
                  <a:pt x="1125883" y="6452555"/>
                  <a:pt x="1123561" y="6456555"/>
                </a:cubicBezTo>
                <a:lnTo>
                  <a:pt x="1123561" y="6446928"/>
                </a:lnTo>
                <a:lnTo>
                  <a:pt x="1114073" y="6446928"/>
                </a:lnTo>
                <a:lnTo>
                  <a:pt x="1114073" y="6549410"/>
                </a:lnTo>
                <a:lnTo>
                  <a:pt x="1124329" y="6549410"/>
                </a:lnTo>
                <a:lnTo>
                  <a:pt x="1124329" y="6513342"/>
                </a:lnTo>
                <a:cubicBezTo>
                  <a:pt x="1126328" y="6516319"/>
                  <a:pt x="1128700" y="6518621"/>
                  <a:pt x="1131444" y="6520249"/>
                </a:cubicBezTo>
                <a:cubicBezTo>
                  <a:pt x="1134188" y="6521877"/>
                  <a:pt x="1137142" y="6522691"/>
                  <a:pt x="1140304" y="6522691"/>
                </a:cubicBezTo>
                <a:cubicBezTo>
                  <a:pt x="1147420" y="6522691"/>
                  <a:pt x="1153618" y="6519284"/>
                  <a:pt x="1158896" y="6512470"/>
                </a:cubicBezTo>
                <a:cubicBezTo>
                  <a:pt x="1164175" y="6505657"/>
                  <a:pt x="1166814" y="6495948"/>
                  <a:pt x="1166814" y="6483344"/>
                </a:cubicBezTo>
                <a:cubicBezTo>
                  <a:pt x="1166814" y="6475205"/>
                  <a:pt x="1165642" y="6468240"/>
                  <a:pt x="1163297" y="6462450"/>
                </a:cubicBezTo>
                <a:cubicBezTo>
                  <a:pt x="1160952" y="6456660"/>
                  <a:pt x="1157852" y="6452346"/>
                  <a:pt x="1153999" y="6449509"/>
                </a:cubicBezTo>
                <a:cubicBezTo>
                  <a:pt x="1150145" y="6446672"/>
                  <a:pt x="1145827" y="6445253"/>
                  <a:pt x="1141043" y="6445253"/>
                </a:cubicBezTo>
                <a:close/>
                <a:moveTo>
                  <a:pt x="1071955" y="6445253"/>
                </a:moveTo>
                <a:cubicBezTo>
                  <a:pt x="1063723" y="6445253"/>
                  <a:pt x="1056921" y="6448509"/>
                  <a:pt x="1051549" y="6455020"/>
                </a:cubicBezTo>
                <a:cubicBezTo>
                  <a:pt x="1046178" y="6461532"/>
                  <a:pt x="1043492" y="6471182"/>
                  <a:pt x="1043492" y="6483972"/>
                </a:cubicBezTo>
                <a:cubicBezTo>
                  <a:pt x="1043492" y="6496715"/>
                  <a:pt x="1046201" y="6506354"/>
                  <a:pt x="1051619" y="6512889"/>
                </a:cubicBezTo>
                <a:cubicBezTo>
                  <a:pt x="1057037" y="6519423"/>
                  <a:pt x="1063816" y="6522691"/>
                  <a:pt x="1071955" y="6522691"/>
                </a:cubicBezTo>
                <a:cubicBezTo>
                  <a:pt x="1080234" y="6522691"/>
                  <a:pt x="1087047" y="6519435"/>
                  <a:pt x="1092396" y="6512924"/>
                </a:cubicBezTo>
                <a:cubicBezTo>
                  <a:pt x="1097744" y="6506412"/>
                  <a:pt x="1100419" y="6496506"/>
                  <a:pt x="1100419" y="6483205"/>
                </a:cubicBezTo>
                <a:cubicBezTo>
                  <a:pt x="1100419" y="6470926"/>
                  <a:pt x="1097698" y="6461532"/>
                  <a:pt x="1092256" y="6455020"/>
                </a:cubicBezTo>
                <a:cubicBezTo>
                  <a:pt x="1086815" y="6448509"/>
                  <a:pt x="1080048" y="6445253"/>
                  <a:pt x="1071955" y="6445253"/>
                </a:cubicBezTo>
                <a:close/>
                <a:moveTo>
                  <a:pt x="883898" y="6440021"/>
                </a:moveTo>
                <a:cubicBezTo>
                  <a:pt x="876956" y="6440021"/>
                  <a:pt x="871354" y="6442562"/>
                  <a:pt x="867092" y="6447643"/>
                </a:cubicBezTo>
                <a:cubicBezTo>
                  <a:pt x="862829" y="6452725"/>
                  <a:pt x="860698" y="6460114"/>
                  <a:pt x="860698" y="6469810"/>
                </a:cubicBezTo>
                <a:cubicBezTo>
                  <a:pt x="860698" y="6479506"/>
                  <a:pt x="862853" y="6486942"/>
                  <a:pt x="867162" y="6492116"/>
                </a:cubicBezTo>
                <a:cubicBezTo>
                  <a:pt x="871471" y="6497291"/>
                  <a:pt x="876886" y="6499878"/>
                  <a:pt x="883407" y="6499878"/>
                </a:cubicBezTo>
                <a:cubicBezTo>
                  <a:pt x="888485" y="6499878"/>
                  <a:pt x="892923" y="6498192"/>
                  <a:pt x="896719" y="6494820"/>
                </a:cubicBezTo>
                <a:cubicBezTo>
                  <a:pt x="900515" y="6491448"/>
                  <a:pt x="902996" y="6486763"/>
                  <a:pt x="904161" y="6480763"/>
                </a:cubicBezTo>
                <a:lnTo>
                  <a:pt x="897184" y="6478251"/>
                </a:lnTo>
                <a:cubicBezTo>
                  <a:pt x="896299" y="6482530"/>
                  <a:pt x="894527" y="6485844"/>
                  <a:pt x="891869" y="6488193"/>
                </a:cubicBezTo>
                <a:cubicBezTo>
                  <a:pt x="889212" y="6490541"/>
                  <a:pt x="886205" y="6491716"/>
                  <a:pt x="882848" y="6491716"/>
                </a:cubicBezTo>
                <a:cubicBezTo>
                  <a:pt x="878745" y="6491716"/>
                  <a:pt x="875318" y="6489919"/>
                  <a:pt x="872568" y="6486327"/>
                </a:cubicBezTo>
                <a:cubicBezTo>
                  <a:pt x="869817" y="6482735"/>
                  <a:pt x="868442" y="6477392"/>
                  <a:pt x="868442" y="6470301"/>
                </a:cubicBezTo>
                <a:cubicBezTo>
                  <a:pt x="868442" y="6462882"/>
                  <a:pt x="869887" y="6457283"/>
                  <a:pt x="872778" y="6453503"/>
                </a:cubicBezTo>
                <a:cubicBezTo>
                  <a:pt x="875669" y="6449724"/>
                  <a:pt x="879282" y="6447835"/>
                  <a:pt x="883619" y="6447835"/>
                </a:cubicBezTo>
                <a:cubicBezTo>
                  <a:pt x="886510" y="6447835"/>
                  <a:pt x="889085" y="6448730"/>
                  <a:pt x="891347" y="6450521"/>
                </a:cubicBezTo>
                <a:cubicBezTo>
                  <a:pt x="893608" y="6452311"/>
                  <a:pt x="895321" y="6454974"/>
                  <a:pt x="896487" y="6458508"/>
                </a:cubicBezTo>
                <a:lnTo>
                  <a:pt x="903324" y="6456485"/>
                </a:lnTo>
                <a:cubicBezTo>
                  <a:pt x="902066" y="6451276"/>
                  <a:pt x="899713" y="6447230"/>
                  <a:pt x="896266" y="6444347"/>
                </a:cubicBezTo>
                <a:cubicBezTo>
                  <a:pt x="892819" y="6441463"/>
                  <a:pt x="888696" y="6440021"/>
                  <a:pt x="883898" y="6440021"/>
                </a:cubicBezTo>
                <a:close/>
                <a:moveTo>
                  <a:pt x="2030141" y="6429487"/>
                </a:moveTo>
                <a:cubicBezTo>
                  <a:pt x="2031396" y="6434928"/>
                  <a:pt x="2033373" y="6441998"/>
                  <a:pt x="2036069" y="6450695"/>
                </a:cubicBezTo>
                <a:lnTo>
                  <a:pt x="2044784" y="6479019"/>
                </a:lnTo>
                <a:lnTo>
                  <a:pt x="2016217" y="6479019"/>
                </a:lnTo>
                <a:lnTo>
                  <a:pt x="2025546" y="6449021"/>
                </a:lnTo>
                <a:cubicBezTo>
                  <a:pt x="2027526" y="6442556"/>
                  <a:pt x="2029057" y="6436045"/>
                  <a:pt x="2030141" y="6429487"/>
                </a:cubicBezTo>
                <a:close/>
                <a:moveTo>
                  <a:pt x="883232" y="6425650"/>
                </a:moveTo>
                <a:cubicBezTo>
                  <a:pt x="892720" y="6425650"/>
                  <a:pt x="900952" y="6429680"/>
                  <a:pt x="907928" y="6437739"/>
                </a:cubicBezTo>
                <a:cubicBezTo>
                  <a:pt x="915462" y="6446402"/>
                  <a:pt x="919230" y="6457046"/>
                  <a:pt x="919230" y="6469671"/>
                </a:cubicBezTo>
                <a:cubicBezTo>
                  <a:pt x="919230" y="6481410"/>
                  <a:pt x="915927" y="6491495"/>
                  <a:pt x="909323" y="6499926"/>
                </a:cubicBezTo>
                <a:cubicBezTo>
                  <a:pt x="902161" y="6509056"/>
                  <a:pt x="893464" y="6513621"/>
                  <a:pt x="883232" y="6513621"/>
                </a:cubicBezTo>
                <a:cubicBezTo>
                  <a:pt x="873744" y="6513621"/>
                  <a:pt x="865512" y="6509615"/>
                  <a:pt x="858536" y="6501604"/>
                </a:cubicBezTo>
                <a:cubicBezTo>
                  <a:pt x="851001" y="6492939"/>
                  <a:pt x="847234" y="6482295"/>
                  <a:pt x="847234" y="6469671"/>
                </a:cubicBezTo>
                <a:cubicBezTo>
                  <a:pt x="847234" y="6457931"/>
                  <a:pt x="850536" y="6447823"/>
                  <a:pt x="857140" y="6439345"/>
                </a:cubicBezTo>
                <a:cubicBezTo>
                  <a:pt x="864256" y="6430215"/>
                  <a:pt x="872953" y="6425650"/>
                  <a:pt x="883232" y="6425650"/>
                </a:cubicBezTo>
                <a:close/>
                <a:moveTo>
                  <a:pt x="6208297" y="6421046"/>
                </a:moveTo>
                <a:lnTo>
                  <a:pt x="6198042" y="6428580"/>
                </a:lnTo>
                <a:lnTo>
                  <a:pt x="6198042" y="6446928"/>
                </a:lnTo>
                <a:lnTo>
                  <a:pt x="6190507" y="6446928"/>
                </a:lnTo>
                <a:lnTo>
                  <a:pt x="6190507" y="6456695"/>
                </a:lnTo>
                <a:lnTo>
                  <a:pt x="6198042" y="6456695"/>
                </a:lnTo>
                <a:lnTo>
                  <a:pt x="6198042" y="6499320"/>
                </a:lnTo>
                <a:cubicBezTo>
                  <a:pt x="6198042" y="6506668"/>
                  <a:pt x="6198449" y="6511575"/>
                  <a:pt x="6199263" y="6514040"/>
                </a:cubicBezTo>
                <a:cubicBezTo>
                  <a:pt x="6200077" y="6516505"/>
                  <a:pt x="6201577" y="6518447"/>
                  <a:pt x="6203762" y="6519865"/>
                </a:cubicBezTo>
                <a:cubicBezTo>
                  <a:pt x="6205948" y="6521284"/>
                  <a:pt x="6208832" y="6521993"/>
                  <a:pt x="6212413" y="6521993"/>
                </a:cubicBezTo>
                <a:cubicBezTo>
                  <a:pt x="6214692" y="6521993"/>
                  <a:pt x="6217250" y="6521621"/>
                  <a:pt x="6220087" y="6520877"/>
                </a:cubicBezTo>
                <a:lnTo>
                  <a:pt x="6218692" y="6509784"/>
                </a:lnTo>
                <a:cubicBezTo>
                  <a:pt x="6216831" y="6510110"/>
                  <a:pt x="6215320" y="6510273"/>
                  <a:pt x="6214157" y="6510273"/>
                </a:cubicBezTo>
                <a:cubicBezTo>
                  <a:pt x="6211739" y="6510273"/>
                  <a:pt x="6210088" y="6509436"/>
                  <a:pt x="6209204" y="6507761"/>
                </a:cubicBezTo>
                <a:cubicBezTo>
                  <a:pt x="6208599" y="6506599"/>
                  <a:pt x="6208297" y="6504017"/>
                  <a:pt x="6208297" y="6500018"/>
                </a:cubicBezTo>
                <a:lnTo>
                  <a:pt x="6208297" y="6456695"/>
                </a:lnTo>
                <a:lnTo>
                  <a:pt x="6218692" y="6456695"/>
                </a:lnTo>
                <a:lnTo>
                  <a:pt x="6218692" y="6446928"/>
                </a:lnTo>
                <a:lnTo>
                  <a:pt x="6208297" y="6446928"/>
                </a:lnTo>
                <a:close/>
                <a:moveTo>
                  <a:pt x="2421963" y="6421046"/>
                </a:moveTo>
                <a:lnTo>
                  <a:pt x="2411708" y="6428580"/>
                </a:lnTo>
                <a:lnTo>
                  <a:pt x="2411708" y="6446928"/>
                </a:lnTo>
                <a:lnTo>
                  <a:pt x="2404176" y="6446928"/>
                </a:lnTo>
                <a:lnTo>
                  <a:pt x="2404176" y="6456695"/>
                </a:lnTo>
                <a:lnTo>
                  <a:pt x="2411708" y="6456695"/>
                </a:lnTo>
                <a:lnTo>
                  <a:pt x="2411708" y="6499320"/>
                </a:lnTo>
                <a:cubicBezTo>
                  <a:pt x="2411708" y="6506668"/>
                  <a:pt x="2412117" y="6511575"/>
                  <a:pt x="2412932" y="6514040"/>
                </a:cubicBezTo>
                <a:cubicBezTo>
                  <a:pt x="2413745" y="6516505"/>
                  <a:pt x="2415246" y="6518447"/>
                  <a:pt x="2417431" y="6519865"/>
                </a:cubicBezTo>
                <a:cubicBezTo>
                  <a:pt x="2419616" y="6521284"/>
                  <a:pt x="2422501" y="6521993"/>
                  <a:pt x="2426082" y="6521993"/>
                </a:cubicBezTo>
                <a:lnTo>
                  <a:pt x="2432793" y="6521016"/>
                </a:lnTo>
                <a:lnTo>
                  <a:pt x="2486537" y="6521016"/>
                </a:lnTo>
                <a:lnTo>
                  <a:pt x="2486537" y="6510203"/>
                </a:lnTo>
                <a:lnTo>
                  <a:pt x="2458413" y="6510203"/>
                </a:lnTo>
                <a:cubicBezTo>
                  <a:pt x="2454366" y="6510203"/>
                  <a:pt x="2450037" y="6510412"/>
                  <a:pt x="2445434" y="6510831"/>
                </a:cubicBezTo>
                <a:lnTo>
                  <a:pt x="2451797" y="6502250"/>
                </a:lnTo>
                <a:lnTo>
                  <a:pt x="2484792" y="6455230"/>
                </a:lnTo>
                <a:lnTo>
                  <a:pt x="2484792" y="6446928"/>
                </a:lnTo>
                <a:lnTo>
                  <a:pt x="2435051" y="6446928"/>
                </a:lnTo>
                <a:lnTo>
                  <a:pt x="2435051" y="6457113"/>
                </a:lnTo>
                <a:lnTo>
                  <a:pt x="2459836" y="6457113"/>
                </a:lnTo>
                <a:cubicBezTo>
                  <a:pt x="2463190" y="6457113"/>
                  <a:pt x="2467073" y="6456974"/>
                  <a:pt x="2471498" y="6456695"/>
                </a:cubicBezTo>
                <a:lnTo>
                  <a:pt x="2432747" y="6510831"/>
                </a:lnTo>
                <a:lnTo>
                  <a:pt x="2432747" y="6512890"/>
                </a:lnTo>
                <a:lnTo>
                  <a:pt x="2432359" y="6509784"/>
                </a:lnTo>
                <a:cubicBezTo>
                  <a:pt x="2430497" y="6510110"/>
                  <a:pt x="2428986" y="6510273"/>
                  <a:pt x="2427824" y="6510273"/>
                </a:cubicBezTo>
                <a:cubicBezTo>
                  <a:pt x="2425405" y="6510273"/>
                  <a:pt x="2423753" y="6509436"/>
                  <a:pt x="2422869" y="6507761"/>
                </a:cubicBezTo>
                <a:cubicBezTo>
                  <a:pt x="2422267" y="6506599"/>
                  <a:pt x="2421963" y="6504017"/>
                  <a:pt x="2421963" y="6500018"/>
                </a:cubicBezTo>
                <a:lnTo>
                  <a:pt x="2421963" y="6456695"/>
                </a:lnTo>
                <a:lnTo>
                  <a:pt x="2432359" y="6456695"/>
                </a:lnTo>
                <a:lnTo>
                  <a:pt x="2432359" y="6446928"/>
                </a:lnTo>
                <a:lnTo>
                  <a:pt x="2421963" y="6446928"/>
                </a:lnTo>
                <a:close/>
                <a:moveTo>
                  <a:pt x="1440886" y="6421046"/>
                </a:moveTo>
                <a:lnTo>
                  <a:pt x="1430631" y="6428580"/>
                </a:lnTo>
                <a:lnTo>
                  <a:pt x="1430631" y="6446928"/>
                </a:lnTo>
                <a:lnTo>
                  <a:pt x="1423097" y="6446928"/>
                </a:lnTo>
                <a:lnTo>
                  <a:pt x="1423097" y="6456695"/>
                </a:lnTo>
                <a:lnTo>
                  <a:pt x="1430631" y="6456695"/>
                </a:lnTo>
                <a:lnTo>
                  <a:pt x="1430631" y="6499320"/>
                </a:lnTo>
                <a:cubicBezTo>
                  <a:pt x="1430631" y="6506668"/>
                  <a:pt x="1431038" y="6511575"/>
                  <a:pt x="1431852" y="6514040"/>
                </a:cubicBezTo>
                <a:cubicBezTo>
                  <a:pt x="1432666" y="6516505"/>
                  <a:pt x="1434165" y="6518447"/>
                  <a:pt x="1436352" y="6519865"/>
                </a:cubicBezTo>
                <a:cubicBezTo>
                  <a:pt x="1438537" y="6521284"/>
                  <a:pt x="1441421" y="6521993"/>
                  <a:pt x="1445002" y="6521993"/>
                </a:cubicBezTo>
                <a:cubicBezTo>
                  <a:pt x="1447281" y="6521993"/>
                  <a:pt x="1449839" y="6521621"/>
                  <a:pt x="1452676" y="6520877"/>
                </a:cubicBezTo>
                <a:lnTo>
                  <a:pt x="1451281" y="6509784"/>
                </a:lnTo>
                <a:cubicBezTo>
                  <a:pt x="1449420" y="6510110"/>
                  <a:pt x="1447909" y="6510273"/>
                  <a:pt x="1446746" y="6510273"/>
                </a:cubicBezTo>
                <a:cubicBezTo>
                  <a:pt x="1444328" y="6510273"/>
                  <a:pt x="1442677" y="6509436"/>
                  <a:pt x="1441793" y="6507761"/>
                </a:cubicBezTo>
                <a:cubicBezTo>
                  <a:pt x="1441188" y="6506599"/>
                  <a:pt x="1440886" y="6504017"/>
                  <a:pt x="1440886" y="6500018"/>
                </a:cubicBezTo>
                <a:lnTo>
                  <a:pt x="1440886" y="6456695"/>
                </a:lnTo>
                <a:lnTo>
                  <a:pt x="1451281" y="6456695"/>
                </a:lnTo>
                <a:lnTo>
                  <a:pt x="1451281" y="6446928"/>
                </a:lnTo>
                <a:lnTo>
                  <a:pt x="1440886" y="6446928"/>
                </a:lnTo>
                <a:close/>
                <a:moveTo>
                  <a:pt x="6319286" y="6418743"/>
                </a:moveTo>
                <a:lnTo>
                  <a:pt x="6319286" y="6521016"/>
                </a:lnTo>
                <a:lnTo>
                  <a:pt x="6329541" y="6521016"/>
                </a:lnTo>
                <a:lnTo>
                  <a:pt x="6329541" y="6418743"/>
                </a:lnTo>
                <a:close/>
                <a:moveTo>
                  <a:pt x="6224384" y="6418743"/>
                </a:moveTo>
                <a:lnTo>
                  <a:pt x="6224384" y="6433184"/>
                </a:lnTo>
                <a:lnTo>
                  <a:pt x="6234640" y="6433184"/>
                </a:lnTo>
                <a:lnTo>
                  <a:pt x="6234640" y="6418743"/>
                </a:lnTo>
                <a:close/>
                <a:moveTo>
                  <a:pt x="6034363" y="6418743"/>
                </a:moveTo>
                <a:lnTo>
                  <a:pt x="6034363" y="6455439"/>
                </a:lnTo>
                <a:cubicBezTo>
                  <a:pt x="6032461" y="6452230"/>
                  <a:pt x="6030058" y="6449730"/>
                  <a:pt x="6027156" y="6447939"/>
                </a:cubicBezTo>
                <a:cubicBezTo>
                  <a:pt x="6024254" y="6446149"/>
                  <a:pt x="6021108" y="6445253"/>
                  <a:pt x="6017719" y="6445253"/>
                </a:cubicBezTo>
                <a:cubicBezTo>
                  <a:pt x="6012983" y="6445253"/>
                  <a:pt x="6008677" y="6446672"/>
                  <a:pt x="6004799" y="6449509"/>
                </a:cubicBezTo>
                <a:cubicBezTo>
                  <a:pt x="6000921" y="6452346"/>
                  <a:pt x="5997822" y="6456695"/>
                  <a:pt x="5995500" y="6462555"/>
                </a:cubicBezTo>
                <a:cubicBezTo>
                  <a:pt x="5993178" y="6468415"/>
                  <a:pt x="5992018" y="6475554"/>
                  <a:pt x="5992018" y="6483972"/>
                </a:cubicBezTo>
                <a:cubicBezTo>
                  <a:pt x="5992018" y="6496250"/>
                  <a:pt x="5994634" y="6505773"/>
                  <a:pt x="5999866" y="6512540"/>
                </a:cubicBezTo>
                <a:cubicBezTo>
                  <a:pt x="6005100" y="6519307"/>
                  <a:pt x="6011295" y="6522691"/>
                  <a:pt x="6018459" y="6522691"/>
                </a:cubicBezTo>
                <a:cubicBezTo>
                  <a:pt x="6021854" y="6522691"/>
                  <a:pt x="6025016" y="6521749"/>
                  <a:pt x="6027948" y="6519865"/>
                </a:cubicBezTo>
                <a:cubicBezTo>
                  <a:pt x="6030877" y="6517982"/>
                  <a:pt x="6033272" y="6515249"/>
                  <a:pt x="6035132" y="6511668"/>
                </a:cubicBezTo>
                <a:lnTo>
                  <a:pt x="6035132" y="6521016"/>
                </a:lnTo>
                <a:lnTo>
                  <a:pt x="6044761" y="6521016"/>
                </a:lnTo>
                <a:lnTo>
                  <a:pt x="6044761" y="6418743"/>
                </a:lnTo>
                <a:close/>
                <a:moveTo>
                  <a:pt x="2790954" y="6418743"/>
                </a:moveTo>
                <a:lnTo>
                  <a:pt x="2790954" y="6455439"/>
                </a:lnTo>
                <a:cubicBezTo>
                  <a:pt x="2789051" y="6452230"/>
                  <a:pt x="2786647" y="6449730"/>
                  <a:pt x="2783745" y="6447939"/>
                </a:cubicBezTo>
                <a:cubicBezTo>
                  <a:pt x="2780842" y="6446149"/>
                  <a:pt x="2777697" y="6445253"/>
                  <a:pt x="2774311" y="6445253"/>
                </a:cubicBezTo>
                <a:cubicBezTo>
                  <a:pt x="2769573" y="6445253"/>
                  <a:pt x="2765268" y="6446672"/>
                  <a:pt x="2761389" y="6449509"/>
                </a:cubicBezTo>
                <a:cubicBezTo>
                  <a:pt x="2757512" y="6452346"/>
                  <a:pt x="2754414" y="6456695"/>
                  <a:pt x="2752089" y="6462555"/>
                </a:cubicBezTo>
                <a:cubicBezTo>
                  <a:pt x="2749769" y="6468415"/>
                  <a:pt x="2748607" y="6475554"/>
                  <a:pt x="2748607" y="6483972"/>
                </a:cubicBezTo>
                <a:cubicBezTo>
                  <a:pt x="2748607" y="6496250"/>
                  <a:pt x="2751223" y="6505773"/>
                  <a:pt x="2756457" y="6512540"/>
                </a:cubicBezTo>
                <a:cubicBezTo>
                  <a:pt x="2761691" y="6519307"/>
                  <a:pt x="2767884" y="6522691"/>
                  <a:pt x="2775051" y="6522691"/>
                </a:cubicBezTo>
                <a:cubicBezTo>
                  <a:pt x="2778443" y="6522691"/>
                  <a:pt x="2781605" y="6521749"/>
                  <a:pt x="2784536" y="6519865"/>
                </a:cubicBezTo>
                <a:cubicBezTo>
                  <a:pt x="2787466" y="6517982"/>
                  <a:pt x="2789863" y="6515249"/>
                  <a:pt x="2791721" y="6511668"/>
                </a:cubicBezTo>
                <a:lnTo>
                  <a:pt x="2791721" y="6521016"/>
                </a:lnTo>
                <a:lnTo>
                  <a:pt x="2801352" y="6521016"/>
                </a:lnTo>
                <a:lnTo>
                  <a:pt x="2801352" y="6418743"/>
                </a:lnTo>
                <a:close/>
                <a:moveTo>
                  <a:pt x="2590102" y="6418743"/>
                </a:moveTo>
                <a:lnTo>
                  <a:pt x="2590102" y="6521016"/>
                </a:lnTo>
                <a:lnTo>
                  <a:pt x="2600357" y="6521016"/>
                </a:lnTo>
                <a:lnTo>
                  <a:pt x="2600357" y="6418743"/>
                </a:lnTo>
                <a:close/>
                <a:moveTo>
                  <a:pt x="2380902" y="6418743"/>
                </a:moveTo>
                <a:lnTo>
                  <a:pt x="2380902" y="6433184"/>
                </a:lnTo>
                <a:lnTo>
                  <a:pt x="2391160" y="6433184"/>
                </a:lnTo>
                <a:lnTo>
                  <a:pt x="2391160" y="6418743"/>
                </a:lnTo>
                <a:close/>
                <a:moveTo>
                  <a:pt x="2024499" y="6418743"/>
                </a:moveTo>
                <a:lnTo>
                  <a:pt x="1992155" y="6521016"/>
                </a:lnTo>
                <a:lnTo>
                  <a:pt x="2003857" y="6521016"/>
                </a:lnTo>
                <a:lnTo>
                  <a:pt x="2012973" y="6490041"/>
                </a:lnTo>
                <a:lnTo>
                  <a:pt x="2048255" y="6490041"/>
                </a:lnTo>
                <a:lnTo>
                  <a:pt x="2058010" y="6521016"/>
                </a:lnTo>
                <a:lnTo>
                  <a:pt x="2070709" y="6521016"/>
                </a:lnTo>
                <a:lnTo>
                  <a:pt x="2036363" y="6418743"/>
                </a:lnTo>
                <a:close/>
                <a:moveTo>
                  <a:pt x="1818925" y="6418743"/>
                </a:moveTo>
                <a:lnTo>
                  <a:pt x="1818925" y="6433184"/>
                </a:lnTo>
                <a:lnTo>
                  <a:pt x="1829180" y="6433184"/>
                </a:lnTo>
                <a:lnTo>
                  <a:pt x="1829180" y="6418743"/>
                </a:lnTo>
                <a:close/>
                <a:moveTo>
                  <a:pt x="1752248" y="6418743"/>
                </a:moveTo>
                <a:lnTo>
                  <a:pt x="1752248" y="6433184"/>
                </a:lnTo>
                <a:lnTo>
                  <a:pt x="1762504" y="6433184"/>
                </a:lnTo>
                <a:lnTo>
                  <a:pt x="1762504" y="6418743"/>
                </a:lnTo>
                <a:close/>
                <a:moveTo>
                  <a:pt x="1361723" y="6418743"/>
                </a:moveTo>
                <a:lnTo>
                  <a:pt x="1361723" y="6521016"/>
                </a:lnTo>
                <a:lnTo>
                  <a:pt x="1371979" y="6521016"/>
                </a:lnTo>
                <a:lnTo>
                  <a:pt x="1371979" y="6480484"/>
                </a:lnTo>
                <a:cubicBezTo>
                  <a:pt x="1371979" y="6471368"/>
                  <a:pt x="1373548" y="6465020"/>
                  <a:pt x="1376688" y="6461438"/>
                </a:cubicBezTo>
                <a:cubicBezTo>
                  <a:pt x="1379827" y="6457857"/>
                  <a:pt x="1383629" y="6456067"/>
                  <a:pt x="1388094" y="6456067"/>
                </a:cubicBezTo>
                <a:cubicBezTo>
                  <a:pt x="1392094" y="6456067"/>
                  <a:pt x="1395233" y="6457462"/>
                  <a:pt x="1397512" y="6460253"/>
                </a:cubicBezTo>
                <a:cubicBezTo>
                  <a:pt x="1399791" y="6463043"/>
                  <a:pt x="1400930" y="6467647"/>
                  <a:pt x="1400930" y="6474066"/>
                </a:cubicBezTo>
                <a:lnTo>
                  <a:pt x="1400930" y="6521016"/>
                </a:lnTo>
                <a:lnTo>
                  <a:pt x="1411186" y="6521016"/>
                </a:lnTo>
                <a:lnTo>
                  <a:pt x="1411186" y="6474066"/>
                </a:lnTo>
                <a:cubicBezTo>
                  <a:pt x="1411186" y="6463090"/>
                  <a:pt x="1409314" y="6455543"/>
                  <a:pt x="1405570" y="6451427"/>
                </a:cubicBezTo>
                <a:cubicBezTo>
                  <a:pt x="1401826" y="6447311"/>
                  <a:pt x="1396721" y="6445253"/>
                  <a:pt x="1390256" y="6445253"/>
                </a:cubicBezTo>
                <a:cubicBezTo>
                  <a:pt x="1386582" y="6445253"/>
                  <a:pt x="1383222" y="6446102"/>
                  <a:pt x="1380176" y="6447800"/>
                </a:cubicBezTo>
                <a:cubicBezTo>
                  <a:pt x="1377129" y="6449497"/>
                  <a:pt x="1374397" y="6452044"/>
                  <a:pt x="1371979" y="6455439"/>
                </a:cubicBezTo>
                <a:lnTo>
                  <a:pt x="1371979" y="6418743"/>
                </a:lnTo>
                <a:close/>
                <a:moveTo>
                  <a:pt x="1266473" y="6418743"/>
                </a:moveTo>
                <a:lnTo>
                  <a:pt x="1266473" y="6433184"/>
                </a:lnTo>
                <a:lnTo>
                  <a:pt x="1276729" y="6433184"/>
                </a:lnTo>
                <a:lnTo>
                  <a:pt x="1276729" y="6418743"/>
                </a:lnTo>
                <a:close/>
                <a:moveTo>
                  <a:pt x="10863258" y="6418259"/>
                </a:moveTo>
                <a:lnTo>
                  <a:pt x="10904541" y="6418259"/>
                </a:lnTo>
                <a:cubicBezTo>
                  <a:pt x="10924644" y="6418259"/>
                  <a:pt x="10934695" y="6421247"/>
                  <a:pt x="10934695" y="6433947"/>
                </a:cubicBezTo>
                <a:cubicBezTo>
                  <a:pt x="10934695" y="6446647"/>
                  <a:pt x="10924644" y="6450009"/>
                  <a:pt x="10904541" y="6450009"/>
                </a:cubicBezTo>
                <a:lnTo>
                  <a:pt x="10863258" y="6450009"/>
                </a:lnTo>
                <a:close/>
                <a:moveTo>
                  <a:pt x="5958284" y="6416999"/>
                </a:moveTo>
                <a:cubicBezTo>
                  <a:pt x="5954507" y="6416999"/>
                  <a:pt x="5951372" y="6417767"/>
                  <a:pt x="5948876" y="6419302"/>
                </a:cubicBezTo>
                <a:cubicBezTo>
                  <a:pt x="5946380" y="6420836"/>
                  <a:pt x="5944526" y="6423057"/>
                  <a:pt x="5943316" y="6425964"/>
                </a:cubicBezTo>
                <a:cubicBezTo>
                  <a:pt x="5942101" y="6428871"/>
                  <a:pt x="5941497" y="6433231"/>
                  <a:pt x="5941497" y="6439045"/>
                </a:cubicBezTo>
                <a:lnTo>
                  <a:pt x="5941497" y="6446928"/>
                </a:lnTo>
                <a:lnTo>
                  <a:pt x="5932359" y="6446928"/>
                </a:lnTo>
                <a:lnTo>
                  <a:pt x="5932359" y="6456695"/>
                </a:lnTo>
                <a:lnTo>
                  <a:pt x="5941497" y="6456695"/>
                </a:lnTo>
                <a:lnTo>
                  <a:pt x="5941497" y="6521016"/>
                </a:lnTo>
                <a:lnTo>
                  <a:pt x="5951752" y="6521016"/>
                </a:lnTo>
                <a:lnTo>
                  <a:pt x="5951752" y="6456695"/>
                </a:lnTo>
                <a:lnTo>
                  <a:pt x="5963612" y="6456695"/>
                </a:lnTo>
                <a:lnTo>
                  <a:pt x="5963612" y="6446928"/>
                </a:lnTo>
                <a:lnTo>
                  <a:pt x="5951752" y="6446928"/>
                </a:lnTo>
                <a:lnTo>
                  <a:pt x="5951752" y="6440091"/>
                </a:lnTo>
                <a:cubicBezTo>
                  <a:pt x="5951752" y="6435580"/>
                  <a:pt x="5952415" y="6432522"/>
                  <a:pt x="5953740" y="6430917"/>
                </a:cubicBezTo>
                <a:cubicBezTo>
                  <a:pt x="5955066" y="6429313"/>
                  <a:pt x="5957263" y="6428510"/>
                  <a:pt x="5960331" y="6428510"/>
                </a:cubicBezTo>
                <a:cubicBezTo>
                  <a:pt x="5962240" y="6428510"/>
                  <a:pt x="5964261" y="6428743"/>
                  <a:pt x="5966402" y="6429208"/>
                </a:cubicBezTo>
                <a:lnTo>
                  <a:pt x="5967211" y="6423470"/>
                </a:lnTo>
                <a:lnTo>
                  <a:pt x="5967211" y="6433184"/>
                </a:lnTo>
                <a:lnTo>
                  <a:pt x="5977467" y="6433184"/>
                </a:lnTo>
                <a:lnTo>
                  <a:pt x="5977467" y="6418743"/>
                </a:lnTo>
                <a:lnTo>
                  <a:pt x="5967879" y="6418743"/>
                </a:lnTo>
                <a:lnTo>
                  <a:pt x="5967935" y="6418325"/>
                </a:lnTo>
                <a:cubicBezTo>
                  <a:pt x="5964439" y="6417441"/>
                  <a:pt x="5961221" y="6416999"/>
                  <a:pt x="5958284" y="6416999"/>
                </a:cubicBezTo>
                <a:close/>
                <a:moveTo>
                  <a:pt x="883232" y="6416999"/>
                </a:moveTo>
                <a:cubicBezTo>
                  <a:pt x="875883" y="6416999"/>
                  <a:pt x="868895" y="6419197"/>
                  <a:pt x="862268" y="6423592"/>
                </a:cubicBezTo>
                <a:cubicBezTo>
                  <a:pt x="855640" y="6427987"/>
                  <a:pt x="850280" y="6434301"/>
                  <a:pt x="846187" y="6442533"/>
                </a:cubicBezTo>
                <a:cubicBezTo>
                  <a:pt x="842095" y="6450765"/>
                  <a:pt x="840048" y="6459811"/>
                  <a:pt x="840048" y="6469671"/>
                </a:cubicBezTo>
                <a:cubicBezTo>
                  <a:pt x="840048" y="6483763"/>
                  <a:pt x="844188" y="6496053"/>
                  <a:pt x="852466" y="6506540"/>
                </a:cubicBezTo>
                <a:cubicBezTo>
                  <a:pt x="860745" y="6517028"/>
                  <a:pt x="871000" y="6522272"/>
                  <a:pt x="883232" y="6522272"/>
                </a:cubicBezTo>
                <a:cubicBezTo>
                  <a:pt x="890580" y="6522272"/>
                  <a:pt x="897568" y="6520074"/>
                  <a:pt x="904196" y="6515679"/>
                </a:cubicBezTo>
                <a:cubicBezTo>
                  <a:pt x="910823" y="6511284"/>
                  <a:pt x="916183" y="6504971"/>
                  <a:pt x="920276" y="6496739"/>
                </a:cubicBezTo>
                <a:cubicBezTo>
                  <a:pt x="924369" y="6488507"/>
                  <a:pt x="926415" y="6479484"/>
                  <a:pt x="926415" y="6469671"/>
                </a:cubicBezTo>
                <a:cubicBezTo>
                  <a:pt x="926415" y="6455578"/>
                  <a:pt x="922276" y="6443277"/>
                  <a:pt x="913997" y="6432766"/>
                </a:cubicBezTo>
                <a:cubicBezTo>
                  <a:pt x="905719" y="6422255"/>
                  <a:pt x="895464" y="6416999"/>
                  <a:pt x="883232" y="6416999"/>
                </a:cubicBezTo>
                <a:close/>
                <a:moveTo>
                  <a:pt x="5757201" y="6416930"/>
                </a:moveTo>
                <a:cubicBezTo>
                  <a:pt x="5749800" y="6416930"/>
                  <a:pt x="5743096" y="6418919"/>
                  <a:pt x="5737090" y="6422898"/>
                </a:cubicBezTo>
                <a:cubicBezTo>
                  <a:pt x="5731085" y="6426877"/>
                  <a:pt x="5726326" y="6432764"/>
                  <a:pt x="5722810" y="6440560"/>
                </a:cubicBezTo>
                <a:cubicBezTo>
                  <a:pt x="5719297" y="6448355"/>
                  <a:pt x="5717538" y="6457884"/>
                  <a:pt x="5717538" y="6469147"/>
                </a:cubicBezTo>
                <a:cubicBezTo>
                  <a:pt x="5717538" y="6480549"/>
                  <a:pt x="5719295" y="6490439"/>
                  <a:pt x="5722804" y="6498816"/>
                </a:cubicBezTo>
                <a:cubicBezTo>
                  <a:pt x="5726318" y="6507193"/>
                  <a:pt x="5730829" y="6513278"/>
                  <a:pt x="5736339" y="6517071"/>
                </a:cubicBezTo>
                <a:cubicBezTo>
                  <a:pt x="5741851" y="6520864"/>
                  <a:pt x="5748490" y="6522760"/>
                  <a:pt x="5756258" y="6522760"/>
                </a:cubicBezTo>
                <a:cubicBezTo>
                  <a:pt x="5765094" y="6522760"/>
                  <a:pt x="5772593" y="6519935"/>
                  <a:pt x="5778755" y="6514284"/>
                </a:cubicBezTo>
                <a:cubicBezTo>
                  <a:pt x="5784918" y="6508633"/>
                  <a:pt x="5789232" y="6500064"/>
                  <a:pt x="5791698" y="6488576"/>
                </a:cubicBezTo>
                <a:lnTo>
                  <a:pt x="5780536" y="6485158"/>
                </a:lnTo>
                <a:cubicBezTo>
                  <a:pt x="5779047" y="6493902"/>
                  <a:pt x="5776104" y="6500424"/>
                  <a:pt x="5771710" y="6504727"/>
                </a:cubicBezTo>
                <a:cubicBezTo>
                  <a:pt x="5767314" y="6509029"/>
                  <a:pt x="5762094" y="6511180"/>
                  <a:pt x="5756048" y="6511180"/>
                </a:cubicBezTo>
                <a:cubicBezTo>
                  <a:pt x="5747861" y="6511180"/>
                  <a:pt x="5741304" y="6507677"/>
                  <a:pt x="5736375" y="6500672"/>
                </a:cubicBezTo>
                <a:cubicBezTo>
                  <a:pt x="5731443" y="6493666"/>
                  <a:pt x="5728981" y="6483158"/>
                  <a:pt x="5728981" y="6469146"/>
                </a:cubicBezTo>
                <a:cubicBezTo>
                  <a:pt x="5728981" y="6459884"/>
                  <a:pt x="5730202" y="6452227"/>
                  <a:pt x="5732647" y="6446176"/>
                </a:cubicBezTo>
                <a:cubicBezTo>
                  <a:pt x="5735094" y="6440124"/>
                  <a:pt x="5738363" y="6435667"/>
                  <a:pt x="5742462" y="6432805"/>
                </a:cubicBezTo>
                <a:cubicBezTo>
                  <a:pt x="5746560" y="6429942"/>
                  <a:pt x="5751404" y="6428510"/>
                  <a:pt x="5756996" y="6428510"/>
                </a:cubicBezTo>
                <a:cubicBezTo>
                  <a:pt x="5768218" y="6428510"/>
                  <a:pt x="5775694" y="6435603"/>
                  <a:pt x="5779417" y="6449788"/>
                </a:cubicBezTo>
                <a:lnTo>
                  <a:pt x="5790300" y="6446649"/>
                </a:lnTo>
                <a:cubicBezTo>
                  <a:pt x="5787973" y="6436904"/>
                  <a:pt x="5783900" y="6429515"/>
                  <a:pt x="5778080" y="6424481"/>
                </a:cubicBezTo>
                <a:cubicBezTo>
                  <a:pt x="5772261" y="6419447"/>
                  <a:pt x="5765304" y="6416930"/>
                  <a:pt x="5757201" y="6416930"/>
                </a:cubicBezTo>
                <a:close/>
                <a:moveTo>
                  <a:pt x="2249532" y="6416930"/>
                </a:moveTo>
                <a:cubicBezTo>
                  <a:pt x="2240467" y="6416930"/>
                  <a:pt x="2233254" y="6419557"/>
                  <a:pt x="2227909" y="6424813"/>
                </a:cubicBezTo>
                <a:cubicBezTo>
                  <a:pt x="2222556" y="6430068"/>
                  <a:pt x="2219883" y="6436835"/>
                  <a:pt x="2219883" y="6445114"/>
                </a:cubicBezTo>
                <a:cubicBezTo>
                  <a:pt x="2219883" y="6449718"/>
                  <a:pt x="2220813" y="6453846"/>
                  <a:pt x="2222671" y="6457497"/>
                </a:cubicBezTo>
                <a:cubicBezTo>
                  <a:pt x="2224536" y="6461148"/>
                  <a:pt x="2227140" y="6464159"/>
                  <a:pt x="2230487" y="6466531"/>
                </a:cubicBezTo>
                <a:cubicBezTo>
                  <a:pt x="2233835" y="6468903"/>
                  <a:pt x="2239465" y="6471263"/>
                  <a:pt x="2247373" y="6473610"/>
                </a:cubicBezTo>
                <a:cubicBezTo>
                  <a:pt x="2256256" y="6476239"/>
                  <a:pt x="2262035" y="6478273"/>
                  <a:pt x="2264706" y="6479712"/>
                </a:cubicBezTo>
                <a:cubicBezTo>
                  <a:pt x="2267380" y="6481151"/>
                  <a:pt x="2269378" y="6482996"/>
                  <a:pt x="2270706" y="6485247"/>
                </a:cubicBezTo>
                <a:cubicBezTo>
                  <a:pt x="2272029" y="6487498"/>
                  <a:pt x="2272693" y="6490132"/>
                  <a:pt x="2272693" y="6493148"/>
                </a:cubicBezTo>
                <a:cubicBezTo>
                  <a:pt x="2272693" y="6498300"/>
                  <a:pt x="2270867" y="6502488"/>
                  <a:pt x="2267221" y="6505714"/>
                </a:cubicBezTo>
                <a:cubicBezTo>
                  <a:pt x="2263568" y="6508939"/>
                  <a:pt x="2258441" y="6510552"/>
                  <a:pt x="2251834" y="6510552"/>
                </a:cubicBezTo>
                <a:cubicBezTo>
                  <a:pt x="2247228" y="6510552"/>
                  <a:pt x="2243090" y="6509598"/>
                  <a:pt x="2239420" y="6507691"/>
                </a:cubicBezTo>
                <a:cubicBezTo>
                  <a:pt x="2235745" y="6505785"/>
                  <a:pt x="2232919" y="6503262"/>
                  <a:pt x="2230941" y="6500122"/>
                </a:cubicBezTo>
                <a:cubicBezTo>
                  <a:pt x="2228964" y="6496983"/>
                  <a:pt x="2227697" y="6492599"/>
                  <a:pt x="2227140" y="6486972"/>
                </a:cubicBezTo>
                <a:lnTo>
                  <a:pt x="2216673" y="6488088"/>
                </a:lnTo>
                <a:cubicBezTo>
                  <a:pt x="2216905" y="6498739"/>
                  <a:pt x="2220105" y="6507180"/>
                  <a:pt x="2226270" y="6513412"/>
                </a:cubicBezTo>
                <a:cubicBezTo>
                  <a:pt x="2232430" y="6519644"/>
                  <a:pt x="2240699" y="6522760"/>
                  <a:pt x="2251071" y="6522760"/>
                </a:cubicBezTo>
                <a:cubicBezTo>
                  <a:pt x="2257717" y="6522760"/>
                  <a:pt x="2263407" y="6521506"/>
                  <a:pt x="2268127" y="6518997"/>
                </a:cubicBezTo>
                <a:cubicBezTo>
                  <a:pt x="2272847" y="6516488"/>
                  <a:pt x="2276579" y="6512829"/>
                  <a:pt x="2279325" y="6508021"/>
                </a:cubicBezTo>
                <a:cubicBezTo>
                  <a:pt x="2282067" y="6503213"/>
                  <a:pt x="2283436" y="6497882"/>
                  <a:pt x="2283436" y="6492029"/>
                </a:cubicBezTo>
                <a:cubicBezTo>
                  <a:pt x="2283436" y="6486128"/>
                  <a:pt x="2282132" y="6481052"/>
                  <a:pt x="2279522" y="6476801"/>
                </a:cubicBezTo>
                <a:cubicBezTo>
                  <a:pt x="2276914" y="6472550"/>
                  <a:pt x="2273050" y="6469117"/>
                  <a:pt x="2267938" y="6466501"/>
                </a:cubicBezTo>
                <a:cubicBezTo>
                  <a:pt x="2264591" y="6464819"/>
                  <a:pt x="2258781" y="6462833"/>
                  <a:pt x="2250508" y="6460544"/>
                </a:cubicBezTo>
                <a:cubicBezTo>
                  <a:pt x="2242041" y="6458208"/>
                  <a:pt x="2236603" y="6455901"/>
                  <a:pt x="2234185" y="6453622"/>
                </a:cubicBezTo>
                <a:cubicBezTo>
                  <a:pt x="2231767" y="6451344"/>
                  <a:pt x="2230560" y="6448135"/>
                  <a:pt x="2230560" y="6443996"/>
                </a:cubicBezTo>
                <a:cubicBezTo>
                  <a:pt x="2230560" y="6439531"/>
                  <a:pt x="2232208" y="6435893"/>
                  <a:pt x="2235513" y="6433079"/>
                </a:cubicBezTo>
                <a:cubicBezTo>
                  <a:pt x="2238811" y="6430266"/>
                  <a:pt x="2243603" y="6428859"/>
                  <a:pt x="2249881" y="6428859"/>
                </a:cubicBezTo>
                <a:cubicBezTo>
                  <a:pt x="2256067" y="6428859"/>
                  <a:pt x="2260872" y="6430464"/>
                  <a:pt x="2264286" y="6433673"/>
                </a:cubicBezTo>
                <a:cubicBezTo>
                  <a:pt x="2267706" y="6436882"/>
                  <a:pt x="2269693" y="6441812"/>
                  <a:pt x="2270252" y="6448463"/>
                </a:cubicBezTo>
                <a:lnTo>
                  <a:pt x="2280928" y="6447486"/>
                </a:lnTo>
                <a:cubicBezTo>
                  <a:pt x="2280741" y="6441254"/>
                  <a:pt x="2279357" y="6435835"/>
                  <a:pt x="2276778" y="6431231"/>
                </a:cubicBezTo>
                <a:cubicBezTo>
                  <a:pt x="2274194" y="6426627"/>
                  <a:pt x="2270569" y="6423092"/>
                  <a:pt x="2265892" y="6420627"/>
                </a:cubicBezTo>
                <a:cubicBezTo>
                  <a:pt x="2261221" y="6418162"/>
                  <a:pt x="2255762" y="6416930"/>
                  <a:pt x="2249532" y="6416930"/>
                </a:cubicBezTo>
                <a:close/>
                <a:moveTo>
                  <a:pt x="2107530" y="6416930"/>
                </a:moveTo>
                <a:cubicBezTo>
                  <a:pt x="2099203" y="6416930"/>
                  <a:pt x="2091990" y="6418896"/>
                  <a:pt x="2085898" y="6422828"/>
                </a:cubicBezTo>
                <a:cubicBezTo>
                  <a:pt x="2079805" y="6426761"/>
                  <a:pt x="2074875" y="6432869"/>
                  <a:pt x="2071108" y="6441153"/>
                </a:cubicBezTo>
                <a:cubicBezTo>
                  <a:pt x="2067341" y="6449437"/>
                  <a:pt x="2065457" y="6459164"/>
                  <a:pt x="2065457" y="6470333"/>
                </a:cubicBezTo>
                <a:cubicBezTo>
                  <a:pt x="2065457" y="6481363"/>
                  <a:pt x="2067329" y="6490811"/>
                  <a:pt x="2071073" y="6498676"/>
                </a:cubicBezTo>
                <a:cubicBezTo>
                  <a:pt x="2074817" y="6506542"/>
                  <a:pt x="2079898" y="6512522"/>
                  <a:pt x="2086316" y="6516617"/>
                </a:cubicBezTo>
                <a:cubicBezTo>
                  <a:pt x="2092736" y="6520713"/>
                  <a:pt x="2100043" y="6522760"/>
                  <a:pt x="2108228" y="6522760"/>
                </a:cubicBezTo>
                <a:cubicBezTo>
                  <a:pt x="2114364" y="6522760"/>
                  <a:pt x="2120344" y="6521423"/>
                  <a:pt x="2126153" y="6518749"/>
                </a:cubicBezTo>
                <a:cubicBezTo>
                  <a:pt x="2131971" y="6516075"/>
                  <a:pt x="2137595" y="6512087"/>
                  <a:pt x="2143038" y="6506785"/>
                </a:cubicBezTo>
                <a:lnTo>
                  <a:pt x="2143038" y="6468764"/>
                </a:lnTo>
                <a:lnTo>
                  <a:pt x="2107530" y="6468833"/>
                </a:lnTo>
                <a:lnTo>
                  <a:pt x="2107530" y="6480902"/>
                </a:lnTo>
                <a:lnTo>
                  <a:pt x="2132151" y="6480902"/>
                </a:lnTo>
                <a:lnTo>
                  <a:pt x="2132151" y="6499948"/>
                </a:lnTo>
                <a:cubicBezTo>
                  <a:pt x="2129458" y="6502831"/>
                  <a:pt x="2125816" y="6505320"/>
                  <a:pt x="2121238" y="6507412"/>
                </a:cubicBezTo>
                <a:cubicBezTo>
                  <a:pt x="2116657" y="6509505"/>
                  <a:pt x="2112179" y="6510552"/>
                  <a:pt x="2107806" y="6510552"/>
                </a:cubicBezTo>
                <a:cubicBezTo>
                  <a:pt x="2098646" y="6510552"/>
                  <a:pt x="2091200" y="6507142"/>
                  <a:pt x="2085479" y="6500323"/>
                </a:cubicBezTo>
                <a:cubicBezTo>
                  <a:pt x="2079759" y="6493503"/>
                  <a:pt x="2076898" y="6483251"/>
                  <a:pt x="2076898" y="6469566"/>
                </a:cubicBezTo>
                <a:cubicBezTo>
                  <a:pt x="2076898" y="6460582"/>
                  <a:pt x="2078235" y="6452972"/>
                  <a:pt x="2080910" y="6446734"/>
                </a:cubicBezTo>
                <a:cubicBezTo>
                  <a:pt x="2083584" y="6440497"/>
                  <a:pt x="2087119" y="6435900"/>
                  <a:pt x="2091514" y="6432944"/>
                </a:cubicBezTo>
                <a:cubicBezTo>
                  <a:pt x="2095909" y="6429988"/>
                  <a:pt x="2101156" y="6428510"/>
                  <a:pt x="2107247" y="6428510"/>
                </a:cubicBezTo>
                <a:cubicBezTo>
                  <a:pt x="2111432" y="6428510"/>
                  <a:pt x="2115200" y="6429324"/>
                  <a:pt x="2118547" y="6430952"/>
                </a:cubicBezTo>
                <a:cubicBezTo>
                  <a:pt x="2121898" y="6432580"/>
                  <a:pt x="2124598" y="6434824"/>
                  <a:pt x="2126643" y="6437684"/>
                </a:cubicBezTo>
                <a:cubicBezTo>
                  <a:pt x="2128689" y="6440544"/>
                  <a:pt x="2130387" y="6444858"/>
                  <a:pt x="2131738" y="6450625"/>
                </a:cubicBezTo>
                <a:lnTo>
                  <a:pt x="2141711" y="6447277"/>
                </a:lnTo>
                <a:cubicBezTo>
                  <a:pt x="2140221" y="6439975"/>
                  <a:pt x="2137990" y="6434231"/>
                  <a:pt x="2135015" y="6430045"/>
                </a:cubicBezTo>
                <a:cubicBezTo>
                  <a:pt x="2132036" y="6425859"/>
                  <a:pt x="2128247" y="6422627"/>
                  <a:pt x="2123643" y="6420348"/>
                </a:cubicBezTo>
                <a:cubicBezTo>
                  <a:pt x="2119038" y="6418069"/>
                  <a:pt x="2113665" y="6416930"/>
                  <a:pt x="2107530" y="6416930"/>
                </a:cubicBezTo>
                <a:close/>
                <a:moveTo>
                  <a:pt x="1516105" y="6416930"/>
                </a:moveTo>
                <a:cubicBezTo>
                  <a:pt x="1507035" y="6416930"/>
                  <a:pt x="1499827" y="6419557"/>
                  <a:pt x="1494478" y="6424813"/>
                </a:cubicBezTo>
                <a:cubicBezTo>
                  <a:pt x="1489130" y="6430068"/>
                  <a:pt x="1486455" y="6436835"/>
                  <a:pt x="1486455" y="6445114"/>
                </a:cubicBezTo>
                <a:cubicBezTo>
                  <a:pt x="1486455" y="6449718"/>
                  <a:pt x="1487385" y="6453846"/>
                  <a:pt x="1489246" y="6457497"/>
                </a:cubicBezTo>
                <a:cubicBezTo>
                  <a:pt x="1491106" y="6461148"/>
                  <a:pt x="1493711" y="6464159"/>
                  <a:pt x="1497059" y="6466531"/>
                </a:cubicBezTo>
                <a:cubicBezTo>
                  <a:pt x="1500408" y="6468903"/>
                  <a:pt x="1506035" y="6471263"/>
                  <a:pt x="1513942" y="6473610"/>
                </a:cubicBezTo>
                <a:cubicBezTo>
                  <a:pt x="1522825" y="6476239"/>
                  <a:pt x="1528604" y="6478273"/>
                  <a:pt x="1531278" y="6479712"/>
                </a:cubicBezTo>
                <a:cubicBezTo>
                  <a:pt x="1533953" y="6481151"/>
                  <a:pt x="1535952" y="6482996"/>
                  <a:pt x="1537278" y="6485247"/>
                </a:cubicBezTo>
                <a:cubicBezTo>
                  <a:pt x="1538603" y="6487498"/>
                  <a:pt x="1539266" y="6490132"/>
                  <a:pt x="1539266" y="6493148"/>
                </a:cubicBezTo>
                <a:cubicBezTo>
                  <a:pt x="1539266" y="6498300"/>
                  <a:pt x="1537441" y="6502488"/>
                  <a:pt x="1533790" y="6505714"/>
                </a:cubicBezTo>
                <a:cubicBezTo>
                  <a:pt x="1530139" y="6508939"/>
                  <a:pt x="1525011" y="6510552"/>
                  <a:pt x="1518407" y="6510552"/>
                </a:cubicBezTo>
                <a:cubicBezTo>
                  <a:pt x="1513802" y="6510552"/>
                  <a:pt x="1509663" y="6509598"/>
                  <a:pt x="1505989" y="6507691"/>
                </a:cubicBezTo>
                <a:cubicBezTo>
                  <a:pt x="1502315" y="6505785"/>
                  <a:pt x="1499490" y="6503262"/>
                  <a:pt x="1497513" y="6500122"/>
                </a:cubicBezTo>
                <a:cubicBezTo>
                  <a:pt x="1495536" y="6496983"/>
                  <a:pt x="1494269" y="6492599"/>
                  <a:pt x="1493711" y="6486972"/>
                </a:cubicBezTo>
                <a:lnTo>
                  <a:pt x="1483246" y="6488088"/>
                </a:lnTo>
                <a:cubicBezTo>
                  <a:pt x="1483479" y="6498739"/>
                  <a:pt x="1486676" y="6507180"/>
                  <a:pt x="1492839" y="6513412"/>
                </a:cubicBezTo>
                <a:cubicBezTo>
                  <a:pt x="1499001" y="6519644"/>
                  <a:pt x="1507268" y="6522760"/>
                  <a:pt x="1517639" y="6522760"/>
                </a:cubicBezTo>
                <a:cubicBezTo>
                  <a:pt x="1524290" y="6522760"/>
                  <a:pt x="1529976" y="6521506"/>
                  <a:pt x="1534697" y="6518997"/>
                </a:cubicBezTo>
                <a:cubicBezTo>
                  <a:pt x="1539417" y="6516488"/>
                  <a:pt x="1543151" y="6512829"/>
                  <a:pt x="1545894" y="6508021"/>
                </a:cubicBezTo>
                <a:cubicBezTo>
                  <a:pt x="1548638" y="6503213"/>
                  <a:pt x="1550010" y="6497882"/>
                  <a:pt x="1550010" y="6492029"/>
                </a:cubicBezTo>
                <a:cubicBezTo>
                  <a:pt x="1550010" y="6486128"/>
                  <a:pt x="1548705" y="6481052"/>
                  <a:pt x="1546095" y="6476801"/>
                </a:cubicBezTo>
                <a:cubicBezTo>
                  <a:pt x="1543485" y="6472550"/>
                  <a:pt x="1539623" y="6469117"/>
                  <a:pt x="1534510" y="6466501"/>
                </a:cubicBezTo>
                <a:cubicBezTo>
                  <a:pt x="1531163" y="6464819"/>
                  <a:pt x="1525351" y="6462833"/>
                  <a:pt x="1517077" y="6460544"/>
                </a:cubicBezTo>
                <a:cubicBezTo>
                  <a:pt x="1508616" y="6458208"/>
                  <a:pt x="1503176" y="6455901"/>
                  <a:pt x="1500758" y="6453622"/>
                </a:cubicBezTo>
                <a:cubicBezTo>
                  <a:pt x="1498339" y="6451344"/>
                  <a:pt x="1497129" y="6448135"/>
                  <a:pt x="1497129" y="6443996"/>
                </a:cubicBezTo>
                <a:cubicBezTo>
                  <a:pt x="1497129" y="6439531"/>
                  <a:pt x="1498780" y="6435893"/>
                  <a:pt x="1502082" y="6433079"/>
                </a:cubicBezTo>
                <a:cubicBezTo>
                  <a:pt x="1505385" y="6430266"/>
                  <a:pt x="1510175" y="6428859"/>
                  <a:pt x="1516453" y="6428859"/>
                </a:cubicBezTo>
                <a:cubicBezTo>
                  <a:pt x="1522639" y="6428859"/>
                  <a:pt x="1527441" y="6430464"/>
                  <a:pt x="1530860" y="6433673"/>
                </a:cubicBezTo>
                <a:cubicBezTo>
                  <a:pt x="1534278" y="6436882"/>
                  <a:pt x="1536266" y="6441812"/>
                  <a:pt x="1536824" y="6448463"/>
                </a:cubicBezTo>
                <a:lnTo>
                  <a:pt x="1547498" y="6447486"/>
                </a:lnTo>
                <a:cubicBezTo>
                  <a:pt x="1547312" y="6441254"/>
                  <a:pt x="1545928" y="6435835"/>
                  <a:pt x="1543347" y="6431231"/>
                </a:cubicBezTo>
                <a:cubicBezTo>
                  <a:pt x="1540766" y="6426627"/>
                  <a:pt x="1537138" y="6423092"/>
                  <a:pt x="1532464" y="6420627"/>
                </a:cubicBezTo>
                <a:cubicBezTo>
                  <a:pt x="1527790" y="6418162"/>
                  <a:pt x="1522337" y="6416930"/>
                  <a:pt x="1516105" y="6416930"/>
                </a:cubicBezTo>
                <a:close/>
                <a:moveTo>
                  <a:pt x="999314" y="6416930"/>
                </a:moveTo>
                <a:cubicBezTo>
                  <a:pt x="991912" y="6416930"/>
                  <a:pt x="985208" y="6418919"/>
                  <a:pt x="979202" y="6422898"/>
                </a:cubicBezTo>
                <a:cubicBezTo>
                  <a:pt x="973197" y="6426877"/>
                  <a:pt x="968437" y="6432764"/>
                  <a:pt x="964922" y="6440560"/>
                </a:cubicBezTo>
                <a:cubicBezTo>
                  <a:pt x="961408" y="6448355"/>
                  <a:pt x="959650" y="6457884"/>
                  <a:pt x="959650" y="6469147"/>
                </a:cubicBezTo>
                <a:cubicBezTo>
                  <a:pt x="959650" y="6480549"/>
                  <a:pt x="961406" y="6490439"/>
                  <a:pt x="964918" y="6498816"/>
                </a:cubicBezTo>
                <a:cubicBezTo>
                  <a:pt x="968429" y="6507193"/>
                  <a:pt x="972940" y="6513278"/>
                  <a:pt x="978452" y="6517071"/>
                </a:cubicBezTo>
                <a:cubicBezTo>
                  <a:pt x="983963" y="6520864"/>
                  <a:pt x="990602" y="6522760"/>
                  <a:pt x="998369" y="6522760"/>
                </a:cubicBezTo>
                <a:cubicBezTo>
                  <a:pt x="1007205" y="6522760"/>
                  <a:pt x="1014705" y="6519935"/>
                  <a:pt x="1020867" y="6514284"/>
                </a:cubicBezTo>
                <a:cubicBezTo>
                  <a:pt x="1027030" y="6508633"/>
                  <a:pt x="1031344" y="6500064"/>
                  <a:pt x="1033809" y="6488576"/>
                </a:cubicBezTo>
                <a:lnTo>
                  <a:pt x="1022646" y="6485158"/>
                </a:lnTo>
                <a:cubicBezTo>
                  <a:pt x="1021158" y="6493902"/>
                  <a:pt x="1018216" y="6500424"/>
                  <a:pt x="1013821" y="6504727"/>
                </a:cubicBezTo>
                <a:cubicBezTo>
                  <a:pt x="1009426" y="6509029"/>
                  <a:pt x="1004206" y="6511180"/>
                  <a:pt x="998160" y="6511180"/>
                </a:cubicBezTo>
                <a:cubicBezTo>
                  <a:pt x="989974" y="6511180"/>
                  <a:pt x="983416" y="6507677"/>
                  <a:pt x="978486" y="6500672"/>
                </a:cubicBezTo>
                <a:cubicBezTo>
                  <a:pt x="973556" y="6493666"/>
                  <a:pt x="971092" y="6483158"/>
                  <a:pt x="971092" y="6469146"/>
                </a:cubicBezTo>
                <a:cubicBezTo>
                  <a:pt x="971092" y="6459884"/>
                  <a:pt x="972314" y="6452227"/>
                  <a:pt x="974759" y="6446176"/>
                </a:cubicBezTo>
                <a:cubicBezTo>
                  <a:pt x="977204" y="6440124"/>
                  <a:pt x="980476" y="6435667"/>
                  <a:pt x="984574" y="6432805"/>
                </a:cubicBezTo>
                <a:cubicBezTo>
                  <a:pt x="988673" y="6429942"/>
                  <a:pt x="993517" y="6428510"/>
                  <a:pt x="999106" y="6428510"/>
                </a:cubicBezTo>
                <a:cubicBezTo>
                  <a:pt x="1010330" y="6428510"/>
                  <a:pt x="1017805" y="6435603"/>
                  <a:pt x="1021530" y="6449788"/>
                </a:cubicBezTo>
                <a:lnTo>
                  <a:pt x="1032413" y="6446649"/>
                </a:lnTo>
                <a:cubicBezTo>
                  <a:pt x="1030086" y="6436904"/>
                  <a:pt x="1026012" y="6429515"/>
                  <a:pt x="1020193" y="6424481"/>
                </a:cubicBezTo>
                <a:cubicBezTo>
                  <a:pt x="1014374" y="6419447"/>
                  <a:pt x="1007414" y="6416930"/>
                  <a:pt x="999314" y="6416930"/>
                </a:cubicBezTo>
                <a:close/>
                <a:moveTo>
                  <a:pt x="11136920" y="6415084"/>
                </a:moveTo>
                <a:cubicBezTo>
                  <a:pt x="11166990" y="6415084"/>
                  <a:pt x="11180757" y="6429263"/>
                  <a:pt x="11180757" y="6458741"/>
                </a:cubicBezTo>
                <a:cubicBezTo>
                  <a:pt x="11180757" y="6488218"/>
                  <a:pt x="11166990" y="6502397"/>
                  <a:pt x="11136920" y="6502397"/>
                </a:cubicBezTo>
                <a:cubicBezTo>
                  <a:pt x="11106487" y="6502397"/>
                  <a:pt x="11093445" y="6488218"/>
                  <a:pt x="11093445" y="6457621"/>
                </a:cubicBezTo>
                <a:cubicBezTo>
                  <a:pt x="11093445" y="6429263"/>
                  <a:pt x="11107574" y="6415084"/>
                  <a:pt x="11136920" y="6415084"/>
                </a:cubicBezTo>
                <a:close/>
                <a:moveTo>
                  <a:pt x="11241084" y="6397622"/>
                </a:moveTo>
                <a:lnTo>
                  <a:pt x="11241084" y="6521447"/>
                </a:lnTo>
                <a:lnTo>
                  <a:pt x="11276259" y="6521447"/>
                </a:lnTo>
                <a:lnTo>
                  <a:pt x="11274446" y="6427562"/>
                </a:lnTo>
                <a:lnTo>
                  <a:pt x="11344433" y="6521447"/>
                </a:lnTo>
                <a:lnTo>
                  <a:pt x="11383959" y="6521447"/>
                </a:lnTo>
                <a:lnTo>
                  <a:pt x="11383959" y="6397622"/>
                </a:lnTo>
                <a:lnTo>
                  <a:pt x="11349147" y="6397622"/>
                </a:lnTo>
                <a:lnTo>
                  <a:pt x="11350597" y="6486702"/>
                </a:lnTo>
                <a:lnTo>
                  <a:pt x="11284237" y="6397622"/>
                </a:lnTo>
                <a:close/>
                <a:moveTo>
                  <a:pt x="10998196" y="6397622"/>
                </a:moveTo>
                <a:lnTo>
                  <a:pt x="10998196" y="6521447"/>
                </a:lnTo>
                <a:lnTo>
                  <a:pt x="11033121" y="6521447"/>
                </a:lnTo>
                <a:lnTo>
                  <a:pt x="11033121" y="6397622"/>
                </a:lnTo>
                <a:close/>
                <a:moveTo>
                  <a:pt x="10760071" y="6397622"/>
                </a:moveTo>
                <a:lnTo>
                  <a:pt x="10760071" y="6521447"/>
                </a:lnTo>
                <a:lnTo>
                  <a:pt x="10794996" y="6521447"/>
                </a:lnTo>
                <a:lnTo>
                  <a:pt x="10794996" y="6397622"/>
                </a:lnTo>
                <a:close/>
                <a:moveTo>
                  <a:pt x="10637569" y="6397622"/>
                </a:moveTo>
                <a:cubicBezTo>
                  <a:pt x="10599162" y="6397622"/>
                  <a:pt x="10580684" y="6408341"/>
                  <a:pt x="10580684" y="6435324"/>
                </a:cubicBezTo>
                <a:cubicBezTo>
                  <a:pt x="10580684" y="6460459"/>
                  <a:pt x="10597713" y="6471178"/>
                  <a:pt x="10634670" y="6471178"/>
                </a:cubicBezTo>
                <a:lnTo>
                  <a:pt x="10674888" y="6471178"/>
                </a:lnTo>
                <a:cubicBezTo>
                  <a:pt x="10691555" y="6471178"/>
                  <a:pt x="10699163" y="6474135"/>
                  <a:pt x="10699163" y="6485224"/>
                </a:cubicBezTo>
                <a:cubicBezTo>
                  <a:pt x="10699163" y="6495943"/>
                  <a:pt x="10690830" y="6499270"/>
                  <a:pt x="10672714" y="6499270"/>
                </a:cubicBezTo>
                <a:lnTo>
                  <a:pt x="10587206" y="6499270"/>
                </a:lnTo>
                <a:lnTo>
                  <a:pt x="10587206" y="6521447"/>
                </a:lnTo>
                <a:lnTo>
                  <a:pt x="10678149" y="6521447"/>
                </a:lnTo>
                <a:cubicBezTo>
                  <a:pt x="10716555" y="6521447"/>
                  <a:pt x="10734671" y="6510358"/>
                  <a:pt x="10734671" y="6484115"/>
                </a:cubicBezTo>
                <a:cubicBezTo>
                  <a:pt x="10734671" y="6458241"/>
                  <a:pt x="10719091" y="6449370"/>
                  <a:pt x="10683221" y="6449370"/>
                </a:cubicBezTo>
                <a:lnTo>
                  <a:pt x="10637931" y="6449370"/>
                </a:lnTo>
                <a:cubicBezTo>
                  <a:pt x="10623800" y="6449370"/>
                  <a:pt x="10616554" y="6444934"/>
                  <a:pt x="10616554" y="6435694"/>
                </a:cubicBezTo>
                <a:cubicBezTo>
                  <a:pt x="10616554" y="6424235"/>
                  <a:pt x="10624887" y="6419430"/>
                  <a:pt x="10642641" y="6419430"/>
                </a:cubicBezTo>
                <a:lnTo>
                  <a:pt x="10726700" y="6419430"/>
                </a:lnTo>
                <a:lnTo>
                  <a:pt x="10726700" y="6397622"/>
                </a:lnTo>
                <a:close/>
                <a:moveTo>
                  <a:pt x="10413996" y="6397622"/>
                </a:moveTo>
                <a:lnTo>
                  <a:pt x="10413996" y="6521447"/>
                </a:lnTo>
                <a:lnTo>
                  <a:pt x="10448897" y="6521447"/>
                </a:lnTo>
                <a:lnTo>
                  <a:pt x="10447443" y="6427562"/>
                </a:lnTo>
                <a:lnTo>
                  <a:pt x="10517608" y="6521447"/>
                </a:lnTo>
                <a:lnTo>
                  <a:pt x="10556871" y="6521447"/>
                </a:lnTo>
                <a:lnTo>
                  <a:pt x="10556871" y="6397622"/>
                </a:lnTo>
                <a:lnTo>
                  <a:pt x="10522334" y="6397622"/>
                </a:lnTo>
                <a:lnTo>
                  <a:pt x="10523788" y="6486702"/>
                </a:lnTo>
                <a:lnTo>
                  <a:pt x="10457258" y="6397622"/>
                </a:lnTo>
                <a:close/>
                <a:moveTo>
                  <a:pt x="10327466" y="6397622"/>
                </a:moveTo>
                <a:cubicBezTo>
                  <a:pt x="10276126" y="6397622"/>
                  <a:pt x="10252071" y="6417952"/>
                  <a:pt x="10252071" y="6461568"/>
                </a:cubicBezTo>
                <a:cubicBezTo>
                  <a:pt x="10252071" y="6484115"/>
                  <a:pt x="10259970" y="6500379"/>
                  <a:pt x="10276844" y="6510358"/>
                </a:cubicBezTo>
                <a:cubicBezTo>
                  <a:pt x="10292282" y="6520338"/>
                  <a:pt x="10307361" y="6521447"/>
                  <a:pt x="10326748" y="6521447"/>
                </a:cubicBezTo>
                <a:lnTo>
                  <a:pt x="10383833" y="6521447"/>
                </a:lnTo>
                <a:lnTo>
                  <a:pt x="10383833" y="6499639"/>
                </a:lnTo>
                <a:lnTo>
                  <a:pt x="10328184" y="6499639"/>
                </a:lnTo>
                <a:cubicBezTo>
                  <a:pt x="10301616" y="6499639"/>
                  <a:pt x="10290128" y="6491877"/>
                  <a:pt x="10290128" y="6469330"/>
                </a:cubicBezTo>
                <a:lnTo>
                  <a:pt x="10383833" y="6469330"/>
                </a:lnTo>
                <a:lnTo>
                  <a:pt x="10383833" y="6447892"/>
                </a:lnTo>
                <a:lnTo>
                  <a:pt x="10290128" y="6447892"/>
                </a:lnTo>
                <a:cubicBezTo>
                  <a:pt x="10291564" y="6428301"/>
                  <a:pt x="10303771" y="6419061"/>
                  <a:pt x="10328184" y="6419061"/>
                </a:cubicBezTo>
                <a:lnTo>
                  <a:pt x="10383833" y="6419061"/>
                </a:lnTo>
                <a:lnTo>
                  <a:pt x="10383833" y="6397622"/>
                </a:lnTo>
                <a:close/>
                <a:moveTo>
                  <a:pt x="10139094" y="6397622"/>
                </a:moveTo>
                <a:cubicBezTo>
                  <a:pt x="10100325" y="6397622"/>
                  <a:pt x="10082209" y="6408341"/>
                  <a:pt x="10082209" y="6435324"/>
                </a:cubicBezTo>
                <a:cubicBezTo>
                  <a:pt x="10082209" y="6460459"/>
                  <a:pt x="10099238" y="6471178"/>
                  <a:pt x="10136195" y="6471178"/>
                </a:cubicBezTo>
                <a:lnTo>
                  <a:pt x="10176413" y="6471178"/>
                </a:lnTo>
                <a:cubicBezTo>
                  <a:pt x="10192717" y="6471178"/>
                  <a:pt x="10200326" y="6474135"/>
                  <a:pt x="10200326" y="6485224"/>
                </a:cubicBezTo>
                <a:cubicBezTo>
                  <a:pt x="10200326" y="6495943"/>
                  <a:pt x="10191993" y="6499270"/>
                  <a:pt x="10173877" y="6499270"/>
                </a:cubicBezTo>
                <a:lnTo>
                  <a:pt x="10088731" y="6499270"/>
                </a:lnTo>
                <a:lnTo>
                  <a:pt x="10088731" y="6521447"/>
                </a:lnTo>
                <a:lnTo>
                  <a:pt x="10179311" y="6521447"/>
                </a:lnTo>
                <a:cubicBezTo>
                  <a:pt x="10217718" y="6521447"/>
                  <a:pt x="10236196" y="6510358"/>
                  <a:pt x="10236196" y="6484115"/>
                </a:cubicBezTo>
                <a:cubicBezTo>
                  <a:pt x="10236196" y="6458241"/>
                  <a:pt x="10220616" y="6449370"/>
                  <a:pt x="10184384" y="6449370"/>
                </a:cubicBezTo>
                <a:lnTo>
                  <a:pt x="10139456" y="6449370"/>
                </a:lnTo>
                <a:cubicBezTo>
                  <a:pt x="10124963" y="6449370"/>
                  <a:pt x="10117717" y="6444934"/>
                  <a:pt x="10117717" y="6435694"/>
                </a:cubicBezTo>
                <a:cubicBezTo>
                  <a:pt x="10117717" y="6424235"/>
                  <a:pt x="10126050" y="6419430"/>
                  <a:pt x="10144166" y="6419430"/>
                </a:cubicBezTo>
                <a:lnTo>
                  <a:pt x="10228225" y="6419430"/>
                </a:lnTo>
                <a:lnTo>
                  <a:pt x="10228225" y="6397622"/>
                </a:lnTo>
                <a:close/>
                <a:moveTo>
                  <a:pt x="10828333" y="6397621"/>
                </a:moveTo>
                <a:lnTo>
                  <a:pt x="10828333" y="6521446"/>
                </a:lnTo>
                <a:lnTo>
                  <a:pt x="10862629" y="6521446"/>
                </a:lnTo>
                <a:lnTo>
                  <a:pt x="10862629" y="6472655"/>
                </a:lnTo>
                <a:lnTo>
                  <a:pt x="10903128" y="6472655"/>
                </a:lnTo>
                <a:lnTo>
                  <a:pt x="10938884" y="6521446"/>
                </a:lnTo>
                <a:lnTo>
                  <a:pt x="10977558" y="6521446"/>
                </a:lnTo>
                <a:lnTo>
                  <a:pt x="10937059" y="6469698"/>
                </a:lnTo>
                <a:cubicBezTo>
                  <a:pt x="10958221" y="6466002"/>
                  <a:pt x="10969896" y="6453805"/>
                  <a:pt x="10969896" y="6434584"/>
                </a:cubicBezTo>
                <a:cubicBezTo>
                  <a:pt x="10969896" y="6408710"/>
                  <a:pt x="10951653" y="6397621"/>
                  <a:pt x="10912979" y="6397621"/>
                </a:cubicBezTo>
                <a:close/>
                <a:moveTo>
                  <a:pt x="11137895" y="6394446"/>
                </a:moveTo>
                <a:cubicBezTo>
                  <a:pt x="11083436" y="6394446"/>
                  <a:pt x="11056933" y="6415079"/>
                  <a:pt x="11056933" y="6457451"/>
                </a:cubicBezTo>
                <a:cubicBezTo>
                  <a:pt x="11056933" y="6502401"/>
                  <a:pt x="11081984" y="6523034"/>
                  <a:pt x="11137895" y="6523034"/>
                </a:cubicBezTo>
                <a:cubicBezTo>
                  <a:pt x="11193081" y="6523034"/>
                  <a:pt x="11218858" y="6502401"/>
                  <a:pt x="11218858" y="6458556"/>
                </a:cubicBezTo>
                <a:cubicBezTo>
                  <a:pt x="11218858" y="6415079"/>
                  <a:pt x="11193081" y="6394446"/>
                  <a:pt x="11137895" y="6394446"/>
                </a:cubicBezTo>
                <a:close/>
                <a:moveTo>
                  <a:pt x="0" y="0"/>
                </a:moveTo>
                <a:lnTo>
                  <a:pt x="12191996" y="0"/>
                </a:lnTo>
                <a:lnTo>
                  <a:pt x="12191996" y="6857997"/>
                </a:lnTo>
                <a:lnTo>
                  <a:pt x="0" y="6857997"/>
                </a:lnTo>
                <a:lnTo>
                  <a:pt x="0" y="6237283"/>
                </a:lnTo>
                <a:lnTo>
                  <a:pt x="6095995" y="6237283"/>
                </a:lnTo>
                <a:lnTo>
                  <a:pt x="6095995" y="3138970"/>
                </a:lnTo>
                <a:lnTo>
                  <a:pt x="0" y="3138970"/>
                </a:lnTo>
                <a:close/>
              </a:path>
            </a:pathLst>
          </a:custGeom>
          <a:noFill/>
        </p:spPr>
        <p:txBody>
          <a:bodyPr wrap="square">
            <a:noAutofit/>
          </a:bodyPr>
          <a:lstStyle>
            <a:lvl1pPr algn="ctr">
              <a:defRPr/>
            </a:lvl1pPr>
          </a:lstStyle>
          <a:p>
            <a:r>
              <a:rPr lang="en-US"/>
              <a:t>Click icon to add picture</a:t>
            </a:r>
            <a:endParaRPr lang="de-DE"/>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a:t>Add </a:t>
            </a:r>
            <a:r>
              <a:rPr lang="en-US" noProof="0"/>
              <a:t>Title</a:t>
            </a:r>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a:t>Add Title </a:t>
            </a:r>
          </a:p>
        </p:txBody>
      </p:sp>
    </p:spTree>
    <p:extLst>
      <p:ext uri="{BB962C8B-B14F-4D97-AF65-F5344CB8AC3E}">
        <p14:creationId xmlns:p14="http://schemas.microsoft.com/office/powerpoint/2010/main" val="35351782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een, Title, Text">
    <p:spTree>
      <p:nvGrpSpPr>
        <p:cNvPr id="1" name=""/>
        <p:cNvGrpSpPr/>
        <p:nvPr/>
      </p:nvGrpSpPr>
      <p:grpSpPr>
        <a:xfrm>
          <a:off x="0" y="0"/>
          <a:ext cx="0" cy="0"/>
          <a:chOff x="0" y="0"/>
          <a:chExt cx="0" cy="0"/>
        </a:xfrm>
      </p:grpSpPr>
      <p:sp>
        <p:nvSpPr>
          <p:cNvPr id="2" name="Rechteck 1"/>
          <p:cNvSpPr/>
          <p:nvPr userDrawn="1"/>
        </p:nvSpPr>
        <p:spPr>
          <a:xfrm>
            <a:off x="0" y="0"/>
            <a:ext cx="12192000" cy="685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a:t>
            </a:r>
          </a:p>
        </p:txBody>
      </p:sp>
      <p:sp>
        <p:nvSpPr>
          <p:cNvPr id="13" name="Textplatzhalter 3"/>
          <p:cNvSpPr>
            <a:spLocks noGrp="1"/>
          </p:cNvSpPr>
          <p:nvPr>
            <p:ph type="body" sz="quarter" idx="10" hasCustomPrompt="1"/>
          </p:nvPr>
        </p:nvSpPr>
        <p:spPr>
          <a:xfrm>
            <a:off x="848931" y="917195"/>
            <a:ext cx="10539793" cy="5320093"/>
          </a:xfrm>
        </p:spPr>
        <p:txBody>
          <a:bodyPr/>
          <a:lstStyle>
            <a:lvl1pPr marL="0" indent="0">
              <a:buFontTx/>
              <a:buNone/>
              <a:defRPr b="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lvl="0"/>
            <a:r>
              <a:rPr lang="en-US"/>
              <a:t>Add text</a:t>
            </a:r>
          </a:p>
          <a:p>
            <a:pPr lvl="1"/>
            <a:r>
              <a:rPr lang="en-US"/>
              <a:t>First bullet</a:t>
            </a:r>
          </a:p>
          <a:p>
            <a:pPr lvl="2"/>
            <a:r>
              <a:rPr lang="en-US"/>
              <a:t>Second </a:t>
            </a:r>
            <a:r>
              <a:rPr lang="en-US" noProof="0"/>
              <a:t>bullet</a:t>
            </a:r>
          </a:p>
          <a:p>
            <a:pPr lvl="3"/>
            <a:r>
              <a:rPr lang="en-US" noProof="0"/>
              <a:t>Third</a:t>
            </a:r>
            <a:r>
              <a:rPr lang="en-US"/>
              <a:t> bullet</a:t>
            </a:r>
          </a:p>
          <a:p>
            <a:pPr lvl="4"/>
            <a:r>
              <a:rPr lang="en-US"/>
              <a:t>Fourth bullet</a:t>
            </a:r>
          </a:p>
        </p:txBody>
      </p:sp>
      <p:grpSp>
        <p:nvGrpSpPr>
          <p:cNvPr id="3" name="Gruppieren 2"/>
          <p:cNvGrpSpPr/>
          <p:nvPr userDrawn="1"/>
        </p:nvGrpSpPr>
        <p:grpSpPr>
          <a:xfrm>
            <a:off x="839769" y="6387669"/>
            <a:ext cx="10537315" cy="235359"/>
            <a:chOff x="839769" y="6387669"/>
            <a:chExt cx="10537315" cy="235359"/>
          </a:xfrm>
        </p:grpSpPr>
        <p:pic>
          <p:nvPicPr>
            <p:cNvPr id="18" name="Bild 6"/>
            <p:cNvPicPr>
              <a:picLocks noChangeAspect="1"/>
            </p:cNvPicPr>
            <p:nvPr userDrawn="1"/>
          </p:nvPicPr>
          <p:blipFill>
            <a:blip r:embed="rId2" cstate="print">
              <a:biLevel thresh="50000"/>
              <a:extLst>
                <a:ext uri="{28A0092B-C50C-407E-A947-70E740481C1C}">
                  <a14:useLocalDpi xmlns:a14="http://schemas.microsoft.com/office/drawing/2010/main" val="0"/>
                </a:ext>
              </a:extLst>
            </a:blip>
            <a:stretch>
              <a:fillRect/>
            </a:stretch>
          </p:blipFill>
          <p:spPr>
            <a:xfrm>
              <a:off x="10081084" y="6399258"/>
              <a:ext cx="1296000" cy="223770"/>
            </a:xfrm>
            <a:prstGeom prst="rect">
              <a:avLst/>
            </a:prstGeom>
          </p:spPr>
        </p:pic>
        <p:grpSp>
          <p:nvGrpSpPr>
            <p:cNvPr id="19" name="Gruppierung 1"/>
            <p:cNvGrpSpPr/>
            <p:nvPr userDrawn="1"/>
          </p:nvGrpSpPr>
          <p:grpSpPr>
            <a:xfrm>
              <a:off x="839769" y="6387669"/>
              <a:ext cx="7608907" cy="235359"/>
              <a:chOff x="839769" y="6369739"/>
              <a:chExt cx="7608907" cy="235359"/>
            </a:xfrm>
          </p:grpSpPr>
          <p:sp>
            <p:nvSpPr>
              <p:cNvPr id="21"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GB" sz="1100">
                    <a:solidFill>
                      <a:schemeClr val="bg1"/>
                    </a:solidFill>
                  </a:rPr>
                  <a:t>© Copyright Sensirion AG, </a:t>
                </a:r>
                <a:r>
                  <a:rPr lang="en-GB" sz="1100" noProof="0">
                    <a:solidFill>
                      <a:schemeClr val="bg1"/>
                    </a:solidFill>
                  </a:rPr>
                  <a:t>Switzerland</a:t>
                </a:r>
              </a:p>
            </p:txBody>
          </p:sp>
          <p:sp>
            <p:nvSpPr>
              <p:cNvPr id="22"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GB" sz="1100">
                    <a:solidFill>
                      <a:schemeClr val="bg1"/>
                    </a:solidFill>
                  </a:rPr>
                  <a:t>Confidential </a:t>
                </a:r>
              </a:p>
            </p:txBody>
          </p:sp>
        </p:grpSp>
      </p:grpSp>
    </p:spTree>
    <p:extLst>
      <p:ext uri="{BB962C8B-B14F-4D97-AF65-F5344CB8AC3E}">
        <p14:creationId xmlns:p14="http://schemas.microsoft.com/office/powerpoint/2010/main" val="14300097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950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9525"/>
            <a:ext cx="12192000" cy="685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GB">
                <a:solidFill>
                  <a:schemeClr val="bg1"/>
                </a:solidFill>
              </a:rPr>
              <a:t>www.sensirion.com</a:t>
            </a:r>
          </a:p>
        </p:txBody>
      </p:sp>
      <p:pic>
        <p:nvPicPr>
          <p:cNvPr id="5"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19242" y="2466518"/>
            <a:ext cx="6953516" cy="1200607"/>
          </a:xfrm>
          <a:prstGeom prst="rect">
            <a:avLst/>
          </a:prstGeom>
        </p:spPr>
      </p:pic>
    </p:spTree>
    <p:extLst>
      <p:ext uri="{BB962C8B-B14F-4D97-AF65-F5344CB8AC3E}">
        <p14:creationId xmlns:p14="http://schemas.microsoft.com/office/powerpoint/2010/main" val="12521321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6755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a:solidFill>
                  <a:schemeClr val="tx1"/>
                </a:solidFill>
              </a:defRPr>
            </a:lvl1pPr>
          </a:lstStyle>
          <a:p>
            <a:r>
              <a:rPr lang="en-US"/>
              <a:t>Add Title</a:t>
            </a:r>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5256213" cy="306000"/>
          </a:xfrm>
        </p:spPr>
        <p:txBody>
          <a:bodyPr/>
          <a:lstStyle>
            <a:lvl1pPr>
              <a:spcBef>
                <a:spcPts val="0"/>
              </a:spcBef>
              <a:defRPr/>
            </a:lvl1pPr>
          </a:lstStyle>
          <a:p>
            <a:pPr lvl="0"/>
            <a:r>
              <a:rPr lang="en-US"/>
              <a:t>First Name Last Name, Job Function</a:t>
            </a:r>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5256213" cy="306000"/>
          </a:xfrm>
        </p:spPr>
        <p:txBody>
          <a:bodyPr/>
          <a:lstStyle>
            <a:lvl1pPr>
              <a:spcBef>
                <a:spcPts val="0"/>
              </a:spcBef>
              <a:defRPr/>
            </a:lvl1pPr>
          </a:lstStyle>
          <a:p>
            <a:pPr lvl="0"/>
            <a:r>
              <a:rPr lang="en-US"/>
              <a:t>City Country, Month Year</a:t>
            </a:r>
          </a:p>
        </p:txBody>
      </p:sp>
    </p:spTree>
    <p:extLst>
      <p:ext uri="{BB962C8B-B14F-4D97-AF65-F5344CB8AC3E}">
        <p14:creationId xmlns:p14="http://schemas.microsoft.com/office/powerpoint/2010/main" val="5454605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mit Bild (vertika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US" noProof="0"/>
          </a:p>
        </p:txBody>
      </p:sp>
      <p:sp>
        <p:nvSpPr>
          <p:cNvPr id="6" name="Inhaltsplatzhalter 5"/>
          <p:cNvSpPr>
            <a:spLocks noGrp="1"/>
          </p:cNvSpPr>
          <p:nvPr>
            <p:ph sz="quarter" idx="10"/>
          </p:nvPr>
        </p:nvSpPr>
        <p:spPr>
          <a:xfrm>
            <a:off x="670986" y="1268413"/>
            <a:ext cx="5329004" cy="4897437"/>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7" name="Fußzeilenplatzhalter 6"/>
          <p:cNvSpPr>
            <a:spLocks noGrp="1"/>
          </p:cNvSpPr>
          <p:nvPr>
            <p:ph type="ftr" sz="quarter" idx="11"/>
          </p:nvPr>
        </p:nvSpPr>
        <p:spPr>
          <a:xfrm>
            <a:off x="3983766" y="6381751"/>
            <a:ext cx="4224469" cy="201613"/>
          </a:xfrm>
          <a:prstGeom prst="rect">
            <a:avLst/>
          </a:prstGeom>
        </p:spPr>
        <p:txBody>
          <a:bodyPr/>
          <a:lstStyle/>
          <a:p>
            <a:r>
              <a:rPr lang="en-GB"/>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de-CH" sz="2000"/>
          </a:p>
        </p:txBody>
      </p:sp>
      <p:sp>
        <p:nvSpPr>
          <p:cNvPr id="4" name="Bildplatzhalter 3"/>
          <p:cNvSpPr>
            <a:spLocks noGrp="1"/>
          </p:cNvSpPr>
          <p:nvPr>
            <p:ph type="pic" sz="quarter" idx="12"/>
          </p:nvPr>
        </p:nvSpPr>
        <p:spPr>
          <a:xfrm>
            <a:off x="6096001" y="1268412"/>
            <a:ext cx="5425017" cy="4897437"/>
          </a:xfrm>
        </p:spPr>
        <p:txBody>
          <a:bodyPr/>
          <a:lstStyle/>
          <a:p>
            <a:r>
              <a:rPr lang="de-DE" noProof="0"/>
              <a:t>Bild durch Klicken auf Symbol hinzufügen</a:t>
            </a:r>
            <a:endParaRPr lang="en-US" noProof="0"/>
          </a:p>
        </p:txBody>
      </p:sp>
    </p:spTree>
    <p:extLst>
      <p:ext uri="{BB962C8B-B14F-4D97-AF65-F5344CB8AC3E}">
        <p14:creationId xmlns:p14="http://schemas.microsoft.com/office/powerpoint/2010/main" val="34375518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Text, Picture Lef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839788"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aseline="0"/>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a:p>
            <a:endParaRPr lang="en-US"/>
          </a:p>
        </p:txBody>
      </p:sp>
      <p:sp>
        <p:nvSpPr>
          <p:cNvPr id="6" name="Text Placeholder 5"/>
          <p:cNvSpPr>
            <a:spLocks noGrp="1"/>
          </p:cNvSpPr>
          <p:nvPr>
            <p:ph type="body" sz="quarter" idx="11" hasCustomPrompt="1"/>
          </p:nvPr>
        </p:nvSpPr>
        <p:spPr>
          <a:xfrm>
            <a:off x="6212541"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1612299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el / Untertitel /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US" noProof="0"/>
          </a:p>
        </p:txBody>
      </p:sp>
      <p:sp>
        <p:nvSpPr>
          <p:cNvPr id="6" name="Inhaltsplatzhalter 5"/>
          <p:cNvSpPr>
            <a:spLocks noGrp="1"/>
          </p:cNvSpPr>
          <p:nvPr>
            <p:ph sz="quarter" idx="10"/>
          </p:nvPr>
        </p:nvSpPr>
        <p:spPr>
          <a:xfrm>
            <a:off x="670985" y="1268414"/>
            <a:ext cx="10850033" cy="432395"/>
          </a:xfrm>
        </p:spPr>
        <p:txBody>
          <a:bodyPr/>
          <a:lstStyle/>
          <a:p>
            <a:pPr lvl="0"/>
            <a:r>
              <a:rPr lang="de-DE" noProof="0"/>
              <a:t>Textmasterformat bearbeiten</a:t>
            </a:r>
          </a:p>
        </p:txBody>
      </p:sp>
      <p:sp>
        <p:nvSpPr>
          <p:cNvPr id="7" name="Fußzeilenplatzhalter 6"/>
          <p:cNvSpPr>
            <a:spLocks noGrp="1"/>
          </p:cNvSpPr>
          <p:nvPr>
            <p:ph type="ftr" sz="quarter" idx="11"/>
          </p:nvPr>
        </p:nvSpPr>
        <p:spPr/>
        <p:txBody>
          <a:bodyPr/>
          <a:lstStyle/>
          <a:p>
            <a:r>
              <a:rPr lang="en-GB"/>
              <a:t>Confidential</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rgbClr val="66CC33"/>
            </a:solidFill>
            <a:round/>
            <a:headEnd/>
            <a:tailEnd/>
          </a:ln>
          <a:extLst>
            <a:ext uri="{909E8E84-426E-40DD-AFC4-6F175D3DCCD1}">
              <a14:hiddenFill xmlns:a14="http://schemas.microsoft.com/office/drawing/2010/main">
                <a:noFill/>
              </a14:hiddenFill>
            </a:ext>
          </a:extLst>
        </p:spPr>
        <p:txBody>
          <a:bodyPr lIns="0" tIns="0" rIns="0" bIns="0"/>
          <a:lstStyle/>
          <a:p>
            <a:endParaRPr lang="de-CH" sz="2000"/>
          </a:p>
        </p:txBody>
      </p:sp>
      <p:sp>
        <p:nvSpPr>
          <p:cNvPr id="9" name="Inhaltsplatzhalter 5"/>
          <p:cNvSpPr>
            <a:spLocks noGrp="1"/>
          </p:cNvSpPr>
          <p:nvPr>
            <p:ph sz="quarter" idx="12"/>
          </p:nvPr>
        </p:nvSpPr>
        <p:spPr>
          <a:xfrm>
            <a:off x="670985" y="1772816"/>
            <a:ext cx="10850033" cy="4393034"/>
          </a:xfrm>
        </p:spPr>
        <p:txBody>
          <a:bodyPr/>
          <a:lstStyle>
            <a:lvl1pPr>
              <a:defRPr sz="2000">
                <a:solidFill>
                  <a:schemeClr val="tx1"/>
                </a:solidFill>
              </a:defRPr>
            </a:lvl1pPr>
          </a:lstStyle>
          <a:p>
            <a:pPr lvl="0"/>
            <a:r>
              <a:rPr lang="de-DE" noProof="0"/>
              <a:t>Textmasterformat bearbeiten</a:t>
            </a:r>
          </a:p>
        </p:txBody>
      </p:sp>
    </p:spTree>
    <p:extLst>
      <p:ext uri="{BB962C8B-B14F-4D97-AF65-F5344CB8AC3E}">
        <p14:creationId xmlns:p14="http://schemas.microsoft.com/office/powerpoint/2010/main" val="34181461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el / Unter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0"/>
          </p:nvPr>
        </p:nvSpPr>
        <p:spPr>
          <a:xfrm>
            <a:off x="670985" y="1268413"/>
            <a:ext cx="10850033" cy="48974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ußzeilenplatzhalter 6"/>
          <p:cNvSpPr>
            <a:spLocks noGrp="1"/>
          </p:cNvSpPr>
          <p:nvPr>
            <p:ph type="ftr" sz="quarter" idx="11"/>
          </p:nvPr>
        </p:nvSpPr>
        <p:spPr/>
        <p:txBody>
          <a:bodyPr/>
          <a:lstStyle>
            <a:lvl1pPr>
              <a:defRPr sz="1100"/>
            </a:lvl1pPr>
          </a:lstStyle>
          <a:p>
            <a:r>
              <a:rPr lang="en-US"/>
              <a:t>Confidential D3 show only</a:t>
            </a:r>
          </a:p>
        </p:txBody>
      </p:sp>
      <p:sp>
        <p:nvSpPr>
          <p:cNvPr id="8" name="Line 6"/>
          <p:cNvSpPr>
            <a:spLocks noChangeShapeType="1"/>
          </p:cNvSpPr>
          <p:nvPr userDrawn="1"/>
        </p:nvSpPr>
        <p:spPr bwMode="auto">
          <a:xfrm rot="10800000" flipH="1">
            <a:off x="670985" y="936625"/>
            <a:ext cx="10850033" cy="0"/>
          </a:xfrm>
          <a:prstGeom prst="line">
            <a:avLst/>
          </a:prstGeom>
          <a:noFill/>
          <a:ln w="22225">
            <a:solidFill>
              <a:srgbClr val="66CC33"/>
            </a:solidFill>
            <a:round/>
            <a:headEnd/>
            <a:tailEnd/>
          </a:ln>
          <a:extLst>
            <a:ext uri="{909E8E84-426E-40DD-AFC4-6F175D3DCCD1}">
              <a14:hiddenFill xmlns:a14="http://schemas.microsoft.com/office/drawing/2010/main">
                <a:noFill/>
              </a14:hiddenFill>
            </a:ext>
          </a:extLst>
        </p:spPr>
        <p:txBody>
          <a:bodyPr lIns="0" tIns="0" rIns="0" bIns="0"/>
          <a:lstStyle/>
          <a:p>
            <a:endParaRPr lang="en-US" sz="1800" noProof="0"/>
          </a:p>
        </p:txBody>
      </p:sp>
    </p:spTree>
    <p:extLst>
      <p:ext uri="{BB962C8B-B14F-4D97-AF65-F5344CB8AC3E}">
        <p14:creationId xmlns:p14="http://schemas.microsoft.com/office/powerpoint/2010/main" val="28007872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3288172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CH"/>
          </a:p>
        </p:txBody>
      </p:sp>
      <p:sp>
        <p:nvSpPr>
          <p:cNvPr id="3" name="Inhaltsplatzhalt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746364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4B8017E0-7B42-4795-A00A-DFBF191C97A1}"/>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a:p>
        </p:txBody>
      </p:sp>
      <p:sp>
        <p:nvSpPr>
          <p:cNvPr id="4" name="Textplatzhalter 3"/>
          <p:cNvSpPr>
            <a:spLocks noGrp="1"/>
          </p:cNvSpPr>
          <p:nvPr>
            <p:ph type="body" sz="quarter" idx="10" hasCustomPrompt="1"/>
          </p:nvPr>
        </p:nvSpPr>
        <p:spPr>
          <a:xfrm>
            <a:off x="848931"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392269732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15917779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Text, Picture (left)">
    <p:spTree>
      <p:nvGrpSpPr>
        <p:cNvPr id="1" name=""/>
        <p:cNvGrpSpPr/>
        <p:nvPr/>
      </p:nvGrpSpPr>
      <p:grpSpPr>
        <a:xfrm>
          <a:off x="0" y="0"/>
          <a:ext cx="0" cy="0"/>
          <a:chOff x="0" y="0"/>
          <a:chExt cx="0" cy="0"/>
        </a:xfrm>
      </p:grpSpPr>
      <p:sp>
        <p:nvSpPr>
          <p:cNvPr id="6" name="Bildplatzhalter 5"/>
          <p:cNvSpPr>
            <a:spLocks noGrp="1"/>
          </p:cNvSpPr>
          <p:nvPr>
            <p:ph type="pic" sz="quarter" idx="11"/>
          </p:nvPr>
        </p:nvSpPr>
        <p:spPr>
          <a:xfrm>
            <a:off x="839788" y="1263316"/>
            <a:ext cx="5151938" cy="4973972"/>
          </a:xfrm>
        </p:spPr>
        <p:txBody>
          <a:bodyPr anchor="ctr"/>
          <a:lstStyle>
            <a:lvl1pPr marL="0" indent="0" algn="ctr">
              <a:buFontTx/>
              <a:buNone/>
              <a:defRPr>
                <a:solidFill>
                  <a:schemeClr val="tx1"/>
                </a:solidFill>
              </a:defRPr>
            </a:lvl1pPr>
          </a:lstStyle>
          <a:p>
            <a:r>
              <a:rPr lang="en-US"/>
              <a:t>Click icon to add picture</a:t>
            </a:r>
            <a:endParaRPr lang="en-US" dirty="0"/>
          </a:p>
        </p:txBody>
      </p:sp>
      <p:sp>
        <p:nvSpPr>
          <p:cNvPr id="4" name="Textplatzhalter 3"/>
          <p:cNvSpPr>
            <a:spLocks noGrp="1"/>
          </p:cNvSpPr>
          <p:nvPr>
            <p:ph type="body" sz="quarter" idx="10" hasCustomPrompt="1"/>
          </p:nvPr>
        </p:nvSpPr>
        <p:spPr>
          <a:xfrm>
            <a:off x="6184233" y="1263316"/>
            <a:ext cx="5192852" cy="4973972"/>
          </a:xfrm>
        </p:spPr>
        <p:txBody>
          <a:bodyPr/>
          <a:lstStyle>
            <a:lvl1pPr marL="0" indent="0">
              <a:buFontTx/>
              <a:buNone/>
              <a:defRPr lang="en-US" sz="2400" b="0" kern="1200" noProof="0" dirty="0" smtClean="0">
                <a:solidFill>
                  <a:schemeClr val="bg2">
                    <a:lumMod val="50000"/>
                  </a:schemeClr>
                </a:solidFill>
                <a:latin typeface="+mn-lt"/>
                <a:ea typeface="+mn-ea"/>
                <a:cs typeface="+mn-cs"/>
              </a:defRPr>
            </a:lvl1pPr>
            <a:lvl2pPr marL="216000" indent="-216000">
              <a:buClr>
                <a:schemeClr val="tx1"/>
              </a:buClr>
              <a:buSzPct val="100000"/>
              <a:defRPr/>
            </a:lvl2pPr>
            <a:lvl3pPr marL="720000" indent="-216000">
              <a:spcBef>
                <a:spcPts val="900"/>
              </a:spcBef>
              <a:buClr>
                <a:schemeClr val="tx1"/>
              </a:buClr>
              <a:buSzPct val="90000"/>
              <a:defRPr/>
            </a:lvl3pPr>
            <a:lvl4pPr marL="1080000">
              <a:spcBef>
                <a:spcPts val="900"/>
              </a:spcBef>
              <a:buClr>
                <a:schemeClr val="tx1"/>
              </a:buClr>
              <a:buSzPct val="80000"/>
              <a:defRPr/>
            </a:lvl4pPr>
            <a:lvl5pPr marL="1440000" indent="-216000">
              <a:lnSpc>
                <a:spcPct val="100000"/>
              </a:lnSpc>
              <a:spcBef>
                <a:spcPts val="900"/>
              </a:spcBef>
              <a:buClr>
                <a:schemeClr val="tx1"/>
              </a:buClr>
              <a:buSzPct val="70000"/>
              <a:defRPr/>
            </a:lvl5pPr>
          </a:lstStyle>
          <a:p>
            <a:pPr marL="0" lvl="0" indent="0" algn="l" defTabSz="900000" rtl="0" eaLnBrk="1" latinLnBrk="0" hangingPunct="1">
              <a:lnSpc>
                <a:spcPct val="100000"/>
              </a:lnSpc>
              <a:spcBef>
                <a:spcPts val="600"/>
              </a:spcBef>
              <a:buSzPct val="105000"/>
              <a:buFontTx/>
              <a:buNone/>
            </a:pPr>
            <a:r>
              <a:rPr lang="en-US" noProof="0" dirty="0"/>
              <a:t>Add text</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7"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dirty="0"/>
              <a:t>Add Title </a:t>
            </a:r>
          </a:p>
        </p:txBody>
      </p:sp>
    </p:spTree>
    <p:extLst>
      <p:ext uri="{BB962C8B-B14F-4D97-AF65-F5344CB8AC3E}">
        <p14:creationId xmlns:p14="http://schemas.microsoft.com/office/powerpoint/2010/main" val="1190544860"/>
      </p:ext>
    </p:extLst>
  </p:cSld>
  <p:clrMapOvr>
    <a:masterClrMapping/>
  </p:clrMapOvr>
  <p:hf sldNum="0" hdr="0" ftr="0" dt="0"/>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962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a:solidFill>
                  <a:schemeClr val="tx1"/>
                </a:solidFill>
              </a:defRPr>
            </a:lvl1pPr>
          </a:lstStyle>
          <a:p>
            <a:r>
              <a:rPr lang="en-US"/>
              <a:t>Add Title</a:t>
            </a:r>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5256213" cy="306000"/>
          </a:xfrm>
        </p:spPr>
        <p:txBody>
          <a:bodyPr/>
          <a:lstStyle>
            <a:lvl1pPr>
              <a:spcBef>
                <a:spcPts val="0"/>
              </a:spcBef>
              <a:defRPr/>
            </a:lvl1pPr>
          </a:lstStyle>
          <a:p>
            <a:pPr lvl="0"/>
            <a:r>
              <a:rPr lang="en-US"/>
              <a:t>First Name Last Name, Job Function</a:t>
            </a:r>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5256213" cy="306000"/>
          </a:xfrm>
        </p:spPr>
        <p:txBody>
          <a:bodyPr/>
          <a:lstStyle>
            <a:lvl1pPr>
              <a:spcBef>
                <a:spcPts val="0"/>
              </a:spcBef>
              <a:defRPr/>
            </a:lvl1pPr>
          </a:lstStyle>
          <a:p>
            <a:pPr lvl="0"/>
            <a:r>
              <a:rPr lang="en-US"/>
              <a:t>City Country, Month Year</a:t>
            </a:r>
          </a:p>
        </p:txBody>
      </p:sp>
    </p:spTree>
    <p:extLst>
      <p:ext uri="{BB962C8B-B14F-4D97-AF65-F5344CB8AC3E}">
        <p14:creationId xmlns:p14="http://schemas.microsoft.com/office/powerpoint/2010/main" val="39833890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2212458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Text, Picture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dd Title </a:t>
            </a:r>
          </a:p>
        </p:txBody>
      </p:sp>
      <p:sp>
        <p:nvSpPr>
          <p:cNvPr id="4" name="Picture Placeholder 3"/>
          <p:cNvSpPr>
            <a:spLocks noGrp="1"/>
          </p:cNvSpPr>
          <p:nvPr>
            <p:ph type="pic" sz="quarter" idx="10"/>
          </p:nvPr>
        </p:nvSpPr>
        <p:spPr>
          <a:xfrm>
            <a:off x="839788" y="917882"/>
            <a:ext cx="5148000" cy="5328000"/>
          </a:xfrm>
        </p:spPr>
        <p:txBody>
          <a:bodyPr/>
          <a:lstStyle>
            <a:lvl1pPr algn="ctr">
              <a:defRPr/>
            </a:lvl1pPr>
          </a:lstStyle>
          <a:p>
            <a:r>
              <a:rPr lang="en-US"/>
              <a:t>Click icon to add picture</a:t>
            </a:r>
          </a:p>
        </p:txBody>
      </p:sp>
      <p:sp>
        <p:nvSpPr>
          <p:cNvPr id="6" name="Text Placeholder 5"/>
          <p:cNvSpPr>
            <a:spLocks noGrp="1"/>
          </p:cNvSpPr>
          <p:nvPr>
            <p:ph type="body" sz="quarter" idx="11" hasCustomPrompt="1"/>
          </p:nvPr>
        </p:nvSpPr>
        <p:spPr>
          <a:xfrm>
            <a:off x="6212541" y="917882"/>
            <a:ext cx="5148000" cy="5328000"/>
          </a:xfrm>
        </p:spPr>
        <p:txBody>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4187471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19414503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p:nvPr>
        </p:nvSpPr>
        <p:spPr>
          <a:xfrm>
            <a:off x="6213297" y="908050"/>
            <a:ext cx="5148000" cy="5328000"/>
          </a:xfrm>
        </p:spPr>
        <p:txBody>
          <a:bodyPr/>
          <a:lstStyle>
            <a:lvl1pPr marL="0" indent="0" algn="ctr">
              <a:buFontTx/>
              <a:buNone/>
              <a:defRPr>
                <a:solidFill>
                  <a:schemeClr val="tx1"/>
                </a:solidFill>
              </a:defRPr>
            </a:lvl1pPr>
          </a:lstStyle>
          <a:p>
            <a:r>
              <a:rPr lang="en-US"/>
              <a:t>Click icon to add picture</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303492617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Tree>
    <p:extLst>
      <p:ext uri="{BB962C8B-B14F-4D97-AF65-F5344CB8AC3E}">
        <p14:creationId xmlns:p14="http://schemas.microsoft.com/office/powerpoint/2010/main" val="10432627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93" name="Gruppieren 92">
            <a:extLst>
              <a:ext uri="{FF2B5EF4-FFF2-40B4-BE49-F238E27FC236}">
                <a16:creationId xmlns:a16="http://schemas.microsoft.com/office/drawing/2014/main" id="{D2D03C95-7237-41B3-B3C3-68EDD984A661}"/>
              </a:ext>
            </a:extLst>
          </p:cNvPr>
          <p:cNvGrpSpPr/>
          <p:nvPr userDrawn="1"/>
        </p:nvGrpSpPr>
        <p:grpSpPr>
          <a:xfrm>
            <a:off x="731952" y="3106800"/>
            <a:ext cx="11457648" cy="3590562"/>
            <a:chOff x="731952" y="3106800"/>
            <a:chExt cx="11457648" cy="3590562"/>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5" name="Bildplatzhalter 94">
            <a:extLst>
              <a:ext uri="{FF2B5EF4-FFF2-40B4-BE49-F238E27FC236}">
                <a16:creationId xmlns:a16="http://schemas.microsoft.com/office/drawing/2014/main" id="{42A3661C-BE92-49BD-9361-69A1388F129F}"/>
              </a:ext>
            </a:extLst>
          </p:cNvPr>
          <p:cNvSpPr>
            <a:spLocks noGrp="1"/>
          </p:cNvSpPr>
          <p:nvPr>
            <p:ph type="pic" sz="quarter" idx="14" hasCustomPrompt="1"/>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3 w 12188819"/>
              <a:gd name="connsiteY231" fmla="*/ 6462728 h 6857997"/>
              <a:gd name="connsiteX232" fmla="*/ 6035359 w 12188819"/>
              <a:gd name="connsiteY232" fmla="*/ 6485436 h 6857997"/>
              <a:gd name="connsiteX233" fmla="*/ 6030543 w 12188819"/>
              <a:gd name="connsiteY233" fmla="*/ 6505667 h 6857997"/>
              <a:gd name="connsiteX234" fmla="*/ 6019164 w 12188819"/>
              <a:gd name="connsiteY234" fmla="*/ 6512365 h 6857997"/>
              <a:gd name="connsiteX235" fmla="*/ 6007541 w 12188819"/>
              <a:gd name="connsiteY235" fmla="*/ 6505388 h 6857997"/>
              <a:gd name="connsiteX236" fmla="*/ 6002550 w 12188819"/>
              <a:gd name="connsiteY236" fmla="*/ 6484041 h 6857997"/>
              <a:gd name="connsiteX237" fmla="*/ 6007227 w 12188819"/>
              <a:gd name="connsiteY237" fmla="*/ 6462449 h 6857997"/>
              <a:gd name="connsiteX238" fmla="*/ 6018396 w 12188819"/>
              <a:gd name="connsiteY238" fmla="*/ 6455577 h 6857997"/>
              <a:gd name="connsiteX239" fmla="*/ 5829561 w 12188819"/>
              <a:gd name="connsiteY239" fmla="*/ 6455577 h 6857997"/>
              <a:gd name="connsiteX240" fmla="*/ 5842536 w 12188819"/>
              <a:gd name="connsiteY240" fmla="*/ 6462597 h 6857997"/>
              <a:gd name="connsiteX241" fmla="*/ 5847769 w 12188819"/>
              <a:gd name="connsiteY241" fmla="*/ 6483936 h 6857997"/>
              <a:gd name="connsiteX242" fmla="*/ 5842571 w 12188819"/>
              <a:gd name="connsiteY242" fmla="*/ 6505275 h 6857997"/>
              <a:gd name="connsiteX243" fmla="*/ 5830118 w 12188819"/>
              <a:gd name="connsiteY243" fmla="*/ 6512365 h 6857997"/>
              <a:gd name="connsiteX244" fmla="*/ 5817142 w 12188819"/>
              <a:gd name="connsiteY244" fmla="*/ 6505345 h 6857997"/>
              <a:gd name="connsiteX245" fmla="*/ 5811910 w 12188819"/>
              <a:gd name="connsiteY245" fmla="*/ 6483936 h 6857997"/>
              <a:gd name="connsiteX246" fmla="*/ 5817072 w 12188819"/>
              <a:gd name="connsiteY246" fmla="*/ 6462632 h 6857997"/>
              <a:gd name="connsiteX247" fmla="*/ 5829561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4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1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4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70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3 w 12188819"/>
              <a:gd name="connsiteY428" fmla="*/ 6455019 h 6857997"/>
              <a:gd name="connsiteX429" fmla="*/ 5801376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2 w 12188819"/>
              <a:gd name="connsiteY808" fmla="*/ 6418742 h 6857997"/>
              <a:gd name="connsiteX809" fmla="*/ 6034362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2 w 12188819"/>
              <a:gd name="connsiteY880" fmla="*/ 6416998 h 6857997"/>
              <a:gd name="connsiteX881" fmla="*/ 5948872 w 12188819"/>
              <a:gd name="connsiteY881" fmla="*/ 6419301 h 6857997"/>
              <a:gd name="connsiteX882" fmla="*/ 5943312 w 12188819"/>
              <a:gd name="connsiteY882" fmla="*/ 6425963 h 6857997"/>
              <a:gd name="connsiteX883" fmla="*/ 5941493 w 12188819"/>
              <a:gd name="connsiteY883" fmla="*/ 6439044 h 6857997"/>
              <a:gd name="connsiteX884" fmla="*/ 5941493 w 12188819"/>
              <a:gd name="connsiteY884" fmla="*/ 6446927 h 6857997"/>
              <a:gd name="connsiteX885" fmla="*/ 5932355 w 12188819"/>
              <a:gd name="connsiteY885" fmla="*/ 6446927 h 6857997"/>
              <a:gd name="connsiteX886" fmla="*/ 5932355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8 w 12188819"/>
              <a:gd name="connsiteY891" fmla="*/ 6456694 h 6857997"/>
              <a:gd name="connsiteX892" fmla="*/ 5963608 w 12188819"/>
              <a:gd name="connsiteY892" fmla="*/ 6446927 h 6857997"/>
              <a:gd name="connsiteX893" fmla="*/ 5951748 w 12188819"/>
              <a:gd name="connsiteY893" fmla="*/ 6446927 h 6857997"/>
              <a:gd name="connsiteX894" fmla="*/ 5951748 w 12188819"/>
              <a:gd name="connsiteY894" fmla="*/ 6440090 h 6857997"/>
              <a:gd name="connsiteX895" fmla="*/ 5953736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2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9 w 12188819"/>
              <a:gd name="connsiteY916" fmla="*/ 6416929 h 6857997"/>
              <a:gd name="connsiteX917" fmla="*/ 5737087 w 12188819"/>
              <a:gd name="connsiteY917" fmla="*/ 6422897 h 6857997"/>
              <a:gd name="connsiteX918" fmla="*/ 5722806 w 12188819"/>
              <a:gd name="connsiteY918" fmla="*/ 6440559 h 6857997"/>
              <a:gd name="connsiteX919" fmla="*/ 5717535 w 12188819"/>
              <a:gd name="connsiteY919" fmla="*/ 6469146 h 6857997"/>
              <a:gd name="connsiteX920" fmla="*/ 5722801 w 12188819"/>
              <a:gd name="connsiteY920" fmla="*/ 6498815 h 6857997"/>
              <a:gd name="connsiteX921" fmla="*/ 5736336 w 12188819"/>
              <a:gd name="connsiteY921" fmla="*/ 6517070 h 6857997"/>
              <a:gd name="connsiteX922" fmla="*/ 5756253 w 12188819"/>
              <a:gd name="connsiteY922" fmla="*/ 6522759 h 6857997"/>
              <a:gd name="connsiteX923" fmla="*/ 5778752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5 w 12188819"/>
              <a:gd name="connsiteY927" fmla="*/ 6511179 h 6857997"/>
              <a:gd name="connsiteX928" fmla="*/ 5736370 w 12188819"/>
              <a:gd name="connsiteY928" fmla="*/ 6500671 h 6857997"/>
              <a:gd name="connsiteX929" fmla="*/ 5728975 w 12188819"/>
              <a:gd name="connsiteY929" fmla="*/ 6469145 h 6857997"/>
              <a:gd name="connsiteX930" fmla="*/ 5732644 w 12188819"/>
              <a:gd name="connsiteY930" fmla="*/ 6446175 h 6857997"/>
              <a:gd name="connsiteX931" fmla="*/ 5742458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7 w 12188819"/>
              <a:gd name="connsiteY935" fmla="*/ 6424480 h 6857997"/>
              <a:gd name="connsiteX936" fmla="*/ 5757199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3141659 h 6857997"/>
              <a:gd name="connsiteX1154" fmla="*/ 6095995 w 12188819"/>
              <a:gd name="connsiteY1154" fmla="*/ 3141659 h 6857997"/>
              <a:gd name="connsiteX1155" fmla="*/ 6095995 w 12188819"/>
              <a:gd name="connsiteY1155" fmla="*/ 6237284 h 6857997"/>
              <a:gd name="connsiteX1156" fmla="*/ 12188819 w 12188819"/>
              <a:gd name="connsiteY1156" fmla="*/ 6237284 h 6857997"/>
              <a:gd name="connsiteX1157" fmla="*/ 12188819 w 12188819"/>
              <a:gd name="connsiteY1157" fmla="*/ 6857997 h 6857997"/>
              <a:gd name="connsiteX1158" fmla="*/ 0 w 12188819"/>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3" y="6462728"/>
                </a:cubicBezTo>
                <a:cubicBezTo>
                  <a:pt x="6033753" y="6467495"/>
                  <a:pt x="6035359" y="6475065"/>
                  <a:pt x="6035359" y="6485436"/>
                </a:cubicBezTo>
                <a:cubicBezTo>
                  <a:pt x="6035359" y="6494459"/>
                  <a:pt x="6033753" y="6501203"/>
                  <a:pt x="6030543" y="6505667"/>
                </a:cubicBezTo>
                <a:cubicBezTo>
                  <a:pt x="6027331" y="6510132"/>
                  <a:pt x="6023538" y="6512365"/>
                  <a:pt x="6019164" y="6512365"/>
                </a:cubicBezTo>
                <a:cubicBezTo>
                  <a:pt x="6014743" y="6512365"/>
                  <a:pt x="6010869" y="6510039"/>
                  <a:pt x="6007541" y="6505388"/>
                </a:cubicBezTo>
                <a:cubicBezTo>
                  <a:pt x="6004213" y="6500737"/>
                  <a:pt x="6002550" y="6493622"/>
                  <a:pt x="6002550" y="6484041"/>
                </a:cubicBezTo>
                <a:cubicBezTo>
                  <a:pt x="6002550" y="6474227"/>
                  <a:pt x="6004109" y="6467030"/>
                  <a:pt x="6007227" y="6462449"/>
                </a:cubicBezTo>
                <a:cubicBezTo>
                  <a:pt x="6010345" y="6457868"/>
                  <a:pt x="6014068" y="6455577"/>
                  <a:pt x="6018396" y="6455577"/>
                </a:cubicBezTo>
                <a:close/>
                <a:moveTo>
                  <a:pt x="5829561" y="6455577"/>
                </a:moveTo>
                <a:cubicBezTo>
                  <a:pt x="5834723" y="6455577"/>
                  <a:pt x="5839048" y="6457917"/>
                  <a:pt x="5842536" y="6462597"/>
                </a:cubicBezTo>
                <a:cubicBezTo>
                  <a:pt x="5846024" y="6467277"/>
                  <a:pt x="5847769" y="6474390"/>
                  <a:pt x="5847769" y="6483936"/>
                </a:cubicBezTo>
                <a:cubicBezTo>
                  <a:pt x="5847769" y="6493436"/>
                  <a:pt x="5846036" y="6500548"/>
                  <a:pt x="5842571" y="6505275"/>
                </a:cubicBezTo>
                <a:cubicBezTo>
                  <a:pt x="5839106" y="6510001"/>
                  <a:pt x="5834956" y="6512365"/>
                  <a:pt x="5830118" y="6512365"/>
                </a:cubicBezTo>
                <a:cubicBezTo>
                  <a:pt x="5824957" y="6512365"/>
                  <a:pt x="5820630" y="6510025"/>
                  <a:pt x="5817142" y="6505345"/>
                </a:cubicBezTo>
                <a:cubicBezTo>
                  <a:pt x="5813655" y="6500665"/>
                  <a:pt x="5811910" y="6493529"/>
                  <a:pt x="5811910" y="6483936"/>
                </a:cubicBezTo>
                <a:cubicBezTo>
                  <a:pt x="5811910" y="6474437"/>
                  <a:pt x="5813631" y="6467335"/>
                  <a:pt x="5817072" y="6462632"/>
                </a:cubicBezTo>
                <a:cubicBezTo>
                  <a:pt x="5820514" y="6457929"/>
                  <a:pt x="5824677" y="6455577"/>
                  <a:pt x="5829561"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4"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9"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4"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3" y="6456066"/>
                  <a:pt x="5903293" y="6456752"/>
                  <a:pt x="5905270" y="6458126"/>
                </a:cubicBezTo>
                <a:cubicBezTo>
                  <a:pt x="5907247"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7"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6" y="6506353"/>
                  <a:pt x="5809503" y="6512888"/>
                </a:cubicBezTo>
                <a:cubicBezTo>
                  <a:pt x="5814922"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2" y="6418742"/>
                </a:moveTo>
                <a:lnTo>
                  <a:pt x="6034362"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4"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2" y="6416998"/>
                </a:moveTo>
                <a:cubicBezTo>
                  <a:pt x="5954503" y="6416998"/>
                  <a:pt x="5951368" y="6417766"/>
                  <a:pt x="5948872" y="6419301"/>
                </a:cubicBezTo>
                <a:cubicBezTo>
                  <a:pt x="5946378" y="6420835"/>
                  <a:pt x="5944525" y="6423056"/>
                  <a:pt x="5943312" y="6425963"/>
                </a:cubicBezTo>
                <a:cubicBezTo>
                  <a:pt x="5942099" y="6428870"/>
                  <a:pt x="5941493" y="6433230"/>
                  <a:pt x="5941493" y="6439044"/>
                </a:cubicBezTo>
                <a:lnTo>
                  <a:pt x="5941493" y="6446927"/>
                </a:lnTo>
                <a:lnTo>
                  <a:pt x="5932355" y="6446927"/>
                </a:lnTo>
                <a:lnTo>
                  <a:pt x="5932355"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1"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2"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2" y="6418918"/>
                  <a:pt x="5737087" y="6422897"/>
                </a:cubicBezTo>
                <a:cubicBezTo>
                  <a:pt x="5731081" y="6426876"/>
                  <a:pt x="5726322" y="6432763"/>
                  <a:pt x="5722806" y="6440559"/>
                </a:cubicBezTo>
                <a:cubicBezTo>
                  <a:pt x="5719292" y="6448354"/>
                  <a:pt x="5717535" y="6457883"/>
                  <a:pt x="5717535" y="6469146"/>
                </a:cubicBezTo>
                <a:cubicBezTo>
                  <a:pt x="5717535" y="6480548"/>
                  <a:pt x="5719290" y="6490438"/>
                  <a:pt x="5722801" y="6498815"/>
                </a:cubicBezTo>
                <a:cubicBezTo>
                  <a:pt x="5726313" y="6507192"/>
                  <a:pt x="5730824" y="6513277"/>
                  <a:pt x="5736336" y="6517070"/>
                </a:cubicBezTo>
                <a:cubicBezTo>
                  <a:pt x="5741847" y="6520863"/>
                  <a:pt x="5748486" y="6522759"/>
                  <a:pt x="5756253" y="6522759"/>
                </a:cubicBezTo>
                <a:cubicBezTo>
                  <a:pt x="5765090" y="6522759"/>
                  <a:pt x="5772590" y="6519934"/>
                  <a:pt x="5778752" y="6514283"/>
                </a:cubicBezTo>
                <a:cubicBezTo>
                  <a:pt x="5784914" y="6508632"/>
                  <a:pt x="5789229" y="6500063"/>
                  <a:pt x="5791693" y="6488575"/>
                </a:cubicBezTo>
                <a:lnTo>
                  <a:pt x="5780530" y="6485157"/>
                </a:lnTo>
                <a:cubicBezTo>
                  <a:pt x="5779042" y="6493901"/>
                  <a:pt x="5776101" y="6500423"/>
                  <a:pt x="5771705" y="6504726"/>
                </a:cubicBezTo>
                <a:cubicBezTo>
                  <a:pt x="5767311" y="6509028"/>
                  <a:pt x="5762090" y="6511179"/>
                  <a:pt x="5756045" y="6511179"/>
                </a:cubicBezTo>
                <a:cubicBezTo>
                  <a:pt x="5747858" y="6511179"/>
                  <a:pt x="5741301" y="6507676"/>
                  <a:pt x="5736370" y="6500671"/>
                </a:cubicBezTo>
                <a:cubicBezTo>
                  <a:pt x="5731441" y="6493665"/>
                  <a:pt x="5728975" y="6483157"/>
                  <a:pt x="5728975" y="6469145"/>
                </a:cubicBezTo>
                <a:cubicBezTo>
                  <a:pt x="5728975" y="6459883"/>
                  <a:pt x="5730198" y="6452226"/>
                  <a:pt x="5732644"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3141659"/>
                </a:lnTo>
                <a:lnTo>
                  <a:pt x="6095995" y="3141659"/>
                </a:lnTo>
                <a:lnTo>
                  <a:pt x="6095995" y="6237284"/>
                </a:lnTo>
                <a:lnTo>
                  <a:pt x="12188819" y="6237284"/>
                </a:lnTo>
                <a:lnTo>
                  <a:pt x="12188819" y="6857997"/>
                </a:lnTo>
                <a:lnTo>
                  <a:pt x="0" y="6857997"/>
                </a:lnTo>
                <a:close/>
              </a:path>
            </a:pathLst>
          </a:custGeom>
        </p:spPr>
        <p:txBody>
          <a:bodyPr wrap="square">
            <a:noAutofit/>
          </a:bodyPr>
          <a:lstStyle>
            <a:lvl1pPr algn="ctr">
              <a:defRPr/>
            </a:lvl1pPr>
          </a:lstStyle>
          <a:p>
            <a:r>
              <a:rPr lang="en-US"/>
              <a:t>Click icon to add picture</a:t>
            </a:r>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4969342" cy="457200"/>
          </a:xfrm>
        </p:spPr>
        <p:txBody>
          <a:bodyPr/>
          <a:lstStyle>
            <a:lvl1pPr>
              <a:spcBef>
                <a:spcPts val="500"/>
              </a:spcBef>
              <a:defRPr sz="3100" b="1">
                <a:solidFill>
                  <a:srgbClr val="FFFFFF"/>
                </a:solidFill>
              </a:defRPr>
            </a:lvl1pPr>
          </a:lstStyle>
          <a:p>
            <a:pPr lvl="0"/>
            <a:r>
              <a:rPr lang="en-US" noProof="0"/>
              <a:t>Add Title</a:t>
            </a:r>
          </a:p>
        </p:txBody>
      </p:sp>
      <p:sp>
        <p:nvSpPr>
          <p:cNvPr id="10" name="Textplatzhalter 2"/>
          <p:cNvSpPr>
            <a:spLocks noGrp="1"/>
          </p:cNvSpPr>
          <p:nvPr userDrawn="1">
            <p:ph type="body" sz="quarter" idx="11" hasCustomPrompt="1"/>
          </p:nvPr>
        </p:nvSpPr>
        <p:spPr>
          <a:xfrm>
            <a:off x="6395432" y="3994289"/>
            <a:ext cx="4956781"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userDrawn="1">
            <p:ph type="title" hasCustomPrompt="1"/>
          </p:nvPr>
        </p:nvSpPr>
        <p:spPr/>
        <p:txBody>
          <a:bodyPr/>
          <a:lstStyle>
            <a:lvl1pPr>
              <a:defRPr/>
            </a:lvl1pPr>
          </a:lstStyle>
          <a:p>
            <a:r>
              <a:rPr lang="en-US"/>
              <a:t>Add Title</a:t>
            </a:r>
          </a:p>
        </p:txBody>
      </p:sp>
    </p:spTree>
    <p:extLst>
      <p:ext uri="{BB962C8B-B14F-4D97-AF65-F5344CB8AC3E}">
        <p14:creationId xmlns:p14="http://schemas.microsoft.com/office/powerpoint/2010/main" val="1681107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510315" cy="3590562"/>
            <a:chOff x="4" y="3106800"/>
            <a:chExt cx="11510315" cy="3590562"/>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Bildplatzhalter 13">
            <a:extLst>
              <a:ext uri="{FF2B5EF4-FFF2-40B4-BE49-F238E27FC236}">
                <a16:creationId xmlns:a16="http://schemas.microsoft.com/office/drawing/2014/main" id="{B74CB024-9D05-4A4D-A9E1-BE90ECA58008}"/>
              </a:ext>
            </a:extLst>
          </p:cNvPr>
          <p:cNvSpPr>
            <a:spLocks noGrp="1"/>
          </p:cNvSpPr>
          <p:nvPr>
            <p:ph type="pic" sz="quarter" idx="14" hasCustomPrompt="1"/>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2 w 12188819"/>
              <a:gd name="connsiteY231" fmla="*/ 6462728 h 6857997"/>
              <a:gd name="connsiteX232" fmla="*/ 6035359 w 12188819"/>
              <a:gd name="connsiteY232" fmla="*/ 6485436 h 6857997"/>
              <a:gd name="connsiteX233" fmla="*/ 6030542 w 12188819"/>
              <a:gd name="connsiteY233" fmla="*/ 6505667 h 6857997"/>
              <a:gd name="connsiteX234" fmla="*/ 6019164 w 12188819"/>
              <a:gd name="connsiteY234" fmla="*/ 6512365 h 6857997"/>
              <a:gd name="connsiteX235" fmla="*/ 6007542 w 12188819"/>
              <a:gd name="connsiteY235" fmla="*/ 6505388 h 6857997"/>
              <a:gd name="connsiteX236" fmla="*/ 6002549 w 12188819"/>
              <a:gd name="connsiteY236" fmla="*/ 6484041 h 6857997"/>
              <a:gd name="connsiteX237" fmla="*/ 6007227 w 12188819"/>
              <a:gd name="connsiteY237" fmla="*/ 6462449 h 6857997"/>
              <a:gd name="connsiteX238" fmla="*/ 6018396 w 12188819"/>
              <a:gd name="connsiteY238" fmla="*/ 6455577 h 6857997"/>
              <a:gd name="connsiteX239" fmla="*/ 5829560 w 12188819"/>
              <a:gd name="connsiteY239" fmla="*/ 6455577 h 6857997"/>
              <a:gd name="connsiteX240" fmla="*/ 5842536 w 12188819"/>
              <a:gd name="connsiteY240" fmla="*/ 6462597 h 6857997"/>
              <a:gd name="connsiteX241" fmla="*/ 5847768 w 12188819"/>
              <a:gd name="connsiteY241" fmla="*/ 6483936 h 6857997"/>
              <a:gd name="connsiteX242" fmla="*/ 5842571 w 12188819"/>
              <a:gd name="connsiteY242" fmla="*/ 6505275 h 6857997"/>
              <a:gd name="connsiteX243" fmla="*/ 5830118 w 12188819"/>
              <a:gd name="connsiteY243" fmla="*/ 6512365 h 6857997"/>
              <a:gd name="connsiteX244" fmla="*/ 5817143 w 12188819"/>
              <a:gd name="connsiteY244" fmla="*/ 6505345 h 6857997"/>
              <a:gd name="connsiteX245" fmla="*/ 5811910 w 12188819"/>
              <a:gd name="connsiteY245" fmla="*/ 6483936 h 6857997"/>
              <a:gd name="connsiteX246" fmla="*/ 5817072 w 12188819"/>
              <a:gd name="connsiteY246" fmla="*/ 6462632 h 6857997"/>
              <a:gd name="connsiteX247" fmla="*/ 5829560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3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2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3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69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4 w 12188819"/>
              <a:gd name="connsiteY428" fmla="*/ 6455019 h 6857997"/>
              <a:gd name="connsiteX429" fmla="*/ 5801377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1 w 12188819"/>
              <a:gd name="connsiteY808" fmla="*/ 6418742 h 6857997"/>
              <a:gd name="connsiteX809" fmla="*/ 6034361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1 w 12188819"/>
              <a:gd name="connsiteY880" fmla="*/ 6416998 h 6857997"/>
              <a:gd name="connsiteX881" fmla="*/ 5948873 w 12188819"/>
              <a:gd name="connsiteY881" fmla="*/ 6419301 h 6857997"/>
              <a:gd name="connsiteX882" fmla="*/ 5943311 w 12188819"/>
              <a:gd name="connsiteY882" fmla="*/ 6425963 h 6857997"/>
              <a:gd name="connsiteX883" fmla="*/ 5941493 w 12188819"/>
              <a:gd name="connsiteY883" fmla="*/ 6439044 h 6857997"/>
              <a:gd name="connsiteX884" fmla="*/ 5941493 w 12188819"/>
              <a:gd name="connsiteY884" fmla="*/ 6446927 h 6857997"/>
              <a:gd name="connsiteX885" fmla="*/ 5932354 w 12188819"/>
              <a:gd name="connsiteY885" fmla="*/ 6446927 h 6857997"/>
              <a:gd name="connsiteX886" fmla="*/ 5932354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9 w 12188819"/>
              <a:gd name="connsiteY891" fmla="*/ 6456694 h 6857997"/>
              <a:gd name="connsiteX892" fmla="*/ 5963609 w 12188819"/>
              <a:gd name="connsiteY892" fmla="*/ 6446927 h 6857997"/>
              <a:gd name="connsiteX893" fmla="*/ 5951748 w 12188819"/>
              <a:gd name="connsiteY893" fmla="*/ 6446927 h 6857997"/>
              <a:gd name="connsiteX894" fmla="*/ 5951748 w 12188819"/>
              <a:gd name="connsiteY894" fmla="*/ 6440090 h 6857997"/>
              <a:gd name="connsiteX895" fmla="*/ 5953737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1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8 w 12188819"/>
              <a:gd name="connsiteY916" fmla="*/ 6416929 h 6857997"/>
              <a:gd name="connsiteX917" fmla="*/ 5737087 w 12188819"/>
              <a:gd name="connsiteY917" fmla="*/ 6422897 h 6857997"/>
              <a:gd name="connsiteX918" fmla="*/ 5722806 w 12188819"/>
              <a:gd name="connsiteY918" fmla="*/ 6440559 h 6857997"/>
              <a:gd name="connsiteX919" fmla="*/ 5717534 w 12188819"/>
              <a:gd name="connsiteY919" fmla="*/ 6469146 h 6857997"/>
              <a:gd name="connsiteX920" fmla="*/ 5722801 w 12188819"/>
              <a:gd name="connsiteY920" fmla="*/ 6498815 h 6857997"/>
              <a:gd name="connsiteX921" fmla="*/ 5736335 w 12188819"/>
              <a:gd name="connsiteY921" fmla="*/ 6517070 h 6857997"/>
              <a:gd name="connsiteX922" fmla="*/ 5756253 w 12188819"/>
              <a:gd name="connsiteY922" fmla="*/ 6522759 h 6857997"/>
              <a:gd name="connsiteX923" fmla="*/ 5778751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4 w 12188819"/>
              <a:gd name="connsiteY927" fmla="*/ 6511179 h 6857997"/>
              <a:gd name="connsiteX928" fmla="*/ 5736370 w 12188819"/>
              <a:gd name="connsiteY928" fmla="*/ 6500671 h 6857997"/>
              <a:gd name="connsiteX929" fmla="*/ 5728975 w 12188819"/>
              <a:gd name="connsiteY929" fmla="*/ 6469145 h 6857997"/>
              <a:gd name="connsiteX930" fmla="*/ 5732643 w 12188819"/>
              <a:gd name="connsiteY930" fmla="*/ 6446175 h 6857997"/>
              <a:gd name="connsiteX931" fmla="*/ 5742459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8 w 12188819"/>
              <a:gd name="connsiteY935" fmla="*/ 6424480 h 6857997"/>
              <a:gd name="connsiteX936" fmla="*/ 5757198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6857997 h 6857997"/>
              <a:gd name="connsiteX1154" fmla="*/ 0 w 12188819"/>
              <a:gd name="connsiteY1154" fmla="*/ 6857997 h 6857997"/>
              <a:gd name="connsiteX1155" fmla="*/ 0 w 12188819"/>
              <a:gd name="connsiteY1155" fmla="*/ 6237284 h 6857997"/>
              <a:gd name="connsiteX1156" fmla="*/ 6095994 w 12188819"/>
              <a:gd name="connsiteY1156" fmla="*/ 6237284 h 6857997"/>
              <a:gd name="connsiteX1157" fmla="*/ 6095994 w 12188819"/>
              <a:gd name="connsiteY1157" fmla="*/ 3141659 h 6857997"/>
              <a:gd name="connsiteX1158" fmla="*/ 0 w 12188819"/>
              <a:gd name="connsiteY1158" fmla="*/ 3141659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8"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2"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7" y="6512365"/>
                  <a:pt x="5820630" y="6510025"/>
                  <a:pt x="5817143"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2"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2"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4"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9"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1"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6" y="6445252"/>
                  <a:pt x="5900527" y="6445252"/>
                </a:cubicBezTo>
                <a:close/>
                <a:moveTo>
                  <a:pt x="5829839" y="6445252"/>
                </a:moveTo>
                <a:cubicBezTo>
                  <a:pt x="5821608" y="6445252"/>
                  <a:pt x="5814806" y="6448508"/>
                  <a:pt x="5809434" y="6455019"/>
                </a:cubicBezTo>
                <a:cubicBezTo>
                  <a:pt x="5804062" y="6461531"/>
                  <a:pt x="5801377" y="6471181"/>
                  <a:pt x="5801377" y="6483971"/>
                </a:cubicBezTo>
                <a:cubicBezTo>
                  <a:pt x="5801377" y="6496714"/>
                  <a:pt x="5804085" y="6506353"/>
                  <a:pt x="5809503" y="6512888"/>
                </a:cubicBezTo>
                <a:cubicBezTo>
                  <a:pt x="5814921" y="6519422"/>
                  <a:pt x="5821701" y="6522690"/>
                  <a:pt x="5829839" y="6522690"/>
                </a:cubicBezTo>
                <a:cubicBezTo>
                  <a:pt x="5838119" y="6522690"/>
                  <a:pt x="5844931" y="6519434"/>
                  <a:pt x="5850280" y="6512923"/>
                </a:cubicBezTo>
                <a:cubicBezTo>
                  <a:pt x="5855629"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4" y="6416998"/>
                  <a:pt x="5951368" y="6417766"/>
                  <a:pt x="5948873"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9" y="6456694"/>
                </a:lnTo>
                <a:lnTo>
                  <a:pt x="5963609" y="6446927"/>
                </a:lnTo>
                <a:lnTo>
                  <a:pt x="5951748" y="6446927"/>
                </a:lnTo>
                <a:lnTo>
                  <a:pt x="5951748" y="6440090"/>
                </a:lnTo>
                <a:cubicBezTo>
                  <a:pt x="5951748" y="6435579"/>
                  <a:pt x="5952411" y="6432521"/>
                  <a:pt x="5953737"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8" y="6520863"/>
                  <a:pt x="5748486" y="6522759"/>
                  <a:pt x="5756253" y="6522759"/>
                </a:cubicBezTo>
                <a:cubicBezTo>
                  <a:pt x="5765090" y="6522759"/>
                  <a:pt x="5772590" y="6519934"/>
                  <a:pt x="5778751" y="6514283"/>
                </a:cubicBezTo>
                <a:cubicBezTo>
                  <a:pt x="5784915"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2" y="6493665"/>
                  <a:pt x="5728975" y="6483157"/>
                  <a:pt x="5728975" y="6469145"/>
                </a:cubicBezTo>
                <a:cubicBezTo>
                  <a:pt x="5728975" y="6459883"/>
                  <a:pt x="5730198" y="6452226"/>
                  <a:pt x="5732643" y="6446175"/>
                </a:cubicBezTo>
                <a:cubicBezTo>
                  <a:pt x="5735088" y="6440123"/>
                  <a:pt x="5738360" y="6435666"/>
                  <a:pt x="5742459"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8" y="6424480"/>
                </a:cubicBezTo>
                <a:cubicBezTo>
                  <a:pt x="5772259" y="6419446"/>
                  <a:pt x="5765298" y="6416929"/>
                  <a:pt x="5757198"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lnTo>
                  <a:pt x="0" y="6237284"/>
                </a:lnTo>
                <a:lnTo>
                  <a:pt x="6095994" y="6237284"/>
                </a:lnTo>
                <a:lnTo>
                  <a:pt x="6095994" y="3141659"/>
                </a:lnTo>
                <a:lnTo>
                  <a:pt x="0" y="3141659"/>
                </a:lnTo>
                <a:close/>
              </a:path>
            </a:pathLst>
          </a:custGeom>
        </p:spPr>
        <p:txBody>
          <a:bodyPr wrap="square">
            <a:noAutofit/>
          </a:bodyPr>
          <a:lstStyle>
            <a:lvl1pPr algn="ctr">
              <a:defRPr/>
            </a:lvl1pPr>
          </a:lstStyle>
          <a:p>
            <a:r>
              <a:rPr lang="en-US"/>
              <a:t>Click icon to add picture</a:t>
            </a:r>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a:t>Add </a:t>
            </a:r>
            <a:r>
              <a:rPr lang="en-US" noProof="0"/>
              <a:t>Title</a:t>
            </a:r>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a:t>Add Title </a:t>
            </a:r>
          </a:p>
        </p:txBody>
      </p:sp>
    </p:spTree>
    <p:extLst>
      <p:ext uri="{BB962C8B-B14F-4D97-AF65-F5344CB8AC3E}">
        <p14:creationId xmlns:p14="http://schemas.microsoft.com/office/powerpoint/2010/main" val="28828910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Text (righ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655194A6-C5F3-4B72-BA38-14EABC8887B2}"/>
              </a:ext>
            </a:extLst>
          </p:cNvPr>
          <p:cNvSpPr>
            <a:spLocks noGrp="1"/>
          </p:cNvSpPr>
          <p:nvPr>
            <p:ph type="pic" sz="quarter" idx="14" hasCustomPrompt="1"/>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algn="ctr">
              <a:defRPr/>
            </a:lvl1pPr>
          </a:lstStyle>
          <a:p>
            <a:r>
              <a:rPr lang="en-US"/>
              <a:t>Click icon to add picture</a:t>
            </a:r>
          </a:p>
        </p:txBody>
      </p:sp>
      <p:sp>
        <p:nvSpPr>
          <p:cNvPr id="4" name="Textplatzhalter 3"/>
          <p:cNvSpPr>
            <a:spLocks noGrp="1"/>
          </p:cNvSpPr>
          <p:nvPr>
            <p:ph type="body" sz="quarter" idx="10" hasCustomPrompt="1"/>
          </p:nvPr>
        </p:nvSpPr>
        <p:spPr>
          <a:xfrm>
            <a:off x="6211925" y="914398"/>
            <a:ext cx="5148000" cy="5328000"/>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375443784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4B8017E0-7B42-4795-A00A-DFBF191C97A1}"/>
              </a:ext>
            </a:extLst>
          </p:cNvPr>
          <p:cNvSpPr>
            <a:spLocks noGrp="1"/>
          </p:cNvSpPr>
          <p:nvPr>
            <p:ph type="pic" sz="quarter" idx="14" hasCustomPrompt="1"/>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algn="ctr">
              <a:defRPr/>
            </a:lvl1pPr>
          </a:lstStyle>
          <a:p>
            <a:r>
              <a:rPr lang="en-US"/>
              <a:t>Click icon to add picture</a:t>
            </a:r>
          </a:p>
        </p:txBody>
      </p:sp>
      <p:sp>
        <p:nvSpPr>
          <p:cNvPr id="4" name="Textplatzhalter 3"/>
          <p:cNvSpPr>
            <a:spLocks noGrp="1"/>
          </p:cNvSpPr>
          <p:nvPr>
            <p:ph type="body" sz="quarter" idx="10" hasCustomPrompt="1"/>
          </p:nvPr>
        </p:nvSpPr>
        <p:spPr>
          <a:xfrm>
            <a:off x="848931" y="914398"/>
            <a:ext cx="5148000" cy="5328000"/>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427439687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en, Title, Text">
    <p:bg>
      <p:bgPr>
        <a:solidFill>
          <a:srgbClr val="66CC33"/>
        </a:solidFill>
        <a:effectLst/>
      </p:bgPr>
    </p:bg>
    <p:spTree>
      <p:nvGrpSpPr>
        <p:cNvPr id="1" name=""/>
        <p:cNvGrpSpPr/>
        <p:nvPr/>
      </p:nvGrpSpPr>
      <p:grpSpPr>
        <a:xfrm>
          <a:off x="0" y="0"/>
          <a:ext cx="0" cy="0"/>
          <a:chOff x="0" y="0"/>
          <a:chExt cx="0" cy="0"/>
        </a:xfrm>
      </p:grpSpPr>
      <p:sp>
        <p:nvSpPr>
          <p:cNvPr id="10"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a:t>
            </a:r>
          </a:p>
        </p:txBody>
      </p:sp>
      <p:sp>
        <p:nvSpPr>
          <p:cNvPr id="13" name="Textplatzhalter 3"/>
          <p:cNvSpPr>
            <a:spLocks noGrp="1"/>
          </p:cNvSpPr>
          <p:nvPr>
            <p:ph type="body" sz="quarter" idx="10" hasCustomPrompt="1"/>
          </p:nvPr>
        </p:nvSpPr>
        <p:spPr>
          <a:xfrm>
            <a:off x="839098" y="907362"/>
            <a:ext cx="10512000" cy="5328000"/>
          </a:xfrm>
        </p:spPr>
        <p:txBody>
          <a:bodyPr/>
          <a:lstStyle>
            <a:lvl1pPr marL="0" indent="0">
              <a:buFontTx/>
              <a:buNone/>
              <a:defRPr b="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pic>
        <p:nvPicPr>
          <p:cNvPr id="5" name="Grafik 4">
            <a:extLst>
              <a:ext uri="{FF2B5EF4-FFF2-40B4-BE49-F238E27FC236}">
                <a16:creationId xmlns:a16="http://schemas.microsoft.com/office/drawing/2014/main" id="{AF036631-25D0-4B0E-A1BD-EBA4A12F99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Tree>
    <p:extLst>
      <p:ext uri="{BB962C8B-B14F-4D97-AF65-F5344CB8AC3E}">
        <p14:creationId xmlns:p14="http://schemas.microsoft.com/office/powerpoint/2010/main" val="28152534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424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76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US">
                <a:solidFill>
                  <a:schemeClr val="bg1"/>
                </a:solidFill>
              </a:rPr>
              <a:t>www.sensirion.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0900" y="2464725"/>
            <a:ext cx="6961858" cy="1202400"/>
          </a:xfrm>
          <a:prstGeom prst="rect">
            <a:avLst/>
          </a:prstGeom>
        </p:spPr>
      </p:pic>
    </p:spTree>
    <p:extLst>
      <p:ext uri="{BB962C8B-B14F-4D97-AF65-F5344CB8AC3E}">
        <p14:creationId xmlns:p14="http://schemas.microsoft.com/office/powerpoint/2010/main" val="23408559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Humidity_Title Slide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7" y="0"/>
            <a:ext cx="12191445" cy="6858000"/>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a:solidFill>
                  <a:schemeClr val="tx1"/>
                </a:solidFill>
              </a:defRPr>
            </a:lvl1pPr>
          </a:lstStyle>
          <a:p>
            <a:r>
              <a:rPr lang="en-US"/>
              <a:t>Add Title</a:t>
            </a:r>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5256213" cy="306000"/>
          </a:xfrm>
        </p:spPr>
        <p:txBody>
          <a:bodyPr/>
          <a:lstStyle>
            <a:lvl1pPr>
              <a:spcBef>
                <a:spcPts val="0"/>
              </a:spcBef>
              <a:defRPr/>
            </a:lvl1pPr>
          </a:lstStyle>
          <a:p>
            <a:pPr lvl="0"/>
            <a:r>
              <a:rPr lang="en-US"/>
              <a:t>First Name Last Name, Job Function</a:t>
            </a:r>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5256213" cy="306000"/>
          </a:xfrm>
        </p:spPr>
        <p:txBody>
          <a:bodyPr/>
          <a:lstStyle>
            <a:lvl1pPr>
              <a:spcBef>
                <a:spcPts val="0"/>
              </a:spcBef>
              <a:defRPr/>
            </a:lvl1pPr>
          </a:lstStyle>
          <a:p>
            <a:pPr lvl="0"/>
            <a:r>
              <a:rPr lang="en-US"/>
              <a:t>City Country, Month Year</a:t>
            </a:r>
          </a:p>
        </p:txBody>
      </p:sp>
      <p:sp>
        <p:nvSpPr>
          <p:cNvPr id="8" name="Rechteck 5"/>
          <p:cNvSpPr/>
          <p:nvPr userDrawn="1"/>
        </p:nvSpPr>
        <p:spPr>
          <a:xfrm>
            <a:off x="9335620" y="6144492"/>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9"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9629" y="6359834"/>
            <a:ext cx="1800000" cy="308899"/>
          </a:xfrm>
          <a:prstGeom prst="rect">
            <a:avLst/>
          </a:prstGeom>
        </p:spPr>
      </p:pic>
    </p:spTree>
    <p:extLst>
      <p:ext uri="{BB962C8B-B14F-4D97-AF65-F5344CB8AC3E}">
        <p14:creationId xmlns:p14="http://schemas.microsoft.com/office/powerpoint/2010/main" val="34635692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41557651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962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baseline="0">
                <a:solidFill>
                  <a:schemeClr val="tx1"/>
                </a:solidFill>
              </a:defRPr>
            </a:lvl1pPr>
          </a:lstStyle>
          <a:p>
            <a:r>
              <a:rPr lang="en-US"/>
              <a:t>Add Title / </a:t>
            </a:r>
            <a:r>
              <a:rPr lang="en-US" err="1"/>
              <a:t>Titel</a:t>
            </a:r>
            <a:r>
              <a:rPr lang="en-US"/>
              <a:t> </a:t>
            </a:r>
            <a:r>
              <a:rPr lang="en-US" err="1"/>
              <a:t>hinzufügen</a:t>
            </a:r>
            <a:endParaRPr lang="en-US"/>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10509842" cy="306000"/>
          </a:xfrm>
        </p:spPr>
        <p:txBody>
          <a:bodyPr/>
          <a:lstStyle>
            <a:lvl1pPr>
              <a:spcBef>
                <a:spcPts val="0"/>
              </a:spcBef>
              <a:defRPr baseline="0"/>
            </a:lvl1pPr>
          </a:lstStyle>
          <a:p>
            <a:pPr lvl="0"/>
            <a:r>
              <a:rPr lang="en-US"/>
              <a:t>First Name Last Name, Job Function / </a:t>
            </a:r>
            <a:r>
              <a:rPr lang="en-US" err="1"/>
              <a:t>Vorname</a:t>
            </a:r>
            <a:r>
              <a:rPr lang="en-US"/>
              <a:t> </a:t>
            </a:r>
            <a:r>
              <a:rPr lang="en-US" err="1"/>
              <a:t>Nachnachme</a:t>
            </a:r>
            <a:r>
              <a:rPr lang="en-US"/>
              <a:t>, </a:t>
            </a:r>
            <a:r>
              <a:rPr lang="en-US" err="1"/>
              <a:t>Funktion</a:t>
            </a:r>
            <a:endParaRPr lang="en-US"/>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10512426" cy="306000"/>
          </a:xfrm>
        </p:spPr>
        <p:txBody>
          <a:bodyPr/>
          <a:lstStyle>
            <a:lvl1pPr>
              <a:spcBef>
                <a:spcPts val="0"/>
              </a:spcBef>
              <a:defRPr baseline="0"/>
            </a:lvl1pPr>
          </a:lstStyle>
          <a:p>
            <a:pPr lvl="0"/>
            <a:r>
              <a:rPr lang="en-US"/>
              <a:t>City Country, Month Year / </a:t>
            </a:r>
            <a:r>
              <a:rPr lang="en-US" err="1"/>
              <a:t>Stadt</a:t>
            </a:r>
            <a:r>
              <a:rPr lang="en-US"/>
              <a:t> Land, </a:t>
            </a:r>
            <a:r>
              <a:rPr lang="en-US" err="1"/>
              <a:t>Monat</a:t>
            </a:r>
            <a:r>
              <a:rPr lang="en-US"/>
              <a:t> </a:t>
            </a:r>
            <a:r>
              <a:rPr lang="en-US" err="1"/>
              <a:t>Jahr</a:t>
            </a:r>
            <a:endParaRPr lang="en-US"/>
          </a:p>
        </p:txBody>
      </p:sp>
    </p:spTree>
    <p:extLst>
      <p:ext uri="{BB962C8B-B14F-4D97-AF65-F5344CB8AC3E}">
        <p14:creationId xmlns:p14="http://schemas.microsoft.com/office/powerpoint/2010/main" val="1641146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7544367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Text, Picture Lef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839788"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aseline="0"/>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a:p>
            <a:endParaRPr lang="en-US"/>
          </a:p>
        </p:txBody>
      </p:sp>
      <p:sp>
        <p:nvSpPr>
          <p:cNvPr id="6" name="Text Placeholder 5"/>
          <p:cNvSpPr>
            <a:spLocks noGrp="1"/>
          </p:cNvSpPr>
          <p:nvPr>
            <p:ph type="body" sz="quarter" idx="11" hasCustomPrompt="1"/>
          </p:nvPr>
        </p:nvSpPr>
        <p:spPr>
          <a:xfrm>
            <a:off x="6212541"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14023396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de-CH" noProof="0"/>
              <a:t>Add </a:t>
            </a:r>
            <a:r>
              <a:rPr lang="de-CH" noProof="0" err="1"/>
              <a:t>picture</a:t>
            </a:r>
            <a:r>
              <a:rPr lang="de-CH" noProof="0"/>
              <a:t> via </a:t>
            </a:r>
            <a:r>
              <a:rPr lang="de-CH" noProof="0" err="1"/>
              <a:t>icon</a:t>
            </a:r>
            <a:r>
              <a:rPr lang="de-CH" noProof="0"/>
              <a:t> / Bild hinzufügen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377595465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11220207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93" name="Gruppieren 92">
            <a:extLst>
              <a:ext uri="{FF2B5EF4-FFF2-40B4-BE49-F238E27FC236}">
                <a16:creationId xmlns:a16="http://schemas.microsoft.com/office/drawing/2014/main" id="{D2D03C95-7237-41B3-B3C3-68EDD984A661}"/>
              </a:ext>
            </a:extLst>
          </p:cNvPr>
          <p:cNvGrpSpPr/>
          <p:nvPr userDrawn="1"/>
        </p:nvGrpSpPr>
        <p:grpSpPr>
          <a:xfrm>
            <a:off x="731952" y="3106800"/>
            <a:ext cx="11457648" cy="3590562"/>
            <a:chOff x="731952" y="3106800"/>
            <a:chExt cx="11457648" cy="3590562"/>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5" name="Bildplatzhalter 94">
            <a:extLst>
              <a:ext uri="{FF2B5EF4-FFF2-40B4-BE49-F238E27FC236}">
                <a16:creationId xmlns:a16="http://schemas.microsoft.com/office/drawing/2014/main" id="{42A3661C-BE92-49BD-9361-69A1388F129F}"/>
              </a:ext>
            </a:extLst>
          </p:cNvPr>
          <p:cNvSpPr>
            <a:spLocks noGrp="1"/>
          </p:cNvSpPr>
          <p:nvPr>
            <p:ph type="pic" sz="quarter" idx="14"/>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3 w 12188819"/>
              <a:gd name="connsiteY231" fmla="*/ 6462728 h 6857997"/>
              <a:gd name="connsiteX232" fmla="*/ 6035359 w 12188819"/>
              <a:gd name="connsiteY232" fmla="*/ 6485436 h 6857997"/>
              <a:gd name="connsiteX233" fmla="*/ 6030543 w 12188819"/>
              <a:gd name="connsiteY233" fmla="*/ 6505667 h 6857997"/>
              <a:gd name="connsiteX234" fmla="*/ 6019164 w 12188819"/>
              <a:gd name="connsiteY234" fmla="*/ 6512365 h 6857997"/>
              <a:gd name="connsiteX235" fmla="*/ 6007541 w 12188819"/>
              <a:gd name="connsiteY235" fmla="*/ 6505388 h 6857997"/>
              <a:gd name="connsiteX236" fmla="*/ 6002550 w 12188819"/>
              <a:gd name="connsiteY236" fmla="*/ 6484041 h 6857997"/>
              <a:gd name="connsiteX237" fmla="*/ 6007227 w 12188819"/>
              <a:gd name="connsiteY237" fmla="*/ 6462449 h 6857997"/>
              <a:gd name="connsiteX238" fmla="*/ 6018396 w 12188819"/>
              <a:gd name="connsiteY238" fmla="*/ 6455577 h 6857997"/>
              <a:gd name="connsiteX239" fmla="*/ 5829561 w 12188819"/>
              <a:gd name="connsiteY239" fmla="*/ 6455577 h 6857997"/>
              <a:gd name="connsiteX240" fmla="*/ 5842536 w 12188819"/>
              <a:gd name="connsiteY240" fmla="*/ 6462597 h 6857997"/>
              <a:gd name="connsiteX241" fmla="*/ 5847769 w 12188819"/>
              <a:gd name="connsiteY241" fmla="*/ 6483936 h 6857997"/>
              <a:gd name="connsiteX242" fmla="*/ 5842571 w 12188819"/>
              <a:gd name="connsiteY242" fmla="*/ 6505275 h 6857997"/>
              <a:gd name="connsiteX243" fmla="*/ 5830118 w 12188819"/>
              <a:gd name="connsiteY243" fmla="*/ 6512365 h 6857997"/>
              <a:gd name="connsiteX244" fmla="*/ 5817142 w 12188819"/>
              <a:gd name="connsiteY244" fmla="*/ 6505345 h 6857997"/>
              <a:gd name="connsiteX245" fmla="*/ 5811910 w 12188819"/>
              <a:gd name="connsiteY245" fmla="*/ 6483936 h 6857997"/>
              <a:gd name="connsiteX246" fmla="*/ 5817072 w 12188819"/>
              <a:gd name="connsiteY246" fmla="*/ 6462632 h 6857997"/>
              <a:gd name="connsiteX247" fmla="*/ 5829561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4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1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4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70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3 w 12188819"/>
              <a:gd name="connsiteY428" fmla="*/ 6455019 h 6857997"/>
              <a:gd name="connsiteX429" fmla="*/ 5801376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2 w 12188819"/>
              <a:gd name="connsiteY808" fmla="*/ 6418742 h 6857997"/>
              <a:gd name="connsiteX809" fmla="*/ 6034362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2 w 12188819"/>
              <a:gd name="connsiteY880" fmla="*/ 6416998 h 6857997"/>
              <a:gd name="connsiteX881" fmla="*/ 5948872 w 12188819"/>
              <a:gd name="connsiteY881" fmla="*/ 6419301 h 6857997"/>
              <a:gd name="connsiteX882" fmla="*/ 5943312 w 12188819"/>
              <a:gd name="connsiteY882" fmla="*/ 6425963 h 6857997"/>
              <a:gd name="connsiteX883" fmla="*/ 5941493 w 12188819"/>
              <a:gd name="connsiteY883" fmla="*/ 6439044 h 6857997"/>
              <a:gd name="connsiteX884" fmla="*/ 5941493 w 12188819"/>
              <a:gd name="connsiteY884" fmla="*/ 6446927 h 6857997"/>
              <a:gd name="connsiteX885" fmla="*/ 5932355 w 12188819"/>
              <a:gd name="connsiteY885" fmla="*/ 6446927 h 6857997"/>
              <a:gd name="connsiteX886" fmla="*/ 5932355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8 w 12188819"/>
              <a:gd name="connsiteY891" fmla="*/ 6456694 h 6857997"/>
              <a:gd name="connsiteX892" fmla="*/ 5963608 w 12188819"/>
              <a:gd name="connsiteY892" fmla="*/ 6446927 h 6857997"/>
              <a:gd name="connsiteX893" fmla="*/ 5951748 w 12188819"/>
              <a:gd name="connsiteY893" fmla="*/ 6446927 h 6857997"/>
              <a:gd name="connsiteX894" fmla="*/ 5951748 w 12188819"/>
              <a:gd name="connsiteY894" fmla="*/ 6440090 h 6857997"/>
              <a:gd name="connsiteX895" fmla="*/ 5953736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2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9 w 12188819"/>
              <a:gd name="connsiteY916" fmla="*/ 6416929 h 6857997"/>
              <a:gd name="connsiteX917" fmla="*/ 5737087 w 12188819"/>
              <a:gd name="connsiteY917" fmla="*/ 6422897 h 6857997"/>
              <a:gd name="connsiteX918" fmla="*/ 5722806 w 12188819"/>
              <a:gd name="connsiteY918" fmla="*/ 6440559 h 6857997"/>
              <a:gd name="connsiteX919" fmla="*/ 5717535 w 12188819"/>
              <a:gd name="connsiteY919" fmla="*/ 6469146 h 6857997"/>
              <a:gd name="connsiteX920" fmla="*/ 5722801 w 12188819"/>
              <a:gd name="connsiteY920" fmla="*/ 6498815 h 6857997"/>
              <a:gd name="connsiteX921" fmla="*/ 5736336 w 12188819"/>
              <a:gd name="connsiteY921" fmla="*/ 6517070 h 6857997"/>
              <a:gd name="connsiteX922" fmla="*/ 5756253 w 12188819"/>
              <a:gd name="connsiteY922" fmla="*/ 6522759 h 6857997"/>
              <a:gd name="connsiteX923" fmla="*/ 5778752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5 w 12188819"/>
              <a:gd name="connsiteY927" fmla="*/ 6511179 h 6857997"/>
              <a:gd name="connsiteX928" fmla="*/ 5736370 w 12188819"/>
              <a:gd name="connsiteY928" fmla="*/ 6500671 h 6857997"/>
              <a:gd name="connsiteX929" fmla="*/ 5728975 w 12188819"/>
              <a:gd name="connsiteY929" fmla="*/ 6469145 h 6857997"/>
              <a:gd name="connsiteX930" fmla="*/ 5732644 w 12188819"/>
              <a:gd name="connsiteY930" fmla="*/ 6446175 h 6857997"/>
              <a:gd name="connsiteX931" fmla="*/ 5742458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7 w 12188819"/>
              <a:gd name="connsiteY935" fmla="*/ 6424480 h 6857997"/>
              <a:gd name="connsiteX936" fmla="*/ 5757199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3141659 h 6857997"/>
              <a:gd name="connsiteX1154" fmla="*/ 6095995 w 12188819"/>
              <a:gd name="connsiteY1154" fmla="*/ 3141659 h 6857997"/>
              <a:gd name="connsiteX1155" fmla="*/ 6095995 w 12188819"/>
              <a:gd name="connsiteY1155" fmla="*/ 6237284 h 6857997"/>
              <a:gd name="connsiteX1156" fmla="*/ 12188819 w 12188819"/>
              <a:gd name="connsiteY1156" fmla="*/ 6237284 h 6857997"/>
              <a:gd name="connsiteX1157" fmla="*/ 12188819 w 12188819"/>
              <a:gd name="connsiteY1157" fmla="*/ 6857997 h 6857997"/>
              <a:gd name="connsiteX1158" fmla="*/ 0 w 12188819"/>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3" y="6462728"/>
                </a:cubicBezTo>
                <a:cubicBezTo>
                  <a:pt x="6033753" y="6467495"/>
                  <a:pt x="6035359" y="6475065"/>
                  <a:pt x="6035359" y="6485436"/>
                </a:cubicBezTo>
                <a:cubicBezTo>
                  <a:pt x="6035359" y="6494459"/>
                  <a:pt x="6033753" y="6501203"/>
                  <a:pt x="6030543" y="6505667"/>
                </a:cubicBezTo>
                <a:cubicBezTo>
                  <a:pt x="6027331" y="6510132"/>
                  <a:pt x="6023538" y="6512365"/>
                  <a:pt x="6019164" y="6512365"/>
                </a:cubicBezTo>
                <a:cubicBezTo>
                  <a:pt x="6014743" y="6512365"/>
                  <a:pt x="6010869" y="6510039"/>
                  <a:pt x="6007541" y="6505388"/>
                </a:cubicBezTo>
                <a:cubicBezTo>
                  <a:pt x="6004213" y="6500737"/>
                  <a:pt x="6002550" y="6493622"/>
                  <a:pt x="6002550" y="6484041"/>
                </a:cubicBezTo>
                <a:cubicBezTo>
                  <a:pt x="6002550" y="6474227"/>
                  <a:pt x="6004109" y="6467030"/>
                  <a:pt x="6007227" y="6462449"/>
                </a:cubicBezTo>
                <a:cubicBezTo>
                  <a:pt x="6010345" y="6457868"/>
                  <a:pt x="6014068" y="6455577"/>
                  <a:pt x="6018396" y="6455577"/>
                </a:cubicBezTo>
                <a:close/>
                <a:moveTo>
                  <a:pt x="5829561" y="6455577"/>
                </a:moveTo>
                <a:cubicBezTo>
                  <a:pt x="5834723" y="6455577"/>
                  <a:pt x="5839048" y="6457917"/>
                  <a:pt x="5842536" y="6462597"/>
                </a:cubicBezTo>
                <a:cubicBezTo>
                  <a:pt x="5846024" y="6467277"/>
                  <a:pt x="5847769" y="6474390"/>
                  <a:pt x="5847769" y="6483936"/>
                </a:cubicBezTo>
                <a:cubicBezTo>
                  <a:pt x="5847769" y="6493436"/>
                  <a:pt x="5846036" y="6500548"/>
                  <a:pt x="5842571" y="6505275"/>
                </a:cubicBezTo>
                <a:cubicBezTo>
                  <a:pt x="5839106" y="6510001"/>
                  <a:pt x="5834956" y="6512365"/>
                  <a:pt x="5830118" y="6512365"/>
                </a:cubicBezTo>
                <a:cubicBezTo>
                  <a:pt x="5824957" y="6512365"/>
                  <a:pt x="5820630" y="6510025"/>
                  <a:pt x="5817142" y="6505345"/>
                </a:cubicBezTo>
                <a:cubicBezTo>
                  <a:pt x="5813655" y="6500665"/>
                  <a:pt x="5811910" y="6493529"/>
                  <a:pt x="5811910" y="6483936"/>
                </a:cubicBezTo>
                <a:cubicBezTo>
                  <a:pt x="5811910" y="6474437"/>
                  <a:pt x="5813631" y="6467335"/>
                  <a:pt x="5817072" y="6462632"/>
                </a:cubicBezTo>
                <a:cubicBezTo>
                  <a:pt x="5820514" y="6457929"/>
                  <a:pt x="5824677" y="6455577"/>
                  <a:pt x="5829561"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4"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9"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4"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3" y="6456066"/>
                  <a:pt x="5903293" y="6456752"/>
                  <a:pt x="5905270" y="6458126"/>
                </a:cubicBezTo>
                <a:cubicBezTo>
                  <a:pt x="5907247"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7"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6" y="6506353"/>
                  <a:pt x="5809503" y="6512888"/>
                </a:cubicBezTo>
                <a:cubicBezTo>
                  <a:pt x="5814922"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2" y="6418742"/>
                </a:moveTo>
                <a:lnTo>
                  <a:pt x="6034362"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4"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2" y="6416998"/>
                </a:moveTo>
                <a:cubicBezTo>
                  <a:pt x="5954503" y="6416998"/>
                  <a:pt x="5951368" y="6417766"/>
                  <a:pt x="5948872" y="6419301"/>
                </a:cubicBezTo>
                <a:cubicBezTo>
                  <a:pt x="5946378" y="6420835"/>
                  <a:pt x="5944525" y="6423056"/>
                  <a:pt x="5943312" y="6425963"/>
                </a:cubicBezTo>
                <a:cubicBezTo>
                  <a:pt x="5942099" y="6428870"/>
                  <a:pt x="5941493" y="6433230"/>
                  <a:pt x="5941493" y="6439044"/>
                </a:cubicBezTo>
                <a:lnTo>
                  <a:pt x="5941493" y="6446927"/>
                </a:lnTo>
                <a:lnTo>
                  <a:pt x="5932355" y="6446927"/>
                </a:lnTo>
                <a:lnTo>
                  <a:pt x="5932355"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1"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2"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2" y="6418918"/>
                  <a:pt x="5737087" y="6422897"/>
                </a:cubicBezTo>
                <a:cubicBezTo>
                  <a:pt x="5731081" y="6426876"/>
                  <a:pt x="5726322" y="6432763"/>
                  <a:pt x="5722806" y="6440559"/>
                </a:cubicBezTo>
                <a:cubicBezTo>
                  <a:pt x="5719292" y="6448354"/>
                  <a:pt x="5717535" y="6457883"/>
                  <a:pt x="5717535" y="6469146"/>
                </a:cubicBezTo>
                <a:cubicBezTo>
                  <a:pt x="5717535" y="6480548"/>
                  <a:pt x="5719290" y="6490438"/>
                  <a:pt x="5722801" y="6498815"/>
                </a:cubicBezTo>
                <a:cubicBezTo>
                  <a:pt x="5726313" y="6507192"/>
                  <a:pt x="5730824" y="6513277"/>
                  <a:pt x="5736336" y="6517070"/>
                </a:cubicBezTo>
                <a:cubicBezTo>
                  <a:pt x="5741847" y="6520863"/>
                  <a:pt x="5748486" y="6522759"/>
                  <a:pt x="5756253" y="6522759"/>
                </a:cubicBezTo>
                <a:cubicBezTo>
                  <a:pt x="5765090" y="6522759"/>
                  <a:pt x="5772590" y="6519934"/>
                  <a:pt x="5778752" y="6514283"/>
                </a:cubicBezTo>
                <a:cubicBezTo>
                  <a:pt x="5784914" y="6508632"/>
                  <a:pt x="5789229" y="6500063"/>
                  <a:pt x="5791693" y="6488575"/>
                </a:cubicBezTo>
                <a:lnTo>
                  <a:pt x="5780530" y="6485157"/>
                </a:lnTo>
                <a:cubicBezTo>
                  <a:pt x="5779042" y="6493901"/>
                  <a:pt x="5776101" y="6500423"/>
                  <a:pt x="5771705" y="6504726"/>
                </a:cubicBezTo>
                <a:cubicBezTo>
                  <a:pt x="5767311" y="6509028"/>
                  <a:pt x="5762090" y="6511179"/>
                  <a:pt x="5756045" y="6511179"/>
                </a:cubicBezTo>
                <a:cubicBezTo>
                  <a:pt x="5747858" y="6511179"/>
                  <a:pt x="5741301" y="6507676"/>
                  <a:pt x="5736370" y="6500671"/>
                </a:cubicBezTo>
                <a:cubicBezTo>
                  <a:pt x="5731441" y="6493665"/>
                  <a:pt x="5728975" y="6483157"/>
                  <a:pt x="5728975" y="6469145"/>
                </a:cubicBezTo>
                <a:cubicBezTo>
                  <a:pt x="5728975" y="6459883"/>
                  <a:pt x="5730198" y="6452226"/>
                  <a:pt x="5732644"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3141659"/>
                </a:lnTo>
                <a:lnTo>
                  <a:pt x="6095995" y="3141659"/>
                </a:lnTo>
                <a:lnTo>
                  <a:pt x="6095995" y="6237284"/>
                </a:lnTo>
                <a:lnTo>
                  <a:pt x="12188819" y="6237284"/>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4969342"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0" name="Textplatzhalter 2"/>
          <p:cNvSpPr>
            <a:spLocks noGrp="1"/>
          </p:cNvSpPr>
          <p:nvPr userDrawn="1">
            <p:ph type="body" sz="quarter" idx="11" hasCustomPrompt="1"/>
          </p:nvPr>
        </p:nvSpPr>
        <p:spPr>
          <a:xfrm>
            <a:off x="6395432" y="3994289"/>
            <a:ext cx="4956781" cy="1980000"/>
          </a:xfrm>
        </p:spPr>
        <p:txBody>
          <a:bodyPr/>
          <a:lstStyle>
            <a:lvl1pPr>
              <a:defRPr baseline="0">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userDrawn="1">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20515343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510315" cy="3590562"/>
            <a:chOff x="4" y="3106800"/>
            <a:chExt cx="11510315" cy="3590562"/>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Bildplatzhalter 13">
            <a:extLst>
              <a:ext uri="{FF2B5EF4-FFF2-40B4-BE49-F238E27FC236}">
                <a16:creationId xmlns:a16="http://schemas.microsoft.com/office/drawing/2014/main" id="{B74CB024-9D05-4A4D-A9E1-BE90ECA58008}"/>
              </a:ext>
            </a:extLst>
          </p:cNvPr>
          <p:cNvSpPr>
            <a:spLocks noGrp="1"/>
          </p:cNvSpPr>
          <p:nvPr>
            <p:ph type="pic" sz="quarter" idx="14"/>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2 w 12188819"/>
              <a:gd name="connsiteY231" fmla="*/ 6462728 h 6857997"/>
              <a:gd name="connsiteX232" fmla="*/ 6035359 w 12188819"/>
              <a:gd name="connsiteY232" fmla="*/ 6485436 h 6857997"/>
              <a:gd name="connsiteX233" fmla="*/ 6030542 w 12188819"/>
              <a:gd name="connsiteY233" fmla="*/ 6505667 h 6857997"/>
              <a:gd name="connsiteX234" fmla="*/ 6019164 w 12188819"/>
              <a:gd name="connsiteY234" fmla="*/ 6512365 h 6857997"/>
              <a:gd name="connsiteX235" fmla="*/ 6007542 w 12188819"/>
              <a:gd name="connsiteY235" fmla="*/ 6505388 h 6857997"/>
              <a:gd name="connsiteX236" fmla="*/ 6002549 w 12188819"/>
              <a:gd name="connsiteY236" fmla="*/ 6484041 h 6857997"/>
              <a:gd name="connsiteX237" fmla="*/ 6007227 w 12188819"/>
              <a:gd name="connsiteY237" fmla="*/ 6462449 h 6857997"/>
              <a:gd name="connsiteX238" fmla="*/ 6018396 w 12188819"/>
              <a:gd name="connsiteY238" fmla="*/ 6455577 h 6857997"/>
              <a:gd name="connsiteX239" fmla="*/ 5829560 w 12188819"/>
              <a:gd name="connsiteY239" fmla="*/ 6455577 h 6857997"/>
              <a:gd name="connsiteX240" fmla="*/ 5842536 w 12188819"/>
              <a:gd name="connsiteY240" fmla="*/ 6462597 h 6857997"/>
              <a:gd name="connsiteX241" fmla="*/ 5847768 w 12188819"/>
              <a:gd name="connsiteY241" fmla="*/ 6483936 h 6857997"/>
              <a:gd name="connsiteX242" fmla="*/ 5842571 w 12188819"/>
              <a:gd name="connsiteY242" fmla="*/ 6505275 h 6857997"/>
              <a:gd name="connsiteX243" fmla="*/ 5830118 w 12188819"/>
              <a:gd name="connsiteY243" fmla="*/ 6512365 h 6857997"/>
              <a:gd name="connsiteX244" fmla="*/ 5817143 w 12188819"/>
              <a:gd name="connsiteY244" fmla="*/ 6505345 h 6857997"/>
              <a:gd name="connsiteX245" fmla="*/ 5811910 w 12188819"/>
              <a:gd name="connsiteY245" fmla="*/ 6483936 h 6857997"/>
              <a:gd name="connsiteX246" fmla="*/ 5817072 w 12188819"/>
              <a:gd name="connsiteY246" fmla="*/ 6462632 h 6857997"/>
              <a:gd name="connsiteX247" fmla="*/ 5829560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3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2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3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69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4 w 12188819"/>
              <a:gd name="connsiteY428" fmla="*/ 6455019 h 6857997"/>
              <a:gd name="connsiteX429" fmla="*/ 5801377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1 w 12188819"/>
              <a:gd name="connsiteY808" fmla="*/ 6418742 h 6857997"/>
              <a:gd name="connsiteX809" fmla="*/ 6034361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1 w 12188819"/>
              <a:gd name="connsiteY880" fmla="*/ 6416998 h 6857997"/>
              <a:gd name="connsiteX881" fmla="*/ 5948873 w 12188819"/>
              <a:gd name="connsiteY881" fmla="*/ 6419301 h 6857997"/>
              <a:gd name="connsiteX882" fmla="*/ 5943311 w 12188819"/>
              <a:gd name="connsiteY882" fmla="*/ 6425963 h 6857997"/>
              <a:gd name="connsiteX883" fmla="*/ 5941493 w 12188819"/>
              <a:gd name="connsiteY883" fmla="*/ 6439044 h 6857997"/>
              <a:gd name="connsiteX884" fmla="*/ 5941493 w 12188819"/>
              <a:gd name="connsiteY884" fmla="*/ 6446927 h 6857997"/>
              <a:gd name="connsiteX885" fmla="*/ 5932354 w 12188819"/>
              <a:gd name="connsiteY885" fmla="*/ 6446927 h 6857997"/>
              <a:gd name="connsiteX886" fmla="*/ 5932354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9 w 12188819"/>
              <a:gd name="connsiteY891" fmla="*/ 6456694 h 6857997"/>
              <a:gd name="connsiteX892" fmla="*/ 5963609 w 12188819"/>
              <a:gd name="connsiteY892" fmla="*/ 6446927 h 6857997"/>
              <a:gd name="connsiteX893" fmla="*/ 5951748 w 12188819"/>
              <a:gd name="connsiteY893" fmla="*/ 6446927 h 6857997"/>
              <a:gd name="connsiteX894" fmla="*/ 5951748 w 12188819"/>
              <a:gd name="connsiteY894" fmla="*/ 6440090 h 6857997"/>
              <a:gd name="connsiteX895" fmla="*/ 5953737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1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8 w 12188819"/>
              <a:gd name="connsiteY916" fmla="*/ 6416929 h 6857997"/>
              <a:gd name="connsiteX917" fmla="*/ 5737087 w 12188819"/>
              <a:gd name="connsiteY917" fmla="*/ 6422897 h 6857997"/>
              <a:gd name="connsiteX918" fmla="*/ 5722806 w 12188819"/>
              <a:gd name="connsiteY918" fmla="*/ 6440559 h 6857997"/>
              <a:gd name="connsiteX919" fmla="*/ 5717534 w 12188819"/>
              <a:gd name="connsiteY919" fmla="*/ 6469146 h 6857997"/>
              <a:gd name="connsiteX920" fmla="*/ 5722801 w 12188819"/>
              <a:gd name="connsiteY920" fmla="*/ 6498815 h 6857997"/>
              <a:gd name="connsiteX921" fmla="*/ 5736335 w 12188819"/>
              <a:gd name="connsiteY921" fmla="*/ 6517070 h 6857997"/>
              <a:gd name="connsiteX922" fmla="*/ 5756253 w 12188819"/>
              <a:gd name="connsiteY922" fmla="*/ 6522759 h 6857997"/>
              <a:gd name="connsiteX923" fmla="*/ 5778751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4 w 12188819"/>
              <a:gd name="connsiteY927" fmla="*/ 6511179 h 6857997"/>
              <a:gd name="connsiteX928" fmla="*/ 5736370 w 12188819"/>
              <a:gd name="connsiteY928" fmla="*/ 6500671 h 6857997"/>
              <a:gd name="connsiteX929" fmla="*/ 5728975 w 12188819"/>
              <a:gd name="connsiteY929" fmla="*/ 6469145 h 6857997"/>
              <a:gd name="connsiteX930" fmla="*/ 5732643 w 12188819"/>
              <a:gd name="connsiteY930" fmla="*/ 6446175 h 6857997"/>
              <a:gd name="connsiteX931" fmla="*/ 5742459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8 w 12188819"/>
              <a:gd name="connsiteY935" fmla="*/ 6424480 h 6857997"/>
              <a:gd name="connsiteX936" fmla="*/ 5757198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6857997 h 6857997"/>
              <a:gd name="connsiteX1154" fmla="*/ 0 w 12188819"/>
              <a:gd name="connsiteY1154" fmla="*/ 6857997 h 6857997"/>
              <a:gd name="connsiteX1155" fmla="*/ 0 w 12188819"/>
              <a:gd name="connsiteY1155" fmla="*/ 6237284 h 6857997"/>
              <a:gd name="connsiteX1156" fmla="*/ 6095994 w 12188819"/>
              <a:gd name="connsiteY1156" fmla="*/ 6237284 h 6857997"/>
              <a:gd name="connsiteX1157" fmla="*/ 6095994 w 12188819"/>
              <a:gd name="connsiteY1157" fmla="*/ 3141659 h 6857997"/>
              <a:gd name="connsiteX1158" fmla="*/ 0 w 12188819"/>
              <a:gd name="connsiteY1158" fmla="*/ 3141659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8"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2"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7" y="6512365"/>
                  <a:pt x="5820630" y="6510025"/>
                  <a:pt x="5817143"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2"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2"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4"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9"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1"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6" y="6445252"/>
                  <a:pt x="5900527" y="6445252"/>
                </a:cubicBezTo>
                <a:close/>
                <a:moveTo>
                  <a:pt x="5829839" y="6445252"/>
                </a:moveTo>
                <a:cubicBezTo>
                  <a:pt x="5821608" y="6445252"/>
                  <a:pt x="5814806" y="6448508"/>
                  <a:pt x="5809434" y="6455019"/>
                </a:cubicBezTo>
                <a:cubicBezTo>
                  <a:pt x="5804062" y="6461531"/>
                  <a:pt x="5801377" y="6471181"/>
                  <a:pt x="5801377" y="6483971"/>
                </a:cubicBezTo>
                <a:cubicBezTo>
                  <a:pt x="5801377" y="6496714"/>
                  <a:pt x="5804085" y="6506353"/>
                  <a:pt x="5809503" y="6512888"/>
                </a:cubicBezTo>
                <a:cubicBezTo>
                  <a:pt x="5814921" y="6519422"/>
                  <a:pt x="5821701" y="6522690"/>
                  <a:pt x="5829839" y="6522690"/>
                </a:cubicBezTo>
                <a:cubicBezTo>
                  <a:pt x="5838119" y="6522690"/>
                  <a:pt x="5844931" y="6519434"/>
                  <a:pt x="5850280" y="6512923"/>
                </a:cubicBezTo>
                <a:cubicBezTo>
                  <a:pt x="5855629"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4" y="6416998"/>
                  <a:pt x="5951368" y="6417766"/>
                  <a:pt x="5948873"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9" y="6456694"/>
                </a:lnTo>
                <a:lnTo>
                  <a:pt x="5963609" y="6446927"/>
                </a:lnTo>
                <a:lnTo>
                  <a:pt x="5951748" y="6446927"/>
                </a:lnTo>
                <a:lnTo>
                  <a:pt x="5951748" y="6440090"/>
                </a:lnTo>
                <a:cubicBezTo>
                  <a:pt x="5951748" y="6435579"/>
                  <a:pt x="5952411" y="6432521"/>
                  <a:pt x="5953737"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8" y="6520863"/>
                  <a:pt x="5748486" y="6522759"/>
                  <a:pt x="5756253" y="6522759"/>
                </a:cubicBezTo>
                <a:cubicBezTo>
                  <a:pt x="5765090" y="6522759"/>
                  <a:pt x="5772590" y="6519934"/>
                  <a:pt x="5778751" y="6514283"/>
                </a:cubicBezTo>
                <a:cubicBezTo>
                  <a:pt x="5784915"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2" y="6493665"/>
                  <a:pt x="5728975" y="6483157"/>
                  <a:pt x="5728975" y="6469145"/>
                </a:cubicBezTo>
                <a:cubicBezTo>
                  <a:pt x="5728975" y="6459883"/>
                  <a:pt x="5730198" y="6452226"/>
                  <a:pt x="5732643" y="6446175"/>
                </a:cubicBezTo>
                <a:cubicBezTo>
                  <a:pt x="5735088" y="6440123"/>
                  <a:pt x="5738360" y="6435666"/>
                  <a:pt x="5742459"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8" y="6424480"/>
                </a:cubicBezTo>
                <a:cubicBezTo>
                  <a:pt x="5772259" y="6419446"/>
                  <a:pt x="5765298" y="6416929"/>
                  <a:pt x="5757198"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lnTo>
                  <a:pt x="0" y="6237284"/>
                </a:lnTo>
                <a:lnTo>
                  <a:pt x="6095994" y="6237284"/>
                </a:lnTo>
                <a:lnTo>
                  <a:pt x="6095994" y="3141659"/>
                </a:lnTo>
                <a:lnTo>
                  <a:pt x="0" y="3141659"/>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32529438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Text (righ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655194A6-C5F3-4B72-BA38-14EABC8887B2}"/>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en-US"/>
              <a:t>Click icon to add picture</a:t>
            </a:r>
            <a:endParaRPr lang="de-CH" noProof="0"/>
          </a:p>
        </p:txBody>
      </p:sp>
      <p:sp>
        <p:nvSpPr>
          <p:cNvPr id="4" name="Textplatzhalter 3"/>
          <p:cNvSpPr>
            <a:spLocks noGrp="1"/>
          </p:cNvSpPr>
          <p:nvPr>
            <p:ph type="body" sz="quarter" idx="10" hasCustomPrompt="1"/>
          </p:nvPr>
        </p:nvSpPr>
        <p:spPr>
          <a:xfrm>
            <a:off x="6211925"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418818787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4B8017E0-7B42-4795-A00A-DFBF191C97A1}"/>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a:p>
        </p:txBody>
      </p:sp>
      <p:sp>
        <p:nvSpPr>
          <p:cNvPr id="4" name="Textplatzhalter 3"/>
          <p:cNvSpPr>
            <a:spLocks noGrp="1"/>
          </p:cNvSpPr>
          <p:nvPr>
            <p:ph type="body" sz="quarter" idx="10" hasCustomPrompt="1"/>
          </p:nvPr>
        </p:nvSpPr>
        <p:spPr>
          <a:xfrm>
            <a:off x="848931"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304909825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een, Title, Text">
    <p:bg>
      <p:bgPr>
        <a:solidFill>
          <a:srgbClr val="66CC33"/>
        </a:solidFill>
        <a:effectLst/>
      </p:bgPr>
    </p:bg>
    <p:spTree>
      <p:nvGrpSpPr>
        <p:cNvPr id="1" name=""/>
        <p:cNvGrpSpPr/>
        <p:nvPr/>
      </p:nvGrpSpPr>
      <p:grpSpPr>
        <a:xfrm>
          <a:off x="0" y="0"/>
          <a:ext cx="0" cy="0"/>
          <a:chOff x="0" y="0"/>
          <a:chExt cx="0" cy="0"/>
        </a:xfrm>
      </p:grpSpPr>
      <p:sp>
        <p:nvSpPr>
          <p:cNvPr id="10"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3" name="Textplatzhalter 3"/>
          <p:cNvSpPr>
            <a:spLocks noGrp="1"/>
          </p:cNvSpPr>
          <p:nvPr>
            <p:ph type="body" sz="quarter" idx="10" hasCustomPrompt="1"/>
          </p:nvPr>
        </p:nvSpPr>
        <p:spPr>
          <a:xfrm>
            <a:off x="839098" y="907362"/>
            <a:ext cx="10512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baseline="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pic>
        <p:nvPicPr>
          <p:cNvPr id="5" name="Grafik 4">
            <a:extLst>
              <a:ext uri="{FF2B5EF4-FFF2-40B4-BE49-F238E27FC236}">
                <a16:creationId xmlns:a16="http://schemas.microsoft.com/office/drawing/2014/main" id="{AF036631-25D0-4B0E-A1BD-EBA4A12F99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Tree>
    <p:extLst>
      <p:ext uri="{BB962C8B-B14F-4D97-AF65-F5344CB8AC3E}">
        <p14:creationId xmlns:p14="http://schemas.microsoft.com/office/powerpoint/2010/main" val="1328128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93" name="Gruppieren 92">
            <a:extLst>
              <a:ext uri="{FF2B5EF4-FFF2-40B4-BE49-F238E27FC236}">
                <a16:creationId xmlns:a16="http://schemas.microsoft.com/office/drawing/2014/main" id="{D2D03C95-7237-41B3-B3C3-68EDD984A661}"/>
              </a:ext>
            </a:extLst>
          </p:cNvPr>
          <p:cNvGrpSpPr/>
          <p:nvPr userDrawn="1"/>
        </p:nvGrpSpPr>
        <p:grpSpPr>
          <a:xfrm>
            <a:off x="731952" y="3106800"/>
            <a:ext cx="11457648" cy="3590562"/>
            <a:chOff x="731952" y="3106800"/>
            <a:chExt cx="11457648" cy="3590562"/>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5" name="Bildplatzhalter 94">
            <a:extLst>
              <a:ext uri="{FF2B5EF4-FFF2-40B4-BE49-F238E27FC236}">
                <a16:creationId xmlns:a16="http://schemas.microsoft.com/office/drawing/2014/main" id="{42A3661C-BE92-49BD-9361-69A1388F129F}"/>
              </a:ext>
            </a:extLst>
          </p:cNvPr>
          <p:cNvSpPr>
            <a:spLocks noGrp="1"/>
          </p:cNvSpPr>
          <p:nvPr>
            <p:ph type="pic" sz="quarter" idx="14"/>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3 w 12188819"/>
              <a:gd name="connsiteY231" fmla="*/ 6462728 h 6857997"/>
              <a:gd name="connsiteX232" fmla="*/ 6035359 w 12188819"/>
              <a:gd name="connsiteY232" fmla="*/ 6485436 h 6857997"/>
              <a:gd name="connsiteX233" fmla="*/ 6030543 w 12188819"/>
              <a:gd name="connsiteY233" fmla="*/ 6505667 h 6857997"/>
              <a:gd name="connsiteX234" fmla="*/ 6019164 w 12188819"/>
              <a:gd name="connsiteY234" fmla="*/ 6512365 h 6857997"/>
              <a:gd name="connsiteX235" fmla="*/ 6007541 w 12188819"/>
              <a:gd name="connsiteY235" fmla="*/ 6505388 h 6857997"/>
              <a:gd name="connsiteX236" fmla="*/ 6002550 w 12188819"/>
              <a:gd name="connsiteY236" fmla="*/ 6484041 h 6857997"/>
              <a:gd name="connsiteX237" fmla="*/ 6007227 w 12188819"/>
              <a:gd name="connsiteY237" fmla="*/ 6462449 h 6857997"/>
              <a:gd name="connsiteX238" fmla="*/ 6018396 w 12188819"/>
              <a:gd name="connsiteY238" fmla="*/ 6455577 h 6857997"/>
              <a:gd name="connsiteX239" fmla="*/ 5829561 w 12188819"/>
              <a:gd name="connsiteY239" fmla="*/ 6455577 h 6857997"/>
              <a:gd name="connsiteX240" fmla="*/ 5842536 w 12188819"/>
              <a:gd name="connsiteY240" fmla="*/ 6462597 h 6857997"/>
              <a:gd name="connsiteX241" fmla="*/ 5847769 w 12188819"/>
              <a:gd name="connsiteY241" fmla="*/ 6483936 h 6857997"/>
              <a:gd name="connsiteX242" fmla="*/ 5842571 w 12188819"/>
              <a:gd name="connsiteY242" fmla="*/ 6505275 h 6857997"/>
              <a:gd name="connsiteX243" fmla="*/ 5830118 w 12188819"/>
              <a:gd name="connsiteY243" fmla="*/ 6512365 h 6857997"/>
              <a:gd name="connsiteX244" fmla="*/ 5817142 w 12188819"/>
              <a:gd name="connsiteY244" fmla="*/ 6505345 h 6857997"/>
              <a:gd name="connsiteX245" fmla="*/ 5811910 w 12188819"/>
              <a:gd name="connsiteY245" fmla="*/ 6483936 h 6857997"/>
              <a:gd name="connsiteX246" fmla="*/ 5817072 w 12188819"/>
              <a:gd name="connsiteY246" fmla="*/ 6462632 h 6857997"/>
              <a:gd name="connsiteX247" fmla="*/ 5829561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4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1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4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70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3 w 12188819"/>
              <a:gd name="connsiteY428" fmla="*/ 6455019 h 6857997"/>
              <a:gd name="connsiteX429" fmla="*/ 5801376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2 w 12188819"/>
              <a:gd name="connsiteY808" fmla="*/ 6418742 h 6857997"/>
              <a:gd name="connsiteX809" fmla="*/ 6034362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2 w 12188819"/>
              <a:gd name="connsiteY880" fmla="*/ 6416998 h 6857997"/>
              <a:gd name="connsiteX881" fmla="*/ 5948872 w 12188819"/>
              <a:gd name="connsiteY881" fmla="*/ 6419301 h 6857997"/>
              <a:gd name="connsiteX882" fmla="*/ 5943312 w 12188819"/>
              <a:gd name="connsiteY882" fmla="*/ 6425963 h 6857997"/>
              <a:gd name="connsiteX883" fmla="*/ 5941493 w 12188819"/>
              <a:gd name="connsiteY883" fmla="*/ 6439044 h 6857997"/>
              <a:gd name="connsiteX884" fmla="*/ 5941493 w 12188819"/>
              <a:gd name="connsiteY884" fmla="*/ 6446927 h 6857997"/>
              <a:gd name="connsiteX885" fmla="*/ 5932355 w 12188819"/>
              <a:gd name="connsiteY885" fmla="*/ 6446927 h 6857997"/>
              <a:gd name="connsiteX886" fmla="*/ 5932355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8 w 12188819"/>
              <a:gd name="connsiteY891" fmla="*/ 6456694 h 6857997"/>
              <a:gd name="connsiteX892" fmla="*/ 5963608 w 12188819"/>
              <a:gd name="connsiteY892" fmla="*/ 6446927 h 6857997"/>
              <a:gd name="connsiteX893" fmla="*/ 5951748 w 12188819"/>
              <a:gd name="connsiteY893" fmla="*/ 6446927 h 6857997"/>
              <a:gd name="connsiteX894" fmla="*/ 5951748 w 12188819"/>
              <a:gd name="connsiteY894" fmla="*/ 6440090 h 6857997"/>
              <a:gd name="connsiteX895" fmla="*/ 5953736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2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9 w 12188819"/>
              <a:gd name="connsiteY916" fmla="*/ 6416929 h 6857997"/>
              <a:gd name="connsiteX917" fmla="*/ 5737087 w 12188819"/>
              <a:gd name="connsiteY917" fmla="*/ 6422897 h 6857997"/>
              <a:gd name="connsiteX918" fmla="*/ 5722806 w 12188819"/>
              <a:gd name="connsiteY918" fmla="*/ 6440559 h 6857997"/>
              <a:gd name="connsiteX919" fmla="*/ 5717535 w 12188819"/>
              <a:gd name="connsiteY919" fmla="*/ 6469146 h 6857997"/>
              <a:gd name="connsiteX920" fmla="*/ 5722801 w 12188819"/>
              <a:gd name="connsiteY920" fmla="*/ 6498815 h 6857997"/>
              <a:gd name="connsiteX921" fmla="*/ 5736336 w 12188819"/>
              <a:gd name="connsiteY921" fmla="*/ 6517070 h 6857997"/>
              <a:gd name="connsiteX922" fmla="*/ 5756253 w 12188819"/>
              <a:gd name="connsiteY922" fmla="*/ 6522759 h 6857997"/>
              <a:gd name="connsiteX923" fmla="*/ 5778752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5 w 12188819"/>
              <a:gd name="connsiteY927" fmla="*/ 6511179 h 6857997"/>
              <a:gd name="connsiteX928" fmla="*/ 5736370 w 12188819"/>
              <a:gd name="connsiteY928" fmla="*/ 6500671 h 6857997"/>
              <a:gd name="connsiteX929" fmla="*/ 5728975 w 12188819"/>
              <a:gd name="connsiteY929" fmla="*/ 6469145 h 6857997"/>
              <a:gd name="connsiteX930" fmla="*/ 5732644 w 12188819"/>
              <a:gd name="connsiteY930" fmla="*/ 6446175 h 6857997"/>
              <a:gd name="connsiteX931" fmla="*/ 5742458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7 w 12188819"/>
              <a:gd name="connsiteY935" fmla="*/ 6424480 h 6857997"/>
              <a:gd name="connsiteX936" fmla="*/ 5757199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3141659 h 6857997"/>
              <a:gd name="connsiteX1154" fmla="*/ 6095995 w 12188819"/>
              <a:gd name="connsiteY1154" fmla="*/ 3141659 h 6857997"/>
              <a:gd name="connsiteX1155" fmla="*/ 6095995 w 12188819"/>
              <a:gd name="connsiteY1155" fmla="*/ 6237284 h 6857997"/>
              <a:gd name="connsiteX1156" fmla="*/ 12188819 w 12188819"/>
              <a:gd name="connsiteY1156" fmla="*/ 6237284 h 6857997"/>
              <a:gd name="connsiteX1157" fmla="*/ 12188819 w 12188819"/>
              <a:gd name="connsiteY1157" fmla="*/ 6857997 h 6857997"/>
              <a:gd name="connsiteX1158" fmla="*/ 0 w 12188819"/>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3" y="6462728"/>
                </a:cubicBezTo>
                <a:cubicBezTo>
                  <a:pt x="6033753" y="6467495"/>
                  <a:pt x="6035359" y="6475065"/>
                  <a:pt x="6035359" y="6485436"/>
                </a:cubicBezTo>
                <a:cubicBezTo>
                  <a:pt x="6035359" y="6494459"/>
                  <a:pt x="6033753" y="6501203"/>
                  <a:pt x="6030543" y="6505667"/>
                </a:cubicBezTo>
                <a:cubicBezTo>
                  <a:pt x="6027331" y="6510132"/>
                  <a:pt x="6023538" y="6512365"/>
                  <a:pt x="6019164" y="6512365"/>
                </a:cubicBezTo>
                <a:cubicBezTo>
                  <a:pt x="6014743" y="6512365"/>
                  <a:pt x="6010869" y="6510039"/>
                  <a:pt x="6007541" y="6505388"/>
                </a:cubicBezTo>
                <a:cubicBezTo>
                  <a:pt x="6004213" y="6500737"/>
                  <a:pt x="6002550" y="6493622"/>
                  <a:pt x="6002550" y="6484041"/>
                </a:cubicBezTo>
                <a:cubicBezTo>
                  <a:pt x="6002550" y="6474227"/>
                  <a:pt x="6004109" y="6467030"/>
                  <a:pt x="6007227" y="6462449"/>
                </a:cubicBezTo>
                <a:cubicBezTo>
                  <a:pt x="6010345" y="6457868"/>
                  <a:pt x="6014068" y="6455577"/>
                  <a:pt x="6018396" y="6455577"/>
                </a:cubicBezTo>
                <a:close/>
                <a:moveTo>
                  <a:pt x="5829561" y="6455577"/>
                </a:moveTo>
                <a:cubicBezTo>
                  <a:pt x="5834723" y="6455577"/>
                  <a:pt x="5839048" y="6457917"/>
                  <a:pt x="5842536" y="6462597"/>
                </a:cubicBezTo>
                <a:cubicBezTo>
                  <a:pt x="5846024" y="6467277"/>
                  <a:pt x="5847769" y="6474390"/>
                  <a:pt x="5847769" y="6483936"/>
                </a:cubicBezTo>
                <a:cubicBezTo>
                  <a:pt x="5847769" y="6493436"/>
                  <a:pt x="5846036" y="6500548"/>
                  <a:pt x="5842571" y="6505275"/>
                </a:cubicBezTo>
                <a:cubicBezTo>
                  <a:pt x="5839106" y="6510001"/>
                  <a:pt x="5834956" y="6512365"/>
                  <a:pt x="5830118" y="6512365"/>
                </a:cubicBezTo>
                <a:cubicBezTo>
                  <a:pt x="5824957" y="6512365"/>
                  <a:pt x="5820630" y="6510025"/>
                  <a:pt x="5817142" y="6505345"/>
                </a:cubicBezTo>
                <a:cubicBezTo>
                  <a:pt x="5813655" y="6500665"/>
                  <a:pt x="5811910" y="6493529"/>
                  <a:pt x="5811910" y="6483936"/>
                </a:cubicBezTo>
                <a:cubicBezTo>
                  <a:pt x="5811910" y="6474437"/>
                  <a:pt x="5813631" y="6467335"/>
                  <a:pt x="5817072" y="6462632"/>
                </a:cubicBezTo>
                <a:cubicBezTo>
                  <a:pt x="5820514" y="6457929"/>
                  <a:pt x="5824677" y="6455577"/>
                  <a:pt x="5829561"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4"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9"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4"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3" y="6456066"/>
                  <a:pt x="5903293" y="6456752"/>
                  <a:pt x="5905270" y="6458126"/>
                </a:cubicBezTo>
                <a:cubicBezTo>
                  <a:pt x="5907247"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7"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6" y="6506353"/>
                  <a:pt x="5809503" y="6512888"/>
                </a:cubicBezTo>
                <a:cubicBezTo>
                  <a:pt x="5814922"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2" y="6418742"/>
                </a:moveTo>
                <a:lnTo>
                  <a:pt x="6034362"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4"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2" y="6416998"/>
                </a:moveTo>
                <a:cubicBezTo>
                  <a:pt x="5954503" y="6416998"/>
                  <a:pt x="5951368" y="6417766"/>
                  <a:pt x="5948872" y="6419301"/>
                </a:cubicBezTo>
                <a:cubicBezTo>
                  <a:pt x="5946378" y="6420835"/>
                  <a:pt x="5944525" y="6423056"/>
                  <a:pt x="5943312" y="6425963"/>
                </a:cubicBezTo>
                <a:cubicBezTo>
                  <a:pt x="5942099" y="6428870"/>
                  <a:pt x="5941493" y="6433230"/>
                  <a:pt x="5941493" y="6439044"/>
                </a:cubicBezTo>
                <a:lnTo>
                  <a:pt x="5941493" y="6446927"/>
                </a:lnTo>
                <a:lnTo>
                  <a:pt x="5932355" y="6446927"/>
                </a:lnTo>
                <a:lnTo>
                  <a:pt x="5932355"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1"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2"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2" y="6418918"/>
                  <a:pt x="5737087" y="6422897"/>
                </a:cubicBezTo>
                <a:cubicBezTo>
                  <a:pt x="5731081" y="6426876"/>
                  <a:pt x="5726322" y="6432763"/>
                  <a:pt x="5722806" y="6440559"/>
                </a:cubicBezTo>
                <a:cubicBezTo>
                  <a:pt x="5719292" y="6448354"/>
                  <a:pt x="5717535" y="6457883"/>
                  <a:pt x="5717535" y="6469146"/>
                </a:cubicBezTo>
                <a:cubicBezTo>
                  <a:pt x="5717535" y="6480548"/>
                  <a:pt x="5719290" y="6490438"/>
                  <a:pt x="5722801" y="6498815"/>
                </a:cubicBezTo>
                <a:cubicBezTo>
                  <a:pt x="5726313" y="6507192"/>
                  <a:pt x="5730824" y="6513277"/>
                  <a:pt x="5736336" y="6517070"/>
                </a:cubicBezTo>
                <a:cubicBezTo>
                  <a:pt x="5741847" y="6520863"/>
                  <a:pt x="5748486" y="6522759"/>
                  <a:pt x="5756253" y="6522759"/>
                </a:cubicBezTo>
                <a:cubicBezTo>
                  <a:pt x="5765090" y="6522759"/>
                  <a:pt x="5772590" y="6519934"/>
                  <a:pt x="5778752" y="6514283"/>
                </a:cubicBezTo>
                <a:cubicBezTo>
                  <a:pt x="5784914" y="6508632"/>
                  <a:pt x="5789229" y="6500063"/>
                  <a:pt x="5791693" y="6488575"/>
                </a:cubicBezTo>
                <a:lnTo>
                  <a:pt x="5780530" y="6485157"/>
                </a:lnTo>
                <a:cubicBezTo>
                  <a:pt x="5779042" y="6493901"/>
                  <a:pt x="5776101" y="6500423"/>
                  <a:pt x="5771705" y="6504726"/>
                </a:cubicBezTo>
                <a:cubicBezTo>
                  <a:pt x="5767311" y="6509028"/>
                  <a:pt x="5762090" y="6511179"/>
                  <a:pt x="5756045" y="6511179"/>
                </a:cubicBezTo>
                <a:cubicBezTo>
                  <a:pt x="5747858" y="6511179"/>
                  <a:pt x="5741301" y="6507676"/>
                  <a:pt x="5736370" y="6500671"/>
                </a:cubicBezTo>
                <a:cubicBezTo>
                  <a:pt x="5731441" y="6493665"/>
                  <a:pt x="5728975" y="6483157"/>
                  <a:pt x="5728975" y="6469145"/>
                </a:cubicBezTo>
                <a:cubicBezTo>
                  <a:pt x="5728975" y="6459883"/>
                  <a:pt x="5730198" y="6452226"/>
                  <a:pt x="5732644"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3141659"/>
                </a:lnTo>
                <a:lnTo>
                  <a:pt x="6095995" y="3141659"/>
                </a:lnTo>
                <a:lnTo>
                  <a:pt x="6095995" y="6237284"/>
                </a:lnTo>
                <a:lnTo>
                  <a:pt x="12188819" y="6237284"/>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4969342"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0" name="Textplatzhalter 2"/>
          <p:cNvSpPr>
            <a:spLocks noGrp="1"/>
          </p:cNvSpPr>
          <p:nvPr userDrawn="1">
            <p:ph type="body" sz="quarter" idx="11" hasCustomPrompt="1"/>
          </p:nvPr>
        </p:nvSpPr>
        <p:spPr>
          <a:xfrm>
            <a:off x="6395432" y="3994289"/>
            <a:ext cx="4956781" cy="1980000"/>
          </a:xfrm>
        </p:spPr>
        <p:txBody>
          <a:bodyPr/>
          <a:lstStyle>
            <a:lvl1pPr>
              <a:defRPr baseline="0">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userDrawn="1">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39391282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3962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76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US">
                <a:solidFill>
                  <a:schemeClr val="bg1"/>
                </a:solidFill>
              </a:rPr>
              <a:t>www.sensirion.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0900" y="2464725"/>
            <a:ext cx="6961858" cy="1202400"/>
          </a:xfrm>
          <a:prstGeom prst="rect">
            <a:avLst/>
          </a:prstGeom>
        </p:spPr>
      </p:pic>
    </p:spTree>
    <p:extLst>
      <p:ext uri="{BB962C8B-B14F-4D97-AF65-F5344CB8AC3E}">
        <p14:creationId xmlns:p14="http://schemas.microsoft.com/office/powerpoint/2010/main" val="34438329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CH"/>
          </a:p>
        </p:txBody>
      </p:sp>
      <p:sp>
        <p:nvSpPr>
          <p:cNvPr id="3" name="Inhaltsplatzhalt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019355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6755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a:solidFill>
                  <a:schemeClr val="tx1"/>
                </a:solidFill>
              </a:defRPr>
            </a:lvl1pPr>
          </a:lstStyle>
          <a:p>
            <a:r>
              <a:rPr lang="en-GB"/>
              <a:t>Add Title</a:t>
            </a:r>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5256213" cy="306000"/>
          </a:xfrm>
        </p:spPr>
        <p:txBody>
          <a:bodyPr/>
          <a:lstStyle>
            <a:lvl1pPr>
              <a:spcBef>
                <a:spcPts val="0"/>
              </a:spcBef>
              <a:defRPr/>
            </a:lvl1pPr>
          </a:lstStyle>
          <a:p>
            <a:pPr lvl="0"/>
            <a:r>
              <a:rPr lang="en-US"/>
              <a:t>First Name Last Name, Job Function</a:t>
            </a:r>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5256213" cy="306000"/>
          </a:xfrm>
        </p:spPr>
        <p:txBody>
          <a:bodyPr/>
          <a:lstStyle>
            <a:lvl1pPr>
              <a:spcBef>
                <a:spcPts val="0"/>
              </a:spcBef>
              <a:defRPr/>
            </a:lvl1pPr>
          </a:lstStyle>
          <a:p>
            <a:pPr lvl="0"/>
            <a:r>
              <a:rPr lang="en-US"/>
              <a:t>City Country, Month Year</a:t>
            </a:r>
          </a:p>
        </p:txBody>
      </p:sp>
    </p:spTree>
    <p:extLst>
      <p:ext uri="{BB962C8B-B14F-4D97-AF65-F5344CB8AC3E}">
        <p14:creationId xmlns:p14="http://schemas.microsoft.com/office/powerpoint/2010/main" val="16615196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5" name="Textplatzhalter 3"/>
          <p:cNvSpPr>
            <a:spLocks noGrp="1"/>
          </p:cNvSpPr>
          <p:nvPr>
            <p:ph type="body" sz="quarter" idx="10" hasCustomPrompt="1"/>
          </p:nvPr>
        </p:nvSpPr>
        <p:spPr>
          <a:xfrm>
            <a:off x="848931" y="917195"/>
            <a:ext cx="10539793" cy="5320093"/>
          </a:xfrm>
        </p:spPr>
        <p:txBody>
          <a:bodyPr/>
          <a:lstStyle>
            <a:lvl1pPr marL="0" indent="0">
              <a:buFontTx/>
              <a:buNone/>
              <a:defRPr b="0"/>
            </a:lvl1pPr>
            <a:lvl2pPr marL="216000" indent="-216000">
              <a:buSzPct val="100000"/>
              <a:defRPr/>
            </a:lvl2pPr>
            <a:lvl3pPr marL="720000" indent="-216000">
              <a:spcBef>
                <a:spcPts val="900"/>
              </a:spcBef>
              <a:buSzPct val="90000"/>
              <a:defRPr baseline="0"/>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Tree>
    <p:extLst>
      <p:ext uri="{BB962C8B-B14F-4D97-AF65-F5344CB8AC3E}">
        <p14:creationId xmlns:p14="http://schemas.microsoft.com/office/powerpoint/2010/main" val="19795885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Text, Picture ">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9"/>
            <a:ext cx="5247068" cy="5322889"/>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p:nvPr>
        </p:nvSpPr>
        <p:spPr>
          <a:xfrm>
            <a:off x="6105145" y="908050"/>
            <a:ext cx="5271939" cy="5329238"/>
          </a:xfrm>
        </p:spPr>
        <p:txBody>
          <a:bodyPr/>
          <a:lstStyle>
            <a:lvl1pPr marL="0" indent="0">
              <a:buFontTx/>
              <a:buNone/>
              <a:defRPr>
                <a:solidFill>
                  <a:schemeClr val="tx1"/>
                </a:solidFill>
              </a:defRPr>
            </a:lvl1pPr>
          </a:lstStyle>
          <a:p>
            <a:r>
              <a:rPr lang="en-US"/>
              <a:t>Click icon to add picture</a:t>
            </a:r>
            <a:endParaRPr lang="en-GB"/>
          </a:p>
        </p:txBody>
      </p:sp>
      <p:sp>
        <p:nvSpPr>
          <p:cNvPr id="7"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420229485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GB" noProof="0"/>
              <a:t>Add Title</a:t>
            </a:r>
          </a:p>
        </p:txBody>
      </p:sp>
    </p:spTree>
    <p:extLst>
      <p:ext uri="{BB962C8B-B14F-4D97-AF65-F5344CB8AC3E}">
        <p14:creationId xmlns:p14="http://schemas.microsoft.com/office/powerpoint/2010/main" val="10703205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Picture (big) and Text Box (right)">
    <p:spTree>
      <p:nvGrpSpPr>
        <p:cNvPr id="1" name=""/>
        <p:cNvGrpSpPr/>
        <p:nvPr/>
      </p:nvGrpSpPr>
      <p:grpSpPr>
        <a:xfrm>
          <a:off x="0" y="0"/>
          <a:ext cx="0" cy="0"/>
          <a:chOff x="0" y="0"/>
          <a:chExt cx="0" cy="0"/>
        </a:xfrm>
      </p:grpSpPr>
      <p:sp>
        <p:nvSpPr>
          <p:cNvPr id="59" name="Bildplatzhalter 58">
            <a:extLst>
              <a:ext uri="{FF2B5EF4-FFF2-40B4-BE49-F238E27FC236}">
                <a16:creationId xmlns:a16="http://schemas.microsoft.com/office/drawing/2014/main" id="{A620675F-9407-4B72-9C29-9BA6F96CCDF1}"/>
              </a:ext>
            </a:extLst>
          </p:cNvPr>
          <p:cNvSpPr>
            <a:spLocks noGrp="1"/>
          </p:cNvSpPr>
          <p:nvPr userDrawn="1">
            <p:ph type="pic" sz="quarter" idx="14" hasCustomPrompt="1"/>
          </p:nvPr>
        </p:nvSpPr>
        <p:spPr>
          <a:xfrm>
            <a:off x="5" y="5"/>
            <a:ext cx="12191996" cy="6857997"/>
          </a:xfrm>
          <a:custGeom>
            <a:avLst/>
            <a:gdLst>
              <a:gd name="connsiteX0" fmla="*/ 11197257 w 12191996"/>
              <a:gd name="connsiteY0" fmla="*/ 6583359 h 6857997"/>
              <a:gd name="connsiteX1" fmla="*/ 11207745 w 12191996"/>
              <a:gd name="connsiteY1" fmla="*/ 6602409 h 6857997"/>
              <a:gd name="connsiteX2" fmla="*/ 11187108 w 12191996"/>
              <a:gd name="connsiteY2" fmla="*/ 6602409 h 6857997"/>
              <a:gd name="connsiteX3" fmla="*/ 11114083 w 12191996"/>
              <a:gd name="connsiteY3" fmla="*/ 6583359 h 6857997"/>
              <a:gd name="connsiteX4" fmla="*/ 11131338 w 12191996"/>
              <a:gd name="connsiteY4" fmla="*/ 6583359 h 6857997"/>
              <a:gd name="connsiteX5" fmla="*/ 11145833 w 12191996"/>
              <a:gd name="connsiteY5" fmla="*/ 6589709 h 6857997"/>
              <a:gd name="connsiteX6" fmla="*/ 11132374 w 12191996"/>
              <a:gd name="connsiteY6" fmla="*/ 6596059 h 6857997"/>
              <a:gd name="connsiteX7" fmla="*/ 11114083 w 12191996"/>
              <a:gd name="connsiteY7" fmla="*/ 6596059 h 6857997"/>
              <a:gd name="connsiteX8" fmla="*/ 10745783 w 12191996"/>
              <a:gd name="connsiteY8" fmla="*/ 6583359 h 6857997"/>
              <a:gd name="connsiteX9" fmla="*/ 10765350 w 12191996"/>
              <a:gd name="connsiteY9" fmla="*/ 6583359 h 6857997"/>
              <a:gd name="connsiteX10" fmla="*/ 10779120 w 12191996"/>
              <a:gd name="connsiteY10" fmla="*/ 6588747 h 6857997"/>
              <a:gd name="connsiteX11" fmla="*/ 10765350 w 12191996"/>
              <a:gd name="connsiteY11" fmla="*/ 6594472 h 6857997"/>
              <a:gd name="connsiteX12" fmla="*/ 10745783 w 12191996"/>
              <a:gd name="connsiteY12" fmla="*/ 6594472 h 6857997"/>
              <a:gd name="connsiteX13" fmla="*/ 10949955 w 12191996"/>
              <a:gd name="connsiteY13" fmla="*/ 6581771 h 6857997"/>
              <a:gd name="connsiteX14" fmla="*/ 10969620 w 12191996"/>
              <a:gd name="connsiteY14" fmla="*/ 6598623 h 6857997"/>
              <a:gd name="connsiteX15" fmla="*/ 10949955 w 12191996"/>
              <a:gd name="connsiteY15" fmla="*/ 6615109 h 6857997"/>
              <a:gd name="connsiteX16" fmla="*/ 10929933 w 12191996"/>
              <a:gd name="connsiteY16" fmla="*/ 6598257 h 6857997"/>
              <a:gd name="connsiteX17" fmla="*/ 10949955 w 12191996"/>
              <a:gd name="connsiteY17" fmla="*/ 6581771 h 6857997"/>
              <a:gd name="connsiteX18" fmla="*/ 10682898 w 12191996"/>
              <a:gd name="connsiteY18" fmla="*/ 6581771 h 6857997"/>
              <a:gd name="connsiteX19" fmla="*/ 10702920 w 12191996"/>
              <a:gd name="connsiteY19" fmla="*/ 6598623 h 6857997"/>
              <a:gd name="connsiteX20" fmla="*/ 10682898 w 12191996"/>
              <a:gd name="connsiteY20" fmla="*/ 6615109 h 6857997"/>
              <a:gd name="connsiteX21" fmla="*/ 10663233 w 12191996"/>
              <a:gd name="connsiteY21" fmla="*/ 6598257 h 6857997"/>
              <a:gd name="connsiteX22" fmla="*/ 10682898 w 12191996"/>
              <a:gd name="connsiteY22" fmla="*/ 6581771 h 6857997"/>
              <a:gd name="connsiteX23" fmla="*/ 11312520 w 12191996"/>
              <a:gd name="connsiteY23" fmla="*/ 6573834 h 6857997"/>
              <a:gd name="connsiteX24" fmla="*/ 11341079 w 12191996"/>
              <a:gd name="connsiteY24" fmla="*/ 6601258 h 6857997"/>
              <a:gd name="connsiteX25" fmla="*/ 11341079 w 12191996"/>
              <a:gd name="connsiteY25" fmla="*/ 6623047 h 6857997"/>
              <a:gd name="connsiteX26" fmla="*/ 11356624 w 12191996"/>
              <a:gd name="connsiteY26" fmla="*/ 6623047 h 6857997"/>
              <a:gd name="connsiteX27" fmla="*/ 11356624 w 12191996"/>
              <a:gd name="connsiteY27" fmla="*/ 6601258 h 6857997"/>
              <a:gd name="connsiteX28" fmla="*/ 11385545 w 12191996"/>
              <a:gd name="connsiteY28" fmla="*/ 6573834 h 6857997"/>
              <a:gd name="connsiteX29" fmla="*/ 11367470 w 12191996"/>
              <a:gd name="connsiteY29" fmla="*/ 6573834 h 6857997"/>
              <a:gd name="connsiteX30" fmla="*/ 11348671 w 12191996"/>
              <a:gd name="connsiteY30" fmla="*/ 6592618 h 6857997"/>
              <a:gd name="connsiteX31" fmla="*/ 11330234 w 12191996"/>
              <a:gd name="connsiteY31" fmla="*/ 6573834 h 6857997"/>
              <a:gd name="connsiteX32" fmla="*/ 11242670 w 12191996"/>
              <a:gd name="connsiteY32" fmla="*/ 6573834 h 6857997"/>
              <a:gd name="connsiteX33" fmla="*/ 11242670 w 12191996"/>
              <a:gd name="connsiteY33" fmla="*/ 6623047 h 6857997"/>
              <a:gd name="connsiteX34" fmla="*/ 11259156 w 12191996"/>
              <a:gd name="connsiteY34" fmla="*/ 6623047 h 6857997"/>
              <a:gd name="connsiteX35" fmla="*/ 11258423 w 12191996"/>
              <a:gd name="connsiteY35" fmla="*/ 6585856 h 6857997"/>
              <a:gd name="connsiteX36" fmla="*/ 11291028 w 12191996"/>
              <a:gd name="connsiteY36" fmla="*/ 6623047 h 6857997"/>
              <a:gd name="connsiteX37" fmla="*/ 11309345 w 12191996"/>
              <a:gd name="connsiteY37" fmla="*/ 6623047 h 6857997"/>
              <a:gd name="connsiteX38" fmla="*/ 11309345 w 12191996"/>
              <a:gd name="connsiteY38" fmla="*/ 6573834 h 6857997"/>
              <a:gd name="connsiteX39" fmla="*/ 11293226 w 12191996"/>
              <a:gd name="connsiteY39" fmla="*/ 6573834 h 6857997"/>
              <a:gd name="connsiteX40" fmla="*/ 11293958 w 12191996"/>
              <a:gd name="connsiteY40" fmla="*/ 6609147 h 6857997"/>
              <a:gd name="connsiteX41" fmla="*/ 11262819 w 12191996"/>
              <a:gd name="connsiteY41" fmla="*/ 6573834 h 6857997"/>
              <a:gd name="connsiteX42" fmla="*/ 11189997 w 12191996"/>
              <a:gd name="connsiteY42" fmla="*/ 6573834 h 6857997"/>
              <a:gd name="connsiteX43" fmla="*/ 11158533 w 12191996"/>
              <a:gd name="connsiteY43" fmla="*/ 6623047 h 6857997"/>
              <a:gd name="connsiteX44" fmla="*/ 11174980 w 12191996"/>
              <a:gd name="connsiteY44" fmla="*/ 6623047 h 6857997"/>
              <a:gd name="connsiteX45" fmla="*/ 11181773 w 12191996"/>
              <a:gd name="connsiteY45" fmla="*/ 6611401 h 6857997"/>
              <a:gd name="connsiteX46" fmla="*/ 11213595 w 12191996"/>
              <a:gd name="connsiteY46" fmla="*/ 6611401 h 6857997"/>
              <a:gd name="connsiteX47" fmla="*/ 11220388 w 12191996"/>
              <a:gd name="connsiteY47" fmla="*/ 6623047 h 6857997"/>
              <a:gd name="connsiteX48" fmla="*/ 11237908 w 12191996"/>
              <a:gd name="connsiteY48" fmla="*/ 6623047 h 6857997"/>
              <a:gd name="connsiteX49" fmla="*/ 11206444 w 12191996"/>
              <a:gd name="connsiteY49" fmla="*/ 6573834 h 6857997"/>
              <a:gd name="connsiteX50" fmla="*/ 11098208 w 12191996"/>
              <a:gd name="connsiteY50" fmla="*/ 6573834 h 6857997"/>
              <a:gd name="connsiteX51" fmla="*/ 11098208 w 12191996"/>
              <a:gd name="connsiteY51" fmla="*/ 6623047 h 6857997"/>
              <a:gd name="connsiteX52" fmla="*/ 11113502 w 12191996"/>
              <a:gd name="connsiteY52" fmla="*/ 6623047 h 6857997"/>
              <a:gd name="connsiteX53" fmla="*/ 11113502 w 12191996"/>
              <a:gd name="connsiteY53" fmla="*/ 6605766 h 6857997"/>
              <a:gd name="connsiteX54" fmla="*/ 11132352 w 12191996"/>
              <a:gd name="connsiteY54" fmla="*/ 6605766 h 6857997"/>
              <a:gd name="connsiteX55" fmla="*/ 11154759 w 12191996"/>
              <a:gd name="connsiteY55" fmla="*/ 6602761 h 6857997"/>
              <a:gd name="connsiteX56" fmla="*/ 11163295 w 12191996"/>
              <a:gd name="connsiteY56" fmla="*/ 6589988 h 6857997"/>
              <a:gd name="connsiteX57" fmla="*/ 11153336 w 12191996"/>
              <a:gd name="connsiteY57" fmla="*/ 6576464 h 6857997"/>
              <a:gd name="connsiteX58" fmla="*/ 11131641 w 12191996"/>
              <a:gd name="connsiteY58" fmla="*/ 6573834 h 6857997"/>
              <a:gd name="connsiteX59" fmla="*/ 10998195 w 12191996"/>
              <a:gd name="connsiteY59" fmla="*/ 6573834 h 6857997"/>
              <a:gd name="connsiteX60" fmla="*/ 10998195 w 12191996"/>
              <a:gd name="connsiteY60" fmla="*/ 6623047 h 6857997"/>
              <a:gd name="connsiteX61" fmla="*/ 11014084 w 12191996"/>
              <a:gd name="connsiteY61" fmla="*/ 6623047 h 6857997"/>
              <a:gd name="connsiteX62" fmla="*/ 11012639 w 12191996"/>
              <a:gd name="connsiteY62" fmla="*/ 6584353 h 6857997"/>
              <a:gd name="connsiteX63" fmla="*/ 11032500 w 12191996"/>
              <a:gd name="connsiteY63" fmla="*/ 6623047 h 6857997"/>
              <a:gd name="connsiteX64" fmla="*/ 11049111 w 12191996"/>
              <a:gd name="connsiteY64" fmla="*/ 6623047 h 6857997"/>
              <a:gd name="connsiteX65" fmla="*/ 11068249 w 12191996"/>
              <a:gd name="connsiteY65" fmla="*/ 6584729 h 6857997"/>
              <a:gd name="connsiteX66" fmla="*/ 11066805 w 12191996"/>
              <a:gd name="connsiteY66" fmla="*/ 6623047 h 6857997"/>
              <a:gd name="connsiteX67" fmla="*/ 11082332 w 12191996"/>
              <a:gd name="connsiteY67" fmla="*/ 6623047 h 6857997"/>
              <a:gd name="connsiteX68" fmla="*/ 11082332 w 12191996"/>
              <a:gd name="connsiteY68" fmla="*/ 6573834 h 6857997"/>
              <a:gd name="connsiteX69" fmla="*/ 11059221 w 12191996"/>
              <a:gd name="connsiteY69" fmla="*/ 6573834 h 6857997"/>
              <a:gd name="connsiteX70" fmla="*/ 11040444 w 12191996"/>
              <a:gd name="connsiteY70" fmla="*/ 6611401 h 6857997"/>
              <a:gd name="connsiteX71" fmla="*/ 11021306 w 12191996"/>
              <a:gd name="connsiteY71" fmla="*/ 6573834 h 6857997"/>
              <a:gd name="connsiteX72" fmla="*/ 10949776 w 12191996"/>
              <a:gd name="connsiteY72" fmla="*/ 6573834 h 6857997"/>
              <a:gd name="connsiteX73" fmla="*/ 10912470 w 12191996"/>
              <a:gd name="connsiteY73" fmla="*/ 6597717 h 6857997"/>
              <a:gd name="connsiteX74" fmla="*/ 10949776 w 12191996"/>
              <a:gd name="connsiteY74" fmla="*/ 6623047 h 6857997"/>
              <a:gd name="connsiteX75" fmla="*/ 10987082 w 12191996"/>
              <a:gd name="connsiteY75" fmla="*/ 6598441 h 6857997"/>
              <a:gd name="connsiteX76" fmla="*/ 10949776 w 12191996"/>
              <a:gd name="connsiteY76" fmla="*/ 6573834 h 6857997"/>
              <a:gd name="connsiteX77" fmla="*/ 10879898 w 12191996"/>
              <a:gd name="connsiteY77" fmla="*/ 6573834 h 6857997"/>
              <a:gd name="connsiteX78" fmla="*/ 10844208 w 12191996"/>
              <a:gd name="connsiteY78" fmla="*/ 6599380 h 6857997"/>
              <a:gd name="connsiteX79" fmla="*/ 10855862 w 12191996"/>
              <a:gd name="connsiteY79" fmla="*/ 6618539 h 6857997"/>
              <a:gd name="connsiteX80" fmla="*/ 10879170 w 12191996"/>
              <a:gd name="connsiteY80" fmla="*/ 6623047 h 6857997"/>
              <a:gd name="connsiteX81" fmla="*/ 10906120 w 12191996"/>
              <a:gd name="connsiteY81" fmla="*/ 6623047 h 6857997"/>
              <a:gd name="connsiteX82" fmla="*/ 10906120 w 12191996"/>
              <a:gd name="connsiteY82" fmla="*/ 6614407 h 6857997"/>
              <a:gd name="connsiteX83" fmla="*/ 10879898 w 12191996"/>
              <a:gd name="connsiteY83" fmla="*/ 6614407 h 6857997"/>
              <a:gd name="connsiteX84" fmla="*/ 10861689 w 12191996"/>
              <a:gd name="connsiteY84" fmla="*/ 6599756 h 6857997"/>
              <a:gd name="connsiteX85" fmla="*/ 10879898 w 12191996"/>
              <a:gd name="connsiteY85" fmla="*/ 6582475 h 6857997"/>
              <a:gd name="connsiteX86" fmla="*/ 10906120 w 12191996"/>
              <a:gd name="connsiteY86" fmla="*/ 6582475 h 6857997"/>
              <a:gd name="connsiteX87" fmla="*/ 10906120 w 12191996"/>
              <a:gd name="connsiteY87" fmla="*/ 6573834 h 6857997"/>
              <a:gd name="connsiteX88" fmla="*/ 10729908 w 12191996"/>
              <a:gd name="connsiteY88" fmla="*/ 6573834 h 6857997"/>
              <a:gd name="connsiteX89" fmla="*/ 10729908 w 12191996"/>
              <a:gd name="connsiteY89" fmla="*/ 6623047 h 6857997"/>
              <a:gd name="connsiteX90" fmla="*/ 10745800 w 12191996"/>
              <a:gd name="connsiteY90" fmla="*/ 6623047 h 6857997"/>
              <a:gd name="connsiteX91" fmla="*/ 10745800 w 12191996"/>
              <a:gd name="connsiteY91" fmla="*/ 6603888 h 6857997"/>
              <a:gd name="connsiteX92" fmla="*/ 10765018 w 12191996"/>
              <a:gd name="connsiteY92" fmla="*/ 6603888 h 6857997"/>
              <a:gd name="connsiteX93" fmla="*/ 10781649 w 12191996"/>
              <a:gd name="connsiteY93" fmla="*/ 6623047 h 6857997"/>
              <a:gd name="connsiteX94" fmla="*/ 10799758 w 12191996"/>
              <a:gd name="connsiteY94" fmla="*/ 6623047 h 6857997"/>
              <a:gd name="connsiteX95" fmla="*/ 10780910 w 12191996"/>
              <a:gd name="connsiteY95" fmla="*/ 6602385 h 6857997"/>
              <a:gd name="connsiteX96" fmla="*/ 10796062 w 12191996"/>
              <a:gd name="connsiteY96" fmla="*/ 6588861 h 6857997"/>
              <a:gd name="connsiteX97" fmla="*/ 10769453 w 12191996"/>
              <a:gd name="connsiteY97" fmla="*/ 6573834 h 6857997"/>
              <a:gd name="connsiteX98" fmla="*/ 10683076 w 12191996"/>
              <a:gd name="connsiteY98" fmla="*/ 6573834 h 6857997"/>
              <a:gd name="connsiteX99" fmla="*/ 10645770 w 12191996"/>
              <a:gd name="connsiteY99" fmla="*/ 6597717 h 6857997"/>
              <a:gd name="connsiteX100" fmla="*/ 10683076 w 12191996"/>
              <a:gd name="connsiteY100" fmla="*/ 6623047 h 6857997"/>
              <a:gd name="connsiteX101" fmla="*/ 10720382 w 12191996"/>
              <a:gd name="connsiteY101" fmla="*/ 6598441 h 6857997"/>
              <a:gd name="connsiteX102" fmla="*/ 10683076 w 12191996"/>
              <a:gd name="connsiteY102" fmla="*/ 6573834 h 6857997"/>
              <a:gd name="connsiteX103" fmla="*/ 10593642 w 12191996"/>
              <a:gd name="connsiteY103" fmla="*/ 6573834 h 6857997"/>
              <a:gd name="connsiteX104" fmla="*/ 10567983 w 12191996"/>
              <a:gd name="connsiteY104" fmla="*/ 6588861 h 6857997"/>
              <a:gd name="connsiteX105" fmla="*/ 10592573 w 12191996"/>
              <a:gd name="connsiteY105" fmla="*/ 6603137 h 6857997"/>
              <a:gd name="connsiteX106" fmla="*/ 10610748 w 12191996"/>
              <a:gd name="connsiteY106" fmla="*/ 6603137 h 6857997"/>
              <a:gd name="connsiteX107" fmla="*/ 10621796 w 12191996"/>
              <a:gd name="connsiteY107" fmla="*/ 6608772 h 6857997"/>
              <a:gd name="connsiteX108" fmla="*/ 10609679 w 12191996"/>
              <a:gd name="connsiteY108" fmla="*/ 6614407 h 6857997"/>
              <a:gd name="connsiteX109" fmla="*/ 10570834 w 12191996"/>
              <a:gd name="connsiteY109" fmla="*/ 6614407 h 6857997"/>
              <a:gd name="connsiteX110" fmla="*/ 10570834 w 12191996"/>
              <a:gd name="connsiteY110" fmla="*/ 6623047 h 6857997"/>
              <a:gd name="connsiteX111" fmla="*/ 10612174 w 12191996"/>
              <a:gd name="connsiteY111" fmla="*/ 6623047 h 6857997"/>
              <a:gd name="connsiteX112" fmla="*/ 10637833 w 12191996"/>
              <a:gd name="connsiteY112" fmla="*/ 6608396 h 6857997"/>
              <a:gd name="connsiteX113" fmla="*/ 10614312 w 12191996"/>
              <a:gd name="connsiteY113" fmla="*/ 6594496 h 6857997"/>
              <a:gd name="connsiteX114" fmla="*/ 10593999 w 12191996"/>
              <a:gd name="connsiteY114" fmla="*/ 6594496 h 6857997"/>
              <a:gd name="connsiteX115" fmla="*/ 10584020 w 12191996"/>
              <a:gd name="connsiteY115" fmla="*/ 6589237 h 6857997"/>
              <a:gd name="connsiteX116" fmla="*/ 10596137 w 12191996"/>
              <a:gd name="connsiteY116" fmla="*/ 6582850 h 6857997"/>
              <a:gd name="connsiteX117" fmla="*/ 10634269 w 12191996"/>
              <a:gd name="connsiteY117" fmla="*/ 6582850 h 6857997"/>
              <a:gd name="connsiteX118" fmla="*/ 10634269 w 12191996"/>
              <a:gd name="connsiteY118" fmla="*/ 6573834 h 6857997"/>
              <a:gd name="connsiteX119" fmla="*/ 10490195 w 12191996"/>
              <a:gd name="connsiteY119" fmla="*/ 6573834 h 6857997"/>
              <a:gd name="connsiteX120" fmla="*/ 10490195 w 12191996"/>
              <a:gd name="connsiteY120" fmla="*/ 6623047 h 6857997"/>
              <a:gd name="connsiteX121" fmla="*/ 10506681 w 12191996"/>
              <a:gd name="connsiteY121" fmla="*/ 6623047 h 6857997"/>
              <a:gd name="connsiteX122" fmla="*/ 10505948 w 12191996"/>
              <a:gd name="connsiteY122" fmla="*/ 6585856 h 6857997"/>
              <a:gd name="connsiteX123" fmla="*/ 10538553 w 12191996"/>
              <a:gd name="connsiteY123" fmla="*/ 6623047 h 6857997"/>
              <a:gd name="connsiteX124" fmla="*/ 10556870 w 12191996"/>
              <a:gd name="connsiteY124" fmla="*/ 6623047 h 6857997"/>
              <a:gd name="connsiteX125" fmla="*/ 10556870 w 12191996"/>
              <a:gd name="connsiteY125" fmla="*/ 6573834 h 6857997"/>
              <a:gd name="connsiteX126" fmla="*/ 10540751 w 12191996"/>
              <a:gd name="connsiteY126" fmla="*/ 6573834 h 6857997"/>
              <a:gd name="connsiteX127" fmla="*/ 10541483 w 12191996"/>
              <a:gd name="connsiteY127" fmla="*/ 6609147 h 6857997"/>
              <a:gd name="connsiteX128" fmla="*/ 10510344 w 12191996"/>
              <a:gd name="connsiteY128" fmla="*/ 6573834 h 6857997"/>
              <a:gd name="connsiteX129" fmla="*/ 10450207 w 12191996"/>
              <a:gd name="connsiteY129" fmla="*/ 6573834 h 6857997"/>
              <a:gd name="connsiteX130" fmla="*/ 10415583 w 12191996"/>
              <a:gd name="connsiteY130" fmla="*/ 6599380 h 6857997"/>
              <a:gd name="connsiteX131" fmla="*/ 10427005 w 12191996"/>
              <a:gd name="connsiteY131" fmla="*/ 6618539 h 6857997"/>
              <a:gd name="connsiteX132" fmla="*/ 10449850 w 12191996"/>
              <a:gd name="connsiteY132" fmla="*/ 6623047 h 6857997"/>
              <a:gd name="connsiteX133" fmla="*/ 10475908 w 12191996"/>
              <a:gd name="connsiteY133" fmla="*/ 6623047 h 6857997"/>
              <a:gd name="connsiteX134" fmla="*/ 10475908 w 12191996"/>
              <a:gd name="connsiteY134" fmla="*/ 6614407 h 6857997"/>
              <a:gd name="connsiteX135" fmla="*/ 10450564 w 12191996"/>
              <a:gd name="connsiteY135" fmla="*/ 6614407 h 6857997"/>
              <a:gd name="connsiteX136" fmla="*/ 10433074 w 12191996"/>
              <a:gd name="connsiteY136" fmla="*/ 6602385 h 6857997"/>
              <a:gd name="connsiteX137" fmla="*/ 10475908 w 12191996"/>
              <a:gd name="connsiteY137" fmla="*/ 6602385 h 6857997"/>
              <a:gd name="connsiteX138" fmla="*/ 10475908 w 12191996"/>
              <a:gd name="connsiteY138" fmla="*/ 6593745 h 6857997"/>
              <a:gd name="connsiteX139" fmla="*/ 10433074 w 12191996"/>
              <a:gd name="connsiteY139" fmla="*/ 6593745 h 6857997"/>
              <a:gd name="connsiteX140" fmla="*/ 10450564 w 12191996"/>
              <a:gd name="connsiteY140" fmla="*/ 6582475 h 6857997"/>
              <a:gd name="connsiteX141" fmla="*/ 10475908 w 12191996"/>
              <a:gd name="connsiteY141" fmla="*/ 6582475 h 6857997"/>
              <a:gd name="connsiteX142" fmla="*/ 10475908 w 12191996"/>
              <a:gd name="connsiteY142" fmla="*/ 6573834 h 6857997"/>
              <a:gd name="connsiteX143" fmla="*/ 10363811 w 12191996"/>
              <a:gd name="connsiteY143" fmla="*/ 6573834 h 6857997"/>
              <a:gd name="connsiteX144" fmla="*/ 10337795 w 12191996"/>
              <a:gd name="connsiteY144" fmla="*/ 6588861 h 6857997"/>
              <a:gd name="connsiteX145" fmla="*/ 10362385 w 12191996"/>
              <a:gd name="connsiteY145" fmla="*/ 6603137 h 6857997"/>
              <a:gd name="connsiteX146" fmla="*/ 10380560 w 12191996"/>
              <a:gd name="connsiteY146" fmla="*/ 6603137 h 6857997"/>
              <a:gd name="connsiteX147" fmla="*/ 10391608 w 12191996"/>
              <a:gd name="connsiteY147" fmla="*/ 6608772 h 6857997"/>
              <a:gd name="connsiteX148" fmla="*/ 10379491 w 12191996"/>
              <a:gd name="connsiteY148" fmla="*/ 6614407 h 6857997"/>
              <a:gd name="connsiteX149" fmla="*/ 10340646 w 12191996"/>
              <a:gd name="connsiteY149" fmla="*/ 6614407 h 6857997"/>
              <a:gd name="connsiteX150" fmla="*/ 10340646 w 12191996"/>
              <a:gd name="connsiteY150" fmla="*/ 6623047 h 6857997"/>
              <a:gd name="connsiteX151" fmla="*/ 10381986 w 12191996"/>
              <a:gd name="connsiteY151" fmla="*/ 6623047 h 6857997"/>
              <a:gd name="connsiteX152" fmla="*/ 10407645 w 12191996"/>
              <a:gd name="connsiteY152" fmla="*/ 6608396 h 6857997"/>
              <a:gd name="connsiteX153" fmla="*/ 10384124 w 12191996"/>
              <a:gd name="connsiteY153" fmla="*/ 6594496 h 6857997"/>
              <a:gd name="connsiteX154" fmla="*/ 10363811 w 12191996"/>
              <a:gd name="connsiteY154" fmla="*/ 6594496 h 6857997"/>
              <a:gd name="connsiteX155" fmla="*/ 10354188 w 12191996"/>
              <a:gd name="connsiteY155" fmla="*/ 6589237 h 6857997"/>
              <a:gd name="connsiteX156" fmla="*/ 10365949 w 12191996"/>
              <a:gd name="connsiteY156" fmla="*/ 6582850 h 6857997"/>
              <a:gd name="connsiteX157" fmla="*/ 10404081 w 12191996"/>
              <a:gd name="connsiteY157" fmla="*/ 6582850 h 6857997"/>
              <a:gd name="connsiteX158" fmla="*/ 10404081 w 12191996"/>
              <a:gd name="connsiteY158" fmla="*/ 6573834 h 6857997"/>
              <a:gd name="connsiteX159" fmla="*/ 10261294 w 12191996"/>
              <a:gd name="connsiteY159" fmla="*/ 6573834 h 6857997"/>
              <a:gd name="connsiteX160" fmla="*/ 10226670 w 12191996"/>
              <a:gd name="connsiteY160" fmla="*/ 6599380 h 6857997"/>
              <a:gd name="connsiteX161" fmla="*/ 10237736 w 12191996"/>
              <a:gd name="connsiteY161" fmla="*/ 6618539 h 6857997"/>
              <a:gd name="connsiteX162" fmla="*/ 10260937 w 12191996"/>
              <a:gd name="connsiteY162" fmla="*/ 6623047 h 6857997"/>
              <a:gd name="connsiteX163" fmla="*/ 10286995 w 12191996"/>
              <a:gd name="connsiteY163" fmla="*/ 6623047 h 6857997"/>
              <a:gd name="connsiteX164" fmla="*/ 10286995 w 12191996"/>
              <a:gd name="connsiteY164" fmla="*/ 6614407 h 6857997"/>
              <a:gd name="connsiteX165" fmla="*/ 10261651 w 12191996"/>
              <a:gd name="connsiteY165" fmla="*/ 6614407 h 6857997"/>
              <a:gd name="connsiteX166" fmla="*/ 10244161 w 12191996"/>
              <a:gd name="connsiteY166" fmla="*/ 6602385 h 6857997"/>
              <a:gd name="connsiteX167" fmla="*/ 10286995 w 12191996"/>
              <a:gd name="connsiteY167" fmla="*/ 6602385 h 6857997"/>
              <a:gd name="connsiteX168" fmla="*/ 10286995 w 12191996"/>
              <a:gd name="connsiteY168" fmla="*/ 6593745 h 6857997"/>
              <a:gd name="connsiteX169" fmla="*/ 10244161 w 12191996"/>
              <a:gd name="connsiteY169" fmla="*/ 6593745 h 6857997"/>
              <a:gd name="connsiteX170" fmla="*/ 10261651 w 12191996"/>
              <a:gd name="connsiteY170" fmla="*/ 6582475 h 6857997"/>
              <a:gd name="connsiteX171" fmla="*/ 10286995 w 12191996"/>
              <a:gd name="connsiteY171" fmla="*/ 6582475 h 6857997"/>
              <a:gd name="connsiteX172" fmla="*/ 10286995 w 12191996"/>
              <a:gd name="connsiteY172" fmla="*/ 6573834 h 6857997"/>
              <a:gd name="connsiteX173" fmla="*/ 10155233 w 12191996"/>
              <a:gd name="connsiteY173" fmla="*/ 6573834 h 6857997"/>
              <a:gd name="connsiteX174" fmla="*/ 10155233 w 12191996"/>
              <a:gd name="connsiteY174" fmla="*/ 6623047 h 6857997"/>
              <a:gd name="connsiteX175" fmla="*/ 10170859 w 12191996"/>
              <a:gd name="connsiteY175" fmla="*/ 6623047 h 6857997"/>
              <a:gd name="connsiteX176" fmla="*/ 10170859 w 12191996"/>
              <a:gd name="connsiteY176" fmla="*/ 6602385 h 6857997"/>
              <a:gd name="connsiteX177" fmla="*/ 10199932 w 12191996"/>
              <a:gd name="connsiteY177" fmla="*/ 6602385 h 6857997"/>
              <a:gd name="connsiteX178" fmla="*/ 10199932 w 12191996"/>
              <a:gd name="connsiteY178" fmla="*/ 6623047 h 6857997"/>
              <a:gd name="connsiteX179" fmla="*/ 10215558 w 12191996"/>
              <a:gd name="connsiteY179" fmla="*/ 6623047 h 6857997"/>
              <a:gd name="connsiteX180" fmla="*/ 10215558 w 12191996"/>
              <a:gd name="connsiteY180" fmla="*/ 6573834 h 6857997"/>
              <a:gd name="connsiteX181" fmla="*/ 10199932 w 12191996"/>
              <a:gd name="connsiteY181" fmla="*/ 6573834 h 6857997"/>
              <a:gd name="connsiteX182" fmla="*/ 10199932 w 12191996"/>
              <a:gd name="connsiteY182" fmla="*/ 6593745 h 6857997"/>
              <a:gd name="connsiteX183" fmla="*/ 10170859 w 12191996"/>
              <a:gd name="connsiteY183" fmla="*/ 6593745 h 6857997"/>
              <a:gd name="connsiteX184" fmla="*/ 10170859 w 12191996"/>
              <a:gd name="connsiteY184" fmla="*/ 6573834 h 6857997"/>
              <a:gd name="connsiteX185" fmla="*/ 10082208 w 12191996"/>
              <a:gd name="connsiteY185" fmla="*/ 6573834 h 6857997"/>
              <a:gd name="connsiteX186" fmla="*/ 10082208 w 12191996"/>
              <a:gd name="connsiteY186" fmla="*/ 6582163 h 6857997"/>
              <a:gd name="connsiteX187" fmla="*/ 10106570 w 12191996"/>
              <a:gd name="connsiteY187" fmla="*/ 6582163 h 6857997"/>
              <a:gd name="connsiteX188" fmla="*/ 10106570 w 12191996"/>
              <a:gd name="connsiteY188" fmla="*/ 6623047 h 6857997"/>
              <a:gd name="connsiteX189" fmla="*/ 10122569 w 12191996"/>
              <a:gd name="connsiteY189" fmla="*/ 6623047 h 6857997"/>
              <a:gd name="connsiteX190" fmla="*/ 10122569 w 12191996"/>
              <a:gd name="connsiteY190" fmla="*/ 6582163 h 6857997"/>
              <a:gd name="connsiteX191" fmla="*/ 10147295 w 12191996"/>
              <a:gd name="connsiteY191" fmla="*/ 6582163 h 6857997"/>
              <a:gd name="connsiteX192" fmla="*/ 10147295 w 12191996"/>
              <a:gd name="connsiteY192" fmla="*/ 6573834 h 6857997"/>
              <a:gd name="connsiteX193" fmla="*/ 2164828 w 12191996"/>
              <a:gd name="connsiteY193" fmla="*/ 6506715 h 6857997"/>
              <a:gd name="connsiteX194" fmla="*/ 2164828 w 12191996"/>
              <a:gd name="connsiteY194" fmla="*/ 6521016 h 6857997"/>
              <a:gd name="connsiteX195" fmla="*/ 2170617 w 12191996"/>
              <a:gd name="connsiteY195" fmla="*/ 6521016 h 6857997"/>
              <a:gd name="connsiteX196" fmla="*/ 2168875 w 12191996"/>
              <a:gd name="connsiteY196" fmla="*/ 6530888 h 6857997"/>
              <a:gd name="connsiteX197" fmla="*/ 2164132 w 12191996"/>
              <a:gd name="connsiteY197" fmla="*/ 6535876 h 6857997"/>
              <a:gd name="connsiteX198" fmla="*/ 2166989 w 12191996"/>
              <a:gd name="connsiteY198" fmla="*/ 6541248 h 6857997"/>
              <a:gd name="connsiteX199" fmla="*/ 2174106 w 12191996"/>
              <a:gd name="connsiteY199" fmla="*/ 6534027 h 6857997"/>
              <a:gd name="connsiteX200" fmla="*/ 2176545 w 12191996"/>
              <a:gd name="connsiteY200" fmla="*/ 6521016 h 6857997"/>
              <a:gd name="connsiteX201" fmla="*/ 2176545 w 12191996"/>
              <a:gd name="connsiteY201" fmla="*/ 6506715 h 6857997"/>
              <a:gd name="connsiteX202" fmla="*/ 6291678 w 12191996"/>
              <a:gd name="connsiteY202" fmla="*/ 6483832 h 6857997"/>
              <a:gd name="connsiteX203" fmla="*/ 6291678 w 12191996"/>
              <a:gd name="connsiteY203" fmla="*/ 6488437 h 6857997"/>
              <a:gd name="connsiteX204" fmla="*/ 6289446 w 12191996"/>
              <a:gd name="connsiteY204" fmla="*/ 6502355 h 6857997"/>
              <a:gd name="connsiteX205" fmla="*/ 6282713 w 12191996"/>
              <a:gd name="connsiteY205" fmla="*/ 6509994 h 6857997"/>
              <a:gd name="connsiteX206" fmla="*/ 6272702 w 12191996"/>
              <a:gd name="connsiteY206" fmla="*/ 6512854 h 6857997"/>
              <a:gd name="connsiteX207" fmla="*/ 6263633 w 12191996"/>
              <a:gd name="connsiteY207" fmla="*/ 6509680 h 6857997"/>
              <a:gd name="connsiteX208" fmla="*/ 6260354 w 12191996"/>
              <a:gd name="connsiteY208" fmla="*/ 6501204 h 6857997"/>
              <a:gd name="connsiteX209" fmla="*/ 6261784 w 12191996"/>
              <a:gd name="connsiteY209" fmla="*/ 6495169 h 6857997"/>
              <a:gd name="connsiteX210" fmla="*/ 6265796 w 12191996"/>
              <a:gd name="connsiteY210" fmla="*/ 6491123 h 6857997"/>
              <a:gd name="connsiteX211" fmla="*/ 6274865 w 12191996"/>
              <a:gd name="connsiteY211" fmla="*/ 6488576 h 6857997"/>
              <a:gd name="connsiteX212" fmla="*/ 6291678 w 12191996"/>
              <a:gd name="connsiteY212" fmla="*/ 6483832 h 6857997"/>
              <a:gd name="connsiteX213" fmla="*/ 2657744 w 12191996"/>
              <a:gd name="connsiteY213" fmla="*/ 6483832 h 6857997"/>
              <a:gd name="connsiteX214" fmla="*/ 2657744 w 12191996"/>
              <a:gd name="connsiteY214" fmla="*/ 6488437 h 6857997"/>
              <a:gd name="connsiteX215" fmla="*/ 2655513 w 12191996"/>
              <a:gd name="connsiteY215" fmla="*/ 6502355 h 6857997"/>
              <a:gd name="connsiteX216" fmla="*/ 2648779 w 12191996"/>
              <a:gd name="connsiteY216" fmla="*/ 6509994 h 6857997"/>
              <a:gd name="connsiteX217" fmla="*/ 2638768 w 12191996"/>
              <a:gd name="connsiteY217" fmla="*/ 6512854 h 6857997"/>
              <a:gd name="connsiteX218" fmla="*/ 2629699 w 12191996"/>
              <a:gd name="connsiteY218" fmla="*/ 6509680 h 6857997"/>
              <a:gd name="connsiteX219" fmla="*/ 2626419 w 12191996"/>
              <a:gd name="connsiteY219" fmla="*/ 6501204 h 6857997"/>
              <a:gd name="connsiteX220" fmla="*/ 2627851 w 12191996"/>
              <a:gd name="connsiteY220" fmla="*/ 6495169 h 6857997"/>
              <a:gd name="connsiteX221" fmla="*/ 2631864 w 12191996"/>
              <a:gd name="connsiteY221" fmla="*/ 6491123 h 6857997"/>
              <a:gd name="connsiteX222" fmla="*/ 2640931 w 12191996"/>
              <a:gd name="connsiteY222" fmla="*/ 6488576 h 6857997"/>
              <a:gd name="connsiteX223" fmla="*/ 2657744 w 12191996"/>
              <a:gd name="connsiteY223" fmla="*/ 6483832 h 6857997"/>
              <a:gd name="connsiteX224" fmla="*/ 6087297 w 12191996"/>
              <a:gd name="connsiteY224" fmla="*/ 6455578 h 6857997"/>
              <a:gd name="connsiteX225" fmla="*/ 6099922 w 12191996"/>
              <a:gd name="connsiteY225" fmla="*/ 6462485 h 6857997"/>
              <a:gd name="connsiteX226" fmla="*/ 6104038 w 12191996"/>
              <a:gd name="connsiteY226" fmla="*/ 6476856 h 6857997"/>
              <a:gd name="connsiteX227" fmla="*/ 6070136 w 12191996"/>
              <a:gd name="connsiteY227" fmla="*/ 6476856 h 6857997"/>
              <a:gd name="connsiteX228" fmla="*/ 6075505 w 12191996"/>
              <a:gd name="connsiteY228" fmla="*/ 6461334 h 6857997"/>
              <a:gd name="connsiteX229" fmla="*/ 6087297 w 12191996"/>
              <a:gd name="connsiteY229" fmla="*/ 6455578 h 6857997"/>
              <a:gd name="connsiteX230" fmla="*/ 6018399 w 12191996"/>
              <a:gd name="connsiteY230" fmla="*/ 6455578 h 6857997"/>
              <a:gd name="connsiteX231" fmla="*/ 6030545 w 12191996"/>
              <a:gd name="connsiteY231" fmla="*/ 6462729 h 6857997"/>
              <a:gd name="connsiteX232" fmla="*/ 6035362 w 12191996"/>
              <a:gd name="connsiteY232" fmla="*/ 6485437 h 6857997"/>
              <a:gd name="connsiteX233" fmla="*/ 6030545 w 12191996"/>
              <a:gd name="connsiteY233" fmla="*/ 6505668 h 6857997"/>
              <a:gd name="connsiteX234" fmla="*/ 6019168 w 12191996"/>
              <a:gd name="connsiteY234" fmla="*/ 6512366 h 6857997"/>
              <a:gd name="connsiteX235" fmla="*/ 6007544 w 12191996"/>
              <a:gd name="connsiteY235" fmla="*/ 6505389 h 6857997"/>
              <a:gd name="connsiteX236" fmla="*/ 6002552 w 12191996"/>
              <a:gd name="connsiteY236" fmla="*/ 6484042 h 6857997"/>
              <a:gd name="connsiteX237" fmla="*/ 6007230 w 12191996"/>
              <a:gd name="connsiteY237" fmla="*/ 6462450 h 6857997"/>
              <a:gd name="connsiteX238" fmla="*/ 6018399 w 12191996"/>
              <a:gd name="connsiteY238" fmla="*/ 6455578 h 6857997"/>
              <a:gd name="connsiteX239" fmla="*/ 5829564 w 12191996"/>
              <a:gd name="connsiteY239" fmla="*/ 6455578 h 6857997"/>
              <a:gd name="connsiteX240" fmla="*/ 5842540 w 12191996"/>
              <a:gd name="connsiteY240" fmla="*/ 6462598 h 6857997"/>
              <a:gd name="connsiteX241" fmla="*/ 5847772 w 12191996"/>
              <a:gd name="connsiteY241" fmla="*/ 6483937 h 6857997"/>
              <a:gd name="connsiteX242" fmla="*/ 5842575 w 12191996"/>
              <a:gd name="connsiteY242" fmla="*/ 6505276 h 6857997"/>
              <a:gd name="connsiteX243" fmla="*/ 5830122 w 12191996"/>
              <a:gd name="connsiteY243" fmla="*/ 6512366 h 6857997"/>
              <a:gd name="connsiteX244" fmla="*/ 5817145 w 12191996"/>
              <a:gd name="connsiteY244" fmla="*/ 6505346 h 6857997"/>
              <a:gd name="connsiteX245" fmla="*/ 5811914 w 12191996"/>
              <a:gd name="connsiteY245" fmla="*/ 6483937 h 6857997"/>
              <a:gd name="connsiteX246" fmla="*/ 5817079 w 12191996"/>
              <a:gd name="connsiteY246" fmla="*/ 6462633 h 6857997"/>
              <a:gd name="connsiteX247" fmla="*/ 5829564 w 12191996"/>
              <a:gd name="connsiteY247" fmla="*/ 6455578 h 6857997"/>
              <a:gd name="connsiteX248" fmla="*/ 2774990 w 12191996"/>
              <a:gd name="connsiteY248" fmla="*/ 6455578 h 6857997"/>
              <a:gd name="connsiteX249" fmla="*/ 2787135 w 12191996"/>
              <a:gd name="connsiteY249" fmla="*/ 6462729 h 6857997"/>
              <a:gd name="connsiteX250" fmla="*/ 2791951 w 12191996"/>
              <a:gd name="connsiteY250" fmla="*/ 6485437 h 6857997"/>
              <a:gd name="connsiteX251" fmla="*/ 2787135 w 12191996"/>
              <a:gd name="connsiteY251" fmla="*/ 6505668 h 6857997"/>
              <a:gd name="connsiteX252" fmla="*/ 2775759 w 12191996"/>
              <a:gd name="connsiteY252" fmla="*/ 6512366 h 6857997"/>
              <a:gd name="connsiteX253" fmla="*/ 2764133 w 12191996"/>
              <a:gd name="connsiteY253" fmla="*/ 6505389 h 6857997"/>
              <a:gd name="connsiteX254" fmla="*/ 2759145 w 12191996"/>
              <a:gd name="connsiteY254" fmla="*/ 6484042 h 6857997"/>
              <a:gd name="connsiteX255" fmla="*/ 2763822 w 12191996"/>
              <a:gd name="connsiteY255" fmla="*/ 6462450 h 6857997"/>
              <a:gd name="connsiteX256" fmla="*/ 2774990 w 12191996"/>
              <a:gd name="connsiteY256" fmla="*/ 6455578 h 6857997"/>
              <a:gd name="connsiteX257" fmla="*/ 2510511 w 12191996"/>
              <a:gd name="connsiteY257" fmla="*/ 6455578 h 6857997"/>
              <a:gd name="connsiteX258" fmla="*/ 2523140 w 12191996"/>
              <a:gd name="connsiteY258" fmla="*/ 6462485 h 6857997"/>
              <a:gd name="connsiteX259" fmla="*/ 2527255 w 12191996"/>
              <a:gd name="connsiteY259" fmla="*/ 6476856 h 6857997"/>
              <a:gd name="connsiteX260" fmla="*/ 2493349 w 12191996"/>
              <a:gd name="connsiteY260" fmla="*/ 6476856 h 6857997"/>
              <a:gd name="connsiteX261" fmla="*/ 2498723 w 12191996"/>
              <a:gd name="connsiteY261" fmla="*/ 6461334 h 6857997"/>
              <a:gd name="connsiteX262" fmla="*/ 2510511 w 12191996"/>
              <a:gd name="connsiteY262" fmla="*/ 6455578 h 6857997"/>
              <a:gd name="connsiteX263" fmla="*/ 1871776 w 12191996"/>
              <a:gd name="connsiteY263" fmla="*/ 6455578 h 6857997"/>
              <a:gd name="connsiteX264" fmla="*/ 1884752 w 12191996"/>
              <a:gd name="connsiteY264" fmla="*/ 6462598 h 6857997"/>
              <a:gd name="connsiteX265" fmla="*/ 1889984 w 12191996"/>
              <a:gd name="connsiteY265" fmla="*/ 6483937 h 6857997"/>
              <a:gd name="connsiteX266" fmla="*/ 1884787 w 12191996"/>
              <a:gd name="connsiteY266" fmla="*/ 6505276 h 6857997"/>
              <a:gd name="connsiteX267" fmla="*/ 1872334 w 12191996"/>
              <a:gd name="connsiteY267" fmla="*/ 6512366 h 6857997"/>
              <a:gd name="connsiteX268" fmla="*/ 1859358 w 12191996"/>
              <a:gd name="connsiteY268" fmla="*/ 6505346 h 6857997"/>
              <a:gd name="connsiteX269" fmla="*/ 1854126 w 12191996"/>
              <a:gd name="connsiteY269" fmla="*/ 6483937 h 6857997"/>
              <a:gd name="connsiteX270" fmla="*/ 1859288 w 12191996"/>
              <a:gd name="connsiteY270" fmla="*/ 6462633 h 6857997"/>
              <a:gd name="connsiteX271" fmla="*/ 1871776 w 12191996"/>
              <a:gd name="connsiteY271" fmla="*/ 6455578 h 6857997"/>
              <a:gd name="connsiteX272" fmla="*/ 1586584 w 12191996"/>
              <a:gd name="connsiteY272" fmla="*/ 6455578 h 6857997"/>
              <a:gd name="connsiteX273" fmla="*/ 1599211 w 12191996"/>
              <a:gd name="connsiteY273" fmla="*/ 6462485 h 6857997"/>
              <a:gd name="connsiteX274" fmla="*/ 1603327 w 12191996"/>
              <a:gd name="connsiteY274" fmla="*/ 6476856 h 6857997"/>
              <a:gd name="connsiteX275" fmla="*/ 1569422 w 12191996"/>
              <a:gd name="connsiteY275" fmla="*/ 6476856 h 6857997"/>
              <a:gd name="connsiteX276" fmla="*/ 1574794 w 12191996"/>
              <a:gd name="connsiteY276" fmla="*/ 6461334 h 6857997"/>
              <a:gd name="connsiteX277" fmla="*/ 1586584 w 12191996"/>
              <a:gd name="connsiteY277" fmla="*/ 6455578 h 6857997"/>
              <a:gd name="connsiteX278" fmla="*/ 1317685 w 12191996"/>
              <a:gd name="connsiteY278" fmla="*/ 6455578 h 6857997"/>
              <a:gd name="connsiteX279" fmla="*/ 1329920 w 12191996"/>
              <a:gd name="connsiteY279" fmla="*/ 6462398 h 6857997"/>
              <a:gd name="connsiteX280" fmla="*/ 1334953 w 12191996"/>
              <a:gd name="connsiteY280" fmla="*/ 6483205 h 6857997"/>
              <a:gd name="connsiteX281" fmla="*/ 1330059 w 12191996"/>
              <a:gd name="connsiteY281" fmla="*/ 6504117 h 6857997"/>
              <a:gd name="connsiteX282" fmla="*/ 1318175 w 12191996"/>
              <a:gd name="connsiteY282" fmla="*/ 6510691 h 6857997"/>
              <a:gd name="connsiteX283" fmla="*/ 1306360 w 12191996"/>
              <a:gd name="connsiteY283" fmla="*/ 6503977 h 6857997"/>
              <a:gd name="connsiteX284" fmla="*/ 1301536 w 12191996"/>
              <a:gd name="connsiteY284" fmla="*/ 6482645 h 6857997"/>
              <a:gd name="connsiteX285" fmla="*/ 1306395 w 12191996"/>
              <a:gd name="connsiteY285" fmla="*/ 6462398 h 6857997"/>
              <a:gd name="connsiteX286" fmla="*/ 1317685 w 12191996"/>
              <a:gd name="connsiteY286" fmla="*/ 6455578 h 6857997"/>
              <a:gd name="connsiteX287" fmla="*/ 1071676 w 12191996"/>
              <a:gd name="connsiteY287" fmla="*/ 6455578 h 6857997"/>
              <a:gd name="connsiteX288" fmla="*/ 1084652 w 12191996"/>
              <a:gd name="connsiteY288" fmla="*/ 6462598 h 6857997"/>
              <a:gd name="connsiteX289" fmla="*/ 1089884 w 12191996"/>
              <a:gd name="connsiteY289" fmla="*/ 6483937 h 6857997"/>
              <a:gd name="connsiteX290" fmla="*/ 1084687 w 12191996"/>
              <a:gd name="connsiteY290" fmla="*/ 6505276 h 6857997"/>
              <a:gd name="connsiteX291" fmla="*/ 1072234 w 12191996"/>
              <a:gd name="connsiteY291" fmla="*/ 6512366 h 6857997"/>
              <a:gd name="connsiteX292" fmla="*/ 1059258 w 12191996"/>
              <a:gd name="connsiteY292" fmla="*/ 6505346 h 6857997"/>
              <a:gd name="connsiteX293" fmla="*/ 1054026 w 12191996"/>
              <a:gd name="connsiteY293" fmla="*/ 6483937 h 6857997"/>
              <a:gd name="connsiteX294" fmla="*/ 1059188 w 12191996"/>
              <a:gd name="connsiteY294" fmla="*/ 6462633 h 6857997"/>
              <a:gd name="connsiteX295" fmla="*/ 1071676 w 12191996"/>
              <a:gd name="connsiteY295" fmla="*/ 6455578 h 6857997"/>
              <a:gd name="connsiteX296" fmla="*/ 1139788 w 12191996"/>
              <a:gd name="connsiteY296" fmla="*/ 6455090 h 6857997"/>
              <a:gd name="connsiteX297" fmla="*/ 1151478 w 12191996"/>
              <a:gd name="connsiteY297" fmla="*/ 6462066 h 6857997"/>
              <a:gd name="connsiteX298" fmla="*/ 1156280 w 12191996"/>
              <a:gd name="connsiteY298" fmla="*/ 6483553 h 6857997"/>
              <a:gd name="connsiteX299" fmla="*/ 1151339 w 12191996"/>
              <a:gd name="connsiteY299" fmla="*/ 6505320 h 6857997"/>
              <a:gd name="connsiteX300" fmla="*/ 1139857 w 12191996"/>
              <a:gd name="connsiteY300" fmla="*/ 6512366 h 6857997"/>
              <a:gd name="connsiteX301" fmla="*/ 1128235 w 12191996"/>
              <a:gd name="connsiteY301" fmla="*/ 6505564 h 6857997"/>
              <a:gd name="connsiteX302" fmla="*/ 1123434 w 12191996"/>
              <a:gd name="connsiteY302" fmla="*/ 6484391 h 6857997"/>
              <a:gd name="connsiteX303" fmla="*/ 1128514 w 12191996"/>
              <a:gd name="connsiteY303" fmla="*/ 6462590 h 6857997"/>
              <a:gd name="connsiteX304" fmla="*/ 1139788 w 12191996"/>
              <a:gd name="connsiteY304" fmla="*/ 6455090 h 6857997"/>
              <a:gd name="connsiteX305" fmla="*/ 6224384 w 12191996"/>
              <a:gd name="connsiteY305" fmla="*/ 6446928 h 6857997"/>
              <a:gd name="connsiteX306" fmla="*/ 6224384 w 12191996"/>
              <a:gd name="connsiteY306" fmla="*/ 6521016 h 6857997"/>
              <a:gd name="connsiteX307" fmla="*/ 6234640 w 12191996"/>
              <a:gd name="connsiteY307" fmla="*/ 6521016 h 6857997"/>
              <a:gd name="connsiteX308" fmla="*/ 6234640 w 12191996"/>
              <a:gd name="connsiteY308" fmla="*/ 6446928 h 6857997"/>
              <a:gd name="connsiteX309" fmla="*/ 5967211 w 12191996"/>
              <a:gd name="connsiteY309" fmla="*/ 6446928 h 6857997"/>
              <a:gd name="connsiteX310" fmla="*/ 5967211 w 12191996"/>
              <a:gd name="connsiteY310" fmla="*/ 6521016 h 6857997"/>
              <a:gd name="connsiteX311" fmla="*/ 5977467 w 12191996"/>
              <a:gd name="connsiteY311" fmla="*/ 6521016 h 6857997"/>
              <a:gd name="connsiteX312" fmla="*/ 5977467 w 12191996"/>
              <a:gd name="connsiteY312" fmla="*/ 6446928 h 6857997"/>
              <a:gd name="connsiteX313" fmla="*/ 2380902 w 12191996"/>
              <a:gd name="connsiteY313" fmla="*/ 6446928 h 6857997"/>
              <a:gd name="connsiteX314" fmla="*/ 2380902 w 12191996"/>
              <a:gd name="connsiteY314" fmla="*/ 6521016 h 6857997"/>
              <a:gd name="connsiteX315" fmla="*/ 2391160 w 12191996"/>
              <a:gd name="connsiteY315" fmla="*/ 6521016 h 6857997"/>
              <a:gd name="connsiteX316" fmla="*/ 2391160 w 12191996"/>
              <a:gd name="connsiteY316" fmla="*/ 6446928 h 6857997"/>
              <a:gd name="connsiteX317" fmla="*/ 2287711 w 12191996"/>
              <a:gd name="connsiteY317" fmla="*/ 6446928 h 6857997"/>
              <a:gd name="connsiteX318" fmla="*/ 2306375 w 12191996"/>
              <a:gd name="connsiteY318" fmla="*/ 6521016 h 6857997"/>
              <a:gd name="connsiteX319" fmla="*/ 2317119 w 12191996"/>
              <a:gd name="connsiteY319" fmla="*/ 6521016 h 6857997"/>
              <a:gd name="connsiteX320" fmla="*/ 2329394 w 12191996"/>
              <a:gd name="connsiteY320" fmla="*/ 6464020 h 6857997"/>
              <a:gd name="connsiteX321" fmla="*/ 2331698 w 12191996"/>
              <a:gd name="connsiteY321" fmla="*/ 6476647 h 6857997"/>
              <a:gd name="connsiteX322" fmla="*/ 2341394 w 12191996"/>
              <a:gd name="connsiteY322" fmla="*/ 6521016 h 6857997"/>
              <a:gd name="connsiteX323" fmla="*/ 2352113 w 12191996"/>
              <a:gd name="connsiteY323" fmla="*/ 6521016 h 6857997"/>
              <a:gd name="connsiteX324" fmla="*/ 2371081 w 12191996"/>
              <a:gd name="connsiteY324" fmla="*/ 6446928 h 6857997"/>
              <a:gd name="connsiteX325" fmla="*/ 2361033 w 12191996"/>
              <a:gd name="connsiteY325" fmla="*/ 6446928 h 6857997"/>
              <a:gd name="connsiteX326" fmla="*/ 2350666 w 12191996"/>
              <a:gd name="connsiteY326" fmla="*/ 6489762 h 6857997"/>
              <a:gd name="connsiteX327" fmla="*/ 2347183 w 12191996"/>
              <a:gd name="connsiteY327" fmla="*/ 6504064 h 6857997"/>
              <a:gd name="connsiteX328" fmla="*/ 2344125 w 12191996"/>
              <a:gd name="connsiteY328" fmla="*/ 6489902 h 6857997"/>
              <a:gd name="connsiteX329" fmla="*/ 2335086 w 12191996"/>
              <a:gd name="connsiteY329" fmla="*/ 6446928 h 6857997"/>
              <a:gd name="connsiteX330" fmla="*/ 2324456 w 12191996"/>
              <a:gd name="connsiteY330" fmla="*/ 6446928 h 6857997"/>
              <a:gd name="connsiteX331" fmla="*/ 2314822 w 12191996"/>
              <a:gd name="connsiteY331" fmla="*/ 6490320 h 6857997"/>
              <a:gd name="connsiteX332" fmla="*/ 2311609 w 12191996"/>
              <a:gd name="connsiteY332" fmla="*/ 6505599 h 6857997"/>
              <a:gd name="connsiteX333" fmla="*/ 2308033 w 12191996"/>
              <a:gd name="connsiteY333" fmla="*/ 6489693 h 6857997"/>
              <a:gd name="connsiteX334" fmla="*/ 2298356 w 12191996"/>
              <a:gd name="connsiteY334" fmla="*/ 6446928 h 6857997"/>
              <a:gd name="connsiteX335" fmla="*/ 1818925 w 12191996"/>
              <a:gd name="connsiteY335" fmla="*/ 6446928 h 6857997"/>
              <a:gd name="connsiteX336" fmla="*/ 1818925 w 12191996"/>
              <a:gd name="connsiteY336" fmla="*/ 6521016 h 6857997"/>
              <a:gd name="connsiteX337" fmla="*/ 1829180 w 12191996"/>
              <a:gd name="connsiteY337" fmla="*/ 6521016 h 6857997"/>
              <a:gd name="connsiteX338" fmla="*/ 1829180 w 12191996"/>
              <a:gd name="connsiteY338" fmla="*/ 6446928 h 6857997"/>
              <a:gd name="connsiteX339" fmla="*/ 1752248 w 12191996"/>
              <a:gd name="connsiteY339" fmla="*/ 6446928 h 6857997"/>
              <a:gd name="connsiteX340" fmla="*/ 1752248 w 12191996"/>
              <a:gd name="connsiteY340" fmla="*/ 6521016 h 6857997"/>
              <a:gd name="connsiteX341" fmla="*/ 1762504 w 12191996"/>
              <a:gd name="connsiteY341" fmla="*/ 6521016 h 6857997"/>
              <a:gd name="connsiteX342" fmla="*/ 1762504 w 12191996"/>
              <a:gd name="connsiteY342" fmla="*/ 6446928 h 6857997"/>
              <a:gd name="connsiteX343" fmla="*/ 1266473 w 12191996"/>
              <a:gd name="connsiteY343" fmla="*/ 6446928 h 6857997"/>
              <a:gd name="connsiteX344" fmla="*/ 1266473 w 12191996"/>
              <a:gd name="connsiteY344" fmla="*/ 6521016 h 6857997"/>
              <a:gd name="connsiteX345" fmla="*/ 1276729 w 12191996"/>
              <a:gd name="connsiteY345" fmla="*/ 6521016 h 6857997"/>
              <a:gd name="connsiteX346" fmla="*/ 1276729 w 12191996"/>
              <a:gd name="connsiteY346" fmla="*/ 6446928 h 6857997"/>
              <a:gd name="connsiteX347" fmla="*/ 6278772 w 12191996"/>
              <a:gd name="connsiteY347" fmla="*/ 6445253 h 6857997"/>
              <a:gd name="connsiteX348" fmla="*/ 6259901 w 12191996"/>
              <a:gd name="connsiteY348" fmla="*/ 6450695 h 6857997"/>
              <a:gd name="connsiteX349" fmla="*/ 6251146 w 12191996"/>
              <a:gd name="connsiteY349" fmla="*/ 6468066 h 6857997"/>
              <a:gd name="connsiteX350" fmla="*/ 6261261 w 12191996"/>
              <a:gd name="connsiteY350" fmla="*/ 6469740 h 6857997"/>
              <a:gd name="connsiteX351" fmla="*/ 6266493 w 12191996"/>
              <a:gd name="connsiteY351" fmla="*/ 6458558 h 6857997"/>
              <a:gd name="connsiteX352" fmla="*/ 6277237 w 12191996"/>
              <a:gd name="connsiteY352" fmla="*/ 6455578 h 6857997"/>
              <a:gd name="connsiteX353" fmla="*/ 6289027 w 12191996"/>
              <a:gd name="connsiteY353" fmla="*/ 6460043 h 6857997"/>
              <a:gd name="connsiteX354" fmla="*/ 6291748 w 12191996"/>
              <a:gd name="connsiteY354" fmla="*/ 6470717 h 6857997"/>
              <a:gd name="connsiteX355" fmla="*/ 6291678 w 12191996"/>
              <a:gd name="connsiteY355" fmla="*/ 6473926 h 6857997"/>
              <a:gd name="connsiteX356" fmla="*/ 6273260 w 12191996"/>
              <a:gd name="connsiteY356" fmla="*/ 6478321 h 6857997"/>
              <a:gd name="connsiteX357" fmla="*/ 6259308 w 12191996"/>
              <a:gd name="connsiteY357" fmla="*/ 6482437 h 6857997"/>
              <a:gd name="connsiteX358" fmla="*/ 6252052 w 12191996"/>
              <a:gd name="connsiteY358" fmla="*/ 6490181 h 6857997"/>
              <a:gd name="connsiteX359" fmla="*/ 6249401 w 12191996"/>
              <a:gd name="connsiteY359" fmla="*/ 6501552 h 6857997"/>
              <a:gd name="connsiteX360" fmla="*/ 6255052 w 12191996"/>
              <a:gd name="connsiteY360" fmla="*/ 6516970 h 6857997"/>
              <a:gd name="connsiteX361" fmla="*/ 6270191 w 12191996"/>
              <a:gd name="connsiteY361" fmla="*/ 6522691 h 6857997"/>
              <a:gd name="connsiteX362" fmla="*/ 6281772 w 12191996"/>
              <a:gd name="connsiteY362" fmla="*/ 6519969 h 6857997"/>
              <a:gd name="connsiteX363" fmla="*/ 6292515 w 12191996"/>
              <a:gd name="connsiteY363" fmla="*/ 6511876 h 6857997"/>
              <a:gd name="connsiteX364" fmla="*/ 6294608 w 12191996"/>
              <a:gd name="connsiteY364" fmla="*/ 6521016 h 6857997"/>
              <a:gd name="connsiteX365" fmla="*/ 6305352 w 12191996"/>
              <a:gd name="connsiteY365" fmla="*/ 6521016 h 6857997"/>
              <a:gd name="connsiteX366" fmla="*/ 6302735 w 12191996"/>
              <a:gd name="connsiteY366" fmla="*/ 6512121 h 6857997"/>
              <a:gd name="connsiteX367" fmla="*/ 6302073 w 12191996"/>
              <a:gd name="connsiteY367" fmla="*/ 6489972 h 6857997"/>
              <a:gd name="connsiteX368" fmla="*/ 6302073 w 12191996"/>
              <a:gd name="connsiteY368" fmla="*/ 6473228 h 6857997"/>
              <a:gd name="connsiteX369" fmla="*/ 6300643 w 12191996"/>
              <a:gd name="connsiteY369" fmla="*/ 6457741 h 6857997"/>
              <a:gd name="connsiteX370" fmla="*/ 6293771 w 12191996"/>
              <a:gd name="connsiteY370" fmla="*/ 6448846 h 6857997"/>
              <a:gd name="connsiteX371" fmla="*/ 6278772 w 12191996"/>
              <a:gd name="connsiteY371" fmla="*/ 6445253 h 6857997"/>
              <a:gd name="connsiteX372" fmla="*/ 6157704 w 12191996"/>
              <a:gd name="connsiteY372" fmla="*/ 6445253 h 6857997"/>
              <a:gd name="connsiteX373" fmla="*/ 6146596 w 12191996"/>
              <a:gd name="connsiteY373" fmla="*/ 6448271 h 6857997"/>
              <a:gd name="connsiteX374" fmla="*/ 6138413 w 12191996"/>
              <a:gd name="connsiteY374" fmla="*/ 6457393 h 6857997"/>
              <a:gd name="connsiteX375" fmla="*/ 6138413 w 12191996"/>
              <a:gd name="connsiteY375" fmla="*/ 6446928 h 6857997"/>
              <a:gd name="connsiteX376" fmla="*/ 6129134 w 12191996"/>
              <a:gd name="connsiteY376" fmla="*/ 6446928 h 6857997"/>
              <a:gd name="connsiteX377" fmla="*/ 6129134 w 12191996"/>
              <a:gd name="connsiteY377" fmla="*/ 6521016 h 6857997"/>
              <a:gd name="connsiteX378" fmla="*/ 6139390 w 12191996"/>
              <a:gd name="connsiteY378" fmla="*/ 6521016 h 6857997"/>
              <a:gd name="connsiteX379" fmla="*/ 6139390 w 12191996"/>
              <a:gd name="connsiteY379" fmla="*/ 6480510 h 6857997"/>
              <a:gd name="connsiteX380" fmla="*/ 6143785 w 12191996"/>
              <a:gd name="connsiteY380" fmla="*/ 6461584 h 6857997"/>
              <a:gd name="connsiteX381" fmla="*/ 6155575 w 12191996"/>
              <a:gd name="connsiteY381" fmla="*/ 6456067 h 6857997"/>
              <a:gd name="connsiteX382" fmla="*/ 6162446 w 12191996"/>
              <a:gd name="connsiteY382" fmla="*/ 6458127 h 6857997"/>
              <a:gd name="connsiteX383" fmla="*/ 6166807 w 12191996"/>
              <a:gd name="connsiteY383" fmla="*/ 6463958 h 6857997"/>
              <a:gd name="connsiteX384" fmla="*/ 6168202 w 12191996"/>
              <a:gd name="connsiteY384" fmla="*/ 6475901 h 6857997"/>
              <a:gd name="connsiteX385" fmla="*/ 6168202 w 12191996"/>
              <a:gd name="connsiteY385" fmla="*/ 6521016 h 6857997"/>
              <a:gd name="connsiteX386" fmla="*/ 6178457 w 12191996"/>
              <a:gd name="connsiteY386" fmla="*/ 6521016 h 6857997"/>
              <a:gd name="connsiteX387" fmla="*/ 6178457 w 12191996"/>
              <a:gd name="connsiteY387" fmla="*/ 6475461 h 6857997"/>
              <a:gd name="connsiteX388" fmla="*/ 6177203 w 12191996"/>
              <a:gd name="connsiteY388" fmla="*/ 6460253 h 6857997"/>
              <a:gd name="connsiteX389" fmla="*/ 6173408 w 12191996"/>
              <a:gd name="connsiteY389" fmla="*/ 6452195 h 6857997"/>
              <a:gd name="connsiteX390" fmla="*/ 6166722 w 12191996"/>
              <a:gd name="connsiteY390" fmla="*/ 6447172 h 6857997"/>
              <a:gd name="connsiteX391" fmla="*/ 6157704 w 12191996"/>
              <a:gd name="connsiteY391" fmla="*/ 6445253 h 6857997"/>
              <a:gd name="connsiteX392" fmla="*/ 6087368 w 12191996"/>
              <a:gd name="connsiteY392" fmla="*/ 6445253 h 6857997"/>
              <a:gd name="connsiteX393" fmla="*/ 6066963 w 12191996"/>
              <a:gd name="connsiteY393" fmla="*/ 6455334 h 6857997"/>
              <a:gd name="connsiteX394" fmla="*/ 6058901 w 12191996"/>
              <a:gd name="connsiteY394" fmla="*/ 6484600 h 6857997"/>
              <a:gd name="connsiteX395" fmla="*/ 6066892 w 12191996"/>
              <a:gd name="connsiteY395" fmla="*/ 6512889 h 6857997"/>
              <a:gd name="connsiteX396" fmla="*/ 6087783 w 12191996"/>
              <a:gd name="connsiteY396" fmla="*/ 6522691 h 6857997"/>
              <a:gd name="connsiteX397" fmla="*/ 6104980 w 12191996"/>
              <a:gd name="connsiteY397" fmla="*/ 6516656 h 6857997"/>
              <a:gd name="connsiteX398" fmla="*/ 6114573 w 12191996"/>
              <a:gd name="connsiteY398" fmla="*/ 6498762 h 6857997"/>
              <a:gd name="connsiteX399" fmla="*/ 6103969 w 12191996"/>
              <a:gd name="connsiteY399" fmla="*/ 6497157 h 6857997"/>
              <a:gd name="connsiteX400" fmla="*/ 6087853 w 12191996"/>
              <a:gd name="connsiteY400" fmla="*/ 6512366 h 6857997"/>
              <a:gd name="connsiteX401" fmla="*/ 6075296 w 12191996"/>
              <a:gd name="connsiteY401" fmla="*/ 6506017 h 6857997"/>
              <a:gd name="connsiteX402" fmla="*/ 6069507 w 12191996"/>
              <a:gd name="connsiteY402" fmla="*/ 6487181 h 6857997"/>
              <a:gd name="connsiteX403" fmla="*/ 6114852 w 12191996"/>
              <a:gd name="connsiteY403" fmla="*/ 6487181 h 6857997"/>
              <a:gd name="connsiteX404" fmla="*/ 6114921 w 12191996"/>
              <a:gd name="connsiteY404" fmla="*/ 6483832 h 6857997"/>
              <a:gd name="connsiteX405" fmla="*/ 6107038 w 12191996"/>
              <a:gd name="connsiteY405" fmla="*/ 6455160 h 6857997"/>
              <a:gd name="connsiteX406" fmla="*/ 6087368 w 12191996"/>
              <a:gd name="connsiteY406" fmla="*/ 6445253 h 6857997"/>
              <a:gd name="connsiteX407" fmla="*/ 5900531 w 12191996"/>
              <a:gd name="connsiteY407" fmla="*/ 6445253 h 6857997"/>
              <a:gd name="connsiteX408" fmla="*/ 5889422 w 12191996"/>
              <a:gd name="connsiteY408" fmla="*/ 6448271 h 6857997"/>
              <a:gd name="connsiteX409" fmla="*/ 5881238 w 12191996"/>
              <a:gd name="connsiteY409" fmla="*/ 6457393 h 6857997"/>
              <a:gd name="connsiteX410" fmla="*/ 5881238 w 12191996"/>
              <a:gd name="connsiteY410" fmla="*/ 6446928 h 6857997"/>
              <a:gd name="connsiteX411" fmla="*/ 5871961 w 12191996"/>
              <a:gd name="connsiteY411" fmla="*/ 6446928 h 6857997"/>
              <a:gd name="connsiteX412" fmla="*/ 5871961 w 12191996"/>
              <a:gd name="connsiteY412" fmla="*/ 6521016 h 6857997"/>
              <a:gd name="connsiteX413" fmla="*/ 5882218 w 12191996"/>
              <a:gd name="connsiteY413" fmla="*/ 6521016 h 6857997"/>
              <a:gd name="connsiteX414" fmla="*/ 5882218 w 12191996"/>
              <a:gd name="connsiteY414" fmla="*/ 6480510 h 6857997"/>
              <a:gd name="connsiteX415" fmla="*/ 5886612 w 12191996"/>
              <a:gd name="connsiteY415" fmla="*/ 6461584 h 6857997"/>
              <a:gd name="connsiteX416" fmla="*/ 5898401 w 12191996"/>
              <a:gd name="connsiteY416" fmla="*/ 6456067 h 6857997"/>
              <a:gd name="connsiteX417" fmla="*/ 5905276 w 12191996"/>
              <a:gd name="connsiteY417" fmla="*/ 6458127 h 6857997"/>
              <a:gd name="connsiteX418" fmla="*/ 5909634 w 12191996"/>
              <a:gd name="connsiteY418" fmla="*/ 6463958 h 6857997"/>
              <a:gd name="connsiteX419" fmla="*/ 5911030 w 12191996"/>
              <a:gd name="connsiteY419" fmla="*/ 6475901 h 6857997"/>
              <a:gd name="connsiteX420" fmla="*/ 5911030 w 12191996"/>
              <a:gd name="connsiteY420" fmla="*/ 6521016 h 6857997"/>
              <a:gd name="connsiteX421" fmla="*/ 5921285 w 12191996"/>
              <a:gd name="connsiteY421" fmla="*/ 6521016 h 6857997"/>
              <a:gd name="connsiteX422" fmla="*/ 5921285 w 12191996"/>
              <a:gd name="connsiteY422" fmla="*/ 6475461 h 6857997"/>
              <a:gd name="connsiteX423" fmla="*/ 5920030 w 12191996"/>
              <a:gd name="connsiteY423" fmla="*/ 6460253 h 6857997"/>
              <a:gd name="connsiteX424" fmla="*/ 5916235 w 12191996"/>
              <a:gd name="connsiteY424" fmla="*/ 6452195 h 6857997"/>
              <a:gd name="connsiteX425" fmla="*/ 5909549 w 12191996"/>
              <a:gd name="connsiteY425" fmla="*/ 6447172 h 6857997"/>
              <a:gd name="connsiteX426" fmla="*/ 5900531 w 12191996"/>
              <a:gd name="connsiteY426" fmla="*/ 6445253 h 6857997"/>
              <a:gd name="connsiteX427" fmla="*/ 5829842 w 12191996"/>
              <a:gd name="connsiteY427" fmla="*/ 6445253 h 6857997"/>
              <a:gd name="connsiteX428" fmla="*/ 5809436 w 12191996"/>
              <a:gd name="connsiteY428" fmla="*/ 6455020 h 6857997"/>
              <a:gd name="connsiteX429" fmla="*/ 5801381 w 12191996"/>
              <a:gd name="connsiteY429" fmla="*/ 6483972 h 6857997"/>
              <a:gd name="connsiteX430" fmla="*/ 5809506 w 12191996"/>
              <a:gd name="connsiteY430" fmla="*/ 6512889 h 6857997"/>
              <a:gd name="connsiteX431" fmla="*/ 5829842 w 12191996"/>
              <a:gd name="connsiteY431" fmla="*/ 6522691 h 6857997"/>
              <a:gd name="connsiteX432" fmla="*/ 5850285 w 12191996"/>
              <a:gd name="connsiteY432" fmla="*/ 6512924 h 6857997"/>
              <a:gd name="connsiteX433" fmla="*/ 5858305 w 12191996"/>
              <a:gd name="connsiteY433" fmla="*/ 6483205 h 6857997"/>
              <a:gd name="connsiteX434" fmla="*/ 5850144 w 12191996"/>
              <a:gd name="connsiteY434" fmla="*/ 6455020 h 6857997"/>
              <a:gd name="connsiteX435" fmla="*/ 5829842 w 12191996"/>
              <a:gd name="connsiteY435" fmla="*/ 6445253 h 6857997"/>
              <a:gd name="connsiteX436" fmla="*/ 2714271 w 12191996"/>
              <a:gd name="connsiteY436" fmla="*/ 6445253 h 6857997"/>
              <a:gd name="connsiteX437" fmla="*/ 2703162 w 12191996"/>
              <a:gd name="connsiteY437" fmla="*/ 6448271 h 6857997"/>
              <a:gd name="connsiteX438" fmla="*/ 2694979 w 12191996"/>
              <a:gd name="connsiteY438" fmla="*/ 6457393 h 6857997"/>
              <a:gd name="connsiteX439" fmla="*/ 2694979 w 12191996"/>
              <a:gd name="connsiteY439" fmla="*/ 6446928 h 6857997"/>
              <a:gd name="connsiteX440" fmla="*/ 2685702 w 12191996"/>
              <a:gd name="connsiteY440" fmla="*/ 6446928 h 6857997"/>
              <a:gd name="connsiteX441" fmla="*/ 2685702 w 12191996"/>
              <a:gd name="connsiteY441" fmla="*/ 6521016 h 6857997"/>
              <a:gd name="connsiteX442" fmla="*/ 2695956 w 12191996"/>
              <a:gd name="connsiteY442" fmla="*/ 6521016 h 6857997"/>
              <a:gd name="connsiteX443" fmla="*/ 2695956 w 12191996"/>
              <a:gd name="connsiteY443" fmla="*/ 6480510 h 6857997"/>
              <a:gd name="connsiteX444" fmla="*/ 2700353 w 12191996"/>
              <a:gd name="connsiteY444" fmla="*/ 6461584 h 6857997"/>
              <a:gd name="connsiteX445" fmla="*/ 2712140 w 12191996"/>
              <a:gd name="connsiteY445" fmla="*/ 6456067 h 6857997"/>
              <a:gd name="connsiteX446" fmla="*/ 2719012 w 12191996"/>
              <a:gd name="connsiteY446" fmla="*/ 6458127 h 6857997"/>
              <a:gd name="connsiteX447" fmla="*/ 2723374 w 12191996"/>
              <a:gd name="connsiteY447" fmla="*/ 6463958 h 6857997"/>
              <a:gd name="connsiteX448" fmla="*/ 2724768 w 12191996"/>
              <a:gd name="connsiteY448" fmla="*/ 6475901 h 6857997"/>
              <a:gd name="connsiteX449" fmla="*/ 2724768 w 12191996"/>
              <a:gd name="connsiteY449" fmla="*/ 6521016 h 6857997"/>
              <a:gd name="connsiteX450" fmla="*/ 2735023 w 12191996"/>
              <a:gd name="connsiteY450" fmla="*/ 6521016 h 6857997"/>
              <a:gd name="connsiteX451" fmla="*/ 2735023 w 12191996"/>
              <a:gd name="connsiteY451" fmla="*/ 6475461 h 6857997"/>
              <a:gd name="connsiteX452" fmla="*/ 2733768 w 12191996"/>
              <a:gd name="connsiteY452" fmla="*/ 6460253 h 6857997"/>
              <a:gd name="connsiteX453" fmla="*/ 2729976 w 12191996"/>
              <a:gd name="connsiteY453" fmla="*/ 6452195 h 6857997"/>
              <a:gd name="connsiteX454" fmla="*/ 2723290 w 12191996"/>
              <a:gd name="connsiteY454" fmla="*/ 6447172 h 6857997"/>
              <a:gd name="connsiteX455" fmla="*/ 2714271 w 12191996"/>
              <a:gd name="connsiteY455" fmla="*/ 6445253 h 6857997"/>
              <a:gd name="connsiteX456" fmla="*/ 2644839 w 12191996"/>
              <a:gd name="connsiteY456" fmla="*/ 6445253 h 6857997"/>
              <a:gd name="connsiteX457" fmla="*/ 2625967 w 12191996"/>
              <a:gd name="connsiteY457" fmla="*/ 6450695 h 6857997"/>
              <a:gd name="connsiteX458" fmla="*/ 2617211 w 12191996"/>
              <a:gd name="connsiteY458" fmla="*/ 6468066 h 6857997"/>
              <a:gd name="connsiteX459" fmla="*/ 2627327 w 12191996"/>
              <a:gd name="connsiteY459" fmla="*/ 6469740 h 6857997"/>
              <a:gd name="connsiteX460" fmla="*/ 2632562 w 12191996"/>
              <a:gd name="connsiteY460" fmla="*/ 6458558 h 6857997"/>
              <a:gd name="connsiteX461" fmla="*/ 2643303 w 12191996"/>
              <a:gd name="connsiteY461" fmla="*/ 6455578 h 6857997"/>
              <a:gd name="connsiteX462" fmla="*/ 2655093 w 12191996"/>
              <a:gd name="connsiteY462" fmla="*/ 6460043 h 6857997"/>
              <a:gd name="connsiteX463" fmla="*/ 2657815 w 12191996"/>
              <a:gd name="connsiteY463" fmla="*/ 6470717 h 6857997"/>
              <a:gd name="connsiteX464" fmla="*/ 2657744 w 12191996"/>
              <a:gd name="connsiteY464" fmla="*/ 6473926 h 6857997"/>
              <a:gd name="connsiteX465" fmla="*/ 2639327 w 12191996"/>
              <a:gd name="connsiteY465" fmla="*/ 6478321 h 6857997"/>
              <a:gd name="connsiteX466" fmla="*/ 2625374 w 12191996"/>
              <a:gd name="connsiteY466" fmla="*/ 6482437 h 6857997"/>
              <a:gd name="connsiteX467" fmla="*/ 2618117 w 12191996"/>
              <a:gd name="connsiteY467" fmla="*/ 6490181 h 6857997"/>
              <a:gd name="connsiteX468" fmla="*/ 2615466 w 12191996"/>
              <a:gd name="connsiteY468" fmla="*/ 6501552 h 6857997"/>
              <a:gd name="connsiteX469" fmla="*/ 2621117 w 12191996"/>
              <a:gd name="connsiteY469" fmla="*/ 6516970 h 6857997"/>
              <a:gd name="connsiteX470" fmla="*/ 2636258 w 12191996"/>
              <a:gd name="connsiteY470" fmla="*/ 6522691 h 6857997"/>
              <a:gd name="connsiteX471" fmla="*/ 2647837 w 12191996"/>
              <a:gd name="connsiteY471" fmla="*/ 6519969 h 6857997"/>
              <a:gd name="connsiteX472" fmla="*/ 2658582 w 12191996"/>
              <a:gd name="connsiteY472" fmla="*/ 6511876 h 6857997"/>
              <a:gd name="connsiteX473" fmla="*/ 2660674 w 12191996"/>
              <a:gd name="connsiteY473" fmla="*/ 6521016 h 6857997"/>
              <a:gd name="connsiteX474" fmla="*/ 2671419 w 12191996"/>
              <a:gd name="connsiteY474" fmla="*/ 6521016 h 6857997"/>
              <a:gd name="connsiteX475" fmla="*/ 2668802 w 12191996"/>
              <a:gd name="connsiteY475" fmla="*/ 6512121 h 6857997"/>
              <a:gd name="connsiteX476" fmla="*/ 2668139 w 12191996"/>
              <a:gd name="connsiteY476" fmla="*/ 6489972 h 6857997"/>
              <a:gd name="connsiteX477" fmla="*/ 2668139 w 12191996"/>
              <a:gd name="connsiteY477" fmla="*/ 6473228 h 6857997"/>
              <a:gd name="connsiteX478" fmla="*/ 2666708 w 12191996"/>
              <a:gd name="connsiteY478" fmla="*/ 6457741 h 6857997"/>
              <a:gd name="connsiteX479" fmla="*/ 2659837 w 12191996"/>
              <a:gd name="connsiteY479" fmla="*/ 6448846 h 6857997"/>
              <a:gd name="connsiteX480" fmla="*/ 2644839 w 12191996"/>
              <a:gd name="connsiteY480" fmla="*/ 6445253 h 6857997"/>
              <a:gd name="connsiteX481" fmla="*/ 2574815 w 12191996"/>
              <a:gd name="connsiteY481" fmla="*/ 6445253 h 6857997"/>
              <a:gd name="connsiteX482" fmla="*/ 2568151 w 12191996"/>
              <a:gd name="connsiteY482" fmla="*/ 6447800 h 6857997"/>
              <a:gd name="connsiteX483" fmla="*/ 2561629 w 12191996"/>
              <a:gd name="connsiteY483" fmla="*/ 6458160 h 6857997"/>
              <a:gd name="connsiteX484" fmla="*/ 2561629 w 12191996"/>
              <a:gd name="connsiteY484" fmla="*/ 6446928 h 6857997"/>
              <a:gd name="connsiteX485" fmla="*/ 2552350 w 12191996"/>
              <a:gd name="connsiteY485" fmla="*/ 6446928 h 6857997"/>
              <a:gd name="connsiteX486" fmla="*/ 2552350 w 12191996"/>
              <a:gd name="connsiteY486" fmla="*/ 6521016 h 6857997"/>
              <a:gd name="connsiteX487" fmla="*/ 2562605 w 12191996"/>
              <a:gd name="connsiteY487" fmla="*/ 6521016 h 6857997"/>
              <a:gd name="connsiteX488" fmla="*/ 2562605 w 12191996"/>
              <a:gd name="connsiteY488" fmla="*/ 6482228 h 6857997"/>
              <a:gd name="connsiteX489" fmla="*/ 2564558 w 12191996"/>
              <a:gd name="connsiteY489" fmla="*/ 6466950 h 6857997"/>
              <a:gd name="connsiteX490" fmla="*/ 2568395 w 12191996"/>
              <a:gd name="connsiteY490" fmla="*/ 6460532 h 6857997"/>
              <a:gd name="connsiteX491" fmla="*/ 2574395 w 12191996"/>
              <a:gd name="connsiteY491" fmla="*/ 6458229 h 6857997"/>
              <a:gd name="connsiteX492" fmla="*/ 2581860 w 12191996"/>
              <a:gd name="connsiteY492" fmla="*/ 6460950 h 6857997"/>
              <a:gd name="connsiteX493" fmla="*/ 2585348 w 12191996"/>
              <a:gd name="connsiteY493" fmla="*/ 6449300 h 6857997"/>
              <a:gd name="connsiteX494" fmla="*/ 2574815 w 12191996"/>
              <a:gd name="connsiteY494" fmla="*/ 6445253 h 6857997"/>
              <a:gd name="connsiteX495" fmla="*/ 2510583 w 12191996"/>
              <a:gd name="connsiteY495" fmla="*/ 6445253 h 6857997"/>
              <a:gd name="connsiteX496" fmla="*/ 2490178 w 12191996"/>
              <a:gd name="connsiteY496" fmla="*/ 6455334 h 6857997"/>
              <a:gd name="connsiteX497" fmla="*/ 2482119 w 12191996"/>
              <a:gd name="connsiteY497" fmla="*/ 6484600 h 6857997"/>
              <a:gd name="connsiteX498" fmla="*/ 2490104 w 12191996"/>
              <a:gd name="connsiteY498" fmla="*/ 6512889 h 6857997"/>
              <a:gd name="connsiteX499" fmla="*/ 2511000 w 12191996"/>
              <a:gd name="connsiteY499" fmla="*/ 6522691 h 6857997"/>
              <a:gd name="connsiteX500" fmla="*/ 2528195 w 12191996"/>
              <a:gd name="connsiteY500" fmla="*/ 6516656 h 6857997"/>
              <a:gd name="connsiteX501" fmla="*/ 2537790 w 12191996"/>
              <a:gd name="connsiteY501" fmla="*/ 6498762 h 6857997"/>
              <a:gd name="connsiteX502" fmla="*/ 2527186 w 12191996"/>
              <a:gd name="connsiteY502" fmla="*/ 6497157 h 6857997"/>
              <a:gd name="connsiteX503" fmla="*/ 2511068 w 12191996"/>
              <a:gd name="connsiteY503" fmla="*/ 6512366 h 6857997"/>
              <a:gd name="connsiteX504" fmla="*/ 2498511 w 12191996"/>
              <a:gd name="connsiteY504" fmla="*/ 6506017 h 6857997"/>
              <a:gd name="connsiteX505" fmla="*/ 2492723 w 12191996"/>
              <a:gd name="connsiteY505" fmla="*/ 6487181 h 6857997"/>
              <a:gd name="connsiteX506" fmla="*/ 2538068 w 12191996"/>
              <a:gd name="connsiteY506" fmla="*/ 6487181 h 6857997"/>
              <a:gd name="connsiteX507" fmla="*/ 2538139 w 12191996"/>
              <a:gd name="connsiteY507" fmla="*/ 6483832 h 6857997"/>
              <a:gd name="connsiteX508" fmla="*/ 2530255 w 12191996"/>
              <a:gd name="connsiteY508" fmla="*/ 6455160 h 6857997"/>
              <a:gd name="connsiteX509" fmla="*/ 2510583 w 12191996"/>
              <a:gd name="connsiteY509" fmla="*/ 6445253 h 6857997"/>
              <a:gd name="connsiteX510" fmla="*/ 1942743 w 12191996"/>
              <a:gd name="connsiteY510" fmla="*/ 6445253 h 6857997"/>
              <a:gd name="connsiteX511" fmla="*/ 1931635 w 12191996"/>
              <a:gd name="connsiteY511" fmla="*/ 6448271 h 6857997"/>
              <a:gd name="connsiteX512" fmla="*/ 1923452 w 12191996"/>
              <a:gd name="connsiteY512" fmla="*/ 6457393 h 6857997"/>
              <a:gd name="connsiteX513" fmla="*/ 1923452 w 12191996"/>
              <a:gd name="connsiteY513" fmla="*/ 6446928 h 6857997"/>
              <a:gd name="connsiteX514" fmla="*/ 1914173 w 12191996"/>
              <a:gd name="connsiteY514" fmla="*/ 6446928 h 6857997"/>
              <a:gd name="connsiteX515" fmla="*/ 1914173 w 12191996"/>
              <a:gd name="connsiteY515" fmla="*/ 6521016 h 6857997"/>
              <a:gd name="connsiteX516" fmla="*/ 1924429 w 12191996"/>
              <a:gd name="connsiteY516" fmla="*/ 6521016 h 6857997"/>
              <a:gd name="connsiteX517" fmla="*/ 1924429 w 12191996"/>
              <a:gd name="connsiteY517" fmla="*/ 6480510 h 6857997"/>
              <a:gd name="connsiteX518" fmla="*/ 1928824 w 12191996"/>
              <a:gd name="connsiteY518" fmla="*/ 6461584 h 6857997"/>
              <a:gd name="connsiteX519" fmla="*/ 1940614 w 12191996"/>
              <a:gd name="connsiteY519" fmla="*/ 6456067 h 6857997"/>
              <a:gd name="connsiteX520" fmla="*/ 1947485 w 12191996"/>
              <a:gd name="connsiteY520" fmla="*/ 6458127 h 6857997"/>
              <a:gd name="connsiteX521" fmla="*/ 1951846 w 12191996"/>
              <a:gd name="connsiteY521" fmla="*/ 6463958 h 6857997"/>
              <a:gd name="connsiteX522" fmla="*/ 1953242 w 12191996"/>
              <a:gd name="connsiteY522" fmla="*/ 6475901 h 6857997"/>
              <a:gd name="connsiteX523" fmla="*/ 1953242 w 12191996"/>
              <a:gd name="connsiteY523" fmla="*/ 6521016 h 6857997"/>
              <a:gd name="connsiteX524" fmla="*/ 1963497 w 12191996"/>
              <a:gd name="connsiteY524" fmla="*/ 6521016 h 6857997"/>
              <a:gd name="connsiteX525" fmla="*/ 1963497 w 12191996"/>
              <a:gd name="connsiteY525" fmla="*/ 6475461 h 6857997"/>
              <a:gd name="connsiteX526" fmla="*/ 1962243 w 12191996"/>
              <a:gd name="connsiteY526" fmla="*/ 6460253 h 6857997"/>
              <a:gd name="connsiteX527" fmla="*/ 1958447 w 12191996"/>
              <a:gd name="connsiteY527" fmla="*/ 6452195 h 6857997"/>
              <a:gd name="connsiteX528" fmla="*/ 1951761 w 12191996"/>
              <a:gd name="connsiteY528" fmla="*/ 6447172 h 6857997"/>
              <a:gd name="connsiteX529" fmla="*/ 1942743 w 12191996"/>
              <a:gd name="connsiteY529" fmla="*/ 6445253 h 6857997"/>
              <a:gd name="connsiteX530" fmla="*/ 1872055 w 12191996"/>
              <a:gd name="connsiteY530" fmla="*/ 6445253 h 6857997"/>
              <a:gd name="connsiteX531" fmla="*/ 1851649 w 12191996"/>
              <a:gd name="connsiteY531" fmla="*/ 6455020 h 6857997"/>
              <a:gd name="connsiteX532" fmla="*/ 1843593 w 12191996"/>
              <a:gd name="connsiteY532" fmla="*/ 6483972 h 6857997"/>
              <a:gd name="connsiteX533" fmla="*/ 1851719 w 12191996"/>
              <a:gd name="connsiteY533" fmla="*/ 6512889 h 6857997"/>
              <a:gd name="connsiteX534" fmla="*/ 1872055 w 12191996"/>
              <a:gd name="connsiteY534" fmla="*/ 6522691 h 6857997"/>
              <a:gd name="connsiteX535" fmla="*/ 1892496 w 12191996"/>
              <a:gd name="connsiteY535" fmla="*/ 6512924 h 6857997"/>
              <a:gd name="connsiteX536" fmla="*/ 1900519 w 12191996"/>
              <a:gd name="connsiteY536" fmla="*/ 6483205 h 6857997"/>
              <a:gd name="connsiteX537" fmla="*/ 1892356 w 12191996"/>
              <a:gd name="connsiteY537" fmla="*/ 6455020 h 6857997"/>
              <a:gd name="connsiteX538" fmla="*/ 1872055 w 12191996"/>
              <a:gd name="connsiteY538" fmla="*/ 6445253 h 6857997"/>
              <a:gd name="connsiteX539" fmla="*/ 1803287 w 12191996"/>
              <a:gd name="connsiteY539" fmla="*/ 6445253 h 6857997"/>
              <a:gd name="connsiteX540" fmla="*/ 1796625 w 12191996"/>
              <a:gd name="connsiteY540" fmla="*/ 6447800 h 6857997"/>
              <a:gd name="connsiteX541" fmla="*/ 1790103 w 12191996"/>
              <a:gd name="connsiteY541" fmla="*/ 6458160 h 6857997"/>
              <a:gd name="connsiteX542" fmla="*/ 1790103 w 12191996"/>
              <a:gd name="connsiteY542" fmla="*/ 6446928 h 6857997"/>
              <a:gd name="connsiteX543" fmla="*/ 1780823 w 12191996"/>
              <a:gd name="connsiteY543" fmla="*/ 6446928 h 6857997"/>
              <a:gd name="connsiteX544" fmla="*/ 1780823 w 12191996"/>
              <a:gd name="connsiteY544" fmla="*/ 6521016 h 6857997"/>
              <a:gd name="connsiteX545" fmla="*/ 1791079 w 12191996"/>
              <a:gd name="connsiteY545" fmla="*/ 6521016 h 6857997"/>
              <a:gd name="connsiteX546" fmla="*/ 1791079 w 12191996"/>
              <a:gd name="connsiteY546" fmla="*/ 6482228 h 6857997"/>
              <a:gd name="connsiteX547" fmla="*/ 1793032 w 12191996"/>
              <a:gd name="connsiteY547" fmla="*/ 6466950 h 6857997"/>
              <a:gd name="connsiteX548" fmla="*/ 1796869 w 12191996"/>
              <a:gd name="connsiteY548" fmla="*/ 6460532 h 6857997"/>
              <a:gd name="connsiteX549" fmla="*/ 1802869 w 12191996"/>
              <a:gd name="connsiteY549" fmla="*/ 6458229 h 6857997"/>
              <a:gd name="connsiteX550" fmla="*/ 1810333 w 12191996"/>
              <a:gd name="connsiteY550" fmla="*/ 6460950 h 6857997"/>
              <a:gd name="connsiteX551" fmla="*/ 1813822 w 12191996"/>
              <a:gd name="connsiteY551" fmla="*/ 6449300 h 6857997"/>
              <a:gd name="connsiteX552" fmla="*/ 1803287 w 12191996"/>
              <a:gd name="connsiteY552" fmla="*/ 6445253 h 6857997"/>
              <a:gd name="connsiteX553" fmla="*/ 1715748 w 12191996"/>
              <a:gd name="connsiteY553" fmla="*/ 6445253 h 6857997"/>
              <a:gd name="connsiteX554" fmla="*/ 1698935 w 12191996"/>
              <a:gd name="connsiteY554" fmla="*/ 6451183 h 6857997"/>
              <a:gd name="connsiteX555" fmla="*/ 1692866 w 12191996"/>
              <a:gd name="connsiteY555" fmla="*/ 6466601 h 6857997"/>
              <a:gd name="connsiteX556" fmla="*/ 1695099 w 12191996"/>
              <a:gd name="connsiteY556" fmla="*/ 6476438 h 6857997"/>
              <a:gd name="connsiteX557" fmla="*/ 1701377 w 12191996"/>
              <a:gd name="connsiteY557" fmla="*/ 6483344 h 6857997"/>
              <a:gd name="connsiteX558" fmla="*/ 1717423 w 12191996"/>
              <a:gd name="connsiteY558" fmla="*/ 6489623 h 6857997"/>
              <a:gd name="connsiteX559" fmla="*/ 1727887 w 12191996"/>
              <a:gd name="connsiteY559" fmla="*/ 6493809 h 6857997"/>
              <a:gd name="connsiteX560" fmla="*/ 1731026 w 12191996"/>
              <a:gd name="connsiteY560" fmla="*/ 6500645 h 6857997"/>
              <a:gd name="connsiteX561" fmla="*/ 1727373 w 12191996"/>
              <a:gd name="connsiteY561" fmla="*/ 6509052 h 6857997"/>
              <a:gd name="connsiteX562" fmla="*/ 1717037 w 12191996"/>
              <a:gd name="connsiteY562" fmla="*/ 6512366 h 6857997"/>
              <a:gd name="connsiteX563" fmla="*/ 1706319 w 12191996"/>
              <a:gd name="connsiteY563" fmla="*/ 6508546 h 6857997"/>
              <a:gd name="connsiteX564" fmla="*/ 1701377 w 12191996"/>
              <a:gd name="connsiteY564" fmla="*/ 6496878 h 6857997"/>
              <a:gd name="connsiteX565" fmla="*/ 1691122 w 12191996"/>
              <a:gd name="connsiteY565" fmla="*/ 6498832 h 6857997"/>
              <a:gd name="connsiteX566" fmla="*/ 1716446 w 12191996"/>
              <a:gd name="connsiteY566" fmla="*/ 6522691 h 6857997"/>
              <a:gd name="connsiteX567" fmla="*/ 1734829 w 12191996"/>
              <a:gd name="connsiteY567" fmla="*/ 6516121 h 6857997"/>
              <a:gd name="connsiteX568" fmla="*/ 1741562 w 12191996"/>
              <a:gd name="connsiteY568" fmla="*/ 6498930 h 6857997"/>
              <a:gd name="connsiteX569" fmla="*/ 1739475 w 12191996"/>
              <a:gd name="connsiteY569" fmla="*/ 6489041 h 6857997"/>
              <a:gd name="connsiteX570" fmla="*/ 1733637 w 12191996"/>
              <a:gd name="connsiteY570" fmla="*/ 6482472 h 6857997"/>
              <a:gd name="connsiteX571" fmla="*/ 1717100 w 12191996"/>
              <a:gd name="connsiteY571" fmla="*/ 6476005 h 6857997"/>
              <a:gd name="connsiteX572" fmla="*/ 1705917 w 12191996"/>
              <a:gd name="connsiteY572" fmla="*/ 6471559 h 6857997"/>
              <a:gd name="connsiteX573" fmla="*/ 1702772 w 12191996"/>
              <a:gd name="connsiteY573" fmla="*/ 6465097 h 6857997"/>
              <a:gd name="connsiteX574" fmla="*/ 1706052 w 12191996"/>
              <a:gd name="connsiteY574" fmla="*/ 6458253 h 6857997"/>
              <a:gd name="connsiteX575" fmla="*/ 1716027 w 12191996"/>
              <a:gd name="connsiteY575" fmla="*/ 6455578 h 6857997"/>
              <a:gd name="connsiteX576" fmla="*/ 1729213 w 12191996"/>
              <a:gd name="connsiteY576" fmla="*/ 6467717 h 6857997"/>
              <a:gd name="connsiteX577" fmla="*/ 1739260 w 12191996"/>
              <a:gd name="connsiteY577" fmla="*/ 6466043 h 6857997"/>
              <a:gd name="connsiteX578" fmla="*/ 1735491 w 12191996"/>
              <a:gd name="connsiteY578" fmla="*/ 6454253 h 6857997"/>
              <a:gd name="connsiteX579" fmla="*/ 1727643 w 12191996"/>
              <a:gd name="connsiteY579" fmla="*/ 6447695 h 6857997"/>
              <a:gd name="connsiteX580" fmla="*/ 1715748 w 12191996"/>
              <a:gd name="connsiteY580" fmla="*/ 6445253 h 6857997"/>
              <a:gd name="connsiteX581" fmla="*/ 1656992 w 12191996"/>
              <a:gd name="connsiteY581" fmla="*/ 6445253 h 6857997"/>
              <a:gd name="connsiteX582" fmla="*/ 1645885 w 12191996"/>
              <a:gd name="connsiteY582" fmla="*/ 6448271 h 6857997"/>
              <a:gd name="connsiteX583" fmla="*/ 1637702 w 12191996"/>
              <a:gd name="connsiteY583" fmla="*/ 6457393 h 6857997"/>
              <a:gd name="connsiteX584" fmla="*/ 1637702 w 12191996"/>
              <a:gd name="connsiteY584" fmla="*/ 6446928 h 6857997"/>
              <a:gd name="connsiteX585" fmla="*/ 1628424 w 12191996"/>
              <a:gd name="connsiteY585" fmla="*/ 6446928 h 6857997"/>
              <a:gd name="connsiteX586" fmla="*/ 1628424 w 12191996"/>
              <a:gd name="connsiteY586" fmla="*/ 6521016 h 6857997"/>
              <a:gd name="connsiteX587" fmla="*/ 1638679 w 12191996"/>
              <a:gd name="connsiteY587" fmla="*/ 6521016 h 6857997"/>
              <a:gd name="connsiteX588" fmla="*/ 1638679 w 12191996"/>
              <a:gd name="connsiteY588" fmla="*/ 6480510 h 6857997"/>
              <a:gd name="connsiteX589" fmla="*/ 1643074 w 12191996"/>
              <a:gd name="connsiteY589" fmla="*/ 6461584 h 6857997"/>
              <a:gd name="connsiteX590" fmla="*/ 1654864 w 12191996"/>
              <a:gd name="connsiteY590" fmla="*/ 6456067 h 6857997"/>
              <a:gd name="connsiteX591" fmla="*/ 1661735 w 12191996"/>
              <a:gd name="connsiteY591" fmla="*/ 6458127 h 6857997"/>
              <a:gd name="connsiteX592" fmla="*/ 1666095 w 12191996"/>
              <a:gd name="connsiteY592" fmla="*/ 6463958 h 6857997"/>
              <a:gd name="connsiteX593" fmla="*/ 1667491 w 12191996"/>
              <a:gd name="connsiteY593" fmla="*/ 6475901 h 6857997"/>
              <a:gd name="connsiteX594" fmla="*/ 1667491 w 12191996"/>
              <a:gd name="connsiteY594" fmla="*/ 6521016 h 6857997"/>
              <a:gd name="connsiteX595" fmla="*/ 1677746 w 12191996"/>
              <a:gd name="connsiteY595" fmla="*/ 6521016 h 6857997"/>
              <a:gd name="connsiteX596" fmla="*/ 1677746 w 12191996"/>
              <a:gd name="connsiteY596" fmla="*/ 6475461 h 6857997"/>
              <a:gd name="connsiteX597" fmla="*/ 1676493 w 12191996"/>
              <a:gd name="connsiteY597" fmla="*/ 6460253 h 6857997"/>
              <a:gd name="connsiteX598" fmla="*/ 1672697 w 12191996"/>
              <a:gd name="connsiteY598" fmla="*/ 6452195 h 6857997"/>
              <a:gd name="connsiteX599" fmla="*/ 1666011 w 12191996"/>
              <a:gd name="connsiteY599" fmla="*/ 6447172 h 6857997"/>
              <a:gd name="connsiteX600" fmla="*/ 1656992 w 12191996"/>
              <a:gd name="connsiteY600" fmla="*/ 6445253 h 6857997"/>
              <a:gd name="connsiteX601" fmla="*/ 1586654 w 12191996"/>
              <a:gd name="connsiteY601" fmla="*/ 6445253 h 6857997"/>
              <a:gd name="connsiteX602" fmla="*/ 1566248 w 12191996"/>
              <a:gd name="connsiteY602" fmla="*/ 6455334 h 6857997"/>
              <a:gd name="connsiteX603" fmla="*/ 1558191 w 12191996"/>
              <a:gd name="connsiteY603" fmla="*/ 6484600 h 6857997"/>
              <a:gd name="connsiteX604" fmla="*/ 1566178 w 12191996"/>
              <a:gd name="connsiteY604" fmla="*/ 6512889 h 6857997"/>
              <a:gd name="connsiteX605" fmla="*/ 1587073 w 12191996"/>
              <a:gd name="connsiteY605" fmla="*/ 6522691 h 6857997"/>
              <a:gd name="connsiteX606" fmla="*/ 1604269 w 12191996"/>
              <a:gd name="connsiteY606" fmla="*/ 6516656 h 6857997"/>
              <a:gd name="connsiteX607" fmla="*/ 1613862 w 12191996"/>
              <a:gd name="connsiteY607" fmla="*/ 6498762 h 6857997"/>
              <a:gd name="connsiteX608" fmla="*/ 1603258 w 12191996"/>
              <a:gd name="connsiteY608" fmla="*/ 6497157 h 6857997"/>
              <a:gd name="connsiteX609" fmla="*/ 1587142 w 12191996"/>
              <a:gd name="connsiteY609" fmla="*/ 6512366 h 6857997"/>
              <a:gd name="connsiteX610" fmla="*/ 1574585 w 12191996"/>
              <a:gd name="connsiteY610" fmla="*/ 6506017 h 6857997"/>
              <a:gd name="connsiteX611" fmla="*/ 1568795 w 12191996"/>
              <a:gd name="connsiteY611" fmla="*/ 6487181 h 6857997"/>
              <a:gd name="connsiteX612" fmla="*/ 1614140 w 12191996"/>
              <a:gd name="connsiteY612" fmla="*/ 6487181 h 6857997"/>
              <a:gd name="connsiteX613" fmla="*/ 1614210 w 12191996"/>
              <a:gd name="connsiteY613" fmla="*/ 6483832 h 6857997"/>
              <a:gd name="connsiteX614" fmla="*/ 1606327 w 12191996"/>
              <a:gd name="connsiteY614" fmla="*/ 6455160 h 6857997"/>
              <a:gd name="connsiteX615" fmla="*/ 1586654 w 12191996"/>
              <a:gd name="connsiteY615" fmla="*/ 6445253 h 6857997"/>
              <a:gd name="connsiteX616" fmla="*/ 1317373 w 12191996"/>
              <a:gd name="connsiteY616" fmla="*/ 6445253 h 6857997"/>
              <a:gd name="connsiteX617" fmla="*/ 1304152 w 12191996"/>
              <a:gd name="connsiteY617" fmla="*/ 6449439 h 6857997"/>
              <a:gd name="connsiteX618" fmla="*/ 1294630 w 12191996"/>
              <a:gd name="connsiteY618" fmla="*/ 6462555 h 6857997"/>
              <a:gd name="connsiteX619" fmla="*/ 1291002 w 12191996"/>
              <a:gd name="connsiteY619" fmla="*/ 6483414 h 6857997"/>
              <a:gd name="connsiteX620" fmla="*/ 1299234 w 12191996"/>
              <a:gd name="connsiteY620" fmla="*/ 6511808 h 6857997"/>
              <a:gd name="connsiteX621" fmla="*/ 1317303 w 12191996"/>
              <a:gd name="connsiteY621" fmla="*/ 6521016 h 6857997"/>
              <a:gd name="connsiteX622" fmla="*/ 1326581 w 12191996"/>
              <a:gd name="connsiteY622" fmla="*/ 6518591 h 6857997"/>
              <a:gd name="connsiteX623" fmla="*/ 1334116 w 12191996"/>
              <a:gd name="connsiteY623" fmla="*/ 6511385 h 6857997"/>
              <a:gd name="connsiteX624" fmla="*/ 1333209 w 12191996"/>
              <a:gd name="connsiteY624" fmla="*/ 6527851 h 6857997"/>
              <a:gd name="connsiteX625" fmla="*/ 1327732 w 12191996"/>
              <a:gd name="connsiteY625" fmla="*/ 6537515 h 6857997"/>
              <a:gd name="connsiteX626" fmla="*/ 1316954 w 12191996"/>
              <a:gd name="connsiteY626" fmla="*/ 6540759 h 6857997"/>
              <a:gd name="connsiteX627" fmla="*/ 1307257 w 12191996"/>
              <a:gd name="connsiteY627" fmla="*/ 6537847 h 6857997"/>
              <a:gd name="connsiteX628" fmla="*/ 1303071 w 12191996"/>
              <a:gd name="connsiteY628" fmla="*/ 6528969 h 6857997"/>
              <a:gd name="connsiteX629" fmla="*/ 1293025 w 12191996"/>
              <a:gd name="connsiteY629" fmla="*/ 6527155 h 6857997"/>
              <a:gd name="connsiteX630" fmla="*/ 1299164 w 12191996"/>
              <a:gd name="connsiteY630" fmla="*/ 6544736 h 6857997"/>
              <a:gd name="connsiteX631" fmla="*/ 1317303 w 12191996"/>
              <a:gd name="connsiteY631" fmla="*/ 6551084 h 6857997"/>
              <a:gd name="connsiteX632" fmla="*/ 1332581 w 12191996"/>
              <a:gd name="connsiteY632" fmla="*/ 6546864 h 6857997"/>
              <a:gd name="connsiteX633" fmla="*/ 1341720 w 12191996"/>
              <a:gd name="connsiteY633" fmla="*/ 6535353 h 6857997"/>
              <a:gd name="connsiteX634" fmla="*/ 1344510 w 12191996"/>
              <a:gd name="connsiteY634" fmla="*/ 6510970 h 6857997"/>
              <a:gd name="connsiteX635" fmla="*/ 1344510 w 12191996"/>
              <a:gd name="connsiteY635" fmla="*/ 6446928 h 6857997"/>
              <a:gd name="connsiteX636" fmla="*/ 1335023 w 12191996"/>
              <a:gd name="connsiteY636" fmla="*/ 6446928 h 6857997"/>
              <a:gd name="connsiteX637" fmla="*/ 1335023 w 12191996"/>
              <a:gd name="connsiteY637" fmla="*/ 6455788 h 6857997"/>
              <a:gd name="connsiteX638" fmla="*/ 1327174 w 12191996"/>
              <a:gd name="connsiteY638" fmla="*/ 6447887 h 6857997"/>
              <a:gd name="connsiteX639" fmla="*/ 1317373 w 12191996"/>
              <a:gd name="connsiteY639" fmla="*/ 6445253 h 6857997"/>
              <a:gd name="connsiteX640" fmla="*/ 1250837 w 12191996"/>
              <a:gd name="connsiteY640" fmla="*/ 6445253 h 6857997"/>
              <a:gd name="connsiteX641" fmla="*/ 1244175 w 12191996"/>
              <a:gd name="connsiteY641" fmla="*/ 6447800 h 6857997"/>
              <a:gd name="connsiteX642" fmla="*/ 1237652 w 12191996"/>
              <a:gd name="connsiteY642" fmla="*/ 6458160 h 6857997"/>
              <a:gd name="connsiteX643" fmla="*/ 1237652 w 12191996"/>
              <a:gd name="connsiteY643" fmla="*/ 6446928 h 6857997"/>
              <a:gd name="connsiteX644" fmla="*/ 1230699 w 12191996"/>
              <a:gd name="connsiteY644" fmla="*/ 6446928 h 6857997"/>
              <a:gd name="connsiteX645" fmla="*/ 1228373 w 12191996"/>
              <a:gd name="connsiteY645" fmla="*/ 6446928 h 6857997"/>
              <a:gd name="connsiteX646" fmla="*/ 1220375 w 12191996"/>
              <a:gd name="connsiteY646" fmla="*/ 6446928 h 6857997"/>
              <a:gd name="connsiteX647" fmla="*/ 1207398 w 12191996"/>
              <a:gd name="connsiteY647" fmla="*/ 6490087 h 6857997"/>
              <a:gd name="connsiteX648" fmla="*/ 1203212 w 12191996"/>
              <a:gd name="connsiteY648" fmla="*/ 6506961 h 6857997"/>
              <a:gd name="connsiteX649" fmla="*/ 1198817 w 12191996"/>
              <a:gd name="connsiteY649" fmla="*/ 6489809 h 6857997"/>
              <a:gd name="connsiteX650" fmla="*/ 1186120 w 12191996"/>
              <a:gd name="connsiteY650" fmla="*/ 6446928 h 6857997"/>
              <a:gd name="connsiteX651" fmla="*/ 1175028 w 12191996"/>
              <a:gd name="connsiteY651" fmla="*/ 6446928 h 6857997"/>
              <a:gd name="connsiteX652" fmla="*/ 1198138 w 12191996"/>
              <a:gd name="connsiteY652" fmla="*/ 6521126 h 6857997"/>
              <a:gd name="connsiteX653" fmla="*/ 1194086 w 12191996"/>
              <a:gd name="connsiteY653" fmla="*/ 6533432 h 6857997"/>
              <a:gd name="connsiteX654" fmla="*/ 1190560 w 12191996"/>
              <a:gd name="connsiteY654" fmla="*/ 6537550 h 6857997"/>
              <a:gd name="connsiteX655" fmla="*/ 1185149 w 12191996"/>
              <a:gd name="connsiteY655" fmla="*/ 6538876 h 6857997"/>
              <a:gd name="connsiteX656" fmla="*/ 1179283 w 12191996"/>
              <a:gd name="connsiteY656" fmla="*/ 6537759 h 6857997"/>
              <a:gd name="connsiteX657" fmla="*/ 1180400 w 12191996"/>
              <a:gd name="connsiteY657" fmla="*/ 6549549 h 6857997"/>
              <a:gd name="connsiteX658" fmla="*/ 1187038 w 12191996"/>
              <a:gd name="connsiteY658" fmla="*/ 6551084 h 6857997"/>
              <a:gd name="connsiteX659" fmla="*/ 1194549 w 12191996"/>
              <a:gd name="connsiteY659" fmla="*/ 6548922 h 6857997"/>
              <a:gd name="connsiteX660" fmla="*/ 1200489 w 12191996"/>
              <a:gd name="connsiteY660" fmla="*/ 6541841 h 6857997"/>
              <a:gd name="connsiteX661" fmla="*/ 1207651 w 12191996"/>
              <a:gd name="connsiteY661" fmla="*/ 6522272 h 6857997"/>
              <a:gd name="connsiteX662" fmla="*/ 1228373 w 12191996"/>
              <a:gd name="connsiteY662" fmla="*/ 6454530 h 6857997"/>
              <a:gd name="connsiteX663" fmla="*/ 1228373 w 12191996"/>
              <a:gd name="connsiteY663" fmla="*/ 6521016 h 6857997"/>
              <a:gd name="connsiteX664" fmla="*/ 1238629 w 12191996"/>
              <a:gd name="connsiteY664" fmla="*/ 6521016 h 6857997"/>
              <a:gd name="connsiteX665" fmla="*/ 1238629 w 12191996"/>
              <a:gd name="connsiteY665" fmla="*/ 6482228 h 6857997"/>
              <a:gd name="connsiteX666" fmla="*/ 1240582 w 12191996"/>
              <a:gd name="connsiteY666" fmla="*/ 6466950 h 6857997"/>
              <a:gd name="connsiteX667" fmla="*/ 1244419 w 12191996"/>
              <a:gd name="connsiteY667" fmla="*/ 6460532 h 6857997"/>
              <a:gd name="connsiteX668" fmla="*/ 1250419 w 12191996"/>
              <a:gd name="connsiteY668" fmla="*/ 6458229 h 6857997"/>
              <a:gd name="connsiteX669" fmla="*/ 1257883 w 12191996"/>
              <a:gd name="connsiteY669" fmla="*/ 6460950 h 6857997"/>
              <a:gd name="connsiteX670" fmla="*/ 1261371 w 12191996"/>
              <a:gd name="connsiteY670" fmla="*/ 6449300 h 6857997"/>
              <a:gd name="connsiteX671" fmla="*/ 1250837 w 12191996"/>
              <a:gd name="connsiteY671" fmla="*/ 6445253 h 6857997"/>
              <a:gd name="connsiteX672" fmla="*/ 1141043 w 12191996"/>
              <a:gd name="connsiteY672" fmla="*/ 6445253 h 6857997"/>
              <a:gd name="connsiteX673" fmla="*/ 1131292 w 12191996"/>
              <a:gd name="connsiteY673" fmla="*/ 6447904 h 6857997"/>
              <a:gd name="connsiteX674" fmla="*/ 1123561 w 12191996"/>
              <a:gd name="connsiteY674" fmla="*/ 6456555 h 6857997"/>
              <a:gd name="connsiteX675" fmla="*/ 1123561 w 12191996"/>
              <a:gd name="connsiteY675" fmla="*/ 6446928 h 6857997"/>
              <a:gd name="connsiteX676" fmla="*/ 1114073 w 12191996"/>
              <a:gd name="connsiteY676" fmla="*/ 6446928 h 6857997"/>
              <a:gd name="connsiteX677" fmla="*/ 1114073 w 12191996"/>
              <a:gd name="connsiteY677" fmla="*/ 6549410 h 6857997"/>
              <a:gd name="connsiteX678" fmla="*/ 1124329 w 12191996"/>
              <a:gd name="connsiteY678" fmla="*/ 6549410 h 6857997"/>
              <a:gd name="connsiteX679" fmla="*/ 1124329 w 12191996"/>
              <a:gd name="connsiteY679" fmla="*/ 6513342 h 6857997"/>
              <a:gd name="connsiteX680" fmla="*/ 1131444 w 12191996"/>
              <a:gd name="connsiteY680" fmla="*/ 6520249 h 6857997"/>
              <a:gd name="connsiteX681" fmla="*/ 1140304 w 12191996"/>
              <a:gd name="connsiteY681" fmla="*/ 6522691 h 6857997"/>
              <a:gd name="connsiteX682" fmla="*/ 1158896 w 12191996"/>
              <a:gd name="connsiteY682" fmla="*/ 6512470 h 6857997"/>
              <a:gd name="connsiteX683" fmla="*/ 1166814 w 12191996"/>
              <a:gd name="connsiteY683" fmla="*/ 6483344 h 6857997"/>
              <a:gd name="connsiteX684" fmla="*/ 1163297 w 12191996"/>
              <a:gd name="connsiteY684" fmla="*/ 6462450 h 6857997"/>
              <a:gd name="connsiteX685" fmla="*/ 1153999 w 12191996"/>
              <a:gd name="connsiteY685" fmla="*/ 6449509 h 6857997"/>
              <a:gd name="connsiteX686" fmla="*/ 1141043 w 12191996"/>
              <a:gd name="connsiteY686" fmla="*/ 6445253 h 6857997"/>
              <a:gd name="connsiteX687" fmla="*/ 1071955 w 12191996"/>
              <a:gd name="connsiteY687" fmla="*/ 6445253 h 6857997"/>
              <a:gd name="connsiteX688" fmla="*/ 1051549 w 12191996"/>
              <a:gd name="connsiteY688" fmla="*/ 6455020 h 6857997"/>
              <a:gd name="connsiteX689" fmla="*/ 1043492 w 12191996"/>
              <a:gd name="connsiteY689" fmla="*/ 6483972 h 6857997"/>
              <a:gd name="connsiteX690" fmla="*/ 1051619 w 12191996"/>
              <a:gd name="connsiteY690" fmla="*/ 6512889 h 6857997"/>
              <a:gd name="connsiteX691" fmla="*/ 1071955 w 12191996"/>
              <a:gd name="connsiteY691" fmla="*/ 6522691 h 6857997"/>
              <a:gd name="connsiteX692" fmla="*/ 1092396 w 12191996"/>
              <a:gd name="connsiteY692" fmla="*/ 6512924 h 6857997"/>
              <a:gd name="connsiteX693" fmla="*/ 1100419 w 12191996"/>
              <a:gd name="connsiteY693" fmla="*/ 6483205 h 6857997"/>
              <a:gd name="connsiteX694" fmla="*/ 1092256 w 12191996"/>
              <a:gd name="connsiteY694" fmla="*/ 6455020 h 6857997"/>
              <a:gd name="connsiteX695" fmla="*/ 1071955 w 12191996"/>
              <a:gd name="connsiteY695" fmla="*/ 6445253 h 6857997"/>
              <a:gd name="connsiteX696" fmla="*/ 883898 w 12191996"/>
              <a:gd name="connsiteY696" fmla="*/ 6440021 h 6857997"/>
              <a:gd name="connsiteX697" fmla="*/ 867092 w 12191996"/>
              <a:gd name="connsiteY697" fmla="*/ 6447643 h 6857997"/>
              <a:gd name="connsiteX698" fmla="*/ 860698 w 12191996"/>
              <a:gd name="connsiteY698" fmla="*/ 6469810 h 6857997"/>
              <a:gd name="connsiteX699" fmla="*/ 867162 w 12191996"/>
              <a:gd name="connsiteY699" fmla="*/ 6492116 h 6857997"/>
              <a:gd name="connsiteX700" fmla="*/ 883407 w 12191996"/>
              <a:gd name="connsiteY700" fmla="*/ 6499878 h 6857997"/>
              <a:gd name="connsiteX701" fmla="*/ 896719 w 12191996"/>
              <a:gd name="connsiteY701" fmla="*/ 6494820 h 6857997"/>
              <a:gd name="connsiteX702" fmla="*/ 904161 w 12191996"/>
              <a:gd name="connsiteY702" fmla="*/ 6480763 h 6857997"/>
              <a:gd name="connsiteX703" fmla="*/ 897184 w 12191996"/>
              <a:gd name="connsiteY703" fmla="*/ 6478251 h 6857997"/>
              <a:gd name="connsiteX704" fmla="*/ 891869 w 12191996"/>
              <a:gd name="connsiteY704" fmla="*/ 6488193 h 6857997"/>
              <a:gd name="connsiteX705" fmla="*/ 882848 w 12191996"/>
              <a:gd name="connsiteY705" fmla="*/ 6491716 h 6857997"/>
              <a:gd name="connsiteX706" fmla="*/ 872568 w 12191996"/>
              <a:gd name="connsiteY706" fmla="*/ 6486327 h 6857997"/>
              <a:gd name="connsiteX707" fmla="*/ 868442 w 12191996"/>
              <a:gd name="connsiteY707" fmla="*/ 6470301 h 6857997"/>
              <a:gd name="connsiteX708" fmla="*/ 872778 w 12191996"/>
              <a:gd name="connsiteY708" fmla="*/ 6453503 h 6857997"/>
              <a:gd name="connsiteX709" fmla="*/ 883619 w 12191996"/>
              <a:gd name="connsiteY709" fmla="*/ 6447835 h 6857997"/>
              <a:gd name="connsiteX710" fmla="*/ 891347 w 12191996"/>
              <a:gd name="connsiteY710" fmla="*/ 6450521 h 6857997"/>
              <a:gd name="connsiteX711" fmla="*/ 896487 w 12191996"/>
              <a:gd name="connsiteY711" fmla="*/ 6458508 h 6857997"/>
              <a:gd name="connsiteX712" fmla="*/ 903324 w 12191996"/>
              <a:gd name="connsiteY712" fmla="*/ 6456485 h 6857997"/>
              <a:gd name="connsiteX713" fmla="*/ 896266 w 12191996"/>
              <a:gd name="connsiteY713" fmla="*/ 6444347 h 6857997"/>
              <a:gd name="connsiteX714" fmla="*/ 883898 w 12191996"/>
              <a:gd name="connsiteY714" fmla="*/ 6440021 h 6857997"/>
              <a:gd name="connsiteX715" fmla="*/ 2030141 w 12191996"/>
              <a:gd name="connsiteY715" fmla="*/ 6429487 h 6857997"/>
              <a:gd name="connsiteX716" fmla="*/ 2036069 w 12191996"/>
              <a:gd name="connsiteY716" fmla="*/ 6450695 h 6857997"/>
              <a:gd name="connsiteX717" fmla="*/ 2044784 w 12191996"/>
              <a:gd name="connsiteY717" fmla="*/ 6479019 h 6857997"/>
              <a:gd name="connsiteX718" fmla="*/ 2016217 w 12191996"/>
              <a:gd name="connsiteY718" fmla="*/ 6479019 h 6857997"/>
              <a:gd name="connsiteX719" fmla="*/ 2025546 w 12191996"/>
              <a:gd name="connsiteY719" fmla="*/ 6449021 h 6857997"/>
              <a:gd name="connsiteX720" fmla="*/ 2030141 w 12191996"/>
              <a:gd name="connsiteY720" fmla="*/ 6429487 h 6857997"/>
              <a:gd name="connsiteX721" fmla="*/ 883232 w 12191996"/>
              <a:gd name="connsiteY721" fmla="*/ 6425650 h 6857997"/>
              <a:gd name="connsiteX722" fmla="*/ 907928 w 12191996"/>
              <a:gd name="connsiteY722" fmla="*/ 6437739 h 6857997"/>
              <a:gd name="connsiteX723" fmla="*/ 919230 w 12191996"/>
              <a:gd name="connsiteY723" fmla="*/ 6469671 h 6857997"/>
              <a:gd name="connsiteX724" fmla="*/ 909323 w 12191996"/>
              <a:gd name="connsiteY724" fmla="*/ 6499926 h 6857997"/>
              <a:gd name="connsiteX725" fmla="*/ 883232 w 12191996"/>
              <a:gd name="connsiteY725" fmla="*/ 6513621 h 6857997"/>
              <a:gd name="connsiteX726" fmla="*/ 858536 w 12191996"/>
              <a:gd name="connsiteY726" fmla="*/ 6501604 h 6857997"/>
              <a:gd name="connsiteX727" fmla="*/ 847234 w 12191996"/>
              <a:gd name="connsiteY727" fmla="*/ 6469671 h 6857997"/>
              <a:gd name="connsiteX728" fmla="*/ 857140 w 12191996"/>
              <a:gd name="connsiteY728" fmla="*/ 6439345 h 6857997"/>
              <a:gd name="connsiteX729" fmla="*/ 883232 w 12191996"/>
              <a:gd name="connsiteY729" fmla="*/ 6425650 h 6857997"/>
              <a:gd name="connsiteX730" fmla="*/ 6208297 w 12191996"/>
              <a:gd name="connsiteY730" fmla="*/ 6421046 h 6857997"/>
              <a:gd name="connsiteX731" fmla="*/ 6198042 w 12191996"/>
              <a:gd name="connsiteY731" fmla="*/ 6428580 h 6857997"/>
              <a:gd name="connsiteX732" fmla="*/ 6198042 w 12191996"/>
              <a:gd name="connsiteY732" fmla="*/ 6446928 h 6857997"/>
              <a:gd name="connsiteX733" fmla="*/ 6190507 w 12191996"/>
              <a:gd name="connsiteY733" fmla="*/ 6446928 h 6857997"/>
              <a:gd name="connsiteX734" fmla="*/ 6190507 w 12191996"/>
              <a:gd name="connsiteY734" fmla="*/ 6456695 h 6857997"/>
              <a:gd name="connsiteX735" fmla="*/ 6198042 w 12191996"/>
              <a:gd name="connsiteY735" fmla="*/ 6456695 h 6857997"/>
              <a:gd name="connsiteX736" fmla="*/ 6198042 w 12191996"/>
              <a:gd name="connsiteY736" fmla="*/ 6499320 h 6857997"/>
              <a:gd name="connsiteX737" fmla="*/ 6199263 w 12191996"/>
              <a:gd name="connsiteY737" fmla="*/ 6514040 h 6857997"/>
              <a:gd name="connsiteX738" fmla="*/ 6203762 w 12191996"/>
              <a:gd name="connsiteY738" fmla="*/ 6519865 h 6857997"/>
              <a:gd name="connsiteX739" fmla="*/ 6212413 w 12191996"/>
              <a:gd name="connsiteY739" fmla="*/ 6521993 h 6857997"/>
              <a:gd name="connsiteX740" fmla="*/ 6220087 w 12191996"/>
              <a:gd name="connsiteY740" fmla="*/ 6520877 h 6857997"/>
              <a:gd name="connsiteX741" fmla="*/ 6218692 w 12191996"/>
              <a:gd name="connsiteY741" fmla="*/ 6509784 h 6857997"/>
              <a:gd name="connsiteX742" fmla="*/ 6214157 w 12191996"/>
              <a:gd name="connsiteY742" fmla="*/ 6510273 h 6857997"/>
              <a:gd name="connsiteX743" fmla="*/ 6209204 w 12191996"/>
              <a:gd name="connsiteY743" fmla="*/ 6507761 h 6857997"/>
              <a:gd name="connsiteX744" fmla="*/ 6208297 w 12191996"/>
              <a:gd name="connsiteY744" fmla="*/ 6500018 h 6857997"/>
              <a:gd name="connsiteX745" fmla="*/ 6208297 w 12191996"/>
              <a:gd name="connsiteY745" fmla="*/ 6456695 h 6857997"/>
              <a:gd name="connsiteX746" fmla="*/ 6218692 w 12191996"/>
              <a:gd name="connsiteY746" fmla="*/ 6456695 h 6857997"/>
              <a:gd name="connsiteX747" fmla="*/ 6218692 w 12191996"/>
              <a:gd name="connsiteY747" fmla="*/ 6446928 h 6857997"/>
              <a:gd name="connsiteX748" fmla="*/ 6208297 w 12191996"/>
              <a:gd name="connsiteY748" fmla="*/ 6446928 h 6857997"/>
              <a:gd name="connsiteX749" fmla="*/ 2421963 w 12191996"/>
              <a:gd name="connsiteY749" fmla="*/ 6421046 h 6857997"/>
              <a:gd name="connsiteX750" fmla="*/ 2411708 w 12191996"/>
              <a:gd name="connsiteY750" fmla="*/ 6428580 h 6857997"/>
              <a:gd name="connsiteX751" fmla="*/ 2411708 w 12191996"/>
              <a:gd name="connsiteY751" fmla="*/ 6446928 h 6857997"/>
              <a:gd name="connsiteX752" fmla="*/ 2404176 w 12191996"/>
              <a:gd name="connsiteY752" fmla="*/ 6446928 h 6857997"/>
              <a:gd name="connsiteX753" fmla="*/ 2404176 w 12191996"/>
              <a:gd name="connsiteY753" fmla="*/ 6456695 h 6857997"/>
              <a:gd name="connsiteX754" fmla="*/ 2411708 w 12191996"/>
              <a:gd name="connsiteY754" fmla="*/ 6456695 h 6857997"/>
              <a:gd name="connsiteX755" fmla="*/ 2411708 w 12191996"/>
              <a:gd name="connsiteY755" fmla="*/ 6499320 h 6857997"/>
              <a:gd name="connsiteX756" fmla="*/ 2412932 w 12191996"/>
              <a:gd name="connsiteY756" fmla="*/ 6514040 h 6857997"/>
              <a:gd name="connsiteX757" fmla="*/ 2417431 w 12191996"/>
              <a:gd name="connsiteY757" fmla="*/ 6519865 h 6857997"/>
              <a:gd name="connsiteX758" fmla="*/ 2426082 w 12191996"/>
              <a:gd name="connsiteY758" fmla="*/ 6521993 h 6857997"/>
              <a:gd name="connsiteX759" fmla="*/ 2432793 w 12191996"/>
              <a:gd name="connsiteY759" fmla="*/ 6521016 h 6857997"/>
              <a:gd name="connsiteX760" fmla="*/ 2486537 w 12191996"/>
              <a:gd name="connsiteY760" fmla="*/ 6521016 h 6857997"/>
              <a:gd name="connsiteX761" fmla="*/ 2486537 w 12191996"/>
              <a:gd name="connsiteY761" fmla="*/ 6510203 h 6857997"/>
              <a:gd name="connsiteX762" fmla="*/ 2458413 w 12191996"/>
              <a:gd name="connsiteY762" fmla="*/ 6510203 h 6857997"/>
              <a:gd name="connsiteX763" fmla="*/ 2445434 w 12191996"/>
              <a:gd name="connsiteY763" fmla="*/ 6510831 h 6857997"/>
              <a:gd name="connsiteX764" fmla="*/ 2451797 w 12191996"/>
              <a:gd name="connsiteY764" fmla="*/ 6502250 h 6857997"/>
              <a:gd name="connsiteX765" fmla="*/ 2484792 w 12191996"/>
              <a:gd name="connsiteY765" fmla="*/ 6455230 h 6857997"/>
              <a:gd name="connsiteX766" fmla="*/ 2484792 w 12191996"/>
              <a:gd name="connsiteY766" fmla="*/ 6446928 h 6857997"/>
              <a:gd name="connsiteX767" fmla="*/ 2435051 w 12191996"/>
              <a:gd name="connsiteY767" fmla="*/ 6446928 h 6857997"/>
              <a:gd name="connsiteX768" fmla="*/ 2435051 w 12191996"/>
              <a:gd name="connsiteY768" fmla="*/ 6457113 h 6857997"/>
              <a:gd name="connsiteX769" fmla="*/ 2459836 w 12191996"/>
              <a:gd name="connsiteY769" fmla="*/ 6457113 h 6857997"/>
              <a:gd name="connsiteX770" fmla="*/ 2471498 w 12191996"/>
              <a:gd name="connsiteY770" fmla="*/ 6456695 h 6857997"/>
              <a:gd name="connsiteX771" fmla="*/ 2432747 w 12191996"/>
              <a:gd name="connsiteY771" fmla="*/ 6510831 h 6857997"/>
              <a:gd name="connsiteX772" fmla="*/ 2432747 w 12191996"/>
              <a:gd name="connsiteY772" fmla="*/ 6512890 h 6857997"/>
              <a:gd name="connsiteX773" fmla="*/ 2432359 w 12191996"/>
              <a:gd name="connsiteY773" fmla="*/ 6509784 h 6857997"/>
              <a:gd name="connsiteX774" fmla="*/ 2427824 w 12191996"/>
              <a:gd name="connsiteY774" fmla="*/ 6510273 h 6857997"/>
              <a:gd name="connsiteX775" fmla="*/ 2422869 w 12191996"/>
              <a:gd name="connsiteY775" fmla="*/ 6507761 h 6857997"/>
              <a:gd name="connsiteX776" fmla="*/ 2421963 w 12191996"/>
              <a:gd name="connsiteY776" fmla="*/ 6500018 h 6857997"/>
              <a:gd name="connsiteX777" fmla="*/ 2421963 w 12191996"/>
              <a:gd name="connsiteY777" fmla="*/ 6456695 h 6857997"/>
              <a:gd name="connsiteX778" fmla="*/ 2432359 w 12191996"/>
              <a:gd name="connsiteY778" fmla="*/ 6456695 h 6857997"/>
              <a:gd name="connsiteX779" fmla="*/ 2432359 w 12191996"/>
              <a:gd name="connsiteY779" fmla="*/ 6446928 h 6857997"/>
              <a:gd name="connsiteX780" fmla="*/ 2421963 w 12191996"/>
              <a:gd name="connsiteY780" fmla="*/ 6446928 h 6857997"/>
              <a:gd name="connsiteX781" fmla="*/ 1440886 w 12191996"/>
              <a:gd name="connsiteY781" fmla="*/ 6421046 h 6857997"/>
              <a:gd name="connsiteX782" fmla="*/ 1430631 w 12191996"/>
              <a:gd name="connsiteY782" fmla="*/ 6428580 h 6857997"/>
              <a:gd name="connsiteX783" fmla="*/ 1430631 w 12191996"/>
              <a:gd name="connsiteY783" fmla="*/ 6446928 h 6857997"/>
              <a:gd name="connsiteX784" fmla="*/ 1423097 w 12191996"/>
              <a:gd name="connsiteY784" fmla="*/ 6446928 h 6857997"/>
              <a:gd name="connsiteX785" fmla="*/ 1423097 w 12191996"/>
              <a:gd name="connsiteY785" fmla="*/ 6456695 h 6857997"/>
              <a:gd name="connsiteX786" fmla="*/ 1430631 w 12191996"/>
              <a:gd name="connsiteY786" fmla="*/ 6456695 h 6857997"/>
              <a:gd name="connsiteX787" fmla="*/ 1430631 w 12191996"/>
              <a:gd name="connsiteY787" fmla="*/ 6499320 h 6857997"/>
              <a:gd name="connsiteX788" fmla="*/ 1431852 w 12191996"/>
              <a:gd name="connsiteY788" fmla="*/ 6514040 h 6857997"/>
              <a:gd name="connsiteX789" fmla="*/ 1436352 w 12191996"/>
              <a:gd name="connsiteY789" fmla="*/ 6519865 h 6857997"/>
              <a:gd name="connsiteX790" fmla="*/ 1445002 w 12191996"/>
              <a:gd name="connsiteY790" fmla="*/ 6521993 h 6857997"/>
              <a:gd name="connsiteX791" fmla="*/ 1452676 w 12191996"/>
              <a:gd name="connsiteY791" fmla="*/ 6520877 h 6857997"/>
              <a:gd name="connsiteX792" fmla="*/ 1451281 w 12191996"/>
              <a:gd name="connsiteY792" fmla="*/ 6509784 h 6857997"/>
              <a:gd name="connsiteX793" fmla="*/ 1446746 w 12191996"/>
              <a:gd name="connsiteY793" fmla="*/ 6510273 h 6857997"/>
              <a:gd name="connsiteX794" fmla="*/ 1441793 w 12191996"/>
              <a:gd name="connsiteY794" fmla="*/ 6507761 h 6857997"/>
              <a:gd name="connsiteX795" fmla="*/ 1440886 w 12191996"/>
              <a:gd name="connsiteY795" fmla="*/ 6500018 h 6857997"/>
              <a:gd name="connsiteX796" fmla="*/ 1440886 w 12191996"/>
              <a:gd name="connsiteY796" fmla="*/ 6456695 h 6857997"/>
              <a:gd name="connsiteX797" fmla="*/ 1451281 w 12191996"/>
              <a:gd name="connsiteY797" fmla="*/ 6456695 h 6857997"/>
              <a:gd name="connsiteX798" fmla="*/ 1451281 w 12191996"/>
              <a:gd name="connsiteY798" fmla="*/ 6446928 h 6857997"/>
              <a:gd name="connsiteX799" fmla="*/ 1440886 w 12191996"/>
              <a:gd name="connsiteY799" fmla="*/ 6446928 h 6857997"/>
              <a:gd name="connsiteX800" fmla="*/ 6319286 w 12191996"/>
              <a:gd name="connsiteY800" fmla="*/ 6418743 h 6857997"/>
              <a:gd name="connsiteX801" fmla="*/ 6319286 w 12191996"/>
              <a:gd name="connsiteY801" fmla="*/ 6521016 h 6857997"/>
              <a:gd name="connsiteX802" fmla="*/ 6329541 w 12191996"/>
              <a:gd name="connsiteY802" fmla="*/ 6521016 h 6857997"/>
              <a:gd name="connsiteX803" fmla="*/ 6329541 w 12191996"/>
              <a:gd name="connsiteY803" fmla="*/ 6418743 h 6857997"/>
              <a:gd name="connsiteX804" fmla="*/ 6224384 w 12191996"/>
              <a:gd name="connsiteY804" fmla="*/ 6418743 h 6857997"/>
              <a:gd name="connsiteX805" fmla="*/ 6224384 w 12191996"/>
              <a:gd name="connsiteY805" fmla="*/ 6433184 h 6857997"/>
              <a:gd name="connsiteX806" fmla="*/ 6234640 w 12191996"/>
              <a:gd name="connsiteY806" fmla="*/ 6433184 h 6857997"/>
              <a:gd name="connsiteX807" fmla="*/ 6234640 w 12191996"/>
              <a:gd name="connsiteY807" fmla="*/ 6418743 h 6857997"/>
              <a:gd name="connsiteX808" fmla="*/ 6034363 w 12191996"/>
              <a:gd name="connsiteY808" fmla="*/ 6418743 h 6857997"/>
              <a:gd name="connsiteX809" fmla="*/ 6034363 w 12191996"/>
              <a:gd name="connsiteY809" fmla="*/ 6455439 h 6857997"/>
              <a:gd name="connsiteX810" fmla="*/ 6027156 w 12191996"/>
              <a:gd name="connsiteY810" fmla="*/ 6447939 h 6857997"/>
              <a:gd name="connsiteX811" fmla="*/ 6017719 w 12191996"/>
              <a:gd name="connsiteY811" fmla="*/ 6445253 h 6857997"/>
              <a:gd name="connsiteX812" fmla="*/ 6004799 w 12191996"/>
              <a:gd name="connsiteY812" fmla="*/ 6449509 h 6857997"/>
              <a:gd name="connsiteX813" fmla="*/ 5995499 w 12191996"/>
              <a:gd name="connsiteY813" fmla="*/ 6462555 h 6857997"/>
              <a:gd name="connsiteX814" fmla="*/ 5992018 w 12191996"/>
              <a:gd name="connsiteY814" fmla="*/ 6483972 h 6857997"/>
              <a:gd name="connsiteX815" fmla="*/ 5999867 w 12191996"/>
              <a:gd name="connsiteY815" fmla="*/ 6512540 h 6857997"/>
              <a:gd name="connsiteX816" fmla="*/ 6018458 w 12191996"/>
              <a:gd name="connsiteY816" fmla="*/ 6522691 h 6857997"/>
              <a:gd name="connsiteX817" fmla="*/ 6027948 w 12191996"/>
              <a:gd name="connsiteY817" fmla="*/ 6519865 h 6857997"/>
              <a:gd name="connsiteX818" fmla="*/ 6035132 w 12191996"/>
              <a:gd name="connsiteY818" fmla="*/ 6511668 h 6857997"/>
              <a:gd name="connsiteX819" fmla="*/ 6035132 w 12191996"/>
              <a:gd name="connsiteY819" fmla="*/ 6521016 h 6857997"/>
              <a:gd name="connsiteX820" fmla="*/ 6044760 w 12191996"/>
              <a:gd name="connsiteY820" fmla="*/ 6521016 h 6857997"/>
              <a:gd name="connsiteX821" fmla="*/ 6044760 w 12191996"/>
              <a:gd name="connsiteY821" fmla="*/ 6418743 h 6857997"/>
              <a:gd name="connsiteX822" fmla="*/ 2790954 w 12191996"/>
              <a:gd name="connsiteY822" fmla="*/ 6418743 h 6857997"/>
              <a:gd name="connsiteX823" fmla="*/ 2790954 w 12191996"/>
              <a:gd name="connsiteY823" fmla="*/ 6455439 h 6857997"/>
              <a:gd name="connsiteX824" fmla="*/ 2783745 w 12191996"/>
              <a:gd name="connsiteY824" fmla="*/ 6447939 h 6857997"/>
              <a:gd name="connsiteX825" fmla="*/ 2774311 w 12191996"/>
              <a:gd name="connsiteY825" fmla="*/ 6445253 h 6857997"/>
              <a:gd name="connsiteX826" fmla="*/ 2761389 w 12191996"/>
              <a:gd name="connsiteY826" fmla="*/ 6449509 h 6857997"/>
              <a:gd name="connsiteX827" fmla="*/ 2752089 w 12191996"/>
              <a:gd name="connsiteY827" fmla="*/ 6462555 h 6857997"/>
              <a:gd name="connsiteX828" fmla="*/ 2748607 w 12191996"/>
              <a:gd name="connsiteY828" fmla="*/ 6483972 h 6857997"/>
              <a:gd name="connsiteX829" fmla="*/ 2756457 w 12191996"/>
              <a:gd name="connsiteY829" fmla="*/ 6512540 h 6857997"/>
              <a:gd name="connsiteX830" fmla="*/ 2775051 w 12191996"/>
              <a:gd name="connsiteY830" fmla="*/ 6522691 h 6857997"/>
              <a:gd name="connsiteX831" fmla="*/ 2784536 w 12191996"/>
              <a:gd name="connsiteY831" fmla="*/ 6519865 h 6857997"/>
              <a:gd name="connsiteX832" fmla="*/ 2791721 w 12191996"/>
              <a:gd name="connsiteY832" fmla="*/ 6511668 h 6857997"/>
              <a:gd name="connsiteX833" fmla="*/ 2791721 w 12191996"/>
              <a:gd name="connsiteY833" fmla="*/ 6521016 h 6857997"/>
              <a:gd name="connsiteX834" fmla="*/ 2801352 w 12191996"/>
              <a:gd name="connsiteY834" fmla="*/ 6521016 h 6857997"/>
              <a:gd name="connsiteX835" fmla="*/ 2801352 w 12191996"/>
              <a:gd name="connsiteY835" fmla="*/ 6418743 h 6857997"/>
              <a:gd name="connsiteX836" fmla="*/ 2590102 w 12191996"/>
              <a:gd name="connsiteY836" fmla="*/ 6418743 h 6857997"/>
              <a:gd name="connsiteX837" fmla="*/ 2590102 w 12191996"/>
              <a:gd name="connsiteY837" fmla="*/ 6521016 h 6857997"/>
              <a:gd name="connsiteX838" fmla="*/ 2600357 w 12191996"/>
              <a:gd name="connsiteY838" fmla="*/ 6521016 h 6857997"/>
              <a:gd name="connsiteX839" fmla="*/ 2600357 w 12191996"/>
              <a:gd name="connsiteY839" fmla="*/ 6418743 h 6857997"/>
              <a:gd name="connsiteX840" fmla="*/ 2380902 w 12191996"/>
              <a:gd name="connsiteY840" fmla="*/ 6418743 h 6857997"/>
              <a:gd name="connsiteX841" fmla="*/ 2380902 w 12191996"/>
              <a:gd name="connsiteY841" fmla="*/ 6433184 h 6857997"/>
              <a:gd name="connsiteX842" fmla="*/ 2391160 w 12191996"/>
              <a:gd name="connsiteY842" fmla="*/ 6433184 h 6857997"/>
              <a:gd name="connsiteX843" fmla="*/ 2391160 w 12191996"/>
              <a:gd name="connsiteY843" fmla="*/ 6418743 h 6857997"/>
              <a:gd name="connsiteX844" fmla="*/ 2024499 w 12191996"/>
              <a:gd name="connsiteY844" fmla="*/ 6418743 h 6857997"/>
              <a:gd name="connsiteX845" fmla="*/ 1992155 w 12191996"/>
              <a:gd name="connsiteY845" fmla="*/ 6521016 h 6857997"/>
              <a:gd name="connsiteX846" fmla="*/ 2003857 w 12191996"/>
              <a:gd name="connsiteY846" fmla="*/ 6521016 h 6857997"/>
              <a:gd name="connsiteX847" fmla="*/ 2012973 w 12191996"/>
              <a:gd name="connsiteY847" fmla="*/ 6490041 h 6857997"/>
              <a:gd name="connsiteX848" fmla="*/ 2048255 w 12191996"/>
              <a:gd name="connsiteY848" fmla="*/ 6490041 h 6857997"/>
              <a:gd name="connsiteX849" fmla="*/ 2058010 w 12191996"/>
              <a:gd name="connsiteY849" fmla="*/ 6521016 h 6857997"/>
              <a:gd name="connsiteX850" fmla="*/ 2070709 w 12191996"/>
              <a:gd name="connsiteY850" fmla="*/ 6521016 h 6857997"/>
              <a:gd name="connsiteX851" fmla="*/ 2036363 w 12191996"/>
              <a:gd name="connsiteY851" fmla="*/ 6418743 h 6857997"/>
              <a:gd name="connsiteX852" fmla="*/ 1818925 w 12191996"/>
              <a:gd name="connsiteY852" fmla="*/ 6418743 h 6857997"/>
              <a:gd name="connsiteX853" fmla="*/ 1818925 w 12191996"/>
              <a:gd name="connsiteY853" fmla="*/ 6433184 h 6857997"/>
              <a:gd name="connsiteX854" fmla="*/ 1829180 w 12191996"/>
              <a:gd name="connsiteY854" fmla="*/ 6433184 h 6857997"/>
              <a:gd name="connsiteX855" fmla="*/ 1829180 w 12191996"/>
              <a:gd name="connsiteY855" fmla="*/ 6418743 h 6857997"/>
              <a:gd name="connsiteX856" fmla="*/ 1752248 w 12191996"/>
              <a:gd name="connsiteY856" fmla="*/ 6418743 h 6857997"/>
              <a:gd name="connsiteX857" fmla="*/ 1752248 w 12191996"/>
              <a:gd name="connsiteY857" fmla="*/ 6433184 h 6857997"/>
              <a:gd name="connsiteX858" fmla="*/ 1762504 w 12191996"/>
              <a:gd name="connsiteY858" fmla="*/ 6433184 h 6857997"/>
              <a:gd name="connsiteX859" fmla="*/ 1762504 w 12191996"/>
              <a:gd name="connsiteY859" fmla="*/ 6418743 h 6857997"/>
              <a:gd name="connsiteX860" fmla="*/ 1361723 w 12191996"/>
              <a:gd name="connsiteY860" fmla="*/ 6418743 h 6857997"/>
              <a:gd name="connsiteX861" fmla="*/ 1361723 w 12191996"/>
              <a:gd name="connsiteY861" fmla="*/ 6521016 h 6857997"/>
              <a:gd name="connsiteX862" fmla="*/ 1371979 w 12191996"/>
              <a:gd name="connsiteY862" fmla="*/ 6521016 h 6857997"/>
              <a:gd name="connsiteX863" fmla="*/ 1371979 w 12191996"/>
              <a:gd name="connsiteY863" fmla="*/ 6480484 h 6857997"/>
              <a:gd name="connsiteX864" fmla="*/ 1376688 w 12191996"/>
              <a:gd name="connsiteY864" fmla="*/ 6461438 h 6857997"/>
              <a:gd name="connsiteX865" fmla="*/ 1388094 w 12191996"/>
              <a:gd name="connsiteY865" fmla="*/ 6456067 h 6857997"/>
              <a:gd name="connsiteX866" fmla="*/ 1397512 w 12191996"/>
              <a:gd name="connsiteY866" fmla="*/ 6460253 h 6857997"/>
              <a:gd name="connsiteX867" fmla="*/ 1400930 w 12191996"/>
              <a:gd name="connsiteY867" fmla="*/ 6474066 h 6857997"/>
              <a:gd name="connsiteX868" fmla="*/ 1400930 w 12191996"/>
              <a:gd name="connsiteY868" fmla="*/ 6521016 h 6857997"/>
              <a:gd name="connsiteX869" fmla="*/ 1411186 w 12191996"/>
              <a:gd name="connsiteY869" fmla="*/ 6521016 h 6857997"/>
              <a:gd name="connsiteX870" fmla="*/ 1411186 w 12191996"/>
              <a:gd name="connsiteY870" fmla="*/ 6474066 h 6857997"/>
              <a:gd name="connsiteX871" fmla="*/ 1405570 w 12191996"/>
              <a:gd name="connsiteY871" fmla="*/ 6451427 h 6857997"/>
              <a:gd name="connsiteX872" fmla="*/ 1390256 w 12191996"/>
              <a:gd name="connsiteY872" fmla="*/ 6445253 h 6857997"/>
              <a:gd name="connsiteX873" fmla="*/ 1380176 w 12191996"/>
              <a:gd name="connsiteY873" fmla="*/ 6447800 h 6857997"/>
              <a:gd name="connsiteX874" fmla="*/ 1371979 w 12191996"/>
              <a:gd name="connsiteY874" fmla="*/ 6455439 h 6857997"/>
              <a:gd name="connsiteX875" fmla="*/ 1371979 w 12191996"/>
              <a:gd name="connsiteY875" fmla="*/ 6418743 h 6857997"/>
              <a:gd name="connsiteX876" fmla="*/ 1266473 w 12191996"/>
              <a:gd name="connsiteY876" fmla="*/ 6418743 h 6857997"/>
              <a:gd name="connsiteX877" fmla="*/ 1266473 w 12191996"/>
              <a:gd name="connsiteY877" fmla="*/ 6433184 h 6857997"/>
              <a:gd name="connsiteX878" fmla="*/ 1276729 w 12191996"/>
              <a:gd name="connsiteY878" fmla="*/ 6433184 h 6857997"/>
              <a:gd name="connsiteX879" fmla="*/ 1276729 w 12191996"/>
              <a:gd name="connsiteY879" fmla="*/ 6418743 h 6857997"/>
              <a:gd name="connsiteX880" fmla="*/ 10863258 w 12191996"/>
              <a:gd name="connsiteY880" fmla="*/ 6418259 h 6857997"/>
              <a:gd name="connsiteX881" fmla="*/ 10904541 w 12191996"/>
              <a:gd name="connsiteY881" fmla="*/ 6418259 h 6857997"/>
              <a:gd name="connsiteX882" fmla="*/ 10934695 w 12191996"/>
              <a:gd name="connsiteY882" fmla="*/ 6433947 h 6857997"/>
              <a:gd name="connsiteX883" fmla="*/ 10904541 w 12191996"/>
              <a:gd name="connsiteY883" fmla="*/ 6450009 h 6857997"/>
              <a:gd name="connsiteX884" fmla="*/ 10863258 w 12191996"/>
              <a:gd name="connsiteY884" fmla="*/ 6450009 h 6857997"/>
              <a:gd name="connsiteX885" fmla="*/ 5958284 w 12191996"/>
              <a:gd name="connsiteY885" fmla="*/ 6416999 h 6857997"/>
              <a:gd name="connsiteX886" fmla="*/ 5948876 w 12191996"/>
              <a:gd name="connsiteY886" fmla="*/ 6419302 h 6857997"/>
              <a:gd name="connsiteX887" fmla="*/ 5943316 w 12191996"/>
              <a:gd name="connsiteY887" fmla="*/ 6425964 h 6857997"/>
              <a:gd name="connsiteX888" fmla="*/ 5941497 w 12191996"/>
              <a:gd name="connsiteY888" fmla="*/ 6439045 h 6857997"/>
              <a:gd name="connsiteX889" fmla="*/ 5941497 w 12191996"/>
              <a:gd name="connsiteY889" fmla="*/ 6446928 h 6857997"/>
              <a:gd name="connsiteX890" fmla="*/ 5932359 w 12191996"/>
              <a:gd name="connsiteY890" fmla="*/ 6446928 h 6857997"/>
              <a:gd name="connsiteX891" fmla="*/ 5932359 w 12191996"/>
              <a:gd name="connsiteY891" fmla="*/ 6456695 h 6857997"/>
              <a:gd name="connsiteX892" fmla="*/ 5941497 w 12191996"/>
              <a:gd name="connsiteY892" fmla="*/ 6456695 h 6857997"/>
              <a:gd name="connsiteX893" fmla="*/ 5941497 w 12191996"/>
              <a:gd name="connsiteY893" fmla="*/ 6521016 h 6857997"/>
              <a:gd name="connsiteX894" fmla="*/ 5951752 w 12191996"/>
              <a:gd name="connsiteY894" fmla="*/ 6521016 h 6857997"/>
              <a:gd name="connsiteX895" fmla="*/ 5951752 w 12191996"/>
              <a:gd name="connsiteY895" fmla="*/ 6456695 h 6857997"/>
              <a:gd name="connsiteX896" fmla="*/ 5963612 w 12191996"/>
              <a:gd name="connsiteY896" fmla="*/ 6456695 h 6857997"/>
              <a:gd name="connsiteX897" fmla="*/ 5963612 w 12191996"/>
              <a:gd name="connsiteY897" fmla="*/ 6446928 h 6857997"/>
              <a:gd name="connsiteX898" fmla="*/ 5951752 w 12191996"/>
              <a:gd name="connsiteY898" fmla="*/ 6446928 h 6857997"/>
              <a:gd name="connsiteX899" fmla="*/ 5951752 w 12191996"/>
              <a:gd name="connsiteY899" fmla="*/ 6440091 h 6857997"/>
              <a:gd name="connsiteX900" fmla="*/ 5953740 w 12191996"/>
              <a:gd name="connsiteY900" fmla="*/ 6430917 h 6857997"/>
              <a:gd name="connsiteX901" fmla="*/ 5960332 w 12191996"/>
              <a:gd name="connsiteY901" fmla="*/ 6428510 h 6857997"/>
              <a:gd name="connsiteX902" fmla="*/ 5966402 w 12191996"/>
              <a:gd name="connsiteY902" fmla="*/ 6429208 h 6857997"/>
              <a:gd name="connsiteX903" fmla="*/ 5967211 w 12191996"/>
              <a:gd name="connsiteY903" fmla="*/ 6423470 h 6857997"/>
              <a:gd name="connsiteX904" fmla="*/ 5967211 w 12191996"/>
              <a:gd name="connsiteY904" fmla="*/ 6433184 h 6857997"/>
              <a:gd name="connsiteX905" fmla="*/ 5977467 w 12191996"/>
              <a:gd name="connsiteY905" fmla="*/ 6433184 h 6857997"/>
              <a:gd name="connsiteX906" fmla="*/ 5977467 w 12191996"/>
              <a:gd name="connsiteY906" fmla="*/ 6418743 h 6857997"/>
              <a:gd name="connsiteX907" fmla="*/ 5967879 w 12191996"/>
              <a:gd name="connsiteY907" fmla="*/ 6418743 h 6857997"/>
              <a:gd name="connsiteX908" fmla="*/ 5967936 w 12191996"/>
              <a:gd name="connsiteY908" fmla="*/ 6418325 h 6857997"/>
              <a:gd name="connsiteX909" fmla="*/ 5958284 w 12191996"/>
              <a:gd name="connsiteY909" fmla="*/ 6416999 h 6857997"/>
              <a:gd name="connsiteX910" fmla="*/ 883232 w 12191996"/>
              <a:gd name="connsiteY910" fmla="*/ 6416999 h 6857997"/>
              <a:gd name="connsiteX911" fmla="*/ 862268 w 12191996"/>
              <a:gd name="connsiteY911" fmla="*/ 6423592 h 6857997"/>
              <a:gd name="connsiteX912" fmla="*/ 846187 w 12191996"/>
              <a:gd name="connsiteY912" fmla="*/ 6442533 h 6857997"/>
              <a:gd name="connsiteX913" fmla="*/ 840048 w 12191996"/>
              <a:gd name="connsiteY913" fmla="*/ 6469671 h 6857997"/>
              <a:gd name="connsiteX914" fmla="*/ 852466 w 12191996"/>
              <a:gd name="connsiteY914" fmla="*/ 6506540 h 6857997"/>
              <a:gd name="connsiteX915" fmla="*/ 883232 w 12191996"/>
              <a:gd name="connsiteY915" fmla="*/ 6522272 h 6857997"/>
              <a:gd name="connsiteX916" fmla="*/ 904196 w 12191996"/>
              <a:gd name="connsiteY916" fmla="*/ 6515679 h 6857997"/>
              <a:gd name="connsiteX917" fmla="*/ 920276 w 12191996"/>
              <a:gd name="connsiteY917" fmla="*/ 6496739 h 6857997"/>
              <a:gd name="connsiteX918" fmla="*/ 926415 w 12191996"/>
              <a:gd name="connsiteY918" fmla="*/ 6469671 h 6857997"/>
              <a:gd name="connsiteX919" fmla="*/ 913997 w 12191996"/>
              <a:gd name="connsiteY919" fmla="*/ 6432766 h 6857997"/>
              <a:gd name="connsiteX920" fmla="*/ 883232 w 12191996"/>
              <a:gd name="connsiteY920" fmla="*/ 6416999 h 6857997"/>
              <a:gd name="connsiteX921" fmla="*/ 5757201 w 12191996"/>
              <a:gd name="connsiteY921" fmla="*/ 6416930 h 6857997"/>
              <a:gd name="connsiteX922" fmla="*/ 5737090 w 12191996"/>
              <a:gd name="connsiteY922" fmla="*/ 6422898 h 6857997"/>
              <a:gd name="connsiteX923" fmla="*/ 5722810 w 12191996"/>
              <a:gd name="connsiteY923" fmla="*/ 6440560 h 6857997"/>
              <a:gd name="connsiteX924" fmla="*/ 5717538 w 12191996"/>
              <a:gd name="connsiteY924" fmla="*/ 6469147 h 6857997"/>
              <a:gd name="connsiteX925" fmla="*/ 5722804 w 12191996"/>
              <a:gd name="connsiteY925" fmla="*/ 6498816 h 6857997"/>
              <a:gd name="connsiteX926" fmla="*/ 5736339 w 12191996"/>
              <a:gd name="connsiteY926" fmla="*/ 6517071 h 6857997"/>
              <a:gd name="connsiteX927" fmla="*/ 5756258 w 12191996"/>
              <a:gd name="connsiteY927" fmla="*/ 6522760 h 6857997"/>
              <a:gd name="connsiteX928" fmla="*/ 5778755 w 12191996"/>
              <a:gd name="connsiteY928" fmla="*/ 6514284 h 6857997"/>
              <a:gd name="connsiteX929" fmla="*/ 5791699 w 12191996"/>
              <a:gd name="connsiteY929" fmla="*/ 6488576 h 6857997"/>
              <a:gd name="connsiteX930" fmla="*/ 5780536 w 12191996"/>
              <a:gd name="connsiteY930" fmla="*/ 6485158 h 6857997"/>
              <a:gd name="connsiteX931" fmla="*/ 5771710 w 12191996"/>
              <a:gd name="connsiteY931" fmla="*/ 6504727 h 6857997"/>
              <a:gd name="connsiteX932" fmla="*/ 5756048 w 12191996"/>
              <a:gd name="connsiteY932" fmla="*/ 6511180 h 6857997"/>
              <a:gd name="connsiteX933" fmla="*/ 5736375 w 12191996"/>
              <a:gd name="connsiteY933" fmla="*/ 6500672 h 6857997"/>
              <a:gd name="connsiteX934" fmla="*/ 5728980 w 12191996"/>
              <a:gd name="connsiteY934" fmla="*/ 6469146 h 6857997"/>
              <a:gd name="connsiteX935" fmla="*/ 5732647 w 12191996"/>
              <a:gd name="connsiteY935" fmla="*/ 6446176 h 6857997"/>
              <a:gd name="connsiteX936" fmla="*/ 5742462 w 12191996"/>
              <a:gd name="connsiteY936" fmla="*/ 6432805 h 6857997"/>
              <a:gd name="connsiteX937" fmla="*/ 5756996 w 12191996"/>
              <a:gd name="connsiteY937" fmla="*/ 6428510 h 6857997"/>
              <a:gd name="connsiteX938" fmla="*/ 5779417 w 12191996"/>
              <a:gd name="connsiteY938" fmla="*/ 6449788 h 6857997"/>
              <a:gd name="connsiteX939" fmla="*/ 5790300 w 12191996"/>
              <a:gd name="connsiteY939" fmla="*/ 6446649 h 6857997"/>
              <a:gd name="connsiteX940" fmla="*/ 5778080 w 12191996"/>
              <a:gd name="connsiteY940" fmla="*/ 6424481 h 6857997"/>
              <a:gd name="connsiteX941" fmla="*/ 5757201 w 12191996"/>
              <a:gd name="connsiteY941" fmla="*/ 6416930 h 6857997"/>
              <a:gd name="connsiteX942" fmla="*/ 2249532 w 12191996"/>
              <a:gd name="connsiteY942" fmla="*/ 6416930 h 6857997"/>
              <a:gd name="connsiteX943" fmla="*/ 2227909 w 12191996"/>
              <a:gd name="connsiteY943" fmla="*/ 6424813 h 6857997"/>
              <a:gd name="connsiteX944" fmla="*/ 2219883 w 12191996"/>
              <a:gd name="connsiteY944" fmla="*/ 6445114 h 6857997"/>
              <a:gd name="connsiteX945" fmla="*/ 2222671 w 12191996"/>
              <a:gd name="connsiteY945" fmla="*/ 6457497 h 6857997"/>
              <a:gd name="connsiteX946" fmla="*/ 2230487 w 12191996"/>
              <a:gd name="connsiteY946" fmla="*/ 6466531 h 6857997"/>
              <a:gd name="connsiteX947" fmla="*/ 2247373 w 12191996"/>
              <a:gd name="connsiteY947" fmla="*/ 6473610 h 6857997"/>
              <a:gd name="connsiteX948" fmla="*/ 2264706 w 12191996"/>
              <a:gd name="connsiteY948" fmla="*/ 6479712 h 6857997"/>
              <a:gd name="connsiteX949" fmla="*/ 2270706 w 12191996"/>
              <a:gd name="connsiteY949" fmla="*/ 6485247 h 6857997"/>
              <a:gd name="connsiteX950" fmla="*/ 2272693 w 12191996"/>
              <a:gd name="connsiteY950" fmla="*/ 6493148 h 6857997"/>
              <a:gd name="connsiteX951" fmla="*/ 2267221 w 12191996"/>
              <a:gd name="connsiteY951" fmla="*/ 6505714 h 6857997"/>
              <a:gd name="connsiteX952" fmla="*/ 2251834 w 12191996"/>
              <a:gd name="connsiteY952" fmla="*/ 6510552 h 6857997"/>
              <a:gd name="connsiteX953" fmla="*/ 2239420 w 12191996"/>
              <a:gd name="connsiteY953" fmla="*/ 6507691 h 6857997"/>
              <a:gd name="connsiteX954" fmla="*/ 2230941 w 12191996"/>
              <a:gd name="connsiteY954" fmla="*/ 6500122 h 6857997"/>
              <a:gd name="connsiteX955" fmla="*/ 2227140 w 12191996"/>
              <a:gd name="connsiteY955" fmla="*/ 6486972 h 6857997"/>
              <a:gd name="connsiteX956" fmla="*/ 2216673 w 12191996"/>
              <a:gd name="connsiteY956" fmla="*/ 6488088 h 6857997"/>
              <a:gd name="connsiteX957" fmla="*/ 2226270 w 12191996"/>
              <a:gd name="connsiteY957" fmla="*/ 6513412 h 6857997"/>
              <a:gd name="connsiteX958" fmla="*/ 2251071 w 12191996"/>
              <a:gd name="connsiteY958" fmla="*/ 6522760 h 6857997"/>
              <a:gd name="connsiteX959" fmla="*/ 2268127 w 12191996"/>
              <a:gd name="connsiteY959" fmla="*/ 6518997 h 6857997"/>
              <a:gd name="connsiteX960" fmla="*/ 2279325 w 12191996"/>
              <a:gd name="connsiteY960" fmla="*/ 6508021 h 6857997"/>
              <a:gd name="connsiteX961" fmla="*/ 2283436 w 12191996"/>
              <a:gd name="connsiteY961" fmla="*/ 6492029 h 6857997"/>
              <a:gd name="connsiteX962" fmla="*/ 2279522 w 12191996"/>
              <a:gd name="connsiteY962" fmla="*/ 6476801 h 6857997"/>
              <a:gd name="connsiteX963" fmla="*/ 2267938 w 12191996"/>
              <a:gd name="connsiteY963" fmla="*/ 6466501 h 6857997"/>
              <a:gd name="connsiteX964" fmla="*/ 2250508 w 12191996"/>
              <a:gd name="connsiteY964" fmla="*/ 6460544 h 6857997"/>
              <a:gd name="connsiteX965" fmla="*/ 2234185 w 12191996"/>
              <a:gd name="connsiteY965" fmla="*/ 6453622 h 6857997"/>
              <a:gd name="connsiteX966" fmla="*/ 2230560 w 12191996"/>
              <a:gd name="connsiteY966" fmla="*/ 6443996 h 6857997"/>
              <a:gd name="connsiteX967" fmla="*/ 2235513 w 12191996"/>
              <a:gd name="connsiteY967" fmla="*/ 6433079 h 6857997"/>
              <a:gd name="connsiteX968" fmla="*/ 2249881 w 12191996"/>
              <a:gd name="connsiteY968" fmla="*/ 6428859 h 6857997"/>
              <a:gd name="connsiteX969" fmla="*/ 2264286 w 12191996"/>
              <a:gd name="connsiteY969" fmla="*/ 6433673 h 6857997"/>
              <a:gd name="connsiteX970" fmla="*/ 2270252 w 12191996"/>
              <a:gd name="connsiteY970" fmla="*/ 6448463 h 6857997"/>
              <a:gd name="connsiteX971" fmla="*/ 2280928 w 12191996"/>
              <a:gd name="connsiteY971" fmla="*/ 6447486 h 6857997"/>
              <a:gd name="connsiteX972" fmla="*/ 2276778 w 12191996"/>
              <a:gd name="connsiteY972" fmla="*/ 6431231 h 6857997"/>
              <a:gd name="connsiteX973" fmla="*/ 2265892 w 12191996"/>
              <a:gd name="connsiteY973" fmla="*/ 6420627 h 6857997"/>
              <a:gd name="connsiteX974" fmla="*/ 2249532 w 12191996"/>
              <a:gd name="connsiteY974" fmla="*/ 6416930 h 6857997"/>
              <a:gd name="connsiteX975" fmla="*/ 2107530 w 12191996"/>
              <a:gd name="connsiteY975" fmla="*/ 6416930 h 6857997"/>
              <a:gd name="connsiteX976" fmla="*/ 2085898 w 12191996"/>
              <a:gd name="connsiteY976" fmla="*/ 6422828 h 6857997"/>
              <a:gd name="connsiteX977" fmla="*/ 2071108 w 12191996"/>
              <a:gd name="connsiteY977" fmla="*/ 6441153 h 6857997"/>
              <a:gd name="connsiteX978" fmla="*/ 2065457 w 12191996"/>
              <a:gd name="connsiteY978" fmla="*/ 6470333 h 6857997"/>
              <a:gd name="connsiteX979" fmla="*/ 2071073 w 12191996"/>
              <a:gd name="connsiteY979" fmla="*/ 6498676 h 6857997"/>
              <a:gd name="connsiteX980" fmla="*/ 2086316 w 12191996"/>
              <a:gd name="connsiteY980" fmla="*/ 6516617 h 6857997"/>
              <a:gd name="connsiteX981" fmla="*/ 2108228 w 12191996"/>
              <a:gd name="connsiteY981" fmla="*/ 6522760 h 6857997"/>
              <a:gd name="connsiteX982" fmla="*/ 2126153 w 12191996"/>
              <a:gd name="connsiteY982" fmla="*/ 6518749 h 6857997"/>
              <a:gd name="connsiteX983" fmla="*/ 2143038 w 12191996"/>
              <a:gd name="connsiteY983" fmla="*/ 6506785 h 6857997"/>
              <a:gd name="connsiteX984" fmla="*/ 2143038 w 12191996"/>
              <a:gd name="connsiteY984" fmla="*/ 6468764 h 6857997"/>
              <a:gd name="connsiteX985" fmla="*/ 2107530 w 12191996"/>
              <a:gd name="connsiteY985" fmla="*/ 6468833 h 6857997"/>
              <a:gd name="connsiteX986" fmla="*/ 2107530 w 12191996"/>
              <a:gd name="connsiteY986" fmla="*/ 6480902 h 6857997"/>
              <a:gd name="connsiteX987" fmla="*/ 2132151 w 12191996"/>
              <a:gd name="connsiteY987" fmla="*/ 6480902 h 6857997"/>
              <a:gd name="connsiteX988" fmla="*/ 2132151 w 12191996"/>
              <a:gd name="connsiteY988" fmla="*/ 6499948 h 6857997"/>
              <a:gd name="connsiteX989" fmla="*/ 2121238 w 12191996"/>
              <a:gd name="connsiteY989" fmla="*/ 6507412 h 6857997"/>
              <a:gd name="connsiteX990" fmla="*/ 2107806 w 12191996"/>
              <a:gd name="connsiteY990" fmla="*/ 6510552 h 6857997"/>
              <a:gd name="connsiteX991" fmla="*/ 2085479 w 12191996"/>
              <a:gd name="connsiteY991" fmla="*/ 6500323 h 6857997"/>
              <a:gd name="connsiteX992" fmla="*/ 2076898 w 12191996"/>
              <a:gd name="connsiteY992" fmla="*/ 6469566 h 6857997"/>
              <a:gd name="connsiteX993" fmla="*/ 2080910 w 12191996"/>
              <a:gd name="connsiteY993" fmla="*/ 6446734 h 6857997"/>
              <a:gd name="connsiteX994" fmla="*/ 2091514 w 12191996"/>
              <a:gd name="connsiteY994" fmla="*/ 6432944 h 6857997"/>
              <a:gd name="connsiteX995" fmla="*/ 2107247 w 12191996"/>
              <a:gd name="connsiteY995" fmla="*/ 6428510 h 6857997"/>
              <a:gd name="connsiteX996" fmla="*/ 2118547 w 12191996"/>
              <a:gd name="connsiteY996" fmla="*/ 6430952 h 6857997"/>
              <a:gd name="connsiteX997" fmla="*/ 2126643 w 12191996"/>
              <a:gd name="connsiteY997" fmla="*/ 6437684 h 6857997"/>
              <a:gd name="connsiteX998" fmla="*/ 2131738 w 12191996"/>
              <a:gd name="connsiteY998" fmla="*/ 6450625 h 6857997"/>
              <a:gd name="connsiteX999" fmla="*/ 2141711 w 12191996"/>
              <a:gd name="connsiteY999" fmla="*/ 6447277 h 6857997"/>
              <a:gd name="connsiteX1000" fmla="*/ 2135015 w 12191996"/>
              <a:gd name="connsiteY1000" fmla="*/ 6430045 h 6857997"/>
              <a:gd name="connsiteX1001" fmla="*/ 2123643 w 12191996"/>
              <a:gd name="connsiteY1001" fmla="*/ 6420348 h 6857997"/>
              <a:gd name="connsiteX1002" fmla="*/ 2107530 w 12191996"/>
              <a:gd name="connsiteY1002" fmla="*/ 6416930 h 6857997"/>
              <a:gd name="connsiteX1003" fmla="*/ 1516105 w 12191996"/>
              <a:gd name="connsiteY1003" fmla="*/ 6416930 h 6857997"/>
              <a:gd name="connsiteX1004" fmla="*/ 1494478 w 12191996"/>
              <a:gd name="connsiteY1004" fmla="*/ 6424813 h 6857997"/>
              <a:gd name="connsiteX1005" fmla="*/ 1486455 w 12191996"/>
              <a:gd name="connsiteY1005" fmla="*/ 6445114 h 6857997"/>
              <a:gd name="connsiteX1006" fmla="*/ 1489246 w 12191996"/>
              <a:gd name="connsiteY1006" fmla="*/ 6457497 h 6857997"/>
              <a:gd name="connsiteX1007" fmla="*/ 1497059 w 12191996"/>
              <a:gd name="connsiteY1007" fmla="*/ 6466531 h 6857997"/>
              <a:gd name="connsiteX1008" fmla="*/ 1513942 w 12191996"/>
              <a:gd name="connsiteY1008" fmla="*/ 6473610 h 6857997"/>
              <a:gd name="connsiteX1009" fmla="*/ 1531278 w 12191996"/>
              <a:gd name="connsiteY1009" fmla="*/ 6479712 h 6857997"/>
              <a:gd name="connsiteX1010" fmla="*/ 1537278 w 12191996"/>
              <a:gd name="connsiteY1010" fmla="*/ 6485247 h 6857997"/>
              <a:gd name="connsiteX1011" fmla="*/ 1539266 w 12191996"/>
              <a:gd name="connsiteY1011" fmla="*/ 6493148 h 6857997"/>
              <a:gd name="connsiteX1012" fmla="*/ 1533790 w 12191996"/>
              <a:gd name="connsiteY1012" fmla="*/ 6505714 h 6857997"/>
              <a:gd name="connsiteX1013" fmla="*/ 1518407 w 12191996"/>
              <a:gd name="connsiteY1013" fmla="*/ 6510552 h 6857997"/>
              <a:gd name="connsiteX1014" fmla="*/ 1505989 w 12191996"/>
              <a:gd name="connsiteY1014" fmla="*/ 6507691 h 6857997"/>
              <a:gd name="connsiteX1015" fmla="*/ 1497513 w 12191996"/>
              <a:gd name="connsiteY1015" fmla="*/ 6500122 h 6857997"/>
              <a:gd name="connsiteX1016" fmla="*/ 1493711 w 12191996"/>
              <a:gd name="connsiteY1016" fmla="*/ 6486972 h 6857997"/>
              <a:gd name="connsiteX1017" fmla="*/ 1483246 w 12191996"/>
              <a:gd name="connsiteY1017" fmla="*/ 6488088 h 6857997"/>
              <a:gd name="connsiteX1018" fmla="*/ 1492839 w 12191996"/>
              <a:gd name="connsiteY1018" fmla="*/ 6513412 h 6857997"/>
              <a:gd name="connsiteX1019" fmla="*/ 1517639 w 12191996"/>
              <a:gd name="connsiteY1019" fmla="*/ 6522760 h 6857997"/>
              <a:gd name="connsiteX1020" fmla="*/ 1534697 w 12191996"/>
              <a:gd name="connsiteY1020" fmla="*/ 6518997 h 6857997"/>
              <a:gd name="connsiteX1021" fmla="*/ 1545894 w 12191996"/>
              <a:gd name="connsiteY1021" fmla="*/ 6508021 h 6857997"/>
              <a:gd name="connsiteX1022" fmla="*/ 1550010 w 12191996"/>
              <a:gd name="connsiteY1022" fmla="*/ 6492029 h 6857997"/>
              <a:gd name="connsiteX1023" fmla="*/ 1546095 w 12191996"/>
              <a:gd name="connsiteY1023" fmla="*/ 6476801 h 6857997"/>
              <a:gd name="connsiteX1024" fmla="*/ 1534510 w 12191996"/>
              <a:gd name="connsiteY1024" fmla="*/ 6466501 h 6857997"/>
              <a:gd name="connsiteX1025" fmla="*/ 1517077 w 12191996"/>
              <a:gd name="connsiteY1025" fmla="*/ 6460544 h 6857997"/>
              <a:gd name="connsiteX1026" fmla="*/ 1500758 w 12191996"/>
              <a:gd name="connsiteY1026" fmla="*/ 6453622 h 6857997"/>
              <a:gd name="connsiteX1027" fmla="*/ 1497129 w 12191996"/>
              <a:gd name="connsiteY1027" fmla="*/ 6443996 h 6857997"/>
              <a:gd name="connsiteX1028" fmla="*/ 1502082 w 12191996"/>
              <a:gd name="connsiteY1028" fmla="*/ 6433079 h 6857997"/>
              <a:gd name="connsiteX1029" fmla="*/ 1516453 w 12191996"/>
              <a:gd name="connsiteY1029" fmla="*/ 6428859 h 6857997"/>
              <a:gd name="connsiteX1030" fmla="*/ 1530860 w 12191996"/>
              <a:gd name="connsiteY1030" fmla="*/ 6433673 h 6857997"/>
              <a:gd name="connsiteX1031" fmla="*/ 1536824 w 12191996"/>
              <a:gd name="connsiteY1031" fmla="*/ 6448463 h 6857997"/>
              <a:gd name="connsiteX1032" fmla="*/ 1547498 w 12191996"/>
              <a:gd name="connsiteY1032" fmla="*/ 6447486 h 6857997"/>
              <a:gd name="connsiteX1033" fmla="*/ 1543347 w 12191996"/>
              <a:gd name="connsiteY1033" fmla="*/ 6431231 h 6857997"/>
              <a:gd name="connsiteX1034" fmla="*/ 1532464 w 12191996"/>
              <a:gd name="connsiteY1034" fmla="*/ 6420627 h 6857997"/>
              <a:gd name="connsiteX1035" fmla="*/ 1516105 w 12191996"/>
              <a:gd name="connsiteY1035" fmla="*/ 6416930 h 6857997"/>
              <a:gd name="connsiteX1036" fmla="*/ 999314 w 12191996"/>
              <a:gd name="connsiteY1036" fmla="*/ 6416930 h 6857997"/>
              <a:gd name="connsiteX1037" fmla="*/ 979202 w 12191996"/>
              <a:gd name="connsiteY1037" fmla="*/ 6422898 h 6857997"/>
              <a:gd name="connsiteX1038" fmla="*/ 964922 w 12191996"/>
              <a:gd name="connsiteY1038" fmla="*/ 6440560 h 6857997"/>
              <a:gd name="connsiteX1039" fmla="*/ 959650 w 12191996"/>
              <a:gd name="connsiteY1039" fmla="*/ 6469147 h 6857997"/>
              <a:gd name="connsiteX1040" fmla="*/ 964918 w 12191996"/>
              <a:gd name="connsiteY1040" fmla="*/ 6498816 h 6857997"/>
              <a:gd name="connsiteX1041" fmla="*/ 978452 w 12191996"/>
              <a:gd name="connsiteY1041" fmla="*/ 6517071 h 6857997"/>
              <a:gd name="connsiteX1042" fmla="*/ 998369 w 12191996"/>
              <a:gd name="connsiteY1042" fmla="*/ 6522760 h 6857997"/>
              <a:gd name="connsiteX1043" fmla="*/ 1020867 w 12191996"/>
              <a:gd name="connsiteY1043" fmla="*/ 6514284 h 6857997"/>
              <a:gd name="connsiteX1044" fmla="*/ 1033809 w 12191996"/>
              <a:gd name="connsiteY1044" fmla="*/ 6488576 h 6857997"/>
              <a:gd name="connsiteX1045" fmla="*/ 1022646 w 12191996"/>
              <a:gd name="connsiteY1045" fmla="*/ 6485158 h 6857997"/>
              <a:gd name="connsiteX1046" fmla="*/ 1013821 w 12191996"/>
              <a:gd name="connsiteY1046" fmla="*/ 6504727 h 6857997"/>
              <a:gd name="connsiteX1047" fmla="*/ 998160 w 12191996"/>
              <a:gd name="connsiteY1047" fmla="*/ 6511180 h 6857997"/>
              <a:gd name="connsiteX1048" fmla="*/ 978486 w 12191996"/>
              <a:gd name="connsiteY1048" fmla="*/ 6500672 h 6857997"/>
              <a:gd name="connsiteX1049" fmla="*/ 971092 w 12191996"/>
              <a:gd name="connsiteY1049" fmla="*/ 6469146 h 6857997"/>
              <a:gd name="connsiteX1050" fmla="*/ 974759 w 12191996"/>
              <a:gd name="connsiteY1050" fmla="*/ 6446176 h 6857997"/>
              <a:gd name="connsiteX1051" fmla="*/ 984574 w 12191996"/>
              <a:gd name="connsiteY1051" fmla="*/ 6432805 h 6857997"/>
              <a:gd name="connsiteX1052" fmla="*/ 999106 w 12191996"/>
              <a:gd name="connsiteY1052" fmla="*/ 6428510 h 6857997"/>
              <a:gd name="connsiteX1053" fmla="*/ 1021530 w 12191996"/>
              <a:gd name="connsiteY1053" fmla="*/ 6449788 h 6857997"/>
              <a:gd name="connsiteX1054" fmla="*/ 1032413 w 12191996"/>
              <a:gd name="connsiteY1054" fmla="*/ 6446649 h 6857997"/>
              <a:gd name="connsiteX1055" fmla="*/ 1020193 w 12191996"/>
              <a:gd name="connsiteY1055" fmla="*/ 6424481 h 6857997"/>
              <a:gd name="connsiteX1056" fmla="*/ 999314 w 12191996"/>
              <a:gd name="connsiteY1056" fmla="*/ 6416930 h 6857997"/>
              <a:gd name="connsiteX1057" fmla="*/ 11136920 w 12191996"/>
              <a:gd name="connsiteY1057" fmla="*/ 6415084 h 6857997"/>
              <a:gd name="connsiteX1058" fmla="*/ 11180757 w 12191996"/>
              <a:gd name="connsiteY1058" fmla="*/ 6458741 h 6857997"/>
              <a:gd name="connsiteX1059" fmla="*/ 11136920 w 12191996"/>
              <a:gd name="connsiteY1059" fmla="*/ 6502397 h 6857997"/>
              <a:gd name="connsiteX1060" fmla="*/ 11093445 w 12191996"/>
              <a:gd name="connsiteY1060" fmla="*/ 6457621 h 6857997"/>
              <a:gd name="connsiteX1061" fmla="*/ 11136920 w 12191996"/>
              <a:gd name="connsiteY1061" fmla="*/ 6415084 h 6857997"/>
              <a:gd name="connsiteX1062" fmla="*/ 11241084 w 12191996"/>
              <a:gd name="connsiteY1062" fmla="*/ 6397622 h 6857997"/>
              <a:gd name="connsiteX1063" fmla="*/ 11241084 w 12191996"/>
              <a:gd name="connsiteY1063" fmla="*/ 6521447 h 6857997"/>
              <a:gd name="connsiteX1064" fmla="*/ 11276259 w 12191996"/>
              <a:gd name="connsiteY1064" fmla="*/ 6521447 h 6857997"/>
              <a:gd name="connsiteX1065" fmla="*/ 11274446 w 12191996"/>
              <a:gd name="connsiteY1065" fmla="*/ 6427562 h 6857997"/>
              <a:gd name="connsiteX1066" fmla="*/ 11344433 w 12191996"/>
              <a:gd name="connsiteY1066" fmla="*/ 6521447 h 6857997"/>
              <a:gd name="connsiteX1067" fmla="*/ 11383959 w 12191996"/>
              <a:gd name="connsiteY1067" fmla="*/ 6521447 h 6857997"/>
              <a:gd name="connsiteX1068" fmla="*/ 11383959 w 12191996"/>
              <a:gd name="connsiteY1068" fmla="*/ 6397622 h 6857997"/>
              <a:gd name="connsiteX1069" fmla="*/ 11349147 w 12191996"/>
              <a:gd name="connsiteY1069" fmla="*/ 6397622 h 6857997"/>
              <a:gd name="connsiteX1070" fmla="*/ 11350597 w 12191996"/>
              <a:gd name="connsiteY1070" fmla="*/ 6486702 h 6857997"/>
              <a:gd name="connsiteX1071" fmla="*/ 11284237 w 12191996"/>
              <a:gd name="connsiteY1071" fmla="*/ 6397622 h 6857997"/>
              <a:gd name="connsiteX1072" fmla="*/ 10998196 w 12191996"/>
              <a:gd name="connsiteY1072" fmla="*/ 6397622 h 6857997"/>
              <a:gd name="connsiteX1073" fmla="*/ 10998196 w 12191996"/>
              <a:gd name="connsiteY1073" fmla="*/ 6521447 h 6857997"/>
              <a:gd name="connsiteX1074" fmla="*/ 11033121 w 12191996"/>
              <a:gd name="connsiteY1074" fmla="*/ 6521447 h 6857997"/>
              <a:gd name="connsiteX1075" fmla="*/ 11033121 w 12191996"/>
              <a:gd name="connsiteY1075" fmla="*/ 6397622 h 6857997"/>
              <a:gd name="connsiteX1076" fmla="*/ 10760071 w 12191996"/>
              <a:gd name="connsiteY1076" fmla="*/ 6397622 h 6857997"/>
              <a:gd name="connsiteX1077" fmla="*/ 10760071 w 12191996"/>
              <a:gd name="connsiteY1077" fmla="*/ 6521447 h 6857997"/>
              <a:gd name="connsiteX1078" fmla="*/ 10794996 w 12191996"/>
              <a:gd name="connsiteY1078" fmla="*/ 6521447 h 6857997"/>
              <a:gd name="connsiteX1079" fmla="*/ 10794996 w 12191996"/>
              <a:gd name="connsiteY1079" fmla="*/ 6397622 h 6857997"/>
              <a:gd name="connsiteX1080" fmla="*/ 10637569 w 12191996"/>
              <a:gd name="connsiteY1080" fmla="*/ 6397622 h 6857997"/>
              <a:gd name="connsiteX1081" fmla="*/ 10580684 w 12191996"/>
              <a:gd name="connsiteY1081" fmla="*/ 6435324 h 6857997"/>
              <a:gd name="connsiteX1082" fmla="*/ 10634670 w 12191996"/>
              <a:gd name="connsiteY1082" fmla="*/ 6471178 h 6857997"/>
              <a:gd name="connsiteX1083" fmla="*/ 10674888 w 12191996"/>
              <a:gd name="connsiteY1083" fmla="*/ 6471178 h 6857997"/>
              <a:gd name="connsiteX1084" fmla="*/ 10699163 w 12191996"/>
              <a:gd name="connsiteY1084" fmla="*/ 6485224 h 6857997"/>
              <a:gd name="connsiteX1085" fmla="*/ 10672714 w 12191996"/>
              <a:gd name="connsiteY1085" fmla="*/ 6499270 h 6857997"/>
              <a:gd name="connsiteX1086" fmla="*/ 10587206 w 12191996"/>
              <a:gd name="connsiteY1086" fmla="*/ 6499270 h 6857997"/>
              <a:gd name="connsiteX1087" fmla="*/ 10587206 w 12191996"/>
              <a:gd name="connsiteY1087" fmla="*/ 6521447 h 6857997"/>
              <a:gd name="connsiteX1088" fmla="*/ 10678149 w 12191996"/>
              <a:gd name="connsiteY1088" fmla="*/ 6521447 h 6857997"/>
              <a:gd name="connsiteX1089" fmla="*/ 10734671 w 12191996"/>
              <a:gd name="connsiteY1089" fmla="*/ 6484115 h 6857997"/>
              <a:gd name="connsiteX1090" fmla="*/ 10683221 w 12191996"/>
              <a:gd name="connsiteY1090" fmla="*/ 6449370 h 6857997"/>
              <a:gd name="connsiteX1091" fmla="*/ 10637931 w 12191996"/>
              <a:gd name="connsiteY1091" fmla="*/ 6449370 h 6857997"/>
              <a:gd name="connsiteX1092" fmla="*/ 10616554 w 12191996"/>
              <a:gd name="connsiteY1092" fmla="*/ 6435694 h 6857997"/>
              <a:gd name="connsiteX1093" fmla="*/ 10642641 w 12191996"/>
              <a:gd name="connsiteY1093" fmla="*/ 6419430 h 6857997"/>
              <a:gd name="connsiteX1094" fmla="*/ 10726700 w 12191996"/>
              <a:gd name="connsiteY1094" fmla="*/ 6419430 h 6857997"/>
              <a:gd name="connsiteX1095" fmla="*/ 10726700 w 12191996"/>
              <a:gd name="connsiteY1095" fmla="*/ 6397622 h 6857997"/>
              <a:gd name="connsiteX1096" fmla="*/ 10413996 w 12191996"/>
              <a:gd name="connsiteY1096" fmla="*/ 6397622 h 6857997"/>
              <a:gd name="connsiteX1097" fmla="*/ 10413996 w 12191996"/>
              <a:gd name="connsiteY1097" fmla="*/ 6521447 h 6857997"/>
              <a:gd name="connsiteX1098" fmla="*/ 10448897 w 12191996"/>
              <a:gd name="connsiteY1098" fmla="*/ 6521447 h 6857997"/>
              <a:gd name="connsiteX1099" fmla="*/ 10447443 w 12191996"/>
              <a:gd name="connsiteY1099" fmla="*/ 6427562 h 6857997"/>
              <a:gd name="connsiteX1100" fmla="*/ 10517608 w 12191996"/>
              <a:gd name="connsiteY1100" fmla="*/ 6521447 h 6857997"/>
              <a:gd name="connsiteX1101" fmla="*/ 10556871 w 12191996"/>
              <a:gd name="connsiteY1101" fmla="*/ 6521447 h 6857997"/>
              <a:gd name="connsiteX1102" fmla="*/ 10556871 w 12191996"/>
              <a:gd name="connsiteY1102" fmla="*/ 6397622 h 6857997"/>
              <a:gd name="connsiteX1103" fmla="*/ 10522334 w 12191996"/>
              <a:gd name="connsiteY1103" fmla="*/ 6397622 h 6857997"/>
              <a:gd name="connsiteX1104" fmla="*/ 10523788 w 12191996"/>
              <a:gd name="connsiteY1104" fmla="*/ 6486702 h 6857997"/>
              <a:gd name="connsiteX1105" fmla="*/ 10457258 w 12191996"/>
              <a:gd name="connsiteY1105" fmla="*/ 6397622 h 6857997"/>
              <a:gd name="connsiteX1106" fmla="*/ 10327466 w 12191996"/>
              <a:gd name="connsiteY1106" fmla="*/ 6397622 h 6857997"/>
              <a:gd name="connsiteX1107" fmla="*/ 10252071 w 12191996"/>
              <a:gd name="connsiteY1107" fmla="*/ 6461568 h 6857997"/>
              <a:gd name="connsiteX1108" fmla="*/ 10276844 w 12191996"/>
              <a:gd name="connsiteY1108" fmla="*/ 6510358 h 6857997"/>
              <a:gd name="connsiteX1109" fmla="*/ 10326748 w 12191996"/>
              <a:gd name="connsiteY1109" fmla="*/ 6521447 h 6857997"/>
              <a:gd name="connsiteX1110" fmla="*/ 10383833 w 12191996"/>
              <a:gd name="connsiteY1110" fmla="*/ 6521447 h 6857997"/>
              <a:gd name="connsiteX1111" fmla="*/ 10383833 w 12191996"/>
              <a:gd name="connsiteY1111" fmla="*/ 6499639 h 6857997"/>
              <a:gd name="connsiteX1112" fmla="*/ 10328184 w 12191996"/>
              <a:gd name="connsiteY1112" fmla="*/ 6499639 h 6857997"/>
              <a:gd name="connsiteX1113" fmla="*/ 10290128 w 12191996"/>
              <a:gd name="connsiteY1113" fmla="*/ 6469330 h 6857997"/>
              <a:gd name="connsiteX1114" fmla="*/ 10383833 w 12191996"/>
              <a:gd name="connsiteY1114" fmla="*/ 6469330 h 6857997"/>
              <a:gd name="connsiteX1115" fmla="*/ 10383833 w 12191996"/>
              <a:gd name="connsiteY1115" fmla="*/ 6447892 h 6857997"/>
              <a:gd name="connsiteX1116" fmla="*/ 10290128 w 12191996"/>
              <a:gd name="connsiteY1116" fmla="*/ 6447892 h 6857997"/>
              <a:gd name="connsiteX1117" fmla="*/ 10328184 w 12191996"/>
              <a:gd name="connsiteY1117" fmla="*/ 6419061 h 6857997"/>
              <a:gd name="connsiteX1118" fmla="*/ 10383833 w 12191996"/>
              <a:gd name="connsiteY1118" fmla="*/ 6419061 h 6857997"/>
              <a:gd name="connsiteX1119" fmla="*/ 10383833 w 12191996"/>
              <a:gd name="connsiteY1119" fmla="*/ 6397622 h 6857997"/>
              <a:gd name="connsiteX1120" fmla="*/ 10139094 w 12191996"/>
              <a:gd name="connsiteY1120" fmla="*/ 6397622 h 6857997"/>
              <a:gd name="connsiteX1121" fmla="*/ 10082209 w 12191996"/>
              <a:gd name="connsiteY1121" fmla="*/ 6435324 h 6857997"/>
              <a:gd name="connsiteX1122" fmla="*/ 10136195 w 12191996"/>
              <a:gd name="connsiteY1122" fmla="*/ 6471178 h 6857997"/>
              <a:gd name="connsiteX1123" fmla="*/ 10176413 w 12191996"/>
              <a:gd name="connsiteY1123" fmla="*/ 6471178 h 6857997"/>
              <a:gd name="connsiteX1124" fmla="*/ 10200326 w 12191996"/>
              <a:gd name="connsiteY1124" fmla="*/ 6485224 h 6857997"/>
              <a:gd name="connsiteX1125" fmla="*/ 10173877 w 12191996"/>
              <a:gd name="connsiteY1125" fmla="*/ 6499270 h 6857997"/>
              <a:gd name="connsiteX1126" fmla="*/ 10088731 w 12191996"/>
              <a:gd name="connsiteY1126" fmla="*/ 6499270 h 6857997"/>
              <a:gd name="connsiteX1127" fmla="*/ 10088731 w 12191996"/>
              <a:gd name="connsiteY1127" fmla="*/ 6521447 h 6857997"/>
              <a:gd name="connsiteX1128" fmla="*/ 10179311 w 12191996"/>
              <a:gd name="connsiteY1128" fmla="*/ 6521447 h 6857997"/>
              <a:gd name="connsiteX1129" fmla="*/ 10236196 w 12191996"/>
              <a:gd name="connsiteY1129" fmla="*/ 6484115 h 6857997"/>
              <a:gd name="connsiteX1130" fmla="*/ 10184384 w 12191996"/>
              <a:gd name="connsiteY1130" fmla="*/ 6449370 h 6857997"/>
              <a:gd name="connsiteX1131" fmla="*/ 10139456 w 12191996"/>
              <a:gd name="connsiteY1131" fmla="*/ 6449370 h 6857997"/>
              <a:gd name="connsiteX1132" fmla="*/ 10117717 w 12191996"/>
              <a:gd name="connsiteY1132" fmla="*/ 6435694 h 6857997"/>
              <a:gd name="connsiteX1133" fmla="*/ 10144166 w 12191996"/>
              <a:gd name="connsiteY1133" fmla="*/ 6419430 h 6857997"/>
              <a:gd name="connsiteX1134" fmla="*/ 10228225 w 12191996"/>
              <a:gd name="connsiteY1134" fmla="*/ 6419430 h 6857997"/>
              <a:gd name="connsiteX1135" fmla="*/ 10228225 w 12191996"/>
              <a:gd name="connsiteY1135" fmla="*/ 6397622 h 6857997"/>
              <a:gd name="connsiteX1136" fmla="*/ 10828333 w 12191996"/>
              <a:gd name="connsiteY1136" fmla="*/ 6397621 h 6857997"/>
              <a:gd name="connsiteX1137" fmla="*/ 10828333 w 12191996"/>
              <a:gd name="connsiteY1137" fmla="*/ 6521446 h 6857997"/>
              <a:gd name="connsiteX1138" fmla="*/ 10862629 w 12191996"/>
              <a:gd name="connsiteY1138" fmla="*/ 6521446 h 6857997"/>
              <a:gd name="connsiteX1139" fmla="*/ 10862629 w 12191996"/>
              <a:gd name="connsiteY1139" fmla="*/ 6472655 h 6857997"/>
              <a:gd name="connsiteX1140" fmla="*/ 10903128 w 12191996"/>
              <a:gd name="connsiteY1140" fmla="*/ 6472655 h 6857997"/>
              <a:gd name="connsiteX1141" fmla="*/ 10938884 w 12191996"/>
              <a:gd name="connsiteY1141" fmla="*/ 6521446 h 6857997"/>
              <a:gd name="connsiteX1142" fmla="*/ 10977558 w 12191996"/>
              <a:gd name="connsiteY1142" fmla="*/ 6521446 h 6857997"/>
              <a:gd name="connsiteX1143" fmla="*/ 10937059 w 12191996"/>
              <a:gd name="connsiteY1143" fmla="*/ 6469698 h 6857997"/>
              <a:gd name="connsiteX1144" fmla="*/ 10969896 w 12191996"/>
              <a:gd name="connsiteY1144" fmla="*/ 6434584 h 6857997"/>
              <a:gd name="connsiteX1145" fmla="*/ 10912979 w 12191996"/>
              <a:gd name="connsiteY1145" fmla="*/ 6397621 h 6857997"/>
              <a:gd name="connsiteX1146" fmla="*/ 11137895 w 12191996"/>
              <a:gd name="connsiteY1146" fmla="*/ 6394446 h 6857997"/>
              <a:gd name="connsiteX1147" fmla="*/ 11056933 w 12191996"/>
              <a:gd name="connsiteY1147" fmla="*/ 6457451 h 6857997"/>
              <a:gd name="connsiteX1148" fmla="*/ 11137895 w 12191996"/>
              <a:gd name="connsiteY1148" fmla="*/ 6523034 h 6857997"/>
              <a:gd name="connsiteX1149" fmla="*/ 11218858 w 12191996"/>
              <a:gd name="connsiteY1149" fmla="*/ 6458556 h 6857997"/>
              <a:gd name="connsiteX1150" fmla="*/ 11137895 w 12191996"/>
              <a:gd name="connsiteY1150" fmla="*/ 6394446 h 6857997"/>
              <a:gd name="connsiteX1151" fmla="*/ 0 w 12191996"/>
              <a:gd name="connsiteY1151" fmla="*/ 0 h 6857997"/>
              <a:gd name="connsiteX1152" fmla="*/ 12191996 w 12191996"/>
              <a:gd name="connsiteY1152" fmla="*/ 0 h 6857997"/>
              <a:gd name="connsiteX1153" fmla="*/ 12191996 w 12191996"/>
              <a:gd name="connsiteY1153" fmla="*/ 3141658 h 6857997"/>
              <a:gd name="connsiteX1154" fmla="*/ 6095997 w 12191996"/>
              <a:gd name="connsiteY1154" fmla="*/ 3141658 h 6857997"/>
              <a:gd name="connsiteX1155" fmla="*/ 6095997 w 12191996"/>
              <a:gd name="connsiteY1155" fmla="*/ 6237283 h 6857997"/>
              <a:gd name="connsiteX1156" fmla="*/ 12191996 w 12191996"/>
              <a:gd name="connsiteY1156" fmla="*/ 6237283 h 6857997"/>
              <a:gd name="connsiteX1157" fmla="*/ 12191996 w 12191996"/>
              <a:gd name="connsiteY1157" fmla="*/ 6857997 h 6857997"/>
              <a:gd name="connsiteX1158" fmla="*/ 0 w 12191996"/>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91996" h="6857997">
                <a:moveTo>
                  <a:pt x="11197257" y="6583359"/>
                </a:moveTo>
                <a:lnTo>
                  <a:pt x="11207745" y="6602409"/>
                </a:lnTo>
                <a:lnTo>
                  <a:pt x="11187108" y="6602409"/>
                </a:lnTo>
                <a:close/>
                <a:moveTo>
                  <a:pt x="11114083" y="6583359"/>
                </a:moveTo>
                <a:lnTo>
                  <a:pt x="11131338" y="6583359"/>
                </a:lnTo>
                <a:cubicBezTo>
                  <a:pt x="11141347" y="6583359"/>
                  <a:pt x="11145833" y="6584696"/>
                  <a:pt x="11145833" y="6589709"/>
                </a:cubicBezTo>
                <a:cubicBezTo>
                  <a:pt x="11145833" y="6594054"/>
                  <a:pt x="11141347" y="6596059"/>
                  <a:pt x="11132374" y="6596059"/>
                </a:cubicBezTo>
                <a:lnTo>
                  <a:pt x="11114083" y="6596059"/>
                </a:lnTo>
                <a:close/>
                <a:moveTo>
                  <a:pt x="10745783" y="6583359"/>
                </a:moveTo>
                <a:lnTo>
                  <a:pt x="10765350" y="6583359"/>
                </a:lnTo>
                <a:cubicBezTo>
                  <a:pt x="10774772" y="6583359"/>
                  <a:pt x="10779120" y="6584370"/>
                  <a:pt x="10779120" y="6588747"/>
                </a:cubicBezTo>
                <a:cubicBezTo>
                  <a:pt x="10779120" y="6593125"/>
                  <a:pt x="10774772" y="6594472"/>
                  <a:pt x="10765350" y="6594472"/>
                </a:cubicBezTo>
                <a:lnTo>
                  <a:pt x="10745783" y="6594472"/>
                </a:lnTo>
                <a:close/>
                <a:moveTo>
                  <a:pt x="10949955" y="6581771"/>
                </a:moveTo>
                <a:cubicBezTo>
                  <a:pt x="10963542" y="6581771"/>
                  <a:pt x="10969620" y="6587267"/>
                  <a:pt x="10969620" y="6598623"/>
                </a:cubicBezTo>
                <a:cubicBezTo>
                  <a:pt x="10969620" y="6609614"/>
                  <a:pt x="10963542" y="6615109"/>
                  <a:pt x="10949955" y="6615109"/>
                </a:cubicBezTo>
                <a:cubicBezTo>
                  <a:pt x="10936011" y="6615109"/>
                  <a:pt x="10929933" y="6609614"/>
                  <a:pt x="10929933" y="6598257"/>
                </a:cubicBezTo>
                <a:cubicBezTo>
                  <a:pt x="10929933" y="6587267"/>
                  <a:pt x="10936369" y="6581771"/>
                  <a:pt x="10949955" y="6581771"/>
                </a:cubicBezTo>
                <a:close/>
                <a:moveTo>
                  <a:pt x="10682898" y="6581771"/>
                </a:moveTo>
                <a:cubicBezTo>
                  <a:pt x="10696842" y="6581771"/>
                  <a:pt x="10702920" y="6587267"/>
                  <a:pt x="10702920" y="6598623"/>
                </a:cubicBezTo>
                <a:cubicBezTo>
                  <a:pt x="10702920" y="6609614"/>
                  <a:pt x="10696842" y="6615109"/>
                  <a:pt x="10682898" y="6615109"/>
                </a:cubicBezTo>
                <a:cubicBezTo>
                  <a:pt x="10669311" y="6615109"/>
                  <a:pt x="10663233" y="6609614"/>
                  <a:pt x="10663233" y="6598257"/>
                </a:cubicBezTo>
                <a:cubicBezTo>
                  <a:pt x="10663233" y="6587267"/>
                  <a:pt x="10669669" y="6581771"/>
                  <a:pt x="10682898" y="6581771"/>
                </a:cubicBezTo>
                <a:close/>
                <a:moveTo>
                  <a:pt x="11312520" y="6573834"/>
                </a:moveTo>
                <a:lnTo>
                  <a:pt x="11341079" y="6601258"/>
                </a:lnTo>
                <a:lnTo>
                  <a:pt x="11341079" y="6623047"/>
                </a:lnTo>
                <a:lnTo>
                  <a:pt x="11356624" y="6623047"/>
                </a:lnTo>
                <a:lnTo>
                  <a:pt x="11356624" y="6601258"/>
                </a:lnTo>
                <a:lnTo>
                  <a:pt x="11385545" y="6573834"/>
                </a:lnTo>
                <a:lnTo>
                  <a:pt x="11367470" y="6573834"/>
                </a:lnTo>
                <a:lnTo>
                  <a:pt x="11348671" y="6592618"/>
                </a:lnTo>
                <a:lnTo>
                  <a:pt x="11330234" y="6573834"/>
                </a:lnTo>
                <a:close/>
                <a:moveTo>
                  <a:pt x="11242670" y="6573834"/>
                </a:moveTo>
                <a:lnTo>
                  <a:pt x="11242670" y="6623047"/>
                </a:lnTo>
                <a:lnTo>
                  <a:pt x="11259156" y="6623047"/>
                </a:lnTo>
                <a:lnTo>
                  <a:pt x="11258423" y="6585856"/>
                </a:lnTo>
                <a:lnTo>
                  <a:pt x="11291028" y="6623047"/>
                </a:lnTo>
                <a:lnTo>
                  <a:pt x="11309345" y="6623047"/>
                </a:lnTo>
                <a:lnTo>
                  <a:pt x="11309345" y="6573834"/>
                </a:lnTo>
                <a:lnTo>
                  <a:pt x="11293226" y="6573834"/>
                </a:lnTo>
                <a:lnTo>
                  <a:pt x="11293958" y="6609147"/>
                </a:lnTo>
                <a:lnTo>
                  <a:pt x="11262819" y="6573834"/>
                </a:lnTo>
                <a:close/>
                <a:moveTo>
                  <a:pt x="11189997" y="6573834"/>
                </a:moveTo>
                <a:lnTo>
                  <a:pt x="11158533" y="6623047"/>
                </a:lnTo>
                <a:lnTo>
                  <a:pt x="11174980" y="6623047"/>
                </a:lnTo>
                <a:lnTo>
                  <a:pt x="11181773" y="6611401"/>
                </a:lnTo>
                <a:lnTo>
                  <a:pt x="11213595" y="6611401"/>
                </a:lnTo>
                <a:lnTo>
                  <a:pt x="11220388" y="6623047"/>
                </a:lnTo>
                <a:lnTo>
                  <a:pt x="11237908" y="6623047"/>
                </a:lnTo>
                <a:lnTo>
                  <a:pt x="11206444" y="6573834"/>
                </a:lnTo>
                <a:close/>
                <a:moveTo>
                  <a:pt x="11098208" y="6573834"/>
                </a:moveTo>
                <a:lnTo>
                  <a:pt x="11098208" y="6623047"/>
                </a:lnTo>
                <a:lnTo>
                  <a:pt x="11113502" y="6623047"/>
                </a:lnTo>
                <a:lnTo>
                  <a:pt x="11113502" y="6605766"/>
                </a:lnTo>
                <a:lnTo>
                  <a:pt x="11132352" y="6605766"/>
                </a:lnTo>
                <a:cubicBezTo>
                  <a:pt x="11141599" y="6605766"/>
                  <a:pt x="11148713" y="6605766"/>
                  <a:pt x="11154759" y="6602761"/>
                </a:cubicBezTo>
                <a:cubicBezTo>
                  <a:pt x="11160450" y="6600131"/>
                  <a:pt x="11163295" y="6595999"/>
                  <a:pt x="11163295" y="6589988"/>
                </a:cubicBezTo>
                <a:cubicBezTo>
                  <a:pt x="11163295" y="6583977"/>
                  <a:pt x="11159738" y="6579094"/>
                  <a:pt x="11153336" y="6576464"/>
                </a:cubicBezTo>
                <a:cubicBezTo>
                  <a:pt x="11148713" y="6574586"/>
                  <a:pt x="11141599" y="6573834"/>
                  <a:pt x="11131641" y="6573834"/>
                </a:cubicBezTo>
                <a:close/>
                <a:moveTo>
                  <a:pt x="10998195" y="6573834"/>
                </a:moveTo>
                <a:lnTo>
                  <a:pt x="10998195" y="6623047"/>
                </a:lnTo>
                <a:lnTo>
                  <a:pt x="11014084" y="6623047"/>
                </a:lnTo>
                <a:lnTo>
                  <a:pt x="11012639" y="6584353"/>
                </a:lnTo>
                <a:lnTo>
                  <a:pt x="11032500" y="6623047"/>
                </a:lnTo>
                <a:lnTo>
                  <a:pt x="11049111" y="6623047"/>
                </a:lnTo>
                <a:lnTo>
                  <a:pt x="11068249" y="6584729"/>
                </a:lnTo>
                <a:lnTo>
                  <a:pt x="11066805" y="6623047"/>
                </a:lnTo>
                <a:lnTo>
                  <a:pt x="11082332" y="6623047"/>
                </a:lnTo>
                <a:lnTo>
                  <a:pt x="11082332" y="6573834"/>
                </a:lnTo>
                <a:lnTo>
                  <a:pt x="11059221" y="6573834"/>
                </a:lnTo>
                <a:lnTo>
                  <a:pt x="11040444" y="6611401"/>
                </a:lnTo>
                <a:lnTo>
                  <a:pt x="11021306" y="6573834"/>
                </a:lnTo>
                <a:close/>
                <a:moveTo>
                  <a:pt x="10949776" y="6573834"/>
                </a:moveTo>
                <a:cubicBezTo>
                  <a:pt x="10924422" y="6573834"/>
                  <a:pt x="10912470" y="6581433"/>
                  <a:pt x="10912470" y="6597717"/>
                </a:cubicBezTo>
                <a:cubicBezTo>
                  <a:pt x="10912470" y="6615086"/>
                  <a:pt x="10923698" y="6623047"/>
                  <a:pt x="10949776" y="6623047"/>
                </a:cubicBezTo>
                <a:cubicBezTo>
                  <a:pt x="10975130" y="6623047"/>
                  <a:pt x="10987082" y="6615086"/>
                  <a:pt x="10987082" y="6598441"/>
                </a:cubicBezTo>
                <a:cubicBezTo>
                  <a:pt x="10987082" y="6581433"/>
                  <a:pt x="10975130" y="6573834"/>
                  <a:pt x="10949776" y="6573834"/>
                </a:cubicBezTo>
                <a:close/>
                <a:moveTo>
                  <a:pt x="10879898" y="6573834"/>
                </a:moveTo>
                <a:cubicBezTo>
                  <a:pt x="10855498" y="6573834"/>
                  <a:pt x="10844208" y="6582099"/>
                  <a:pt x="10844208" y="6599380"/>
                </a:cubicBezTo>
                <a:cubicBezTo>
                  <a:pt x="10844208" y="6608396"/>
                  <a:pt x="10848214" y="6614782"/>
                  <a:pt x="10855862" y="6618539"/>
                </a:cubicBezTo>
                <a:cubicBezTo>
                  <a:pt x="10863146" y="6622672"/>
                  <a:pt x="10870065" y="6623047"/>
                  <a:pt x="10879170" y="6623047"/>
                </a:cubicBezTo>
                <a:lnTo>
                  <a:pt x="10906120" y="6623047"/>
                </a:lnTo>
                <a:lnTo>
                  <a:pt x="10906120" y="6614407"/>
                </a:lnTo>
                <a:lnTo>
                  <a:pt x="10879898" y="6614407"/>
                </a:lnTo>
                <a:cubicBezTo>
                  <a:pt x="10866788" y="6614407"/>
                  <a:pt x="10861689" y="6610650"/>
                  <a:pt x="10861689" y="6599756"/>
                </a:cubicBezTo>
                <a:cubicBezTo>
                  <a:pt x="10861689" y="6587734"/>
                  <a:pt x="10866788" y="6582475"/>
                  <a:pt x="10879898" y="6582475"/>
                </a:cubicBezTo>
                <a:lnTo>
                  <a:pt x="10906120" y="6582475"/>
                </a:lnTo>
                <a:lnTo>
                  <a:pt x="10906120" y="6573834"/>
                </a:lnTo>
                <a:close/>
                <a:moveTo>
                  <a:pt x="10729908" y="6573834"/>
                </a:moveTo>
                <a:lnTo>
                  <a:pt x="10729908" y="6623047"/>
                </a:lnTo>
                <a:lnTo>
                  <a:pt x="10745800" y="6623047"/>
                </a:lnTo>
                <a:lnTo>
                  <a:pt x="10745800" y="6603888"/>
                </a:lnTo>
                <a:lnTo>
                  <a:pt x="10765018" y="6603888"/>
                </a:lnTo>
                <a:lnTo>
                  <a:pt x="10781649" y="6623047"/>
                </a:lnTo>
                <a:lnTo>
                  <a:pt x="10799758" y="6623047"/>
                </a:lnTo>
                <a:lnTo>
                  <a:pt x="10780910" y="6602385"/>
                </a:lnTo>
                <a:cubicBezTo>
                  <a:pt x="10790519" y="6601258"/>
                  <a:pt x="10796062" y="6596375"/>
                  <a:pt x="10796062" y="6588861"/>
                </a:cubicBezTo>
                <a:cubicBezTo>
                  <a:pt x="10796062" y="6578342"/>
                  <a:pt x="10787562" y="6573834"/>
                  <a:pt x="10769453" y="6573834"/>
                </a:cubicBezTo>
                <a:close/>
                <a:moveTo>
                  <a:pt x="10683076" y="6573834"/>
                </a:moveTo>
                <a:cubicBezTo>
                  <a:pt x="10658085" y="6573834"/>
                  <a:pt x="10645770" y="6581433"/>
                  <a:pt x="10645770" y="6597717"/>
                </a:cubicBezTo>
                <a:cubicBezTo>
                  <a:pt x="10645770" y="6615086"/>
                  <a:pt x="10657360" y="6623047"/>
                  <a:pt x="10683076" y="6623047"/>
                </a:cubicBezTo>
                <a:cubicBezTo>
                  <a:pt x="10708792" y="6623047"/>
                  <a:pt x="10720382" y="6615086"/>
                  <a:pt x="10720382" y="6598441"/>
                </a:cubicBezTo>
                <a:cubicBezTo>
                  <a:pt x="10720382" y="6581433"/>
                  <a:pt x="10708792" y="6573834"/>
                  <a:pt x="10683076" y="6573834"/>
                </a:cubicBezTo>
                <a:close/>
                <a:moveTo>
                  <a:pt x="10593642" y="6573834"/>
                </a:moveTo>
                <a:cubicBezTo>
                  <a:pt x="10576180" y="6573834"/>
                  <a:pt x="10567983" y="6578342"/>
                  <a:pt x="10567983" y="6588861"/>
                </a:cubicBezTo>
                <a:cubicBezTo>
                  <a:pt x="10567983" y="6598629"/>
                  <a:pt x="10575467" y="6603137"/>
                  <a:pt x="10592573" y="6603137"/>
                </a:cubicBezTo>
                <a:lnTo>
                  <a:pt x="10610748" y="6603137"/>
                </a:lnTo>
                <a:cubicBezTo>
                  <a:pt x="10618232" y="6603137"/>
                  <a:pt x="10621796" y="6604264"/>
                  <a:pt x="10621796" y="6608772"/>
                </a:cubicBezTo>
                <a:cubicBezTo>
                  <a:pt x="10621796" y="6612904"/>
                  <a:pt x="10617876" y="6614407"/>
                  <a:pt x="10609679" y="6614407"/>
                </a:cubicBezTo>
                <a:lnTo>
                  <a:pt x="10570834" y="6614407"/>
                </a:lnTo>
                <a:lnTo>
                  <a:pt x="10570834" y="6623047"/>
                </a:lnTo>
                <a:lnTo>
                  <a:pt x="10612174" y="6623047"/>
                </a:lnTo>
                <a:cubicBezTo>
                  <a:pt x="10629636" y="6623047"/>
                  <a:pt x="10637833" y="6618539"/>
                  <a:pt x="10637833" y="6608396"/>
                </a:cubicBezTo>
                <a:cubicBezTo>
                  <a:pt x="10637833" y="6598253"/>
                  <a:pt x="10630705" y="6594496"/>
                  <a:pt x="10614312" y="6594496"/>
                </a:cubicBezTo>
                <a:lnTo>
                  <a:pt x="10593999" y="6594496"/>
                </a:lnTo>
                <a:cubicBezTo>
                  <a:pt x="10587584" y="6594496"/>
                  <a:pt x="10584020" y="6592618"/>
                  <a:pt x="10584020" y="6589237"/>
                </a:cubicBezTo>
                <a:cubicBezTo>
                  <a:pt x="10584020" y="6584729"/>
                  <a:pt x="10587940" y="6582850"/>
                  <a:pt x="10596137" y="6582850"/>
                </a:cubicBezTo>
                <a:lnTo>
                  <a:pt x="10634269" y="6582850"/>
                </a:lnTo>
                <a:lnTo>
                  <a:pt x="10634269" y="6573834"/>
                </a:lnTo>
                <a:close/>
                <a:moveTo>
                  <a:pt x="10490195" y="6573834"/>
                </a:moveTo>
                <a:lnTo>
                  <a:pt x="10490195" y="6623047"/>
                </a:lnTo>
                <a:lnTo>
                  <a:pt x="10506681" y="6623047"/>
                </a:lnTo>
                <a:lnTo>
                  <a:pt x="10505948" y="6585856"/>
                </a:lnTo>
                <a:lnTo>
                  <a:pt x="10538553" y="6623047"/>
                </a:lnTo>
                <a:lnTo>
                  <a:pt x="10556870" y="6623047"/>
                </a:lnTo>
                <a:lnTo>
                  <a:pt x="10556870" y="6573834"/>
                </a:lnTo>
                <a:lnTo>
                  <a:pt x="10540751" y="6573834"/>
                </a:lnTo>
                <a:lnTo>
                  <a:pt x="10541483" y="6609147"/>
                </a:lnTo>
                <a:lnTo>
                  <a:pt x="10510344" y="6573834"/>
                </a:lnTo>
                <a:close/>
                <a:moveTo>
                  <a:pt x="10450207" y="6573834"/>
                </a:moveTo>
                <a:cubicBezTo>
                  <a:pt x="10426649" y="6573834"/>
                  <a:pt x="10415583" y="6582099"/>
                  <a:pt x="10415583" y="6599380"/>
                </a:cubicBezTo>
                <a:cubicBezTo>
                  <a:pt x="10415583" y="6608396"/>
                  <a:pt x="10419153" y="6614782"/>
                  <a:pt x="10427005" y="6618539"/>
                </a:cubicBezTo>
                <a:cubicBezTo>
                  <a:pt x="10434145" y="6622672"/>
                  <a:pt x="10440927" y="6623047"/>
                  <a:pt x="10449850" y="6623047"/>
                </a:cubicBezTo>
                <a:lnTo>
                  <a:pt x="10475908" y="6623047"/>
                </a:lnTo>
                <a:lnTo>
                  <a:pt x="10475908" y="6614407"/>
                </a:lnTo>
                <a:lnTo>
                  <a:pt x="10450564" y="6614407"/>
                </a:lnTo>
                <a:cubicBezTo>
                  <a:pt x="10438428" y="6614407"/>
                  <a:pt x="10433074" y="6611401"/>
                  <a:pt x="10433074" y="6602385"/>
                </a:cubicBezTo>
                <a:lnTo>
                  <a:pt x="10475908" y="6602385"/>
                </a:lnTo>
                <a:lnTo>
                  <a:pt x="10475908" y="6593745"/>
                </a:lnTo>
                <a:lnTo>
                  <a:pt x="10433074" y="6593745"/>
                </a:lnTo>
                <a:cubicBezTo>
                  <a:pt x="10433788" y="6586231"/>
                  <a:pt x="10439499" y="6582475"/>
                  <a:pt x="10450564" y="6582475"/>
                </a:cubicBezTo>
                <a:lnTo>
                  <a:pt x="10475908" y="6582475"/>
                </a:lnTo>
                <a:lnTo>
                  <a:pt x="10475908" y="6573834"/>
                </a:lnTo>
                <a:close/>
                <a:moveTo>
                  <a:pt x="10363811" y="6573834"/>
                </a:moveTo>
                <a:cubicBezTo>
                  <a:pt x="10345992" y="6573834"/>
                  <a:pt x="10337795" y="6578342"/>
                  <a:pt x="10337795" y="6588861"/>
                </a:cubicBezTo>
                <a:cubicBezTo>
                  <a:pt x="10337795" y="6598629"/>
                  <a:pt x="10345635" y="6603137"/>
                  <a:pt x="10362385" y="6603137"/>
                </a:cubicBezTo>
                <a:lnTo>
                  <a:pt x="10380560" y="6603137"/>
                </a:lnTo>
                <a:cubicBezTo>
                  <a:pt x="10388044" y="6603137"/>
                  <a:pt x="10391608" y="6604264"/>
                  <a:pt x="10391608" y="6608772"/>
                </a:cubicBezTo>
                <a:cubicBezTo>
                  <a:pt x="10391608" y="6612904"/>
                  <a:pt x="10387688" y="6614407"/>
                  <a:pt x="10379491" y="6614407"/>
                </a:cubicBezTo>
                <a:lnTo>
                  <a:pt x="10340646" y="6614407"/>
                </a:lnTo>
                <a:lnTo>
                  <a:pt x="10340646" y="6623047"/>
                </a:lnTo>
                <a:lnTo>
                  <a:pt x="10381986" y="6623047"/>
                </a:lnTo>
                <a:cubicBezTo>
                  <a:pt x="10399448" y="6623047"/>
                  <a:pt x="10407645" y="6618539"/>
                  <a:pt x="10407645" y="6608396"/>
                </a:cubicBezTo>
                <a:cubicBezTo>
                  <a:pt x="10407645" y="6598253"/>
                  <a:pt x="10400874" y="6594496"/>
                  <a:pt x="10384124" y="6594496"/>
                </a:cubicBezTo>
                <a:lnTo>
                  <a:pt x="10363811" y="6594496"/>
                </a:lnTo>
                <a:cubicBezTo>
                  <a:pt x="10357396" y="6594496"/>
                  <a:pt x="10354188" y="6592618"/>
                  <a:pt x="10354188" y="6589237"/>
                </a:cubicBezTo>
                <a:cubicBezTo>
                  <a:pt x="10354188" y="6584729"/>
                  <a:pt x="10357752" y="6582850"/>
                  <a:pt x="10365949" y="6582850"/>
                </a:cubicBezTo>
                <a:lnTo>
                  <a:pt x="10404081" y="6582850"/>
                </a:lnTo>
                <a:lnTo>
                  <a:pt x="10404081" y="6573834"/>
                </a:lnTo>
                <a:close/>
                <a:moveTo>
                  <a:pt x="10261294" y="6573834"/>
                </a:moveTo>
                <a:cubicBezTo>
                  <a:pt x="10237736" y="6573834"/>
                  <a:pt x="10226670" y="6582099"/>
                  <a:pt x="10226670" y="6599380"/>
                </a:cubicBezTo>
                <a:cubicBezTo>
                  <a:pt x="10226670" y="6608396"/>
                  <a:pt x="10230240" y="6614782"/>
                  <a:pt x="10237736" y="6618539"/>
                </a:cubicBezTo>
                <a:cubicBezTo>
                  <a:pt x="10245232" y="6622672"/>
                  <a:pt x="10252014" y="6623047"/>
                  <a:pt x="10260937" y="6623047"/>
                </a:cubicBezTo>
                <a:lnTo>
                  <a:pt x="10286995" y="6623047"/>
                </a:lnTo>
                <a:lnTo>
                  <a:pt x="10286995" y="6614407"/>
                </a:lnTo>
                <a:lnTo>
                  <a:pt x="10261651" y="6614407"/>
                </a:lnTo>
                <a:cubicBezTo>
                  <a:pt x="10249515" y="6614407"/>
                  <a:pt x="10244161" y="6611401"/>
                  <a:pt x="10244161" y="6602385"/>
                </a:cubicBezTo>
                <a:lnTo>
                  <a:pt x="10286995" y="6602385"/>
                </a:lnTo>
                <a:lnTo>
                  <a:pt x="10286995" y="6593745"/>
                </a:lnTo>
                <a:lnTo>
                  <a:pt x="10244161" y="6593745"/>
                </a:lnTo>
                <a:cubicBezTo>
                  <a:pt x="10244875" y="6586231"/>
                  <a:pt x="10250586" y="6582475"/>
                  <a:pt x="10261651" y="6582475"/>
                </a:cubicBezTo>
                <a:lnTo>
                  <a:pt x="10286995" y="6582475"/>
                </a:lnTo>
                <a:lnTo>
                  <a:pt x="10286995" y="6573834"/>
                </a:lnTo>
                <a:close/>
                <a:moveTo>
                  <a:pt x="10155233" y="6573834"/>
                </a:moveTo>
                <a:lnTo>
                  <a:pt x="10155233" y="6623047"/>
                </a:lnTo>
                <a:lnTo>
                  <a:pt x="10170859" y="6623047"/>
                </a:lnTo>
                <a:lnTo>
                  <a:pt x="10170859" y="6602385"/>
                </a:lnTo>
                <a:lnTo>
                  <a:pt x="10199932" y="6602385"/>
                </a:lnTo>
                <a:lnTo>
                  <a:pt x="10199932" y="6623047"/>
                </a:lnTo>
                <a:lnTo>
                  <a:pt x="10215558" y="6623047"/>
                </a:lnTo>
                <a:lnTo>
                  <a:pt x="10215558" y="6573834"/>
                </a:lnTo>
                <a:lnTo>
                  <a:pt x="10199932" y="6573834"/>
                </a:lnTo>
                <a:lnTo>
                  <a:pt x="10199932" y="6593745"/>
                </a:lnTo>
                <a:lnTo>
                  <a:pt x="10170859" y="6593745"/>
                </a:lnTo>
                <a:lnTo>
                  <a:pt x="10170859" y="6573834"/>
                </a:lnTo>
                <a:close/>
                <a:moveTo>
                  <a:pt x="10082208" y="6573834"/>
                </a:moveTo>
                <a:lnTo>
                  <a:pt x="10082208" y="6582163"/>
                </a:lnTo>
                <a:lnTo>
                  <a:pt x="10106570" y="6582163"/>
                </a:lnTo>
                <a:lnTo>
                  <a:pt x="10106570" y="6623047"/>
                </a:lnTo>
                <a:lnTo>
                  <a:pt x="10122569" y="6623047"/>
                </a:lnTo>
                <a:lnTo>
                  <a:pt x="10122569" y="6582163"/>
                </a:lnTo>
                <a:lnTo>
                  <a:pt x="10147295" y="6582163"/>
                </a:lnTo>
                <a:lnTo>
                  <a:pt x="10147295" y="6573834"/>
                </a:lnTo>
                <a:close/>
                <a:moveTo>
                  <a:pt x="2164828" y="6506715"/>
                </a:moveTo>
                <a:lnTo>
                  <a:pt x="2164828" y="6521016"/>
                </a:lnTo>
                <a:lnTo>
                  <a:pt x="2170617" y="6521016"/>
                </a:lnTo>
                <a:cubicBezTo>
                  <a:pt x="2170525" y="6525388"/>
                  <a:pt x="2169942" y="6528679"/>
                  <a:pt x="2168875" y="6530888"/>
                </a:cubicBezTo>
                <a:cubicBezTo>
                  <a:pt x="2167801" y="6533097"/>
                  <a:pt x="2166224" y="6534760"/>
                  <a:pt x="2164132" y="6535876"/>
                </a:cubicBezTo>
                <a:lnTo>
                  <a:pt x="2166989" y="6541248"/>
                </a:lnTo>
                <a:cubicBezTo>
                  <a:pt x="2170103" y="6539573"/>
                  <a:pt x="2172478" y="6537166"/>
                  <a:pt x="2174106" y="6534027"/>
                </a:cubicBezTo>
                <a:cubicBezTo>
                  <a:pt x="2175732" y="6530888"/>
                  <a:pt x="2176545" y="6526551"/>
                  <a:pt x="2176545" y="6521016"/>
                </a:cubicBezTo>
                <a:lnTo>
                  <a:pt x="2176545" y="6506715"/>
                </a:lnTo>
                <a:close/>
                <a:moveTo>
                  <a:pt x="6291678" y="6483832"/>
                </a:moveTo>
                <a:lnTo>
                  <a:pt x="6291678" y="6488437"/>
                </a:lnTo>
                <a:cubicBezTo>
                  <a:pt x="6291678" y="6494529"/>
                  <a:pt x="6290934" y="6499169"/>
                  <a:pt x="6289446" y="6502355"/>
                </a:cubicBezTo>
                <a:cubicBezTo>
                  <a:pt x="6287957" y="6505540"/>
                  <a:pt x="6285713" y="6508087"/>
                  <a:pt x="6282713" y="6509994"/>
                </a:cubicBezTo>
                <a:cubicBezTo>
                  <a:pt x="6279714" y="6511901"/>
                  <a:pt x="6276377" y="6512854"/>
                  <a:pt x="6272702" y="6512854"/>
                </a:cubicBezTo>
                <a:cubicBezTo>
                  <a:pt x="6268842" y="6512854"/>
                  <a:pt x="6265819" y="6511796"/>
                  <a:pt x="6263633" y="6509680"/>
                </a:cubicBezTo>
                <a:cubicBezTo>
                  <a:pt x="6261447" y="6507564"/>
                  <a:pt x="6260354" y="6504738"/>
                  <a:pt x="6260354" y="6501204"/>
                </a:cubicBezTo>
                <a:cubicBezTo>
                  <a:pt x="6260354" y="6498925"/>
                  <a:pt x="6260831" y="6496913"/>
                  <a:pt x="6261784" y="6495169"/>
                </a:cubicBezTo>
                <a:cubicBezTo>
                  <a:pt x="6262738" y="6493425"/>
                  <a:pt x="6264075" y="6492076"/>
                  <a:pt x="6265796" y="6491123"/>
                </a:cubicBezTo>
                <a:cubicBezTo>
                  <a:pt x="6267517" y="6490169"/>
                  <a:pt x="6270540" y="6489321"/>
                  <a:pt x="6274865" y="6488576"/>
                </a:cubicBezTo>
                <a:cubicBezTo>
                  <a:pt x="6282306" y="6487274"/>
                  <a:pt x="6287911" y="6485693"/>
                  <a:pt x="6291678" y="6483832"/>
                </a:cubicBezTo>
                <a:close/>
                <a:moveTo>
                  <a:pt x="2657744" y="6483832"/>
                </a:moveTo>
                <a:lnTo>
                  <a:pt x="2657744" y="6488437"/>
                </a:lnTo>
                <a:cubicBezTo>
                  <a:pt x="2657744" y="6494529"/>
                  <a:pt x="2657002" y="6499169"/>
                  <a:pt x="2655513" y="6502355"/>
                </a:cubicBezTo>
                <a:cubicBezTo>
                  <a:pt x="2654022" y="6505540"/>
                  <a:pt x="2651779" y="6508087"/>
                  <a:pt x="2648779" y="6509994"/>
                </a:cubicBezTo>
                <a:cubicBezTo>
                  <a:pt x="2645781" y="6511901"/>
                  <a:pt x="2642444" y="6512854"/>
                  <a:pt x="2638768" y="6512854"/>
                </a:cubicBezTo>
                <a:cubicBezTo>
                  <a:pt x="2634908" y="6512854"/>
                  <a:pt x="2631884" y="6511796"/>
                  <a:pt x="2629699" y="6509680"/>
                </a:cubicBezTo>
                <a:cubicBezTo>
                  <a:pt x="2627512" y="6507564"/>
                  <a:pt x="2626419" y="6504738"/>
                  <a:pt x="2626419" y="6501204"/>
                </a:cubicBezTo>
                <a:cubicBezTo>
                  <a:pt x="2626419" y="6498925"/>
                  <a:pt x="2626899" y="6496913"/>
                  <a:pt x="2627851" y="6495169"/>
                </a:cubicBezTo>
                <a:cubicBezTo>
                  <a:pt x="2628803" y="6493425"/>
                  <a:pt x="2630143" y="6492076"/>
                  <a:pt x="2631864" y="6491123"/>
                </a:cubicBezTo>
                <a:cubicBezTo>
                  <a:pt x="2633583" y="6490169"/>
                  <a:pt x="2636607" y="6489321"/>
                  <a:pt x="2640931" y="6488576"/>
                </a:cubicBezTo>
                <a:cubicBezTo>
                  <a:pt x="2648373" y="6487274"/>
                  <a:pt x="2653976" y="6485693"/>
                  <a:pt x="2657744" y="6483832"/>
                </a:cubicBezTo>
                <a:close/>
                <a:moveTo>
                  <a:pt x="6087297" y="6455578"/>
                </a:moveTo>
                <a:cubicBezTo>
                  <a:pt x="6092411" y="6455578"/>
                  <a:pt x="6096620" y="6457881"/>
                  <a:pt x="6099922" y="6462485"/>
                </a:cubicBezTo>
                <a:cubicBezTo>
                  <a:pt x="6102201" y="6465648"/>
                  <a:pt x="6103573" y="6470438"/>
                  <a:pt x="6104038" y="6476856"/>
                </a:cubicBezTo>
                <a:lnTo>
                  <a:pt x="6070136" y="6476856"/>
                </a:lnTo>
                <a:cubicBezTo>
                  <a:pt x="6070461" y="6470345"/>
                  <a:pt x="6072253" y="6465171"/>
                  <a:pt x="6075505" y="6461334"/>
                </a:cubicBezTo>
                <a:cubicBezTo>
                  <a:pt x="6078763" y="6457497"/>
                  <a:pt x="6082693" y="6455578"/>
                  <a:pt x="6087297" y="6455578"/>
                </a:cubicBezTo>
                <a:close/>
                <a:moveTo>
                  <a:pt x="6018399" y="6455578"/>
                </a:moveTo>
                <a:cubicBezTo>
                  <a:pt x="6023284" y="6455578"/>
                  <a:pt x="6027333" y="6457962"/>
                  <a:pt x="6030545" y="6462729"/>
                </a:cubicBezTo>
                <a:cubicBezTo>
                  <a:pt x="6033757" y="6467496"/>
                  <a:pt x="6035362" y="6475066"/>
                  <a:pt x="6035362" y="6485437"/>
                </a:cubicBezTo>
                <a:cubicBezTo>
                  <a:pt x="6035362" y="6494460"/>
                  <a:pt x="6033757" y="6501204"/>
                  <a:pt x="6030545" y="6505668"/>
                </a:cubicBezTo>
                <a:cubicBezTo>
                  <a:pt x="6027333" y="6510133"/>
                  <a:pt x="6023542" y="6512366"/>
                  <a:pt x="6019168" y="6512366"/>
                </a:cubicBezTo>
                <a:cubicBezTo>
                  <a:pt x="6014746" y="6512366"/>
                  <a:pt x="6010872" y="6510040"/>
                  <a:pt x="6007544" y="6505389"/>
                </a:cubicBezTo>
                <a:cubicBezTo>
                  <a:pt x="6004217" y="6500738"/>
                  <a:pt x="6002552" y="6493623"/>
                  <a:pt x="6002552" y="6484042"/>
                </a:cubicBezTo>
                <a:cubicBezTo>
                  <a:pt x="6002552" y="6474228"/>
                  <a:pt x="6004113" y="6467031"/>
                  <a:pt x="6007230" y="6462450"/>
                </a:cubicBezTo>
                <a:cubicBezTo>
                  <a:pt x="6010347" y="6457869"/>
                  <a:pt x="6014069" y="6455578"/>
                  <a:pt x="6018399" y="6455578"/>
                </a:cubicBezTo>
                <a:close/>
                <a:moveTo>
                  <a:pt x="5829564" y="6455578"/>
                </a:moveTo>
                <a:cubicBezTo>
                  <a:pt x="5834727" y="6455578"/>
                  <a:pt x="5839051" y="6457918"/>
                  <a:pt x="5842540" y="6462598"/>
                </a:cubicBezTo>
                <a:cubicBezTo>
                  <a:pt x="5846028" y="6467278"/>
                  <a:pt x="5847772" y="6474391"/>
                  <a:pt x="5847772" y="6483937"/>
                </a:cubicBezTo>
                <a:cubicBezTo>
                  <a:pt x="5847772" y="6493437"/>
                  <a:pt x="5846040" y="6500549"/>
                  <a:pt x="5842575" y="6505276"/>
                </a:cubicBezTo>
                <a:cubicBezTo>
                  <a:pt x="5839110" y="6510002"/>
                  <a:pt x="5834959" y="6512366"/>
                  <a:pt x="5830122" y="6512366"/>
                </a:cubicBezTo>
                <a:cubicBezTo>
                  <a:pt x="5824960" y="6512366"/>
                  <a:pt x="5820636" y="6510026"/>
                  <a:pt x="5817145" y="6505346"/>
                </a:cubicBezTo>
                <a:cubicBezTo>
                  <a:pt x="5813658" y="6500666"/>
                  <a:pt x="5811914" y="6493530"/>
                  <a:pt x="5811914" y="6483937"/>
                </a:cubicBezTo>
                <a:cubicBezTo>
                  <a:pt x="5811914" y="6474438"/>
                  <a:pt x="5813635" y="6467336"/>
                  <a:pt x="5817079" y="6462633"/>
                </a:cubicBezTo>
                <a:cubicBezTo>
                  <a:pt x="5820521" y="6457930"/>
                  <a:pt x="5824683" y="6455578"/>
                  <a:pt x="5829564" y="6455578"/>
                </a:cubicBezTo>
                <a:close/>
                <a:moveTo>
                  <a:pt x="2774990" y="6455578"/>
                </a:moveTo>
                <a:cubicBezTo>
                  <a:pt x="2779874" y="6455578"/>
                  <a:pt x="2783923" y="6457962"/>
                  <a:pt x="2787135" y="6462729"/>
                </a:cubicBezTo>
                <a:cubicBezTo>
                  <a:pt x="2790345" y="6467496"/>
                  <a:pt x="2791951" y="6475066"/>
                  <a:pt x="2791951" y="6485437"/>
                </a:cubicBezTo>
                <a:cubicBezTo>
                  <a:pt x="2791951" y="6494460"/>
                  <a:pt x="2790345" y="6501204"/>
                  <a:pt x="2787135" y="6505668"/>
                </a:cubicBezTo>
                <a:cubicBezTo>
                  <a:pt x="2783923" y="6510133"/>
                  <a:pt x="2780133" y="6512366"/>
                  <a:pt x="2775759" y="6512366"/>
                </a:cubicBezTo>
                <a:cubicBezTo>
                  <a:pt x="2771336" y="6512366"/>
                  <a:pt x="2767460" y="6510040"/>
                  <a:pt x="2764133" y="6505389"/>
                </a:cubicBezTo>
                <a:cubicBezTo>
                  <a:pt x="2760806" y="6500738"/>
                  <a:pt x="2759145" y="6493623"/>
                  <a:pt x="2759145" y="6484042"/>
                </a:cubicBezTo>
                <a:cubicBezTo>
                  <a:pt x="2759145" y="6474228"/>
                  <a:pt x="2760704" y="6467031"/>
                  <a:pt x="2763822" y="6462450"/>
                </a:cubicBezTo>
                <a:cubicBezTo>
                  <a:pt x="2766936" y="6457869"/>
                  <a:pt x="2770658" y="6455578"/>
                  <a:pt x="2774990" y="6455578"/>
                </a:cubicBezTo>
                <a:close/>
                <a:moveTo>
                  <a:pt x="2510511" y="6455578"/>
                </a:moveTo>
                <a:cubicBezTo>
                  <a:pt x="2515626" y="6455578"/>
                  <a:pt x="2519836" y="6457881"/>
                  <a:pt x="2523140" y="6462485"/>
                </a:cubicBezTo>
                <a:cubicBezTo>
                  <a:pt x="2525417" y="6465648"/>
                  <a:pt x="2526789" y="6470438"/>
                  <a:pt x="2527255" y="6476856"/>
                </a:cubicBezTo>
                <a:lnTo>
                  <a:pt x="2493349" y="6476856"/>
                </a:lnTo>
                <a:cubicBezTo>
                  <a:pt x="2493675" y="6470345"/>
                  <a:pt x="2495465" y="6465171"/>
                  <a:pt x="2498723" y="6461334"/>
                </a:cubicBezTo>
                <a:cubicBezTo>
                  <a:pt x="2501977" y="6457497"/>
                  <a:pt x="2505907" y="6455578"/>
                  <a:pt x="2510511" y="6455578"/>
                </a:cubicBezTo>
                <a:close/>
                <a:moveTo>
                  <a:pt x="1871776" y="6455578"/>
                </a:moveTo>
                <a:cubicBezTo>
                  <a:pt x="1876939" y="6455578"/>
                  <a:pt x="1881264" y="6457918"/>
                  <a:pt x="1884752" y="6462598"/>
                </a:cubicBezTo>
                <a:cubicBezTo>
                  <a:pt x="1888240" y="6467278"/>
                  <a:pt x="1889984" y="6474391"/>
                  <a:pt x="1889984" y="6483937"/>
                </a:cubicBezTo>
                <a:cubicBezTo>
                  <a:pt x="1889984" y="6493437"/>
                  <a:pt x="1888252" y="6500549"/>
                  <a:pt x="1884787" y="6505276"/>
                </a:cubicBezTo>
                <a:cubicBezTo>
                  <a:pt x="1881322" y="6510002"/>
                  <a:pt x="1877171" y="6512366"/>
                  <a:pt x="1872334" y="6512366"/>
                </a:cubicBezTo>
                <a:cubicBezTo>
                  <a:pt x="1867172" y="6512366"/>
                  <a:pt x="1862846" y="6510026"/>
                  <a:pt x="1859358" y="6505346"/>
                </a:cubicBezTo>
                <a:cubicBezTo>
                  <a:pt x="1855870" y="6500666"/>
                  <a:pt x="1854126" y="6493530"/>
                  <a:pt x="1854126" y="6483937"/>
                </a:cubicBezTo>
                <a:cubicBezTo>
                  <a:pt x="1854126" y="6474438"/>
                  <a:pt x="1855847" y="6467336"/>
                  <a:pt x="1859288" y="6462633"/>
                </a:cubicBezTo>
                <a:cubicBezTo>
                  <a:pt x="1862731" y="6457930"/>
                  <a:pt x="1866893" y="6455578"/>
                  <a:pt x="1871776" y="6455578"/>
                </a:cubicBezTo>
                <a:close/>
                <a:moveTo>
                  <a:pt x="1586584" y="6455578"/>
                </a:moveTo>
                <a:cubicBezTo>
                  <a:pt x="1591700" y="6455578"/>
                  <a:pt x="1595909" y="6457881"/>
                  <a:pt x="1599211" y="6462485"/>
                </a:cubicBezTo>
                <a:cubicBezTo>
                  <a:pt x="1601491" y="6465648"/>
                  <a:pt x="1602862" y="6470438"/>
                  <a:pt x="1603327" y="6476856"/>
                </a:cubicBezTo>
                <a:lnTo>
                  <a:pt x="1569422" y="6476856"/>
                </a:lnTo>
                <a:cubicBezTo>
                  <a:pt x="1569748" y="6470345"/>
                  <a:pt x="1571538" y="6465171"/>
                  <a:pt x="1574794" y="6461334"/>
                </a:cubicBezTo>
                <a:cubicBezTo>
                  <a:pt x="1578050" y="6457497"/>
                  <a:pt x="1581980" y="6455578"/>
                  <a:pt x="1586584" y="6455578"/>
                </a:cubicBezTo>
                <a:close/>
                <a:moveTo>
                  <a:pt x="1317685" y="6455578"/>
                </a:moveTo>
                <a:cubicBezTo>
                  <a:pt x="1322486" y="6455578"/>
                  <a:pt x="1326564" y="6457851"/>
                  <a:pt x="1329920" y="6462398"/>
                </a:cubicBezTo>
                <a:cubicBezTo>
                  <a:pt x="1333275" y="6466944"/>
                  <a:pt x="1334953" y="6473880"/>
                  <a:pt x="1334953" y="6483205"/>
                </a:cubicBezTo>
                <a:cubicBezTo>
                  <a:pt x="1334953" y="6492763"/>
                  <a:pt x="1333322" y="6499734"/>
                  <a:pt x="1330059" y="6504117"/>
                </a:cubicBezTo>
                <a:cubicBezTo>
                  <a:pt x="1326797" y="6508500"/>
                  <a:pt x="1322836" y="6510691"/>
                  <a:pt x="1318175" y="6510691"/>
                </a:cubicBezTo>
                <a:cubicBezTo>
                  <a:pt x="1313514" y="6510691"/>
                  <a:pt x="1309575" y="6508453"/>
                  <a:pt x="1306360" y="6503977"/>
                </a:cubicBezTo>
                <a:cubicBezTo>
                  <a:pt x="1303144" y="6499501"/>
                  <a:pt x="1301536" y="6492390"/>
                  <a:pt x="1301536" y="6482645"/>
                </a:cubicBezTo>
                <a:cubicBezTo>
                  <a:pt x="1301536" y="6473693"/>
                  <a:pt x="1303156" y="6466944"/>
                  <a:pt x="1306395" y="6462398"/>
                </a:cubicBezTo>
                <a:cubicBezTo>
                  <a:pt x="1309635" y="6457851"/>
                  <a:pt x="1313398" y="6455578"/>
                  <a:pt x="1317685" y="6455578"/>
                </a:cubicBezTo>
                <a:close/>
                <a:moveTo>
                  <a:pt x="1071676" y="6455578"/>
                </a:moveTo>
                <a:cubicBezTo>
                  <a:pt x="1076839" y="6455578"/>
                  <a:pt x="1081164" y="6457918"/>
                  <a:pt x="1084652" y="6462598"/>
                </a:cubicBezTo>
                <a:cubicBezTo>
                  <a:pt x="1088140" y="6467278"/>
                  <a:pt x="1089884" y="6474391"/>
                  <a:pt x="1089884" y="6483937"/>
                </a:cubicBezTo>
                <a:cubicBezTo>
                  <a:pt x="1089884" y="6493437"/>
                  <a:pt x="1088152" y="6500549"/>
                  <a:pt x="1084687" y="6505276"/>
                </a:cubicBezTo>
                <a:cubicBezTo>
                  <a:pt x="1081222" y="6510002"/>
                  <a:pt x="1077071" y="6512366"/>
                  <a:pt x="1072234" y="6512366"/>
                </a:cubicBezTo>
                <a:cubicBezTo>
                  <a:pt x="1067072" y="6512366"/>
                  <a:pt x="1062746" y="6510026"/>
                  <a:pt x="1059258" y="6505346"/>
                </a:cubicBezTo>
                <a:cubicBezTo>
                  <a:pt x="1055770" y="6500666"/>
                  <a:pt x="1054026" y="6493530"/>
                  <a:pt x="1054026" y="6483937"/>
                </a:cubicBezTo>
                <a:cubicBezTo>
                  <a:pt x="1054026" y="6474438"/>
                  <a:pt x="1055747" y="6467336"/>
                  <a:pt x="1059188" y="6462633"/>
                </a:cubicBezTo>
                <a:cubicBezTo>
                  <a:pt x="1062630" y="6457930"/>
                  <a:pt x="1066793" y="6455578"/>
                  <a:pt x="1071676" y="6455578"/>
                </a:cubicBezTo>
                <a:close/>
                <a:moveTo>
                  <a:pt x="1139788" y="6455090"/>
                </a:moveTo>
                <a:cubicBezTo>
                  <a:pt x="1144380" y="6455090"/>
                  <a:pt x="1148277" y="6457415"/>
                  <a:pt x="1151478" y="6462066"/>
                </a:cubicBezTo>
                <a:cubicBezTo>
                  <a:pt x="1154680" y="6466717"/>
                  <a:pt x="1156280" y="6473880"/>
                  <a:pt x="1156280" y="6483553"/>
                </a:cubicBezTo>
                <a:cubicBezTo>
                  <a:pt x="1156280" y="6493367"/>
                  <a:pt x="1154633" y="6500622"/>
                  <a:pt x="1151339" y="6505320"/>
                </a:cubicBezTo>
                <a:cubicBezTo>
                  <a:pt x="1148046" y="6510017"/>
                  <a:pt x="1144218" y="6512366"/>
                  <a:pt x="1139857" y="6512366"/>
                </a:cubicBezTo>
                <a:cubicBezTo>
                  <a:pt x="1135310" y="6512366"/>
                  <a:pt x="1131436" y="6510098"/>
                  <a:pt x="1128235" y="6505564"/>
                </a:cubicBezTo>
                <a:cubicBezTo>
                  <a:pt x="1125034" y="6501029"/>
                  <a:pt x="1123434" y="6493971"/>
                  <a:pt x="1123434" y="6484391"/>
                </a:cubicBezTo>
                <a:cubicBezTo>
                  <a:pt x="1123434" y="6474856"/>
                  <a:pt x="1125127" y="6467589"/>
                  <a:pt x="1128514" y="6462590"/>
                </a:cubicBezTo>
                <a:cubicBezTo>
                  <a:pt x="1131901" y="6457590"/>
                  <a:pt x="1135659" y="6455090"/>
                  <a:pt x="1139788" y="6455090"/>
                </a:cubicBezTo>
                <a:close/>
                <a:moveTo>
                  <a:pt x="6224384" y="6446928"/>
                </a:moveTo>
                <a:lnTo>
                  <a:pt x="6224384" y="6521016"/>
                </a:lnTo>
                <a:lnTo>
                  <a:pt x="6234640" y="6521016"/>
                </a:lnTo>
                <a:lnTo>
                  <a:pt x="6234640" y="6446928"/>
                </a:lnTo>
                <a:close/>
                <a:moveTo>
                  <a:pt x="5967211" y="6446928"/>
                </a:moveTo>
                <a:lnTo>
                  <a:pt x="5967211" y="6521016"/>
                </a:lnTo>
                <a:lnTo>
                  <a:pt x="5977467" y="6521016"/>
                </a:lnTo>
                <a:lnTo>
                  <a:pt x="5977467" y="6446928"/>
                </a:lnTo>
                <a:close/>
                <a:moveTo>
                  <a:pt x="2380902" y="6446928"/>
                </a:moveTo>
                <a:lnTo>
                  <a:pt x="2380902" y="6521016"/>
                </a:lnTo>
                <a:lnTo>
                  <a:pt x="2391160" y="6521016"/>
                </a:lnTo>
                <a:lnTo>
                  <a:pt x="2391160" y="6446928"/>
                </a:lnTo>
                <a:close/>
                <a:moveTo>
                  <a:pt x="2287711" y="6446928"/>
                </a:moveTo>
                <a:lnTo>
                  <a:pt x="2306375" y="6521016"/>
                </a:lnTo>
                <a:lnTo>
                  <a:pt x="2317119" y="6521016"/>
                </a:lnTo>
                <a:lnTo>
                  <a:pt x="2329394" y="6464020"/>
                </a:lnTo>
                <a:lnTo>
                  <a:pt x="2331698" y="6476647"/>
                </a:lnTo>
                <a:lnTo>
                  <a:pt x="2341394" y="6521016"/>
                </a:lnTo>
                <a:lnTo>
                  <a:pt x="2352113" y="6521016"/>
                </a:lnTo>
                <a:lnTo>
                  <a:pt x="2371081" y="6446928"/>
                </a:lnTo>
                <a:lnTo>
                  <a:pt x="2361033" y="6446928"/>
                </a:lnTo>
                <a:lnTo>
                  <a:pt x="2350666" y="6489762"/>
                </a:lnTo>
                <a:lnTo>
                  <a:pt x="2347183" y="6504064"/>
                </a:lnTo>
                <a:lnTo>
                  <a:pt x="2344125" y="6489902"/>
                </a:lnTo>
                <a:lnTo>
                  <a:pt x="2335086" y="6446928"/>
                </a:lnTo>
                <a:lnTo>
                  <a:pt x="2324456" y="6446928"/>
                </a:lnTo>
                <a:lnTo>
                  <a:pt x="2314822" y="6490320"/>
                </a:lnTo>
                <a:lnTo>
                  <a:pt x="2311609" y="6505599"/>
                </a:lnTo>
                <a:lnTo>
                  <a:pt x="2308033" y="6489693"/>
                </a:lnTo>
                <a:lnTo>
                  <a:pt x="2298356" y="6446928"/>
                </a:lnTo>
                <a:close/>
                <a:moveTo>
                  <a:pt x="1818925" y="6446928"/>
                </a:moveTo>
                <a:lnTo>
                  <a:pt x="1818925" y="6521016"/>
                </a:lnTo>
                <a:lnTo>
                  <a:pt x="1829180" y="6521016"/>
                </a:lnTo>
                <a:lnTo>
                  <a:pt x="1829180" y="6446928"/>
                </a:lnTo>
                <a:close/>
                <a:moveTo>
                  <a:pt x="1752248" y="6446928"/>
                </a:moveTo>
                <a:lnTo>
                  <a:pt x="1752248" y="6521016"/>
                </a:lnTo>
                <a:lnTo>
                  <a:pt x="1762504" y="6521016"/>
                </a:lnTo>
                <a:lnTo>
                  <a:pt x="1762504" y="6446928"/>
                </a:lnTo>
                <a:close/>
                <a:moveTo>
                  <a:pt x="1266473" y="6446928"/>
                </a:moveTo>
                <a:lnTo>
                  <a:pt x="1266473" y="6521016"/>
                </a:lnTo>
                <a:lnTo>
                  <a:pt x="1276729" y="6521016"/>
                </a:lnTo>
                <a:lnTo>
                  <a:pt x="1276729" y="6446928"/>
                </a:lnTo>
                <a:close/>
                <a:moveTo>
                  <a:pt x="6278772" y="6445253"/>
                </a:moveTo>
                <a:cubicBezTo>
                  <a:pt x="6270586" y="6445253"/>
                  <a:pt x="6264296" y="6447067"/>
                  <a:pt x="6259901" y="6450695"/>
                </a:cubicBezTo>
                <a:cubicBezTo>
                  <a:pt x="6255506" y="6454323"/>
                  <a:pt x="6252587" y="6460113"/>
                  <a:pt x="6251146" y="6468066"/>
                </a:cubicBezTo>
                <a:lnTo>
                  <a:pt x="6261261" y="6469740"/>
                </a:lnTo>
                <a:cubicBezTo>
                  <a:pt x="6262377" y="6464272"/>
                  <a:pt x="6264122" y="6460544"/>
                  <a:pt x="6266493" y="6458558"/>
                </a:cubicBezTo>
                <a:cubicBezTo>
                  <a:pt x="6268865" y="6456572"/>
                  <a:pt x="6272447" y="6455578"/>
                  <a:pt x="6277237" y="6455578"/>
                </a:cubicBezTo>
                <a:cubicBezTo>
                  <a:pt x="6282539" y="6455578"/>
                  <a:pt x="6286469" y="6457067"/>
                  <a:pt x="6289027" y="6460043"/>
                </a:cubicBezTo>
                <a:cubicBezTo>
                  <a:pt x="6290841" y="6462090"/>
                  <a:pt x="6291748" y="6465648"/>
                  <a:pt x="6291748" y="6470717"/>
                </a:cubicBezTo>
                <a:lnTo>
                  <a:pt x="6291678" y="6473926"/>
                </a:lnTo>
                <a:cubicBezTo>
                  <a:pt x="6287771" y="6475627"/>
                  <a:pt x="6281632" y="6477092"/>
                  <a:pt x="6273260" y="6478321"/>
                </a:cubicBezTo>
                <a:cubicBezTo>
                  <a:pt x="6267028" y="6479205"/>
                  <a:pt x="6262377" y="6480577"/>
                  <a:pt x="6259308" y="6482437"/>
                </a:cubicBezTo>
                <a:cubicBezTo>
                  <a:pt x="6256238" y="6484298"/>
                  <a:pt x="6253820" y="6486879"/>
                  <a:pt x="6252052" y="6490181"/>
                </a:cubicBezTo>
                <a:cubicBezTo>
                  <a:pt x="6250285" y="6493483"/>
                  <a:pt x="6249401" y="6497274"/>
                  <a:pt x="6249401" y="6501552"/>
                </a:cubicBezTo>
                <a:cubicBezTo>
                  <a:pt x="6249401" y="6508017"/>
                  <a:pt x="6251285" y="6513156"/>
                  <a:pt x="6255052" y="6516970"/>
                </a:cubicBezTo>
                <a:cubicBezTo>
                  <a:pt x="6258820" y="6520784"/>
                  <a:pt x="6263866" y="6522691"/>
                  <a:pt x="6270191" y="6522691"/>
                </a:cubicBezTo>
                <a:cubicBezTo>
                  <a:pt x="6274191" y="6522691"/>
                  <a:pt x="6278051" y="6521783"/>
                  <a:pt x="6281772" y="6519969"/>
                </a:cubicBezTo>
                <a:cubicBezTo>
                  <a:pt x="6285492" y="6518155"/>
                  <a:pt x="6289073" y="6515457"/>
                  <a:pt x="6292515" y="6511876"/>
                </a:cubicBezTo>
                <a:cubicBezTo>
                  <a:pt x="6292841" y="6515412"/>
                  <a:pt x="6293538" y="6518458"/>
                  <a:pt x="6294608" y="6521016"/>
                </a:cubicBezTo>
                <a:lnTo>
                  <a:pt x="6305352" y="6521016"/>
                </a:lnTo>
                <a:cubicBezTo>
                  <a:pt x="6304049" y="6518133"/>
                  <a:pt x="6303177" y="6515168"/>
                  <a:pt x="6302735" y="6512121"/>
                </a:cubicBezTo>
                <a:cubicBezTo>
                  <a:pt x="6302294" y="6509075"/>
                  <a:pt x="6302073" y="6501692"/>
                  <a:pt x="6302073" y="6489972"/>
                </a:cubicBezTo>
                <a:lnTo>
                  <a:pt x="6302073" y="6473228"/>
                </a:lnTo>
                <a:cubicBezTo>
                  <a:pt x="6302073" y="6466438"/>
                  <a:pt x="6301596" y="6461276"/>
                  <a:pt x="6300643" y="6457741"/>
                </a:cubicBezTo>
                <a:cubicBezTo>
                  <a:pt x="6299689" y="6454206"/>
                  <a:pt x="6297399" y="6451241"/>
                  <a:pt x="6293771" y="6448846"/>
                </a:cubicBezTo>
                <a:cubicBezTo>
                  <a:pt x="6290143" y="6446451"/>
                  <a:pt x="6285143" y="6445253"/>
                  <a:pt x="6278772" y="6445253"/>
                </a:cubicBezTo>
                <a:close/>
                <a:moveTo>
                  <a:pt x="6157704" y="6445253"/>
                </a:moveTo>
                <a:cubicBezTo>
                  <a:pt x="6153525" y="6445253"/>
                  <a:pt x="6149822" y="6446259"/>
                  <a:pt x="6146596" y="6448271"/>
                </a:cubicBezTo>
                <a:cubicBezTo>
                  <a:pt x="6143369" y="6450283"/>
                  <a:pt x="6140642" y="6453324"/>
                  <a:pt x="6138413" y="6457393"/>
                </a:cubicBezTo>
                <a:lnTo>
                  <a:pt x="6138413" y="6446928"/>
                </a:lnTo>
                <a:lnTo>
                  <a:pt x="6129134" y="6446928"/>
                </a:lnTo>
                <a:lnTo>
                  <a:pt x="6129134" y="6521016"/>
                </a:lnTo>
                <a:lnTo>
                  <a:pt x="6139390" y="6521016"/>
                </a:lnTo>
                <a:lnTo>
                  <a:pt x="6139390" y="6480510"/>
                </a:lnTo>
                <a:cubicBezTo>
                  <a:pt x="6139390" y="6471571"/>
                  <a:pt x="6140855" y="6465262"/>
                  <a:pt x="6143785" y="6461584"/>
                </a:cubicBezTo>
                <a:cubicBezTo>
                  <a:pt x="6146715" y="6457906"/>
                  <a:pt x="6150645" y="6456067"/>
                  <a:pt x="6155575" y="6456067"/>
                </a:cubicBezTo>
                <a:cubicBezTo>
                  <a:pt x="6158179" y="6456067"/>
                  <a:pt x="6160470" y="6456753"/>
                  <a:pt x="6162446" y="6458127"/>
                </a:cubicBezTo>
                <a:cubicBezTo>
                  <a:pt x="6164423" y="6459500"/>
                  <a:pt x="6165876" y="6461444"/>
                  <a:pt x="6166807" y="6463958"/>
                </a:cubicBezTo>
                <a:cubicBezTo>
                  <a:pt x="6167737" y="6466472"/>
                  <a:pt x="6168202" y="6470453"/>
                  <a:pt x="6168202" y="6475901"/>
                </a:cubicBezTo>
                <a:lnTo>
                  <a:pt x="6168202" y="6521016"/>
                </a:lnTo>
                <a:lnTo>
                  <a:pt x="6178457" y="6521016"/>
                </a:lnTo>
                <a:lnTo>
                  <a:pt x="6178457" y="6475461"/>
                </a:lnTo>
                <a:cubicBezTo>
                  <a:pt x="6178457" y="6468624"/>
                  <a:pt x="6178039" y="6463555"/>
                  <a:pt x="6177203" y="6460253"/>
                </a:cubicBezTo>
                <a:cubicBezTo>
                  <a:pt x="6176368" y="6456950"/>
                  <a:pt x="6175103" y="6454265"/>
                  <a:pt x="6173408" y="6452195"/>
                </a:cubicBezTo>
                <a:cubicBezTo>
                  <a:pt x="6171713" y="6450125"/>
                  <a:pt x="6169485" y="6448451"/>
                  <a:pt x="6166722" y="6447172"/>
                </a:cubicBezTo>
                <a:cubicBezTo>
                  <a:pt x="6163960" y="6445893"/>
                  <a:pt x="6160953" y="6445253"/>
                  <a:pt x="6157704" y="6445253"/>
                </a:cubicBezTo>
                <a:close/>
                <a:moveTo>
                  <a:pt x="6087368" y="6445253"/>
                </a:moveTo>
                <a:cubicBezTo>
                  <a:pt x="6079136" y="6445253"/>
                  <a:pt x="6072333" y="6448614"/>
                  <a:pt x="6066963" y="6455334"/>
                </a:cubicBezTo>
                <a:cubicBezTo>
                  <a:pt x="6061590" y="6462055"/>
                  <a:pt x="6058901" y="6471810"/>
                  <a:pt x="6058901" y="6484600"/>
                </a:cubicBezTo>
                <a:cubicBezTo>
                  <a:pt x="6058901" y="6496925"/>
                  <a:pt x="6061564" y="6506354"/>
                  <a:pt x="6066892" y="6512889"/>
                </a:cubicBezTo>
                <a:cubicBezTo>
                  <a:pt x="6072218" y="6519423"/>
                  <a:pt x="6079183" y="6522691"/>
                  <a:pt x="6087783" y="6522691"/>
                </a:cubicBezTo>
                <a:cubicBezTo>
                  <a:pt x="6094623" y="6522691"/>
                  <a:pt x="6100352" y="6520679"/>
                  <a:pt x="6104980" y="6516656"/>
                </a:cubicBezTo>
                <a:cubicBezTo>
                  <a:pt x="6109608" y="6512633"/>
                  <a:pt x="6112805" y="6506668"/>
                  <a:pt x="6114573" y="6498762"/>
                </a:cubicBezTo>
                <a:lnTo>
                  <a:pt x="6103969" y="6497157"/>
                </a:lnTo>
                <a:cubicBezTo>
                  <a:pt x="6100945" y="6507296"/>
                  <a:pt x="6095574" y="6512366"/>
                  <a:pt x="6087853" y="6512366"/>
                </a:cubicBezTo>
                <a:cubicBezTo>
                  <a:pt x="6082925" y="6512366"/>
                  <a:pt x="6078737" y="6510249"/>
                  <a:pt x="6075296" y="6506017"/>
                </a:cubicBezTo>
                <a:cubicBezTo>
                  <a:pt x="6071857" y="6501785"/>
                  <a:pt x="6069924" y="6495506"/>
                  <a:pt x="6069507" y="6487181"/>
                </a:cubicBezTo>
                <a:lnTo>
                  <a:pt x="6114852" y="6487181"/>
                </a:lnTo>
                <a:lnTo>
                  <a:pt x="6114921" y="6483832"/>
                </a:lnTo>
                <a:cubicBezTo>
                  <a:pt x="6114921" y="6471322"/>
                  <a:pt x="6112294" y="6461764"/>
                  <a:pt x="6107038" y="6455160"/>
                </a:cubicBezTo>
                <a:cubicBezTo>
                  <a:pt x="6101783" y="6448556"/>
                  <a:pt x="6095225" y="6445253"/>
                  <a:pt x="6087368" y="6445253"/>
                </a:cubicBezTo>
                <a:close/>
                <a:moveTo>
                  <a:pt x="5900531" y="6445253"/>
                </a:moveTo>
                <a:cubicBezTo>
                  <a:pt x="5896351" y="6445253"/>
                  <a:pt x="5892648" y="6446259"/>
                  <a:pt x="5889422" y="6448271"/>
                </a:cubicBezTo>
                <a:cubicBezTo>
                  <a:pt x="5886194" y="6450283"/>
                  <a:pt x="5883469" y="6453324"/>
                  <a:pt x="5881238" y="6457393"/>
                </a:cubicBezTo>
                <a:lnTo>
                  <a:pt x="5881238" y="6446928"/>
                </a:lnTo>
                <a:lnTo>
                  <a:pt x="5871961" y="6446928"/>
                </a:lnTo>
                <a:lnTo>
                  <a:pt x="5871961" y="6521016"/>
                </a:lnTo>
                <a:lnTo>
                  <a:pt x="5882218" y="6521016"/>
                </a:lnTo>
                <a:lnTo>
                  <a:pt x="5882218" y="6480510"/>
                </a:lnTo>
                <a:cubicBezTo>
                  <a:pt x="5882218" y="6471571"/>
                  <a:pt x="5883681" y="6465262"/>
                  <a:pt x="5886612" y="6461584"/>
                </a:cubicBezTo>
                <a:cubicBezTo>
                  <a:pt x="5889540" y="6457906"/>
                  <a:pt x="5893472" y="6456067"/>
                  <a:pt x="5898401" y="6456067"/>
                </a:cubicBezTo>
                <a:cubicBezTo>
                  <a:pt x="5901009" y="6456067"/>
                  <a:pt x="5903296" y="6456753"/>
                  <a:pt x="5905276" y="6458127"/>
                </a:cubicBezTo>
                <a:cubicBezTo>
                  <a:pt x="5907250" y="6459500"/>
                  <a:pt x="5908702" y="6461444"/>
                  <a:pt x="5909634" y="6463958"/>
                </a:cubicBezTo>
                <a:cubicBezTo>
                  <a:pt x="5910564" y="6466472"/>
                  <a:pt x="5911030" y="6470453"/>
                  <a:pt x="5911030" y="6475901"/>
                </a:cubicBezTo>
                <a:lnTo>
                  <a:pt x="5911030" y="6521016"/>
                </a:lnTo>
                <a:lnTo>
                  <a:pt x="5921285" y="6521016"/>
                </a:lnTo>
                <a:lnTo>
                  <a:pt x="5921285" y="6475461"/>
                </a:lnTo>
                <a:cubicBezTo>
                  <a:pt x="5921285" y="6468624"/>
                  <a:pt x="5920866" y="6463555"/>
                  <a:pt x="5920030" y="6460253"/>
                </a:cubicBezTo>
                <a:cubicBezTo>
                  <a:pt x="5919195" y="6456950"/>
                  <a:pt x="5917930" y="6454265"/>
                  <a:pt x="5916235" y="6452195"/>
                </a:cubicBezTo>
                <a:cubicBezTo>
                  <a:pt x="5914539" y="6450125"/>
                  <a:pt x="5912313" y="6448451"/>
                  <a:pt x="5909549" y="6447172"/>
                </a:cubicBezTo>
                <a:cubicBezTo>
                  <a:pt x="5906787" y="6445893"/>
                  <a:pt x="5903781" y="6445253"/>
                  <a:pt x="5900531" y="6445253"/>
                </a:cubicBezTo>
                <a:close/>
                <a:moveTo>
                  <a:pt x="5829842" y="6445253"/>
                </a:moveTo>
                <a:cubicBezTo>
                  <a:pt x="5821611" y="6445253"/>
                  <a:pt x="5814808" y="6448509"/>
                  <a:pt x="5809436" y="6455020"/>
                </a:cubicBezTo>
                <a:cubicBezTo>
                  <a:pt x="5804066" y="6461532"/>
                  <a:pt x="5801381" y="6471182"/>
                  <a:pt x="5801381" y="6483972"/>
                </a:cubicBezTo>
                <a:cubicBezTo>
                  <a:pt x="5801381" y="6496715"/>
                  <a:pt x="5804089" y="6506354"/>
                  <a:pt x="5809506" y="6512889"/>
                </a:cubicBezTo>
                <a:cubicBezTo>
                  <a:pt x="5814925" y="6519423"/>
                  <a:pt x="5821704" y="6522691"/>
                  <a:pt x="5829842" y="6522691"/>
                </a:cubicBezTo>
                <a:cubicBezTo>
                  <a:pt x="5838120" y="6522691"/>
                  <a:pt x="5844934" y="6519435"/>
                  <a:pt x="5850285" y="6512924"/>
                </a:cubicBezTo>
                <a:cubicBezTo>
                  <a:pt x="5855632" y="6506412"/>
                  <a:pt x="5858305" y="6496506"/>
                  <a:pt x="5858305" y="6483205"/>
                </a:cubicBezTo>
                <a:cubicBezTo>
                  <a:pt x="5858305" y="6470926"/>
                  <a:pt x="5855587" y="6461532"/>
                  <a:pt x="5850144" y="6455020"/>
                </a:cubicBezTo>
                <a:cubicBezTo>
                  <a:pt x="5844702" y="6448509"/>
                  <a:pt x="5837938" y="6445253"/>
                  <a:pt x="5829842" y="6445253"/>
                </a:cubicBezTo>
                <a:close/>
                <a:moveTo>
                  <a:pt x="2714271" y="6445253"/>
                </a:moveTo>
                <a:cubicBezTo>
                  <a:pt x="2710094" y="6445253"/>
                  <a:pt x="2706388" y="6446259"/>
                  <a:pt x="2703162" y="6448271"/>
                </a:cubicBezTo>
                <a:cubicBezTo>
                  <a:pt x="2699936" y="6450283"/>
                  <a:pt x="2697209" y="6453324"/>
                  <a:pt x="2694979" y="6457393"/>
                </a:cubicBezTo>
                <a:lnTo>
                  <a:pt x="2694979" y="6446928"/>
                </a:lnTo>
                <a:lnTo>
                  <a:pt x="2685702" y="6446928"/>
                </a:lnTo>
                <a:lnTo>
                  <a:pt x="2685702" y="6521016"/>
                </a:lnTo>
                <a:lnTo>
                  <a:pt x="2695956" y="6521016"/>
                </a:lnTo>
                <a:lnTo>
                  <a:pt x="2695956" y="6480510"/>
                </a:lnTo>
                <a:cubicBezTo>
                  <a:pt x="2695956" y="6471571"/>
                  <a:pt x="2697421" y="6465262"/>
                  <a:pt x="2700353" y="6461584"/>
                </a:cubicBezTo>
                <a:cubicBezTo>
                  <a:pt x="2703282" y="6457906"/>
                  <a:pt x="2707212" y="6456067"/>
                  <a:pt x="2712140" y="6456067"/>
                </a:cubicBezTo>
                <a:cubicBezTo>
                  <a:pt x="2714745" y="6456067"/>
                  <a:pt x="2717037" y="6456753"/>
                  <a:pt x="2719012" y="6458127"/>
                </a:cubicBezTo>
                <a:cubicBezTo>
                  <a:pt x="2720992" y="6459500"/>
                  <a:pt x="2722442" y="6461444"/>
                  <a:pt x="2723374" y="6463958"/>
                </a:cubicBezTo>
                <a:cubicBezTo>
                  <a:pt x="2724302" y="6466472"/>
                  <a:pt x="2724768" y="6470453"/>
                  <a:pt x="2724768" y="6475901"/>
                </a:cubicBezTo>
                <a:lnTo>
                  <a:pt x="2724768" y="6521016"/>
                </a:lnTo>
                <a:lnTo>
                  <a:pt x="2735023" y="6521016"/>
                </a:lnTo>
                <a:lnTo>
                  <a:pt x="2735023" y="6475461"/>
                </a:lnTo>
                <a:cubicBezTo>
                  <a:pt x="2735023" y="6468624"/>
                  <a:pt x="2734605" y="6463555"/>
                  <a:pt x="2733768" y="6460253"/>
                </a:cubicBezTo>
                <a:cubicBezTo>
                  <a:pt x="2732936" y="6456950"/>
                  <a:pt x="2731669" y="6454265"/>
                  <a:pt x="2729976" y="6452195"/>
                </a:cubicBezTo>
                <a:cubicBezTo>
                  <a:pt x="2728278" y="6450125"/>
                  <a:pt x="2726053" y="6448451"/>
                  <a:pt x="2723290" y="6447172"/>
                </a:cubicBezTo>
                <a:cubicBezTo>
                  <a:pt x="2720528" y="6445893"/>
                  <a:pt x="2717521" y="6445253"/>
                  <a:pt x="2714271" y="6445253"/>
                </a:cubicBezTo>
                <a:close/>
                <a:moveTo>
                  <a:pt x="2644839" y="6445253"/>
                </a:moveTo>
                <a:cubicBezTo>
                  <a:pt x="2636651" y="6445253"/>
                  <a:pt x="2630365" y="6447067"/>
                  <a:pt x="2625967" y="6450695"/>
                </a:cubicBezTo>
                <a:cubicBezTo>
                  <a:pt x="2621573" y="6454323"/>
                  <a:pt x="2618653" y="6460113"/>
                  <a:pt x="2617211" y="6468066"/>
                </a:cubicBezTo>
                <a:lnTo>
                  <a:pt x="2627327" y="6469740"/>
                </a:lnTo>
                <a:cubicBezTo>
                  <a:pt x="2628444" y="6464272"/>
                  <a:pt x="2630187" y="6460544"/>
                  <a:pt x="2632562" y="6458558"/>
                </a:cubicBezTo>
                <a:cubicBezTo>
                  <a:pt x="2634933" y="6456572"/>
                  <a:pt x="2638514" y="6455578"/>
                  <a:pt x="2643303" y="6455578"/>
                </a:cubicBezTo>
                <a:cubicBezTo>
                  <a:pt x="2648605" y="6455578"/>
                  <a:pt x="2652535" y="6457067"/>
                  <a:pt x="2655093" y="6460043"/>
                </a:cubicBezTo>
                <a:cubicBezTo>
                  <a:pt x="2656907" y="6462090"/>
                  <a:pt x="2657815" y="6465648"/>
                  <a:pt x="2657815" y="6470717"/>
                </a:cubicBezTo>
                <a:lnTo>
                  <a:pt x="2657744" y="6473926"/>
                </a:lnTo>
                <a:cubicBezTo>
                  <a:pt x="2653837" y="6475627"/>
                  <a:pt x="2647697" y="6477092"/>
                  <a:pt x="2639327" y="6478321"/>
                </a:cubicBezTo>
                <a:cubicBezTo>
                  <a:pt x="2633095" y="6479205"/>
                  <a:pt x="2628444" y="6480577"/>
                  <a:pt x="2625374" y="6482437"/>
                </a:cubicBezTo>
                <a:cubicBezTo>
                  <a:pt x="2622305" y="6484298"/>
                  <a:pt x="2619888" y="6486879"/>
                  <a:pt x="2618117" y="6490181"/>
                </a:cubicBezTo>
                <a:cubicBezTo>
                  <a:pt x="2616351" y="6493483"/>
                  <a:pt x="2615466" y="6497274"/>
                  <a:pt x="2615466" y="6501552"/>
                </a:cubicBezTo>
                <a:cubicBezTo>
                  <a:pt x="2615466" y="6508017"/>
                  <a:pt x="2617352" y="6513156"/>
                  <a:pt x="2621117" y="6516970"/>
                </a:cubicBezTo>
                <a:cubicBezTo>
                  <a:pt x="2624885" y="6520784"/>
                  <a:pt x="2629931" y="6522691"/>
                  <a:pt x="2636258" y="6522691"/>
                </a:cubicBezTo>
                <a:cubicBezTo>
                  <a:pt x="2640257" y="6522691"/>
                  <a:pt x="2644116" y="6521783"/>
                  <a:pt x="2647837" y="6519969"/>
                </a:cubicBezTo>
                <a:cubicBezTo>
                  <a:pt x="2651557" y="6518155"/>
                  <a:pt x="2655138" y="6515457"/>
                  <a:pt x="2658582" y="6511876"/>
                </a:cubicBezTo>
                <a:cubicBezTo>
                  <a:pt x="2658907" y="6515412"/>
                  <a:pt x="2659605" y="6518458"/>
                  <a:pt x="2660674" y="6521016"/>
                </a:cubicBezTo>
                <a:lnTo>
                  <a:pt x="2671419" y="6521016"/>
                </a:lnTo>
                <a:cubicBezTo>
                  <a:pt x="2670114" y="6518133"/>
                  <a:pt x="2669242" y="6515168"/>
                  <a:pt x="2668802" y="6512121"/>
                </a:cubicBezTo>
                <a:cubicBezTo>
                  <a:pt x="2668359" y="6509075"/>
                  <a:pt x="2668139" y="6501692"/>
                  <a:pt x="2668139" y="6489972"/>
                </a:cubicBezTo>
                <a:lnTo>
                  <a:pt x="2668139" y="6473228"/>
                </a:lnTo>
                <a:cubicBezTo>
                  <a:pt x="2668139" y="6466438"/>
                  <a:pt x="2667663" y="6461276"/>
                  <a:pt x="2666708" y="6457741"/>
                </a:cubicBezTo>
                <a:cubicBezTo>
                  <a:pt x="2665757" y="6454206"/>
                  <a:pt x="2663466" y="6451241"/>
                  <a:pt x="2659837" y="6448846"/>
                </a:cubicBezTo>
                <a:cubicBezTo>
                  <a:pt x="2656209" y="6446451"/>
                  <a:pt x="2651208" y="6445253"/>
                  <a:pt x="2644839" y="6445253"/>
                </a:cubicBezTo>
                <a:close/>
                <a:moveTo>
                  <a:pt x="2574815" y="6445253"/>
                </a:moveTo>
                <a:cubicBezTo>
                  <a:pt x="2572348" y="6445253"/>
                  <a:pt x="2570128" y="6446102"/>
                  <a:pt x="2568151" y="6447800"/>
                </a:cubicBezTo>
                <a:cubicBezTo>
                  <a:pt x="2566174" y="6449497"/>
                  <a:pt x="2564001" y="6452951"/>
                  <a:pt x="2561629" y="6458160"/>
                </a:cubicBezTo>
                <a:lnTo>
                  <a:pt x="2561629" y="6446928"/>
                </a:lnTo>
                <a:lnTo>
                  <a:pt x="2552350" y="6446928"/>
                </a:lnTo>
                <a:lnTo>
                  <a:pt x="2552350" y="6521016"/>
                </a:lnTo>
                <a:lnTo>
                  <a:pt x="2562605" y="6521016"/>
                </a:lnTo>
                <a:lnTo>
                  <a:pt x="2562605" y="6482228"/>
                </a:lnTo>
                <a:cubicBezTo>
                  <a:pt x="2562605" y="6476833"/>
                  <a:pt x="2563260" y="6471740"/>
                  <a:pt x="2564558" y="6466950"/>
                </a:cubicBezTo>
                <a:cubicBezTo>
                  <a:pt x="2565303" y="6464206"/>
                  <a:pt x="2566582" y="6462066"/>
                  <a:pt x="2568395" y="6460532"/>
                </a:cubicBezTo>
                <a:cubicBezTo>
                  <a:pt x="2570209" y="6458997"/>
                  <a:pt x="2572211" y="6458229"/>
                  <a:pt x="2574395" y="6458229"/>
                </a:cubicBezTo>
                <a:cubicBezTo>
                  <a:pt x="2576814" y="6458229"/>
                  <a:pt x="2579304" y="6459136"/>
                  <a:pt x="2581860" y="6460950"/>
                </a:cubicBezTo>
                <a:lnTo>
                  <a:pt x="2585348" y="6449300"/>
                </a:lnTo>
                <a:cubicBezTo>
                  <a:pt x="2581767" y="6446602"/>
                  <a:pt x="2578257" y="6445253"/>
                  <a:pt x="2574815" y="6445253"/>
                </a:cubicBezTo>
                <a:close/>
                <a:moveTo>
                  <a:pt x="2510583" y="6445253"/>
                </a:moveTo>
                <a:cubicBezTo>
                  <a:pt x="2502349" y="6445253"/>
                  <a:pt x="2495548" y="6448614"/>
                  <a:pt x="2490178" y="6455334"/>
                </a:cubicBezTo>
                <a:cubicBezTo>
                  <a:pt x="2484802" y="6462055"/>
                  <a:pt x="2482119" y="6471810"/>
                  <a:pt x="2482119" y="6484600"/>
                </a:cubicBezTo>
                <a:cubicBezTo>
                  <a:pt x="2482119" y="6496925"/>
                  <a:pt x="2484780" y="6506354"/>
                  <a:pt x="2490104" y="6512889"/>
                </a:cubicBezTo>
                <a:cubicBezTo>
                  <a:pt x="2495431" y="6519423"/>
                  <a:pt x="2502398" y="6522691"/>
                  <a:pt x="2511000" y="6522691"/>
                </a:cubicBezTo>
                <a:cubicBezTo>
                  <a:pt x="2517838" y="6522691"/>
                  <a:pt x="2523569" y="6520679"/>
                  <a:pt x="2528195" y="6516656"/>
                </a:cubicBezTo>
                <a:cubicBezTo>
                  <a:pt x="2532826" y="6512633"/>
                  <a:pt x="2536021" y="6506668"/>
                  <a:pt x="2537790" y="6498762"/>
                </a:cubicBezTo>
                <a:lnTo>
                  <a:pt x="2527186" y="6497157"/>
                </a:lnTo>
                <a:cubicBezTo>
                  <a:pt x="2524162" y="6507296"/>
                  <a:pt x="2518789" y="6512366"/>
                  <a:pt x="2511068" y="6512366"/>
                </a:cubicBezTo>
                <a:cubicBezTo>
                  <a:pt x="2506139" y="6512366"/>
                  <a:pt x="2501953" y="6510249"/>
                  <a:pt x="2498511" y="6506017"/>
                </a:cubicBezTo>
                <a:cubicBezTo>
                  <a:pt x="2495071" y="6501785"/>
                  <a:pt x="2493141" y="6495506"/>
                  <a:pt x="2492723" y="6487181"/>
                </a:cubicBezTo>
                <a:lnTo>
                  <a:pt x="2538068" y="6487181"/>
                </a:lnTo>
                <a:lnTo>
                  <a:pt x="2538139" y="6483832"/>
                </a:lnTo>
                <a:cubicBezTo>
                  <a:pt x="2538139" y="6471322"/>
                  <a:pt x="2535510" y="6461764"/>
                  <a:pt x="2530255" y="6455160"/>
                </a:cubicBezTo>
                <a:cubicBezTo>
                  <a:pt x="2525001" y="6448556"/>
                  <a:pt x="2518440" y="6445253"/>
                  <a:pt x="2510583" y="6445253"/>
                </a:cubicBezTo>
                <a:close/>
                <a:moveTo>
                  <a:pt x="1942743" y="6445253"/>
                </a:moveTo>
                <a:cubicBezTo>
                  <a:pt x="1938564" y="6445253"/>
                  <a:pt x="1934861" y="6446259"/>
                  <a:pt x="1931635" y="6448271"/>
                </a:cubicBezTo>
                <a:cubicBezTo>
                  <a:pt x="1928408" y="6450283"/>
                  <a:pt x="1925681" y="6453324"/>
                  <a:pt x="1923452" y="6457393"/>
                </a:cubicBezTo>
                <a:lnTo>
                  <a:pt x="1923452" y="6446928"/>
                </a:lnTo>
                <a:lnTo>
                  <a:pt x="1914173" y="6446928"/>
                </a:lnTo>
                <a:lnTo>
                  <a:pt x="1914173" y="6521016"/>
                </a:lnTo>
                <a:lnTo>
                  <a:pt x="1924429" y="6521016"/>
                </a:lnTo>
                <a:lnTo>
                  <a:pt x="1924429" y="6480510"/>
                </a:lnTo>
                <a:cubicBezTo>
                  <a:pt x="1924429" y="6471571"/>
                  <a:pt x="1925894" y="6465262"/>
                  <a:pt x="1928824" y="6461584"/>
                </a:cubicBezTo>
                <a:cubicBezTo>
                  <a:pt x="1931754" y="6457906"/>
                  <a:pt x="1935684" y="6456067"/>
                  <a:pt x="1940614" y="6456067"/>
                </a:cubicBezTo>
                <a:cubicBezTo>
                  <a:pt x="1943218" y="6456067"/>
                  <a:pt x="1945509" y="6456753"/>
                  <a:pt x="1947485" y="6458127"/>
                </a:cubicBezTo>
                <a:cubicBezTo>
                  <a:pt x="1949462" y="6459500"/>
                  <a:pt x="1950915" y="6461444"/>
                  <a:pt x="1951846" y="6463958"/>
                </a:cubicBezTo>
                <a:cubicBezTo>
                  <a:pt x="1952776" y="6466472"/>
                  <a:pt x="1953242" y="6470453"/>
                  <a:pt x="1953242" y="6475901"/>
                </a:cubicBezTo>
                <a:lnTo>
                  <a:pt x="1953242" y="6521016"/>
                </a:lnTo>
                <a:lnTo>
                  <a:pt x="1963497" y="6521016"/>
                </a:lnTo>
                <a:lnTo>
                  <a:pt x="1963497" y="6475461"/>
                </a:lnTo>
                <a:cubicBezTo>
                  <a:pt x="1963497" y="6468624"/>
                  <a:pt x="1963078" y="6463555"/>
                  <a:pt x="1962243" y="6460253"/>
                </a:cubicBezTo>
                <a:cubicBezTo>
                  <a:pt x="1961407" y="6456950"/>
                  <a:pt x="1960142" y="6454265"/>
                  <a:pt x="1958447" y="6452195"/>
                </a:cubicBezTo>
                <a:cubicBezTo>
                  <a:pt x="1956752" y="6450125"/>
                  <a:pt x="1954524" y="6448451"/>
                  <a:pt x="1951761" y="6447172"/>
                </a:cubicBezTo>
                <a:cubicBezTo>
                  <a:pt x="1948998" y="6445893"/>
                  <a:pt x="1945992" y="6445253"/>
                  <a:pt x="1942743" y="6445253"/>
                </a:cubicBezTo>
                <a:close/>
                <a:moveTo>
                  <a:pt x="1872055" y="6445253"/>
                </a:moveTo>
                <a:cubicBezTo>
                  <a:pt x="1863823" y="6445253"/>
                  <a:pt x="1857021" y="6448509"/>
                  <a:pt x="1851649" y="6455020"/>
                </a:cubicBezTo>
                <a:cubicBezTo>
                  <a:pt x="1846277" y="6461532"/>
                  <a:pt x="1843593" y="6471182"/>
                  <a:pt x="1843593" y="6483972"/>
                </a:cubicBezTo>
                <a:cubicBezTo>
                  <a:pt x="1843593" y="6496715"/>
                  <a:pt x="1846301" y="6506354"/>
                  <a:pt x="1851719" y="6512889"/>
                </a:cubicBezTo>
                <a:cubicBezTo>
                  <a:pt x="1857137" y="6519423"/>
                  <a:pt x="1863916" y="6522691"/>
                  <a:pt x="1872055" y="6522691"/>
                </a:cubicBezTo>
                <a:cubicBezTo>
                  <a:pt x="1880334" y="6522691"/>
                  <a:pt x="1887147" y="6519435"/>
                  <a:pt x="1892496" y="6512924"/>
                </a:cubicBezTo>
                <a:cubicBezTo>
                  <a:pt x="1897844" y="6506412"/>
                  <a:pt x="1900519" y="6496506"/>
                  <a:pt x="1900519" y="6483205"/>
                </a:cubicBezTo>
                <a:cubicBezTo>
                  <a:pt x="1900519" y="6470926"/>
                  <a:pt x="1897798" y="6461532"/>
                  <a:pt x="1892356" y="6455020"/>
                </a:cubicBezTo>
                <a:cubicBezTo>
                  <a:pt x="1886915" y="6448509"/>
                  <a:pt x="1880148" y="6445253"/>
                  <a:pt x="1872055" y="6445253"/>
                </a:cubicBezTo>
                <a:close/>
                <a:moveTo>
                  <a:pt x="1803287" y="6445253"/>
                </a:moveTo>
                <a:cubicBezTo>
                  <a:pt x="1800822" y="6445253"/>
                  <a:pt x="1798602" y="6446102"/>
                  <a:pt x="1796625" y="6447800"/>
                </a:cubicBezTo>
                <a:cubicBezTo>
                  <a:pt x="1794648" y="6449497"/>
                  <a:pt x="1792474" y="6452951"/>
                  <a:pt x="1790103" y="6458160"/>
                </a:cubicBezTo>
                <a:lnTo>
                  <a:pt x="1790103" y="6446928"/>
                </a:lnTo>
                <a:lnTo>
                  <a:pt x="1780823" y="6446928"/>
                </a:lnTo>
                <a:lnTo>
                  <a:pt x="1780823" y="6521016"/>
                </a:lnTo>
                <a:lnTo>
                  <a:pt x="1791079" y="6521016"/>
                </a:lnTo>
                <a:lnTo>
                  <a:pt x="1791079" y="6482228"/>
                </a:lnTo>
                <a:cubicBezTo>
                  <a:pt x="1791079" y="6476833"/>
                  <a:pt x="1791730" y="6471740"/>
                  <a:pt x="1793032" y="6466950"/>
                </a:cubicBezTo>
                <a:cubicBezTo>
                  <a:pt x="1793776" y="6464206"/>
                  <a:pt x="1795056" y="6462066"/>
                  <a:pt x="1796869" y="6460532"/>
                </a:cubicBezTo>
                <a:cubicBezTo>
                  <a:pt x="1798683" y="6458997"/>
                  <a:pt x="1800683" y="6458229"/>
                  <a:pt x="1802869" y="6458229"/>
                </a:cubicBezTo>
                <a:cubicBezTo>
                  <a:pt x="1805287" y="6458229"/>
                  <a:pt x="1807775" y="6459136"/>
                  <a:pt x="1810333" y="6460950"/>
                </a:cubicBezTo>
                <a:lnTo>
                  <a:pt x="1813822" y="6449300"/>
                </a:lnTo>
                <a:cubicBezTo>
                  <a:pt x="1810240" y="6446602"/>
                  <a:pt x="1806729" y="6445253"/>
                  <a:pt x="1803287" y="6445253"/>
                </a:cubicBezTo>
                <a:close/>
                <a:moveTo>
                  <a:pt x="1715748" y="6445253"/>
                </a:moveTo>
                <a:cubicBezTo>
                  <a:pt x="1708586" y="6445253"/>
                  <a:pt x="1702982" y="6447230"/>
                  <a:pt x="1698935" y="6451183"/>
                </a:cubicBezTo>
                <a:cubicBezTo>
                  <a:pt x="1694889" y="6455137"/>
                  <a:pt x="1692866" y="6460276"/>
                  <a:pt x="1692866" y="6466601"/>
                </a:cubicBezTo>
                <a:cubicBezTo>
                  <a:pt x="1692866" y="6470275"/>
                  <a:pt x="1693610" y="6473554"/>
                  <a:pt x="1695099" y="6476438"/>
                </a:cubicBezTo>
                <a:cubicBezTo>
                  <a:pt x="1696587" y="6479321"/>
                  <a:pt x="1698680" y="6481623"/>
                  <a:pt x="1701377" y="6483344"/>
                </a:cubicBezTo>
                <a:cubicBezTo>
                  <a:pt x="1704075" y="6485065"/>
                  <a:pt x="1709423" y="6487158"/>
                  <a:pt x="1717423" y="6489623"/>
                </a:cubicBezTo>
                <a:cubicBezTo>
                  <a:pt x="1722957" y="6491297"/>
                  <a:pt x="1726445" y="6492692"/>
                  <a:pt x="1727887" y="6493809"/>
                </a:cubicBezTo>
                <a:cubicBezTo>
                  <a:pt x="1729980" y="6495436"/>
                  <a:pt x="1731026" y="6497715"/>
                  <a:pt x="1731026" y="6500645"/>
                </a:cubicBezTo>
                <a:cubicBezTo>
                  <a:pt x="1731026" y="6504041"/>
                  <a:pt x="1729810" y="6506843"/>
                  <a:pt x="1727373" y="6509052"/>
                </a:cubicBezTo>
                <a:cubicBezTo>
                  <a:pt x="1724937" y="6511261"/>
                  <a:pt x="1721491" y="6512366"/>
                  <a:pt x="1717037" y="6512366"/>
                </a:cubicBezTo>
                <a:cubicBezTo>
                  <a:pt x="1712583" y="6512366"/>
                  <a:pt x="1709010" y="6511092"/>
                  <a:pt x="1706319" y="6508546"/>
                </a:cubicBezTo>
                <a:cubicBezTo>
                  <a:pt x="1703628" y="6506000"/>
                  <a:pt x="1701980" y="6502110"/>
                  <a:pt x="1701377" y="6496878"/>
                </a:cubicBezTo>
                <a:lnTo>
                  <a:pt x="1691122" y="6498832"/>
                </a:lnTo>
                <a:cubicBezTo>
                  <a:pt x="1693447" y="6514738"/>
                  <a:pt x="1701889" y="6522691"/>
                  <a:pt x="1716446" y="6522691"/>
                </a:cubicBezTo>
                <a:cubicBezTo>
                  <a:pt x="1724213" y="6522691"/>
                  <a:pt x="1730340" y="6520501"/>
                  <a:pt x="1734829" y="6516121"/>
                </a:cubicBezTo>
                <a:cubicBezTo>
                  <a:pt x="1739317" y="6511742"/>
                  <a:pt x="1741562" y="6506011"/>
                  <a:pt x="1741562" y="6498930"/>
                </a:cubicBezTo>
                <a:cubicBezTo>
                  <a:pt x="1741562" y="6495109"/>
                  <a:pt x="1740866" y="6491813"/>
                  <a:pt x="1739475" y="6489041"/>
                </a:cubicBezTo>
                <a:cubicBezTo>
                  <a:pt x="1738085" y="6486269"/>
                  <a:pt x="1736139" y="6484080"/>
                  <a:pt x="1733637" y="6482472"/>
                </a:cubicBezTo>
                <a:cubicBezTo>
                  <a:pt x="1731135" y="6480865"/>
                  <a:pt x="1725623" y="6478709"/>
                  <a:pt x="1717100" y="6476005"/>
                </a:cubicBezTo>
                <a:cubicBezTo>
                  <a:pt x="1710904" y="6473967"/>
                  <a:pt x="1707175" y="6472485"/>
                  <a:pt x="1705917" y="6471559"/>
                </a:cubicBezTo>
                <a:cubicBezTo>
                  <a:pt x="1703821" y="6469984"/>
                  <a:pt x="1702772" y="6467830"/>
                  <a:pt x="1702772" y="6465097"/>
                </a:cubicBezTo>
                <a:cubicBezTo>
                  <a:pt x="1702772" y="6462318"/>
                  <a:pt x="1703865" y="6460037"/>
                  <a:pt x="1706052" y="6458253"/>
                </a:cubicBezTo>
                <a:cubicBezTo>
                  <a:pt x="1708237" y="6456470"/>
                  <a:pt x="1711563" y="6455578"/>
                  <a:pt x="1716027" y="6455578"/>
                </a:cubicBezTo>
                <a:cubicBezTo>
                  <a:pt x="1723887" y="6455578"/>
                  <a:pt x="1728282" y="6459625"/>
                  <a:pt x="1729213" y="6467717"/>
                </a:cubicBezTo>
                <a:lnTo>
                  <a:pt x="1739260" y="6466043"/>
                </a:lnTo>
                <a:cubicBezTo>
                  <a:pt x="1738561" y="6460927"/>
                  <a:pt x="1737305" y="6456997"/>
                  <a:pt x="1735491" y="6454253"/>
                </a:cubicBezTo>
                <a:cubicBezTo>
                  <a:pt x="1733677" y="6451509"/>
                  <a:pt x="1731061" y="6449323"/>
                  <a:pt x="1727643" y="6447695"/>
                </a:cubicBezTo>
                <a:cubicBezTo>
                  <a:pt x="1724225" y="6446067"/>
                  <a:pt x="1720260" y="6445253"/>
                  <a:pt x="1715748" y="6445253"/>
                </a:cubicBezTo>
                <a:close/>
                <a:moveTo>
                  <a:pt x="1656992" y="6445253"/>
                </a:moveTo>
                <a:cubicBezTo>
                  <a:pt x="1652814" y="6445253"/>
                  <a:pt x="1649111" y="6446259"/>
                  <a:pt x="1645885" y="6448271"/>
                </a:cubicBezTo>
                <a:cubicBezTo>
                  <a:pt x="1642658" y="6450283"/>
                  <a:pt x="1639931" y="6453324"/>
                  <a:pt x="1637702" y="6457393"/>
                </a:cubicBezTo>
                <a:lnTo>
                  <a:pt x="1637702" y="6446928"/>
                </a:lnTo>
                <a:lnTo>
                  <a:pt x="1628424" y="6446928"/>
                </a:lnTo>
                <a:lnTo>
                  <a:pt x="1628424" y="6521016"/>
                </a:lnTo>
                <a:lnTo>
                  <a:pt x="1638679" y="6521016"/>
                </a:lnTo>
                <a:lnTo>
                  <a:pt x="1638679" y="6480510"/>
                </a:lnTo>
                <a:cubicBezTo>
                  <a:pt x="1638679" y="6471571"/>
                  <a:pt x="1640144" y="6465262"/>
                  <a:pt x="1643074" y="6461584"/>
                </a:cubicBezTo>
                <a:cubicBezTo>
                  <a:pt x="1646004" y="6457906"/>
                  <a:pt x="1649934" y="6456067"/>
                  <a:pt x="1654864" y="6456067"/>
                </a:cubicBezTo>
                <a:cubicBezTo>
                  <a:pt x="1657468" y="6456067"/>
                  <a:pt x="1659759" y="6456753"/>
                  <a:pt x="1661735" y="6458127"/>
                </a:cubicBezTo>
                <a:cubicBezTo>
                  <a:pt x="1663712" y="6459500"/>
                  <a:pt x="1665165" y="6461444"/>
                  <a:pt x="1666095" y="6463958"/>
                </a:cubicBezTo>
                <a:cubicBezTo>
                  <a:pt x="1667026" y="6466472"/>
                  <a:pt x="1667491" y="6470453"/>
                  <a:pt x="1667491" y="6475901"/>
                </a:cubicBezTo>
                <a:lnTo>
                  <a:pt x="1667491" y="6521016"/>
                </a:lnTo>
                <a:lnTo>
                  <a:pt x="1677746" y="6521016"/>
                </a:lnTo>
                <a:lnTo>
                  <a:pt x="1677746" y="6475461"/>
                </a:lnTo>
                <a:cubicBezTo>
                  <a:pt x="1677746" y="6468624"/>
                  <a:pt x="1677328" y="6463555"/>
                  <a:pt x="1676493" y="6460253"/>
                </a:cubicBezTo>
                <a:cubicBezTo>
                  <a:pt x="1675657" y="6456950"/>
                  <a:pt x="1674392" y="6454265"/>
                  <a:pt x="1672697" y="6452195"/>
                </a:cubicBezTo>
                <a:cubicBezTo>
                  <a:pt x="1671002" y="6450125"/>
                  <a:pt x="1668774" y="6448451"/>
                  <a:pt x="1666011" y="6447172"/>
                </a:cubicBezTo>
                <a:cubicBezTo>
                  <a:pt x="1663248" y="6445893"/>
                  <a:pt x="1660242" y="6445253"/>
                  <a:pt x="1656992" y="6445253"/>
                </a:cubicBezTo>
                <a:close/>
                <a:moveTo>
                  <a:pt x="1586654" y="6445253"/>
                </a:moveTo>
                <a:cubicBezTo>
                  <a:pt x="1578422" y="6445253"/>
                  <a:pt x="1571620" y="6448614"/>
                  <a:pt x="1566248" y="6455334"/>
                </a:cubicBezTo>
                <a:cubicBezTo>
                  <a:pt x="1560876" y="6462055"/>
                  <a:pt x="1558191" y="6471810"/>
                  <a:pt x="1558191" y="6484600"/>
                </a:cubicBezTo>
                <a:cubicBezTo>
                  <a:pt x="1558191" y="6496925"/>
                  <a:pt x="1560853" y="6506354"/>
                  <a:pt x="1566178" y="6512889"/>
                </a:cubicBezTo>
                <a:cubicBezTo>
                  <a:pt x="1571504" y="6519423"/>
                  <a:pt x="1578468" y="6522691"/>
                  <a:pt x="1587073" y="6522691"/>
                </a:cubicBezTo>
                <a:cubicBezTo>
                  <a:pt x="1593909" y="6522691"/>
                  <a:pt x="1599643" y="6520679"/>
                  <a:pt x="1604269" y="6516656"/>
                </a:cubicBezTo>
                <a:cubicBezTo>
                  <a:pt x="1608897" y="6512633"/>
                  <a:pt x="1612095" y="6506668"/>
                  <a:pt x="1613862" y="6498762"/>
                </a:cubicBezTo>
                <a:lnTo>
                  <a:pt x="1603258" y="6497157"/>
                </a:lnTo>
                <a:cubicBezTo>
                  <a:pt x="1600235" y="6507296"/>
                  <a:pt x="1594863" y="6512366"/>
                  <a:pt x="1587142" y="6512366"/>
                </a:cubicBezTo>
                <a:cubicBezTo>
                  <a:pt x="1582212" y="6512366"/>
                  <a:pt x="1578027" y="6510249"/>
                  <a:pt x="1574585" y="6506017"/>
                </a:cubicBezTo>
                <a:cubicBezTo>
                  <a:pt x="1571143" y="6501785"/>
                  <a:pt x="1569213" y="6495506"/>
                  <a:pt x="1568795" y="6487181"/>
                </a:cubicBezTo>
                <a:lnTo>
                  <a:pt x="1614140" y="6487181"/>
                </a:lnTo>
                <a:lnTo>
                  <a:pt x="1614210" y="6483832"/>
                </a:lnTo>
                <a:cubicBezTo>
                  <a:pt x="1614210" y="6471322"/>
                  <a:pt x="1611583" y="6461764"/>
                  <a:pt x="1606327" y="6455160"/>
                </a:cubicBezTo>
                <a:cubicBezTo>
                  <a:pt x="1601072" y="6448556"/>
                  <a:pt x="1594514" y="6445253"/>
                  <a:pt x="1586654" y="6445253"/>
                </a:cubicBezTo>
                <a:close/>
                <a:moveTo>
                  <a:pt x="1317373" y="6445253"/>
                </a:moveTo>
                <a:cubicBezTo>
                  <a:pt x="1312489" y="6445253"/>
                  <a:pt x="1308082" y="6446649"/>
                  <a:pt x="1304152" y="6449439"/>
                </a:cubicBezTo>
                <a:cubicBezTo>
                  <a:pt x="1300222" y="6452230"/>
                  <a:pt x="1297048" y="6456602"/>
                  <a:pt x="1294630" y="6462555"/>
                </a:cubicBezTo>
                <a:cubicBezTo>
                  <a:pt x="1292211" y="6468508"/>
                  <a:pt x="1291002" y="6475461"/>
                  <a:pt x="1291002" y="6483414"/>
                </a:cubicBezTo>
                <a:cubicBezTo>
                  <a:pt x="1291002" y="6495274"/>
                  <a:pt x="1293746" y="6504738"/>
                  <a:pt x="1299234" y="6511808"/>
                </a:cubicBezTo>
                <a:cubicBezTo>
                  <a:pt x="1304025" y="6517947"/>
                  <a:pt x="1310047" y="6521016"/>
                  <a:pt x="1317303" y="6521016"/>
                </a:cubicBezTo>
                <a:cubicBezTo>
                  <a:pt x="1320698" y="6521016"/>
                  <a:pt x="1323791" y="6520208"/>
                  <a:pt x="1326581" y="6518591"/>
                </a:cubicBezTo>
                <a:cubicBezTo>
                  <a:pt x="1329372" y="6516974"/>
                  <a:pt x="1331883" y="6514572"/>
                  <a:pt x="1334116" y="6511385"/>
                </a:cubicBezTo>
                <a:cubicBezTo>
                  <a:pt x="1334116" y="6519758"/>
                  <a:pt x="1333813" y="6525246"/>
                  <a:pt x="1333209" y="6527851"/>
                </a:cubicBezTo>
                <a:cubicBezTo>
                  <a:pt x="1332232" y="6532130"/>
                  <a:pt x="1330407" y="6535352"/>
                  <a:pt x="1327732" y="6537515"/>
                </a:cubicBezTo>
                <a:cubicBezTo>
                  <a:pt x="1325058" y="6539678"/>
                  <a:pt x="1321466" y="6540759"/>
                  <a:pt x="1316954" y="6540759"/>
                </a:cubicBezTo>
                <a:cubicBezTo>
                  <a:pt x="1312815" y="6540759"/>
                  <a:pt x="1309583" y="6539788"/>
                  <a:pt x="1307257" y="6537847"/>
                </a:cubicBezTo>
                <a:cubicBezTo>
                  <a:pt x="1304931" y="6535905"/>
                  <a:pt x="1303536" y="6532946"/>
                  <a:pt x="1303071" y="6528969"/>
                </a:cubicBezTo>
                <a:lnTo>
                  <a:pt x="1293025" y="6527155"/>
                </a:lnTo>
                <a:cubicBezTo>
                  <a:pt x="1292886" y="6534643"/>
                  <a:pt x="1294932" y="6540503"/>
                  <a:pt x="1299164" y="6544736"/>
                </a:cubicBezTo>
                <a:cubicBezTo>
                  <a:pt x="1303397" y="6548968"/>
                  <a:pt x="1309443" y="6551084"/>
                  <a:pt x="1317303" y="6551084"/>
                </a:cubicBezTo>
                <a:cubicBezTo>
                  <a:pt x="1323256" y="6551084"/>
                  <a:pt x="1328349" y="6549677"/>
                  <a:pt x="1332581" y="6546864"/>
                </a:cubicBezTo>
                <a:cubicBezTo>
                  <a:pt x="1336813" y="6544050"/>
                  <a:pt x="1339860" y="6540213"/>
                  <a:pt x="1341720" y="6535353"/>
                </a:cubicBezTo>
                <a:cubicBezTo>
                  <a:pt x="1343580" y="6530492"/>
                  <a:pt x="1344510" y="6522365"/>
                  <a:pt x="1344510" y="6510970"/>
                </a:cubicBezTo>
                <a:lnTo>
                  <a:pt x="1344510" y="6446928"/>
                </a:lnTo>
                <a:lnTo>
                  <a:pt x="1335023" y="6446928"/>
                </a:lnTo>
                <a:lnTo>
                  <a:pt x="1335023" y="6455788"/>
                </a:lnTo>
                <a:cubicBezTo>
                  <a:pt x="1332744" y="6452276"/>
                  <a:pt x="1330128" y="6449643"/>
                  <a:pt x="1327174" y="6447887"/>
                </a:cubicBezTo>
                <a:cubicBezTo>
                  <a:pt x="1324221" y="6446131"/>
                  <a:pt x="1320954" y="6445253"/>
                  <a:pt x="1317373" y="6445253"/>
                </a:cubicBezTo>
                <a:close/>
                <a:moveTo>
                  <a:pt x="1250837" y="6445253"/>
                </a:moveTo>
                <a:cubicBezTo>
                  <a:pt x="1248372" y="6445253"/>
                  <a:pt x="1246151" y="6446102"/>
                  <a:pt x="1244175" y="6447800"/>
                </a:cubicBezTo>
                <a:cubicBezTo>
                  <a:pt x="1242198" y="6449497"/>
                  <a:pt x="1240024" y="6452951"/>
                  <a:pt x="1237652" y="6458160"/>
                </a:cubicBezTo>
                <a:lnTo>
                  <a:pt x="1237652" y="6446928"/>
                </a:lnTo>
                <a:lnTo>
                  <a:pt x="1230699" y="6446928"/>
                </a:lnTo>
                <a:lnTo>
                  <a:pt x="1228373" y="6446928"/>
                </a:lnTo>
                <a:lnTo>
                  <a:pt x="1220375" y="6446928"/>
                </a:lnTo>
                <a:lnTo>
                  <a:pt x="1207398" y="6490087"/>
                </a:lnTo>
                <a:cubicBezTo>
                  <a:pt x="1205770" y="6495572"/>
                  <a:pt x="1204375" y="6501197"/>
                  <a:pt x="1203212" y="6506961"/>
                </a:cubicBezTo>
                <a:cubicBezTo>
                  <a:pt x="1201863" y="6500872"/>
                  <a:pt x="1200398" y="6495155"/>
                  <a:pt x="1198817" y="6489809"/>
                </a:cubicBezTo>
                <a:lnTo>
                  <a:pt x="1186120" y="6446928"/>
                </a:lnTo>
                <a:lnTo>
                  <a:pt x="1175028" y="6446928"/>
                </a:lnTo>
                <a:lnTo>
                  <a:pt x="1198138" y="6521126"/>
                </a:lnTo>
                <a:cubicBezTo>
                  <a:pt x="1195762" y="6528679"/>
                  <a:pt x="1194412" y="6532781"/>
                  <a:pt x="1194086" y="6533432"/>
                </a:cubicBezTo>
                <a:cubicBezTo>
                  <a:pt x="1193155" y="6535293"/>
                  <a:pt x="1191980" y="6536666"/>
                  <a:pt x="1190560" y="6537550"/>
                </a:cubicBezTo>
                <a:cubicBezTo>
                  <a:pt x="1189140" y="6538434"/>
                  <a:pt x="1187336" y="6538876"/>
                  <a:pt x="1185149" y="6538876"/>
                </a:cubicBezTo>
                <a:cubicBezTo>
                  <a:pt x="1183520" y="6538876"/>
                  <a:pt x="1181565" y="6538504"/>
                  <a:pt x="1179283" y="6537759"/>
                </a:cubicBezTo>
                <a:lnTo>
                  <a:pt x="1180400" y="6549549"/>
                </a:lnTo>
                <a:cubicBezTo>
                  <a:pt x="1182868" y="6550573"/>
                  <a:pt x="1185081" y="6551084"/>
                  <a:pt x="1187038" y="6551084"/>
                </a:cubicBezTo>
                <a:cubicBezTo>
                  <a:pt x="1189833" y="6551084"/>
                  <a:pt x="1192337" y="6550363"/>
                  <a:pt x="1194549" y="6548922"/>
                </a:cubicBezTo>
                <a:cubicBezTo>
                  <a:pt x="1196762" y="6547480"/>
                  <a:pt x="1198742" y="6545119"/>
                  <a:pt x="1200489" y="6541841"/>
                </a:cubicBezTo>
                <a:cubicBezTo>
                  <a:pt x="1202235" y="6538562"/>
                  <a:pt x="1204623" y="6532039"/>
                  <a:pt x="1207651" y="6522272"/>
                </a:cubicBezTo>
                <a:lnTo>
                  <a:pt x="1228373" y="6454530"/>
                </a:lnTo>
                <a:lnTo>
                  <a:pt x="1228373" y="6521016"/>
                </a:lnTo>
                <a:lnTo>
                  <a:pt x="1238629" y="6521016"/>
                </a:lnTo>
                <a:lnTo>
                  <a:pt x="1238629" y="6482228"/>
                </a:lnTo>
                <a:cubicBezTo>
                  <a:pt x="1238629" y="6476833"/>
                  <a:pt x="1239280" y="6471740"/>
                  <a:pt x="1240582" y="6466950"/>
                </a:cubicBezTo>
                <a:cubicBezTo>
                  <a:pt x="1241326" y="6464206"/>
                  <a:pt x="1242605" y="6462066"/>
                  <a:pt x="1244419" y="6460532"/>
                </a:cubicBezTo>
                <a:cubicBezTo>
                  <a:pt x="1246233" y="6458997"/>
                  <a:pt x="1248233" y="6458229"/>
                  <a:pt x="1250419" y="6458229"/>
                </a:cubicBezTo>
                <a:cubicBezTo>
                  <a:pt x="1252837" y="6458229"/>
                  <a:pt x="1255325" y="6459136"/>
                  <a:pt x="1257883" y="6460950"/>
                </a:cubicBezTo>
                <a:lnTo>
                  <a:pt x="1261371" y="6449300"/>
                </a:lnTo>
                <a:cubicBezTo>
                  <a:pt x="1257790" y="6446602"/>
                  <a:pt x="1254279" y="6445253"/>
                  <a:pt x="1250837" y="6445253"/>
                </a:cubicBezTo>
                <a:close/>
                <a:moveTo>
                  <a:pt x="1141043" y="6445253"/>
                </a:moveTo>
                <a:cubicBezTo>
                  <a:pt x="1137375" y="6445253"/>
                  <a:pt x="1134125" y="6446137"/>
                  <a:pt x="1131292" y="6447904"/>
                </a:cubicBezTo>
                <a:cubicBezTo>
                  <a:pt x="1128460" y="6449672"/>
                  <a:pt x="1125883" y="6452555"/>
                  <a:pt x="1123561" y="6456555"/>
                </a:cubicBezTo>
                <a:lnTo>
                  <a:pt x="1123561" y="6446928"/>
                </a:lnTo>
                <a:lnTo>
                  <a:pt x="1114073" y="6446928"/>
                </a:lnTo>
                <a:lnTo>
                  <a:pt x="1114073" y="6549410"/>
                </a:lnTo>
                <a:lnTo>
                  <a:pt x="1124329" y="6549410"/>
                </a:lnTo>
                <a:lnTo>
                  <a:pt x="1124329" y="6513342"/>
                </a:lnTo>
                <a:cubicBezTo>
                  <a:pt x="1126328" y="6516319"/>
                  <a:pt x="1128700" y="6518621"/>
                  <a:pt x="1131444" y="6520249"/>
                </a:cubicBezTo>
                <a:cubicBezTo>
                  <a:pt x="1134188" y="6521877"/>
                  <a:pt x="1137142" y="6522691"/>
                  <a:pt x="1140304" y="6522691"/>
                </a:cubicBezTo>
                <a:cubicBezTo>
                  <a:pt x="1147420" y="6522691"/>
                  <a:pt x="1153618" y="6519284"/>
                  <a:pt x="1158896" y="6512470"/>
                </a:cubicBezTo>
                <a:cubicBezTo>
                  <a:pt x="1164175" y="6505657"/>
                  <a:pt x="1166814" y="6495948"/>
                  <a:pt x="1166814" y="6483344"/>
                </a:cubicBezTo>
                <a:cubicBezTo>
                  <a:pt x="1166814" y="6475205"/>
                  <a:pt x="1165642" y="6468240"/>
                  <a:pt x="1163297" y="6462450"/>
                </a:cubicBezTo>
                <a:cubicBezTo>
                  <a:pt x="1160952" y="6456660"/>
                  <a:pt x="1157852" y="6452346"/>
                  <a:pt x="1153999" y="6449509"/>
                </a:cubicBezTo>
                <a:cubicBezTo>
                  <a:pt x="1150145" y="6446672"/>
                  <a:pt x="1145827" y="6445253"/>
                  <a:pt x="1141043" y="6445253"/>
                </a:cubicBezTo>
                <a:close/>
                <a:moveTo>
                  <a:pt x="1071955" y="6445253"/>
                </a:moveTo>
                <a:cubicBezTo>
                  <a:pt x="1063723" y="6445253"/>
                  <a:pt x="1056921" y="6448509"/>
                  <a:pt x="1051549" y="6455020"/>
                </a:cubicBezTo>
                <a:cubicBezTo>
                  <a:pt x="1046178" y="6461532"/>
                  <a:pt x="1043492" y="6471182"/>
                  <a:pt x="1043492" y="6483972"/>
                </a:cubicBezTo>
                <a:cubicBezTo>
                  <a:pt x="1043492" y="6496715"/>
                  <a:pt x="1046201" y="6506354"/>
                  <a:pt x="1051619" y="6512889"/>
                </a:cubicBezTo>
                <a:cubicBezTo>
                  <a:pt x="1057037" y="6519423"/>
                  <a:pt x="1063816" y="6522691"/>
                  <a:pt x="1071955" y="6522691"/>
                </a:cubicBezTo>
                <a:cubicBezTo>
                  <a:pt x="1080234" y="6522691"/>
                  <a:pt x="1087047" y="6519435"/>
                  <a:pt x="1092396" y="6512924"/>
                </a:cubicBezTo>
                <a:cubicBezTo>
                  <a:pt x="1097744" y="6506412"/>
                  <a:pt x="1100419" y="6496506"/>
                  <a:pt x="1100419" y="6483205"/>
                </a:cubicBezTo>
                <a:cubicBezTo>
                  <a:pt x="1100419" y="6470926"/>
                  <a:pt x="1097698" y="6461532"/>
                  <a:pt x="1092256" y="6455020"/>
                </a:cubicBezTo>
                <a:cubicBezTo>
                  <a:pt x="1086815" y="6448509"/>
                  <a:pt x="1080048" y="6445253"/>
                  <a:pt x="1071955" y="6445253"/>
                </a:cubicBezTo>
                <a:close/>
                <a:moveTo>
                  <a:pt x="883898" y="6440021"/>
                </a:moveTo>
                <a:cubicBezTo>
                  <a:pt x="876956" y="6440021"/>
                  <a:pt x="871354" y="6442562"/>
                  <a:pt x="867092" y="6447643"/>
                </a:cubicBezTo>
                <a:cubicBezTo>
                  <a:pt x="862829" y="6452725"/>
                  <a:pt x="860698" y="6460114"/>
                  <a:pt x="860698" y="6469810"/>
                </a:cubicBezTo>
                <a:cubicBezTo>
                  <a:pt x="860698" y="6479506"/>
                  <a:pt x="862853" y="6486942"/>
                  <a:pt x="867162" y="6492116"/>
                </a:cubicBezTo>
                <a:cubicBezTo>
                  <a:pt x="871471" y="6497291"/>
                  <a:pt x="876886" y="6499878"/>
                  <a:pt x="883407" y="6499878"/>
                </a:cubicBezTo>
                <a:cubicBezTo>
                  <a:pt x="888485" y="6499878"/>
                  <a:pt x="892923" y="6498192"/>
                  <a:pt x="896719" y="6494820"/>
                </a:cubicBezTo>
                <a:cubicBezTo>
                  <a:pt x="900515" y="6491448"/>
                  <a:pt x="902996" y="6486763"/>
                  <a:pt x="904161" y="6480763"/>
                </a:cubicBezTo>
                <a:lnTo>
                  <a:pt x="897184" y="6478251"/>
                </a:lnTo>
                <a:cubicBezTo>
                  <a:pt x="896299" y="6482530"/>
                  <a:pt x="894527" y="6485844"/>
                  <a:pt x="891869" y="6488193"/>
                </a:cubicBezTo>
                <a:cubicBezTo>
                  <a:pt x="889212" y="6490541"/>
                  <a:pt x="886205" y="6491716"/>
                  <a:pt x="882848" y="6491716"/>
                </a:cubicBezTo>
                <a:cubicBezTo>
                  <a:pt x="878745" y="6491716"/>
                  <a:pt x="875318" y="6489919"/>
                  <a:pt x="872568" y="6486327"/>
                </a:cubicBezTo>
                <a:cubicBezTo>
                  <a:pt x="869817" y="6482735"/>
                  <a:pt x="868442" y="6477392"/>
                  <a:pt x="868442" y="6470301"/>
                </a:cubicBezTo>
                <a:cubicBezTo>
                  <a:pt x="868442" y="6462882"/>
                  <a:pt x="869887" y="6457283"/>
                  <a:pt x="872778" y="6453503"/>
                </a:cubicBezTo>
                <a:cubicBezTo>
                  <a:pt x="875669" y="6449724"/>
                  <a:pt x="879282" y="6447835"/>
                  <a:pt x="883619" y="6447835"/>
                </a:cubicBezTo>
                <a:cubicBezTo>
                  <a:pt x="886510" y="6447835"/>
                  <a:pt x="889085" y="6448730"/>
                  <a:pt x="891347" y="6450521"/>
                </a:cubicBezTo>
                <a:cubicBezTo>
                  <a:pt x="893608" y="6452311"/>
                  <a:pt x="895321" y="6454974"/>
                  <a:pt x="896487" y="6458508"/>
                </a:cubicBezTo>
                <a:lnTo>
                  <a:pt x="903324" y="6456485"/>
                </a:lnTo>
                <a:cubicBezTo>
                  <a:pt x="902066" y="6451276"/>
                  <a:pt x="899713" y="6447230"/>
                  <a:pt x="896266" y="6444347"/>
                </a:cubicBezTo>
                <a:cubicBezTo>
                  <a:pt x="892819" y="6441463"/>
                  <a:pt x="888696" y="6440021"/>
                  <a:pt x="883898" y="6440021"/>
                </a:cubicBezTo>
                <a:close/>
                <a:moveTo>
                  <a:pt x="2030141" y="6429487"/>
                </a:moveTo>
                <a:cubicBezTo>
                  <a:pt x="2031396" y="6434928"/>
                  <a:pt x="2033373" y="6441998"/>
                  <a:pt x="2036069" y="6450695"/>
                </a:cubicBezTo>
                <a:lnTo>
                  <a:pt x="2044784" y="6479019"/>
                </a:lnTo>
                <a:lnTo>
                  <a:pt x="2016217" y="6479019"/>
                </a:lnTo>
                <a:lnTo>
                  <a:pt x="2025546" y="6449021"/>
                </a:lnTo>
                <a:cubicBezTo>
                  <a:pt x="2027526" y="6442556"/>
                  <a:pt x="2029057" y="6436045"/>
                  <a:pt x="2030141" y="6429487"/>
                </a:cubicBezTo>
                <a:close/>
                <a:moveTo>
                  <a:pt x="883232" y="6425650"/>
                </a:moveTo>
                <a:cubicBezTo>
                  <a:pt x="892720" y="6425650"/>
                  <a:pt x="900952" y="6429680"/>
                  <a:pt x="907928" y="6437739"/>
                </a:cubicBezTo>
                <a:cubicBezTo>
                  <a:pt x="915462" y="6446402"/>
                  <a:pt x="919230" y="6457046"/>
                  <a:pt x="919230" y="6469671"/>
                </a:cubicBezTo>
                <a:cubicBezTo>
                  <a:pt x="919230" y="6481410"/>
                  <a:pt x="915927" y="6491495"/>
                  <a:pt x="909323" y="6499926"/>
                </a:cubicBezTo>
                <a:cubicBezTo>
                  <a:pt x="902161" y="6509056"/>
                  <a:pt x="893464" y="6513621"/>
                  <a:pt x="883232" y="6513621"/>
                </a:cubicBezTo>
                <a:cubicBezTo>
                  <a:pt x="873744" y="6513621"/>
                  <a:pt x="865512" y="6509615"/>
                  <a:pt x="858536" y="6501604"/>
                </a:cubicBezTo>
                <a:cubicBezTo>
                  <a:pt x="851001" y="6492939"/>
                  <a:pt x="847234" y="6482295"/>
                  <a:pt x="847234" y="6469671"/>
                </a:cubicBezTo>
                <a:cubicBezTo>
                  <a:pt x="847234" y="6457931"/>
                  <a:pt x="850536" y="6447823"/>
                  <a:pt x="857140" y="6439345"/>
                </a:cubicBezTo>
                <a:cubicBezTo>
                  <a:pt x="864256" y="6430215"/>
                  <a:pt x="872953" y="6425650"/>
                  <a:pt x="883232" y="6425650"/>
                </a:cubicBezTo>
                <a:close/>
                <a:moveTo>
                  <a:pt x="6208297" y="6421046"/>
                </a:moveTo>
                <a:lnTo>
                  <a:pt x="6198042" y="6428580"/>
                </a:lnTo>
                <a:lnTo>
                  <a:pt x="6198042" y="6446928"/>
                </a:lnTo>
                <a:lnTo>
                  <a:pt x="6190507" y="6446928"/>
                </a:lnTo>
                <a:lnTo>
                  <a:pt x="6190507" y="6456695"/>
                </a:lnTo>
                <a:lnTo>
                  <a:pt x="6198042" y="6456695"/>
                </a:lnTo>
                <a:lnTo>
                  <a:pt x="6198042" y="6499320"/>
                </a:lnTo>
                <a:cubicBezTo>
                  <a:pt x="6198042" y="6506668"/>
                  <a:pt x="6198449" y="6511575"/>
                  <a:pt x="6199263" y="6514040"/>
                </a:cubicBezTo>
                <a:cubicBezTo>
                  <a:pt x="6200077" y="6516505"/>
                  <a:pt x="6201577" y="6518447"/>
                  <a:pt x="6203762" y="6519865"/>
                </a:cubicBezTo>
                <a:cubicBezTo>
                  <a:pt x="6205948" y="6521284"/>
                  <a:pt x="6208832" y="6521993"/>
                  <a:pt x="6212413" y="6521993"/>
                </a:cubicBezTo>
                <a:cubicBezTo>
                  <a:pt x="6214692" y="6521993"/>
                  <a:pt x="6217250" y="6521621"/>
                  <a:pt x="6220087" y="6520877"/>
                </a:cubicBezTo>
                <a:lnTo>
                  <a:pt x="6218692" y="6509784"/>
                </a:lnTo>
                <a:cubicBezTo>
                  <a:pt x="6216831" y="6510110"/>
                  <a:pt x="6215320" y="6510273"/>
                  <a:pt x="6214157" y="6510273"/>
                </a:cubicBezTo>
                <a:cubicBezTo>
                  <a:pt x="6211739" y="6510273"/>
                  <a:pt x="6210088" y="6509436"/>
                  <a:pt x="6209204" y="6507761"/>
                </a:cubicBezTo>
                <a:cubicBezTo>
                  <a:pt x="6208599" y="6506599"/>
                  <a:pt x="6208297" y="6504017"/>
                  <a:pt x="6208297" y="6500018"/>
                </a:cubicBezTo>
                <a:lnTo>
                  <a:pt x="6208297" y="6456695"/>
                </a:lnTo>
                <a:lnTo>
                  <a:pt x="6218692" y="6456695"/>
                </a:lnTo>
                <a:lnTo>
                  <a:pt x="6218692" y="6446928"/>
                </a:lnTo>
                <a:lnTo>
                  <a:pt x="6208297" y="6446928"/>
                </a:lnTo>
                <a:close/>
                <a:moveTo>
                  <a:pt x="2421963" y="6421046"/>
                </a:moveTo>
                <a:lnTo>
                  <a:pt x="2411708" y="6428580"/>
                </a:lnTo>
                <a:lnTo>
                  <a:pt x="2411708" y="6446928"/>
                </a:lnTo>
                <a:lnTo>
                  <a:pt x="2404176" y="6446928"/>
                </a:lnTo>
                <a:lnTo>
                  <a:pt x="2404176" y="6456695"/>
                </a:lnTo>
                <a:lnTo>
                  <a:pt x="2411708" y="6456695"/>
                </a:lnTo>
                <a:lnTo>
                  <a:pt x="2411708" y="6499320"/>
                </a:lnTo>
                <a:cubicBezTo>
                  <a:pt x="2411708" y="6506668"/>
                  <a:pt x="2412117" y="6511575"/>
                  <a:pt x="2412932" y="6514040"/>
                </a:cubicBezTo>
                <a:cubicBezTo>
                  <a:pt x="2413745" y="6516505"/>
                  <a:pt x="2415246" y="6518447"/>
                  <a:pt x="2417431" y="6519865"/>
                </a:cubicBezTo>
                <a:cubicBezTo>
                  <a:pt x="2419616" y="6521284"/>
                  <a:pt x="2422501" y="6521993"/>
                  <a:pt x="2426082" y="6521993"/>
                </a:cubicBezTo>
                <a:lnTo>
                  <a:pt x="2432793" y="6521016"/>
                </a:lnTo>
                <a:lnTo>
                  <a:pt x="2486537" y="6521016"/>
                </a:lnTo>
                <a:lnTo>
                  <a:pt x="2486537" y="6510203"/>
                </a:lnTo>
                <a:lnTo>
                  <a:pt x="2458413" y="6510203"/>
                </a:lnTo>
                <a:cubicBezTo>
                  <a:pt x="2454366" y="6510203"/>
                  <a:pt x="2450037" y="6510412"/>
                  <a:pt x="2445434" y="6510831"/>
                </a:cubicBezTo>
                <a:lnTo>
                  <a:pt x="2451797" y="6502250"/>
                </a:lnTo>
                <a:lnTo>
                  <a:pt x="2484792" y="6455230"/>
                </a:lnTo>
                <a:lnTo>
                  <a:pt x="2484792" y="6446928"/>
                </a:lnTo>
                <a:lnTo>
                  <a:pt x="2435051" y="6446928"/>
                </a:lnTo>
                <a:lnTo>
                  <a:pt x="2435051" y="6457113"/>
                </a:lnTo>
                <a:lnTo>
                  <a:pt x="2459836" y="6457113"/>
                </a:lnTo>
                <a:cubicBezTo>
                  <a:pt x="2463190" y="6457113"/>
                  <a:pt x="2467073" y="6456974"/>
                  <a:pt x="2471498" y="6456695"/>
                </a:cubicBezTo>
                <a:lnTo>
                  <a:pt x="2432747" y="6510831"/>
                </a:lnTo>
                <a:lnTo>
                  <a:pt x="2432747" y="6512890"/>
                </a:lnTo>
                <a:lnTo>
                  <a:pt x="2432359" y="6509784"/>
                </a:lnTo>
                <a:cubicBezTo>
                  <a:pt x="2430497" y="6510110"/>
                  <a:pt x="2428986" y="6510273"/>
                  <a:pt x="2427824" y="6510273"/>
                </a:cubicBezTo>
                <a:cubicBezTo>
                  <a:pt x="2425405" y="6510273"/>
                  <a:pt x="2423753" y="6509436"/>
                  <a:pt x="2422869" y="6507761"/>
                </a:cubicBezTo>
                <a:cubicBezTo>
                  <a:pt x="2422267" y="6506599"/>
                  <a:pt x="2421963" y="6504017"/>
                  <a:pt x="2421963" y="6500018"/>
                </a:cubicBezTo>
                <a:lnTo>
                  <a:pt x="2421963" y="6456695"/>
                </a:lnTo>
                <a:lnTo>
                  <a:pt x="2432359" y="6456695"/>
                </a:lnTo>
                <a:lnTo>
                  <a:pt x="2432359" y="6446928"/>
                </a:lnTo>
                <a:lnTo>
                  <a:pt x="2421963" y="6446928"/>
                </a:lnTo>
                <a:close/>
                <a:moveTo>
                  <a:pt x="1440886" y="6421046"/>
                </a:moveTo>
                <a:lnTo>
                  <a:pt x="1430631" y="6428580"/>
                </a:lnTo>
                <a:lnTo>
                  <a:pt x="1430631" y="6446928"/>
                </a:lnTo>
                <a:lnTo>
                  <a:pt x="1423097" y="6446928"/>
                </a:lnTo>
                <a:lnTo>
                  <a:pt x="1423097" y="6456695"/>
                </a:lnTo>
                <a:lnTo>
                  <a:pt x="1430631" y="6456695"/>
                </a:lnTo>
                <a:lnTo>
                  <a:pt x="1430631" y="6499320"/>
                </a:lnTo>
                <a:cubicBezTo>
                  <a:pt x="1430631" y="6506668"/>
                  <a:pt x="1431038" y="6511575"/>
                  <a:pt x="1431852" y="6514040"/>
                </a:cubicBezTo>
                <a:cubicBezTo>
                  <a:pt x="1432666" y="6516505"/>
                  <a:pt x="1434165" y="6518447"/>
                  <a:pt x="1436352" y="6519865"/>
                </a:cubicBezTo>
                <a:cubicBezTo>
                  <a:pt x="1438537" y="6521284"/>
                  <a:pt x="1441421" y="6521993"/>
                  <a:pt x="1445002" y="6521993"/>
                </a:cubicBezTo>
                <a:cubicBezTo>
                  <a:pt x="1447281" y="6521993"/>
                  <a:pt x="1449839" y="6521621"/>
                  <a:pt x="1452676" y="6520877"/>
                </a:cubicBezTo>
                <a:lnTo>
                  <a:pt x="1451281" y="6509784"/>
                </a:lnTo>
                <a:cubicBezTo>
                  <a:pt x="1449420" y="6510110"/>
                  <a:pt x="1447909" y="6510273"/>
                  <a:pt x="1446746" y="6510273"/>
                </a:cubicBezTo>
                <a:cubicBezTo>
                  <a:pt x="1444328" y="6510273"/>
                  <a:pt x="1442677" y="6509436"/>
                  <a:pt x="1441793" y="6507761"/>
                </a:cubicBezTo>
                <a:cubicBezTo>
                  <a:pt x="1441188" y="6506599"/>
                  <a:pt x="1440886" y="6504017"/>
                  <a:pt x="1440886" y="6500018"/>
                </a:cubicBezTo>
                <a:lnTo>
                  <a:pt x="1440886" y="6456695"/>
                </a:lnTo>
                <a:lnTo>
                  <a:pt x="1451281" y="6456695"/>
                </a:lnTo>
                <a:lnTo>
                  <a:pt x="1451281" y="6446928"/>
                </a:lnTo>
                <a:lnTo>
                  <a:pt x="1440886" y="6446928"/>
                </a:lnTo>
                <a:close/>
                <a:moveTo>
                  <a:pt x="6319286" y="6418743"/>
                </a:moveTo>
                <a:lnTo>
                  <a:pt x="6319286" y="6521016"/>
                </a:lnTo>
                <a:lnTo>
                  <a:pt x="6329541" y="6521016"/>
                </a:lnTo>
                <a:lnTo>
                  <a:pt x="6329541" y="6418743"/>
                </a:lnTo>
                <a:close/>
                <a:moveTo>
                  <a:pt x="6224384" y="6418743"/>
                </a:moveTo>
                <a:lnTo>
                  <a:pt x="6224384" y="6433184"/>
                </a:lnTo>
                <a:lnTo>
                  <a:pt x="6234640" y="6433184"/>
                </a:lnTo>
                <a:lnTo>
                  <a:pt x="6234640" y="6418743"/>
                </a:lnTo>
                <a:close/>
                <a:moveTo>
                  <a:pt x="6034363" y="6418743"/>
                </a:moveTo>
                <a:lnTo>
                  <a:pt x="6034363" y="6455439"/>
                </a:lnTo>
                <a:cubicBezTo>
                  <a:pt x="6032461" y="6452230"/>
                  <a:pt x="6030058" y="6449730"/>
                  <a:pt x="6027156" y="6447939"/>
                </a:cubicBezTo>
                <a:cubicBezTo>
                  <a:pt x="6024254" y="6446149"/>
                  <a:pt x="6021107" y="6445253"/>
                  <a:pt x="6017719" y="6445253"/>
                </a:cubicBezTo>
                <a:cubicBezTo>
                  <a:pt x="6012983" y="6445253"/>
                  <a:pt x="6008677" y="6446672"/>
                  <a:pt x="6004799" y="6449509"/>
                </a:cubicBezTo>
                <a:cubicBezTo>
                  <a:pt x="6000920" y="6452346"/>
                  <a:pt x="5997822" y="6456695"/>
                  <a:pt x="5995499" y="6462555"/>
                </a:cubicBezTo>
                <a:cubicBezTo>
                  <a:pt x="5993179" y="6468415"/>
                  <a:pt x="5992018" y="6475554"/>
                  <a:pt x="5992018" y="6483972"/>
                </a:cubicBezTo>
                <a:cubicBezTo>
                  <a:pt x="5992018" y="6496250"/>
                  <a:pt x="5994634" y="6505773"/>
                  <a:pt x="5999867" y="6512540"/>
                </a:cubicBezTo>
                <a:cubicBezTo>
                  <a:pt x="6005100" y="6519307"/>
                  <a:pt x="6011296" y="6522691"/>
                  <a:pt x="6018458" y="6522691"/>
                </a:cubicBezTo>
                <a:cubicBezTo>
                  <a:pt x="6021854" y="6522691"/>
                  <a:pt x="6025015" y="6521749"/>
                  <a:pt x="6027948" y="6519865"/>
                </a:cubicBezTo>
                <a:cubicBezTo>
                  <a:pt x="6030878" y="6517982"/>
                  <a:pt x="6033272" y="6515249"/>
                  <a:pt x="6035132" y="6511668"/>
                </a:cubicBezTo>
                <a:lnTo>
                  <a:pt x="6035132" y="6521016"/>
                </a:lnTo>
                <a:lnTo>
                  <a:pt x="6044760" y="6521016"/>
                </a:lnTo>
                <a:lnTo>
                  <a:pt x="6044760" y="6418743"/>
                </a:lnTo>
                <a:close/>
                <a:moveTo>
                  <a:pt x="2790954" y="6418743"/>
                </a:moveTo>
                <a:lnTo>
                  <a:pt x="2790954" y="6455439"/>
                </a:lnTo>
                <a:cubicBezTo>
                  <a:pt x="2789051" y="6452230"/>
                  <a:pt x="2786647" y="6449730"/>
                  <a:pt x="2783745" y="6447939"/>
                </a:cubicBezTo>
                <a:cubicBezTo>
                  <a:pt x="2780842" y="6446149"/>
                  <a:pt x="2777697" y="6445253"/>
                  <a:pt x="2774311" y="6445253"/>
                </a:cubicBezTo>
                <a:cubicBezTo>
                  <a:pt x="2769573" y="6445253"/>
                  <a:pt x="2765268" y="6446672"/>
                  <a:pt x="2761389" y="6449509"/>
                </a:cubicBezTo>
                <a:cubicBezTo>
                  <a:pt x="2757512" y="6452346"/>
                  <a:pt x="2754414" y="6456695"/>
                  <a:pt x="2752089" y="6462555"/>
                </a:cubicBezTo>
                <a:cubicBezTo>
                  <a:pt x="2749769" y="6468415"/>
                  <a:pt x="2748607" y="6475554"/>
                  <a:pt x="2748607" y="6483972"/>
                </a:cubicBezTo>
                <a:cubicBezTo>
                  <a:pt x="2748607" y="6496250"/>
                  <a:pt x="2751223" y="6505773"/>
                  <a:pt x="2756457" y="6512540"/>
                </a:cubicBezTo>
                <a:cubicBezTo>
                  <a:pt x="2761691" y="6519307"/>
                  <a:pt x="2767884" y="6522691"/>
                  <a:pt x="2775051" y="6522691"/>
                </a:cubicBezTo>
                <a:cubicBezTo>
                  <a:pt x="2778443" y="6522691"/>
                  <a:pt x="2781605" y="6521749"/>
                  <a:pt x="2784536" y="6519865"/>
                </a:cubicBezTo>
                <a:cubicBezTo>
                  <a:pt x="2787466" y="6517982"/>
                  <a:pt x="2789863" y="6515249"/>
                  <a:pt x="2791721" y="6511668"/>
                </a:cubicBezTo>
                <a:lnTo>
                  <a:pt x="2791721" y="6521016"/>
                </a:lnTo>
                <a:lnTo>
                  <a:pt x="2801352" y="6521016"/>
                </a:lnTo>
                <a:lnTo>
                  <a:pt x="2801352" y="6418743"/>
                </a:lnTo>
                <a:close/>
                <a:moveTo>
                  <a:pt x="2590102" y="6418743"/>
                </a:moveTo>
                <a:lnTo>
                  <a:pt x="2590102" y="6521016"/>
                </a:lnTo>
                <a:lnTo>
                  <a:pt x="2600357" y="6521016"/>
                </a:lnTo>
                <a:lnTo>
                  <a:pt x="2600357" y="6418743"/>
                </a:lnTo>
                <a:close/>
                <a:moveTo>
                  <a:pt x="2380902" y="6418743"/>
                </a:moveTo>
                <a:lnTo>
                  <a:pt x="2380902" y="6433184"/>
                </a:lnTo>
                <a:lnTo>
                  <a:pt x="2391160" y="6433184"/>
                </a:lnTo>
                <a:lnTo>
                  <a:pt x="2391160" y="6418743"/>
                </a:lnTo>
                <a:close/>
                <a:moveTo>
                  <a:pt x="2024499" y="6418743"/>
                </a:moveTo>
                <a:lnTo>
                  <a:pt x="1992155" y="6521016"/>
                </a:lnTo>
                <a:lnTo>
                  <a:pt x="2003857" y="6521016"/>
                </a:lnTo>
                <a:lnTo>
                  <a:pt x="2012973" y="6490041"/>
                </a:lnTo>
                <a:lnTo>
                  <a:pt x="2048255" y="6490041"/>
                </a:lnTo>
                <a:lnTo>
                  <a:pt x="2058010" y="6521016"/>
                </a:lnTo>
                <a:lnTo>
                  <a:pt x="2070709" y="6521016"/>
                </a:lnTo>
                <a:lnTo>
                  <a:pt x="2036363" y="6418743"/>
                </a:lnTo>
                <a:close/>
                <a:moveTo>
                  <a:pt x="1818925" y="6418743"/>
                </a:moveTo>
                <a:lnTo>
                  <a:pt x="1818925" y="6433184"/>
                </a:lnTo>
                <a:lnTo>
                  <a:pt x="1829180" y="6433184"/>
                </a:lnTo>
                <a:lnTo>
                  <a:pt x="1829180" y="6418743"/>
                </a:lnTo>
                <a:close/>
                <a:moveTo>
                  <a:pt x="1752248" y="6418743"/>
                </a:moveTo>
                <a:lnTo>
                  <a:pt x="1752248" y="6433184"/>
                </a:lnTo>
                <a:lnTo>
                  <a:pt x="1762504" y="6433184"/>
                </a:lnTo>
                <a:lnTo>
                  <a:pt x="1762504" y="6418743"/>
                </a:lnTo>
                <a:close/>
                <a:moveTo>
                  <a:pt x="1361723" y="6418743"/>
                </a:moveTo>
                <a:lnTo>
                  <a:pt x="1361723" y="6521016"/>
                </a:lnTo>
                <a:lnTo>
                  <a:pt x="1371979" y="6521016"/>
                </a:lnTo>
                <a:lnTo>
                  <a:pt x="1371979" y="6480484"/>
                </a:lnTo>
                <a:cubicBezTo>
                  <a:pt x="1371979" y="6471368"/>
                  <a:pt x="1373548" y="6465020"/>
                  <a:pt x="1376688" y="6461438"/>
                </a:cubicBezTo>
                <a:cubicBezTo>
                  <a:pt x="1379827" y="6457857"/>
                  <a:pt x="1383629" y="6456067"/>
                  <a:pt x="1388094" y="6456067"/>
                </a:cubicBezTo>
                <a:cubicBezTo>
                  <a:pt x="1392094" y="6456067"/>
                  <a:pt x="1395233" y="6457462"/>
                  <a:pt x="1397512" y="6460253"/>
                </a:cubicBezTo>
                <a:cubicBezTo>
                  <a:pt x="1399791" y="6463043"/>
                  <a:pt x="1400930" y="6467647"/>
                  <a:pt x="1400930" y="6474066"/>
                </a:cubicBezTo>
                <a:lnTo>
                  <a:pt x="1400930" y="6521016"/>
                </a:lnTo>
                <a:lnTo>
                  <a:pt x="1411186" y="6521016"/>
                </a:lnTo>
                <a:lnTo>
                  <a:pt x="1411186" y="6474066"/>
                </a:lnTo>
                <a:cubicBezTo>
                  <a:pt x="1411186" y="6463090"/>
                  <a:pt x="1409314" y="6455543"/>
                  <a:pt x="1405570" y="6451427"/>
                </a:cubicBezTo>
                <a:cubicBezTo>
                  <a:pt x="1401826" y="6447311"/>
                  <a:pt x="1396721" y="6445253"/>
                  <a:pt x="1390256" y="6445253"/>
                </a:cubicBezTo>
                <a:cubicBezTo>
                  <a:pt x="1386582" y="6445253"/>
                  <a:pt x="1383222" y="6446102"/>
                  <a:pt x="1380176" y="6447800"/>
                </a:cubicBezTo>
                <a:cubicBezTo>
                  <a:pt x="1377129" y="6449497"/>
                  <a:pt x="1374397" y="6452044"/>
                  <a:pt x="1371979" y="6455439"/>
                </a:cubicBezTo>
                <a:lnTo>
                  <a:pt x="1371979" y="6418743"/>
                </a:lnTo>
                <a:close/>
                <a:moveTo>
                  <a:pt x="1266473" y="6418743"/>
                </a:moveTo>
                <a:lnTo>
                  <a:pt x="1266473" y="6433184"/>
                </a:lnTo>
                <a:lnTo>
                  <a:pt x="1276729" y="6433184"/>
                </a:lnTo>
                <a:lnTo>
                  <a:pt x="1276729" y="6418743"/>
                </a:lnTo>
                <a:close/>
                <a:moveTo>
                  <a:pt x="10863258" y="6418259"/>
                </a:moveTo>
                <a:lnTo>
                  <a:pt x="10904541" y="6418259"/>
                </a:lnTo>
                <a:cubicBezTo>
                  <a:pt x="10924644" y="6418259"/>
                  <a:pt x="10934695" y="6421247"/>
                  <a:pt x="10934695" y="6433947"/>
                </a:cubicBezTo>
                <a:cubicBezTo>
                  <a:pt x="10934695" y="6446647"/>
                  <a:pt x="10924644" y="6450009"/>
                  <a:pt x="10904541" y="6450009"/>
                </a:cubicBezTo>
                <a:lnTo>
                  <a:pt x="10863258" y="6450009"/>
                </a:lnTo>
                <a:close/>
                <a:moveTo>
                  <a:pt x="5958284" y="6416999"/>
                </a:moveTo>
                <a:cubicBezTo>
                  <a:pt x="5954507" y="6416999"/>
                  <a:pt x="5951372" y="6417767"/>
                  <a:pt x="5948876" y="6419302"/>
                </a:cubicBezTo>
                <a:cubicBezTo>
                  <a:pt x="5946381" y="6420836"/>
                  <a:pt x="5944526" y="6423057"/>
                  <a:pt x="5943316" y="6425964"/>
                </a:cubicBezTo>
                <a:cubicBezTo>
                  <a:pt x="5942101" y="6428871"/>
                  <a:pt x="5941497" y="6433231"/>
                  <a:pt x="5941497" y="6439045"/>
                </a:cubicBezTo>
                <a:lnTo>
                  <a:pt x="5941497" y="6446928"/>
                </a:lnTo>
                <a:lnTo>
                  <a:pt x="5932359" y="6446928"/>
                </a:lnTo>
                <a:lnTo>
                  <a:pt x="5932359" y="6456695"/>
                </a:lnTo>
                <a:lnTo>
                  <a:pt x="5941497" y="6456695"/>
                </a:lnTo>
                <a:lnTo>
                  <a:pt x="5941497" y="6521016"/>
                </a:lnTo>
                <a:lnTo>
                  <a:pt x="5951752" y="6521016"/>
                </a:lnTo>
                <a:lnTo>
                  <a:pt x="5951752" y="6456695"/>
                </a:lnTo>
                <a:lnTo>
                  <a:pt x="5963612" y="6456695"/>
                </a:lnTo>
                <a:lnTo>
                  <a:pt x="5963612" y="6446928"/>
                </a:lnTo>
                <a:lnTo>
                  <a:pt x="5951752" y="6446928"/>
                </a:lnTo>
                <a:lnTo>
                  <a:pt x="5951752" y="6440091"/>
                </a:lnTo>
                <a:cubicBezTo>
                  <a:pt x="5951752" y="6435580"/>
                  <a:pt x="5952415" y="6432522"/>
                  <a:pt x="5953740" y="6430917"/>
                </a:cubicBezTo>
                <a:cubicBezTo>
                  <a:pt x="5955066" y="6429313"/>
                  <a:pt x="5957263" y="6428510"/>
                  <a:pt x="5960332" y="6428510"/>
                </a:cubicBezTo>
                <a:cubicBezTo>
                  <a:pt x="5962240" y="6428510"/>
                  <a:pt x="5964262" y="6428743"/>
                  <a:pt x="5966402" y="6429208"/>
                </a:cubicBezTo>
                <a:lnTo>
                  <a:pt x="5967211" y="6423470"/>
                </a:lnTo>
                <a:lnTo>
                  <a:pt x="5967211" y="6433184"/>
                </a:lnTo>
                <a:lnTo>
                  <a:pt x="5977467" y="6433184"/>
                </a:lnTo>
                <a:lnTo>
                  <a:pt x="5977467" y="6418743"/>
                </a:lnTo>
                <a:lnTo>
                  <a:pt x="5967879" y="6418743"/>
                </a:lnTo>
                <a:lnTo>
                  <a:pt x="5967936" y="6418325"/>
                </a:lnTo>
                <a:cubicBezTo>
                  <a:pt x="5964439" y="6417441"/>
                  <a:pt x="5961221" y="6416999"/>
                  <a:pt x="5958284" y="6416999"/>
                </a:cubicBezTo>
                <a:close/>
                <a:moveTo>
                  <a:pt x="883232" y="6416999"/>
                </a:moveTo>
                <a:cubicBezTo>
                  <a:pt x="875883" y="6416999"/>
                  <a:pt x="868895" y="6419197"/>
                  <a:pt x="862268" y="6423592"/>
                </a:cubicBezTo>
                <a:cubicBezTo>
                  <a:pt x="855640" y="6427987"/>
                  <a:pt x="850280" y="6434301"/>
                  <a:pt x="846187" y="6442533"/>
                </a:cubicBezTo>
                <a:cubicBezTo>
                  <a:pt x="842095" y="6450765"/>
                  <a:pt x="840048" y="6459811"/>
                  <a:pt x="840048" y="6469671"/>
                </a:cubicBezTo>
                <a:cubicBezTo>
                  <a:pt x="840048" y="6483763"/>
                  <a:pt x="844188" y="6496053"/>
                  <a:pt x="852466" y="6506540"/>
                </a:cubicBezTo>
                <a:cubicBezTo>
                  <a:pt x="860745" y="6517028"/>
                  <a:pt x="871000" y="6522272"/>
                  <a:pt x="883232" y="6522272"/>
                </a:cubicBezTo>
                <a:cubicBezTo>
                  <a:pt x="890580" y="6522272"/>
                  <a:pt x="897568" y="6520074"/>
                  <a:pt x="904196" y="6515679"/>
                </a:cubicBezTo>
                <a:cubicBezTo>
                  <a:pt x="910823" y="6511284"/>
                  <a:pt x="916183" y="6504971"/>
                  <a:pt x="920276" y="6496739"/>
                </a:cubicBezTo>
                <a:cubicBezTo>
                  <a:pt x="924369" y="6488507"/>
                  <a:pt x="926415" y="6479484"/>
                  <a:pt x="926415" y="6469671"/>
                </a:cubicBezTo>
                <a:cubicBezTo>
                  <a:pt x="926415" y="6455578"/>
                  <a:pt x="922276" y="6443277"/>
                  <a:pt x="913997" y="6432766"/>
                </a:cubicBezTo>
                <a:cubicBezTo>
                  <a:pt x="905719" y="6422255"/>
                  <a:pt x="895464" y="6416999"/>
                  <a:pt x="883232" y="6416999"/>
                </a:cubicBezTo>
                <a:close/>
                <a:moveTo>
                  <a:pt x="5757201" y="6416930"/>
                </a:moveTo>
                <a:cubicBezTo>
                  <a:pt x="5749800" y="6416930"/>
                  <a:pt x="5743096" y="6418919"/>
                  <a:pt x="5737090" y="6422898"/>
                </a:cubicBezTo>
                <a:cubicBezTo>
                  <a:pt x="5731085" y="6426877"/>
                  <a:pt x="5726326" y="6432764"/>
                  <a:pt x="5722810" y="6440560"/>
                </a:cubicBezTo>
                <a:cubicBezTo>
                  <a:pt x="5719296" y="6448355"/>
                  <a:pt x="5717538" y="6457884"/>
                  <a:pt x="5717538" y="6469147"/>
                </a:cubicBezTo>
                <a:cubicBezTo>
                  <a:pt x="5717538" y="6480549"/>
                  <a:pt x="5719294" y="6490439"/>
                  <a:pt x="5722804" y="6498816"/>
                </a:cubicBezTo>
                <a:cubicBezTo>
                  <a:pt x="5726317" y="6507193"/>
                  <a:pt x="5730829" y="6513278"/>
                  <a:pt x="5736339" y="6517071"/>
                </a:cubicBezTo>
                <a:cubicBezTo>
                  <a:pt x="5741851" y="6520864"/>
                  <a:pt x="5748490" y="6522760"/>
                  <a:pt x="5756258" y="6522760"/>
                </a:cubicBezTo>
                <a:cubicBezTo>
                  <a:pt x="5765094" y="6522760"/>
                  <a:pt x="5772593" y="6519935"/>
                  <a:pt x="5778755" y="6514284"/>
                </a:cubicBezTo>
                <a:cubicBezTo>
                  <a:pt x="5784918" y="6508633"/>
                  <a:pt x="5789232" y="6500064"/>
                  <a:pt x="5791699" y="6488576"/>
                </a:cubicBezTo>
                <a:lnTo>
                  <a:pt x="5780536" y="6485158"/>
                </a:lnTo>
                <a:cubicBezTo>
                  <a:pt x="5779046" y="6493902"/>
                  <a:pt x="5776104" y="6500424"/>
                  <a:pt x="5771710" y="6504727"/>
                </a:cubicBezTo>
                <a:cubicBezTo>
                  <a:pt x="5767314" y="6509029"/>
                  <a:pt x="5762094" y="6511180"/>
                  <a:pt x="5756048" y="6511180"/>
                </a:cubicBezTo>
                <a:cubicBezTo>
                  <a:pt x="5747861" y="6511180"/>
                  <a:pt x="5741304" y="6507677"/>
                  <a:pt x="5736375" y="6500672"/>
                </a:cubicBezTo>
                <a:cubicBezTo>
                  <a:pt x="5731443" y="6493666"/>
                  <a:pt x="5728980" y="6483158"/>
                  <a:pt x="5728980" y="6469146"/>
                </a:cubicBezTo>
                <a:cubicBezTo>
                  <a:pt x="5728980" y="6459884"/>
                  <a:pt x="5730202" y="6452227"/>
                  <a:pt x="5732647" y="6446176"/>
                </a:cubicBezTo>
                <a:cubicBezTo>
                  <a:pt x="5735094" y="6440124"/>
                  <a:pt x="5738363" y="6435667"/>
                  <a:pt x="5742462" y="6432805"/>
                </a:cubicBezTo>
                <a:cubicBezTo>
                  <a:pt x="5746560" y="6429942"/>
                  <a:pt x="5751404" y="6428510"/>
                  <a:pt x="5756996" y="6428510"/>
                </a:cubicBezTo>
                <a:cubicBezTo>
                  <a:pt x="5768218" y="6428510"/>
                  <a:pt x="5775694" y="6435603"/>
                  <a:pt x="5779417" y="6449788"/>
                </a:cubicBezTo>
                <a:lnTo>
                  <a:pt x="5790300" y="6446649"/>
                </a:lnTo>
                <a:cubicBezTo>
                  <a:pt x="5787973" y="6436904"/>
                  <a:pt x="5783900" y="6429515"/>
                  <a:pt x="5778080" y="6424481"/>
                </a:cubicBezTo>
                <a:cubicBezTo>
                  <a:pt x="5772261" y="6419447"/>
                  <a:pt x="5765304" y="6416930"/>
                  <a:pt x="5757201" y="6416930"/>
                </a:cubicBezTo>
                <a:close/>
                <a:moveTo>
                  <a:pt x="2249532" y="6416930"/>
                </a:moveTo>
                <a:cubicBezTo>
                  <a:pt x="2240467" y="6416930"/>
                  <a:pt x="2233254" y="6419557"/>
                  <a:pt x="2227909" y="6424813"/>
                </a:cubicBezTo>
                <a:cubicBezTo>
                  <a:pt x="2222556" y="6430068"/>
                  <a:pt x="2219883" y="6436835"/>
                  <a:pt x="2219883" y="6445114"/>
                </a:cubicBezTo>
                <a:cubicBezTo>
                  <a:pt x="2219883" y="6449718"/>
                  <a:pt x="2220813" y="6453846"/>
                  <a:pt x="2222671" y="6457497"/>
                </a:cubicBezTo>
                <a:cubicBezTo>
                  <a:pt x="2224536" y="6461148"/>
                  <a:pt x="2227140" y="6464159"/>
                  <a:pt x="2230487" y="6466531"/>
                </a:cubicBezTo>
                <a:cubicBezTo>
                  <a:pt x="2233835" y="6468903"/>
                  <a:pt x="2239465" y="6471263"/>
                  <a:pt x="2247373" y="6473610"/>
                </a:cubicBezTo>
                <a:cubicBezTo>
                  <a:pt x="2256256" y="6476239"/>
                  <a:pt x="2262035" y="6478273"/>
                  <a:pt x="2264706" y="6479712"/>
                </a:cubicBezTo>
                <a:cubicBezTo>
                  <a:pt x="2267380" y="6481151"/>
                  <a:pt x="2269378" y="6482996"/>
                  <a:pt x="2270706" y="6485247"/>
                </a:cubicBezTo>
                <a:cubicBezTo>
                  <a:pt x="2272029" y="6487498"/>
                  <a:pt x="2272693" y="6490132"/>
                  <a:pt x="2272693" y="6493148"/>
                </a:cubicBezTo>
                <a:cubicBezTo>
                  <a:pt x="2272693" y="6498300"/>
                  <a:pt x="2270867" y="6502488"/>
                  <a:pt x="2267221" y="6505714"/>
                </a:cubicBezTo>
                <a:cubicBezTo>
                  <a:pt x="2263568" y="6508939"/>
                  <a:pt x="2258441" y="6510552"/>
                  <a:pt x="2251834" y="6510552"/>
                </a:cubicBezTo>
                <a:cubicBezTo>
                  <a:pt x="2247228" y="6510552"/>
                  <a:pt x="2243090" y="6509598"/>
                  <a:pt x="2239420" y="6507691"/>
                </a:cubicBezTo>
                <a:cubicBezTo>
                  <a:pt x="2235745" y="6505785"/>
                  <a:pt x="2232919" y="6503262"/>
                  <a:pt x="2230941" y="6500122"/>
                </a:cubicBezTo>
                <a:cubicBezTo>
                  <a:pt x="2228964" y="6496983"/>
                  <a:pt x="2227697" y="6492599"/>
                  <a:pt x="2227140" y="6486972"/>
                </a:cubicBezTo>
                <a:lnTo>
                  <a:pt x="2216673" y="6488088"/>
                </a:lnTo>
                <a:cubicBezTo>
                  <a:pt x="2216905" y="6498739"/>
                  <a:pt x="2220105" y="6507180"/>
                  <a:pt x="2226270" y="6513412"/>
                </a:cubicBezTo>
                <a:cubicBezTo>
                  <a:pt x="2232430" y="6519644"/>
                  <a:pt x="2240699" y="6522760"/>
                  <a:pt x="2251071" y="6522760"/>
                </a:cubicBezTo>
                <a:cubicBezTo>
                  <a:pt x="2257717" y="6522760"/>
                  <a:pt x="2263407" y="6521506"/>
                  <a:pt x="2268127" y="6518997"/>
                </a:cubicBezTo>
                <a:cubicBezTo>
                  <a:pt x="2272847" y="6516488"/>
                  <a:pt x="2276579" y="6512829"/>
                  <a:pt x="2279325" y="6508021"/>
                </a:cubicBezTo>
                <a:cubicBezTo>
                  <a:pt x="2282067" y="6503213"/>
                  <a:pt x="2283436" y="6497882"/>
                  <a:pt x="2283436" y="6492029"/>
                </a:cubicBezTo>
                <a:cubicBezTo>
                  <a:pt x="2283436" y="6486128"/>
                  <a:pt x="2282132" y="6481052"/>
                  <a:pt x="2279522" y="6476801"/>
                </a:cubicBezTo>
                <a:cubicBezTo>
                  <a:pt x="2276914" y="6472550"/>
                  <a:pt x="2273050" y="6469117"/>
                  <a:pt x="2267938" y="6466501"/>
                </a:cubicBezTo>
                <a:cubicBezTo>
                  <a:pt x="2264591" y="6464819"/>
                  <a:pt x="2258781" y="6462833"/>
                  <a:pt x="2250508" y="6460544"/>
                </a:cubicBezTo>
                <a:cubicBezTo>
                  <a:pt x="2242041" y="6458208"/>
                  <a:pt x="2236603" y="6455901"/>
                  <a:pt x="2234185" y="6453622"/>
                </a:cubicBezTo>
                <a:cubicBezTo>
                  <a:pt x="2231767" y="6451344"/>
                  <a:pt x="2230560" y="6448135"/>
                  <a:pt x="2230560" y="6443996"/>
                </a:cubicBezTo>
                <a:cubicBezTo>
                  <a:pt x="2230560" y="6439531"/>
                  <a:pt x="2232208" y="6435893"/>
                  <a:pt x="2235513" y="6433079"/>
                </a:cubicBezTo>
                <a:cubicBezTo>
                  <a:pt x="2238811" y="6430266"/>
                  <a:pt x="2243603" y="6428859"/>
                  <a:pt x="2249881" y="6428859"/>
                </a:cubicBezTo>
                <a:cubicBezTo>
                  <a:pt x="2256067" y="6428859"/>
                  <a:pt x="2260872" y="6430464"/>
                  <a:pt x="2264286" y="6433673"/>
                </a:cubicBezTo>
                <a:cubicBezTo>
                  <a:pt x="2267706" y="6436882"/>
                  <a:pt x="2269693" y="6441812"/>
                  <a:pt x="2270252" y="6448463"/>
                </a:cubicBezTo>
                <a:lnTo>
                  <a:pt x="2280928" y="6447486"/>
                </a:lnTo>
                <a:cubicBezTo>
                  <a:pt x="2280741" y="6441254"/>
                  <a:pt x="2279357" y="6435835"/>
                  <a:pt x="2276778" y="6431231"/>
                </a:cubicBezTo>
                <a:cubicBezTo>
                  <a:pt x="2274194" y="6426627"/>
                  <a:pt x="2270569" y="6423092"/>
                  <a:pt x="2265892" y="6420627"/>
                </a:cubicBezTo>
                <a:cubicBezTo>
                  <a:pt x="2261221" y="6418162"/>
                  <a:pt x="2255762" y="6416930"/>
                  <a:pt x="2249532" y="6416930"/>
                </a:cubicBezTo>
                <a:close/>
                <a:moveTo>
                  <a:pt x="2107530" y="6416930"/>
                </a:moveTo>
                <a:cubicBezTo>
                  <a:pt x="2099203" y="6416930"/>
                  <a:pt x="2091990" y="6418896"/>
                  <a:pt x="2085898" y="6422828"/>
                </a:cubicBezTo>
                <a:cubicBezTo>
                  <a:pt x="2079805" y="6426761"/>
                  <a:pt x="2074875" y="6432869"/>
                  <a:pt x="2071108" y="6441153"/>
                </a:cubicBezTo>
                <a:cubicBezTo>
                  <a:pt x="2067341" y="6449437"/>
                  <a:pt x="2065457" y="6459164"/>
                  <a:pt x="2065457" y="6470333"/>
                </a:cubicBezTo>
                <a:cubicBezTo>
                  <a:pt x="2065457" y="6481363"/>
                  <a:pt x="2067329" y="6490811"/>
                  <a:pt x="2071073" y="6498676"/>
                </a:cubicBezTo>
                <a:cubicBezTo>
                  <a:pt x="2074817" y="6506542"/>
                  <a:pt x="2079898" y="6512522"/>
                  <a:pt x="2086316" y="6516617"/>
                </a:cubicBezTo>
                <a:cubicBezTo>
                  <a:pt x="2092736" y="6520713"/>
                  <a:pt x="2100043" y="6522760"/>
                  <a:pt x="2108228" y="6522760"/>
                </a:cubicBezTo>
                <a:cubicBezTo>
                  <a:pt x="2114364" y="6522760"/>
                  <a:pt x="2120344" y="6521423"/>
                  <a:pt x="2126153" y="6518749"/>
                </a:cubicBezTo>
                <a:cubicBezTo>
                  <a:pt x="2131971" y="6516075"/>
                  <a:pt x="2137595" y="6512087"/>
                  <a:pt x="2143038" y="6506785"/>
                </a:cubicBezTo>
                <a:lnTo>
                  <a:pt x="2143038" y="6468764"/>
                </a:lnTo>
                <a:lnTo>
                  <a:pt x="2107530" y="6468833"/>
                </a:lnTo>
                <a:lnTo>
                  <a:pt x="2107530" y="6480902"/>
                </a:lnTo>
                <a:lnTo>
                  <a:pt x="2132151" y="6480902"/>
                </a:lnTo>
                <a:lnTo>
                  <a:pt x="2132151" y="6499948"/>
                </a:lnTo>
                <a:cubicBezTo>
                  <a:pt x="2129458" y="6502831"/>
                  <a:pt x="2125816" y="6505320"/>
                  <a:pt x="2121238" y="6507412"/>
                </a:cubicBezTo>
                <a:cubicBezTo>
                  <a:pt x="2116657" y="6509505"/>
                  <a:pt x="2112179" y="6510552"/>
                  <a:pt x="2107806" y="6510552"/>
                </a:cubicBezTo>
                <a:cubicBezTo>
                  <a:pt x="2098646" y="6510552"/>
                  <a:pt x="2091200" y="6507142"/>
                  <a:pt x="2085479" y="6500323"/>
                </a:cubicBezTo>
                <a:cubicBezTo>
                  <a:pt x="2079759" y="6493503"/>
                  <a:pt x="2076898" y="6483251"/>
                  <a:pt x="2076898" y="6469566"/>
                </a:cubicBezTo>
                <a:cubicBezTo>
                  <a:pt x="2076898" y="6460582"/>
                  <a:pt x="2078235" y="6452972"/>
                  <a:pt x="2080910" y="6446734"/>
                </a:cubicBezTo>
                <a:cubicBezTo>
                  <a:pt x="2083584" y="6440497"/>
                  <a:pt x="2087119" y="6435900"/>
                  <a:pt x="2091514" y="6432944"/>
                </a:cubicBezTo>
                <a:cubicBezTo>
                  <a:pt x="2095909" y="6429988"/>
                  <a:pt x="2101156" y="6428510"/>
                  <a:pt x="2107247" y="6428510"/>
                </a:cubicBezTo>
                <a:cubicBezTo>
                  <a:pt x="2111432" y="6428510"/>
                  <a:pt x="2115200" y="6429324"/>
                  <a:pt x="2118547" y="6430952"/>
                </a:cubicBezTo>
                <a:cubicBezTo>
                  <a:pt x="2121898" y="6432580"/>
                  <a:pt x="2124598" y="6434824"/>
                  <a:pt x="2126643" y="6437684"/>
                </a:cubicBezTo>
                <a:cubicBezTo>
                  <a:pt x="2128689" y="6440544"/>
                  <a:pt x="2130387" y="6444858"/>
                  <a:pt x="2131738" y="6450625"/>
                </a:cubicBezTo>
                <a:lnTo>
                  <a:pt x="2141711" y="6447277"/>
                </a:lnTo>
                <a:cubicBezTo>
                  <a:pt x="2140221" y="6439975"/>
                  <a:pt x="2137990" y="6434231"/>
                  <a:pt x="2135015" y="6430045"/>
                </a:cubicBezTo>
                <a:cubicBezTo>
                  <a:pt x="2132036" y="6425859"/>
                  <a:pt x="2128247" y="6422627"/>
                  <a:pt x="2123643" y="6420348"/>
                </a:cubicBezTo>
                <a:cubicBezTo>
                  <a:pt x="2119038" y="6418069"/>
                  <a:pt x="2113665" y="6416930"/>
                  <a:pt x="2107530" y="6416930"/>
                </a:cubicBezTo>
                <a:close/>
                <a:moveTo>
                  <a:pt x="1516105" y="6416930"/>
                </a:moveTo>
                <a:cubicBezTo>
                  <a:pt x="1507035" y="6416930"/>
                  <a:pt x="1499827" y="6419557"/>
                  <a:pt x="1494478" y="6424813"/>
                </a:cubicBezTo>
                <a:cubicBezTo>
                  <a:pt x="1489130" y="6430068"/>
                  <a:pt x="1486455" y="6436835"/>
                  <a:pt x="1486455" y="6445114"/>
                </a:cubicBezTo>
                <a:cubicBezTo>
                  <a:pt x="1486455" y="6449718"/>
                  <a:pt x="1487385" y="6453846"/>
                  <a:pt x="1489246" y="6457497"/>
                </a:cubicBezTo>
                <a:cubicBezTo>
                  <a:pt x="1491106" y="6461148"/>
                  <a:pt x="1493711" y="6464159"/>
                  <a:pt x="1497059" y="6466531"/>
                </a:cubicBezTo>
                <a:cubicBezTo>
                  <a:pt x="1500408" y="6468903"/>
                  <a:pt x="1506035" y="6471263"/>
                  <a:pt x="1513942" y="6473610"/>
                </a:cubicBezTo>
                <a:cubicBezTo>
                  <a:pt x="1522825" y="6476239"/>
                  <a:pt x="1528604" y="6478273"/>
                  <a:pt x="1531278" y="6479712"/>
                </a:cubicBezTo>
                <a:cubicBezTo>
                  <a:pt x="1533953" y="6481151"/>
                  <a:pt x="1535952" y="6482996"/>
                  <a:pt x="1537278" y="6485247"/>
                </a:cubicBezTo>
                <a:cubicBezTo>
                  <a:pt x="1538603" y="6487498"/>
                  <a:pt x="1539266" y="6490132"/>
                  <a:pt x="1539266" y="6493148"/>
                </a:cubicBezTo>
                <a:cubicBezTo>
                  <a:pt x="1539266" y="6498300"/>
                  <a:pt x="1537441" y="6502488"/>
                  <a:pt x="1533790" y="6505714"/>
                </a:cubicBezTo>
                <a:cubicBezTo>
                  <a:pt x="1530139" y="6508939"/>
                  <a:pt x="1525011" y="6510552"/>
                  <a:pt x="1518407" y="6510552"/>
                </a:cubicBezTo>
                <a:cubicBezTo>
                  <a:pt x="1513802" y="6510552"/>
                  <a:pt x="1509663" y="6509598"/>
                  <a:pt x="1505989" y="6507691"/>
                </a:cubicBezTo>
                <a:cubicBezTo>
                  <a:pt x="1502315" y="6505785"/>
                  <a:pt x="1499490" y="6503262"/>
                  <a:pt x="1497513" y="6500122"/>
                </a:cubicBezTo>
                <a:cubicBezTo>
                  <a:pt x="1495536" y="6496983"/>
                  <a:pt x="1494269" y="6492599"/>
                  <a:pt x="1493711" y="6486972"/>
                </a:cubicBezTo>
                <a:lnTo>
                  <a:pt x="1483246" y="6488088"/>
                </a:lnTo>
                <a:cubicBezTo>
                  <a:pt x="1483479" y="6498739"/>
                  <a:pt x="1486676" y="6507180"/>
                  <a:pt x="1492839" y="6513412"/>
                </a:cubicBezTo>
                <a:cubicBezTo>
                  <a:pt x="1499001" y="6519644"/>
                  <a:pt x="1507268" y="6522760"/>
                  <a:pt x="1517639" y="6522760"/>
                </a:cubicBezTo>
                <a:cubicBezTo>
                  <a:pt x="1524290" y="6522760"/>
                  <a:pt x="1529976" y="6521506"/>
                  <a:pt x="1534697" y="6518997"/>
                </a:cubicBezTo>
                <a:cubicBezTo>
                  <a:pt x="1539417" y="6516488"/>
                  <a:pt x="1543151" y="6512829"/>
                  <a:pt x="1545894" y="6508021"/>
                </a:cubicBezTo>
                <a:cubicBezTo>
                  <a:pt x="1548638" y="6503213"/>
                  <a:pt x="1550010" y="6497882"/>
                  <a:pt x="1550010" y="6492029"/>
                </a:cubicBezTo>
                <a:cubicBezTo>
                  <a:pt x="1550010" y="6486128"/>
                  <a:pt x="1548705" y="6481052"/>
                  <a:pt x="1546095" y="6476801"/>
                </a:cubicBezTo>
                <a:cubicBezTo>
                  <a:pt x="1543485" y="6472550"/>
                  <a:pt x="1539623" y="6469117"/>
                  <a:pt x="1534510" y="6466501"/>
                </a:cubicBezTo>
                <a:cubicBezTo>
                  <a:pt x="1531163" y="6464819"/>
                  <a:pt x="1525351" y="6462833"/>
                  <a:pt x="1517077" y="6460544"/>
                </a:cubicBezTo>
                <a:cubicBezTo>
                  <a:pt x="1508616" y="6458208"/>
                  <a:pt x="1503176" y="6455901"/>
                  <a:pt x="1500758" y="6453622"/>
                </a:cubicBezTo>
                <a:cubicBezTo>
                  <a:pt x="1498339" y="6451344"/>
                  <a:pt x="1497129" y="6448135"/>
                  <a:pt x="1497129" y="6443996"/>
                </a:cubicBezTo>
                <a:cubicBezTo>
                  <a:pt x="1497129" y="6439531"/>
                  <a:pt x="1498780" y="6435893"/>
                  <a:pt x="1502082" y="6433079"/>
                </a:cubicBezTo>
                <a:cubicBezTo>
                  <a:pt x="1505385" y="6430266"/>
                  <a:pt x="1510175" y="6428859"/>
                  <a:pt x="1516453" y="6428859"/>
                </a:cubicBezTo>
                <a:cubicBezTo>
                  <a:pt x="1522639" y="6428859"/>
                  <a:pt x="1527441" y="6430464"/>
                  <a:pt x="1530860" y="6433673"/>
                </a:cubicBezTo>
                <a:cubicBezTo>
                  <a:pt x="1534278" y="6436882"/>
                  <a:pt x="1536266" y="6441812"/>
                  <a:pt x="1536824" y="6448463"/>
                </a:cubicBezTo>
                <a:lnTo>
                  <a:pt x="1547498" y="6447486"/>
                </a:lnTo>
                <a:cubicBezTo>
                  <a:pt x="1547312" y="6441254"/>
                  <a:pt x="1545928" y="6435835"/>
                  <a:pt x="1543347" y="6431231"/>
                </a:cubicBezTo>
                <a:cubicBezTo>
                  <a:pt x="1540766" y="6426627"/>
                  <a:pt x="1537138" y="6423092"/>
                  <a:pt x="1532464" y="6420627"/>
                </a:cubicBezTo>
                <a:cubicBezTo>
                  <a:pt x="1527790" y="6418162"/>
                  <a:pt x="1522337" y="6416930"/>
                  <a:pt x="1516105" y="6416930"/>
                </a:cubicBezTo>
                <a:close/>
                <a:moveTo>
                  <a:pt x="999314" y="6416930"/>
                </a:moveTo>
                <a:cubicBezTo>
                  <a:pt x="991912" y="6416930"/>
                  <a:pt x="985208" y="6418919"/>
                  <a:pt x="979202" y="6422898"/>
                </a:cubicBezTo>
                <a:cubicBezTo>
                  <a:pt x="973197" y="6426877"/>
                  <a:pt x="968437" y="6432764"/>
                  <a:pt x="964922" y="6440560"/>
                </a:cubicBezTo>
                <a:cubicBezTo>
                  <a:pt x="961408" y="6448355"/>
                  <a:pt x="959650" y="6457884"/>
                  <a:pt x="959650" y="6469147"/>
                </a:cubicBezTo>
                <a:cubicBezTo>
                  <a:pt x="959650" y="6480549"/>
                  <a:pt x="961406" y="6490439"/>
                  <a:pt x="964918" y="6498816"/>
                </a:cubicBezTo>
                <a:cubicBezTo>
                  <a:pt x="968429" y="6507193"/>
                  <a:pt x="972940" y="6513278"/>
                  <a:pt x="978452" y="6517071"/>
                </a:cubicBezTo>
                <a:cubicBezTo>
                  <a:pt x="983963" y="6520864"/>
                  <a:pt x="990602" y="6522760"/>
                  <a:pt x="998369" y="6522760"/>
                </a:cubicBezTo>
                <a:cubicBezTo>
                  <a:pt x="1007205" y="6522760"/>
                  <a:pt x="1014705" y="6519935"/>
                  <a:pt x="1020867" y="6514284"/>
                </a:cubicBezTo>
                <a:cubicBezTo>
                  <a:pt x="1027030" y="6508633"/>
                  <a:pt x="1031344" y="6500064"/>
                  <a:pt x="1033809" y="6488576"/>
                </a:cubicBezTo>
                <a:lnTo>
                  <a:pt x="1022646" y="6485158"/>
                </a:lnTo>
                <a:cubicBezTo>
                  <a:pt x="1021158" y="6493902"/>
                  <a:pt x="1018216" y="6500424"/>
                  <a:pt x="1013821" y="6504727"/>
                </a:cubicBezTo>
                <a:cubicBezTo>
                  <a:pt x="1009426" y="6509029"/>
                  <a:pt x="1004206" y="6511180"/>
                  <a:pt x="998160" y="6511180"/>
                </a:cubicBezTo>
                <a:cubicBezTo>
                  <a:pt x="989974" y="6511180"/>
                  <a:pt x="983416" y="6507677"/>
                  <a:pt x="978486" y="6500672"/>
                </a:cubicBezTo>
                <a:cubicBezTo>
                  <a:pt x="973556" y="6493666"/>
                  <a:pt x="971092" y="6483158"/>
                  <a:pt x="971092" y="6469146"/>
                </a:cubicBezTo>
                <a:cubicBezTo>
                  <a:pt x="971092" y="6459884"/>
                  <a:pt x="972314" y="6452227"/>
                  <a:pt x="974759" y="6446176"/>
                </a:cubicBezTo>
                <a:cubicBezTo>
                  <a:pt x="977204" y="6440124"/>
                  <a:pt x="980476" y="6435667"/>
                  <a:pt x="984574" y="6432805"/>
                </a:cubicBezTo>
                <a:cubicBezTo>
                  <a:pt x="988673" y="6429942"/>
                  <a:pt x="993517" y="6428510"/>
                  <a:pt x="999106" y="6428510"/>
                </a:cubicBezTo>
                <a:cubicBezTo>
                  <a:pt x="1010330" y="6428510"/>
                  <a:pt x="1017805" y="6435603"/>
                  <a:pt x="1021530" y="6449788"/>
                </a:cubicBezTo>
                <a:lnTo>
                  <a:pt x="1032413" y="6446649"/>
                </a:lnTo>
                <a:cubicBezTo>
                  <a:pt x="1030086" y="6436904"/>
                  <a:pt x="1026012" y="6429515"/>
                  <a:pt x="1020193" y="6424481"/>
                </a:cubicBezTo>
                <a:cubicBezTo>
                  <a:pt x="1014374" y="6419447"/>
                  <a:pt x="1007414" y="6416930"/>
                  <a:pt x="999314" y="6416930"/>
                </a:cubicBezTo>
                <a:close/>
                <a:moveTo>
                  <a:pt x="11136920" y="6415084"/>
                </a:moveTo>
                <a:cubicBezTo>
                  <a:pt x="11166990" y="6415084"/>
                  <a:pt x="11180757" y="6429263"/>
                  <a:pt x="11180757" y="6458741"/>
                </a:cubicBezTo>
                <a:cubicBezTo>
                  <a:pt x="11180757" y="6488218"/>
                  <a:pt x="11166990" y="6502397"/>
                  <a:pt x="11136920" y="6502397"/>
                </a:cubicBezTo>
                <a:cubicBezTo>
                  <a:pt x="11106487" y="6502397"/>
                  <a:pt x="11093445" y="6488218"/>
                  <a:pt x="11093445" y="6457621"/>
                </a:cubicBezTo>
                <a:cubicBezTo>
                  <a:pt x="11093445" y="6429263"/>
                  <a:pt x="11107574" y="6415084"/>
                  <a:pt x="11136920" y="6415084"/>
                </a:cubicBezTo>
                <a:close/>
                <a:moveTo>
                  <a:pt x="11241084" y="6397622"/>
                </a:moveTo>
                <a:lnTo>
                  <a:pt x="11241084" y="6521447"/>
                </a:lnTo>
                <a:lnTo>
                  <a:pt x="11276259" y="6521447"/>
                </a:lnTo>
                <a:lnTo>
                  <a:pt x="11274446" y="6427562"/>
                </a:lnTo>
                <a:lnTo>
                  <a:pt x="11344433" y="6521447"/>
                </a:lnTo>
                <a:lnTo>
                  <a:pt x="11383959" y="6521447"/>
                </a:lnTo>
                <a:lnTo>
                  <a:pt x="11383959" y="6397622"/>
                </a:lnTo>
                <a:lnTo>
                  <a:pt x="11349147" y="6397622"/>
                </a:lnTo>
                <a:lnTo>
                  <a:pt x="11350597" y="6486702"/>
                </a:lnTo>
                <a:lnTo>
                  <a:pt x="11284237" y="6397622"/>
                </a:lnTo>
                <a:close/>
                <a:moveTo>
                  <a:pt x="10998196" y="6397622"/>
                </a:moveTo>
                <a:lnTo>
                  <a:pt x="10998196" y="6521447"/>
                </a:lnTo>
                <a:lnTo>
                  <a:pt x="11033121" y="6521447"/>
                </a:lnTo>
                <a:lnTo>
                  <a:pt x="11033121" y="6397622"/>
                </a:lnTo>
                <a:close/>
                <a:moveTo>
                  <a:pt x="10760071" y="6397622"/>
                </a:moveTo>
                <a:lnTo>
                  <a:pt x="10760071" y="6521447"/>
                </a:lnTo>
                <a:lnTo>
                  <a:pt x="10794996" y="6521447"/>
                </a:lnTo>
                <a:lnTo>
                  <a:pt x="10794996" y="6397622"/>
                </a:lnTo>
                <a:close/>
                <a:moveTo>
                  <a:pt x="10637569" y="6397622"/>
                </a:moveTo>
                <a:cubicBezTo>
                  <a:pt x="10599162" y="6397622"/>
                  <a:pt x="10580684" y="6408341"/>
                  <a:pt x="10580684" y="6435324"/>
                </a:cubicBezTo>
                <a:cubicBezTo>
                  <a:pt x="10580684" y="6460459"/>
                  <a:pt x="10597713" y="6471178"/>
                  <a:pt x="10634670" y="6471178"/>
                </a:cubicBezTo>
                <a:lnTo>
                  <a:pt x="10674888" y="6471178"/>
                </a:lnTo>
                <a:cubicBezTo>
                  <a:pt x="10691555" y="6471178"/>
                  <a:pt x="10699163" y="6474135"/>
                  <a:pt x="10699163" y="6485224"/>
                </a:cubicBezTo>
                <a:cubicBezTo>
                  <a:pt x="10699163" y="6495943"/>
                  <a:pt x="10690830" y="6499270"/>
                  <a:pt x="10672714" y="6499270"/>
                </a:cubicBezTo>
                <a:lnTo>
                  <a:pt x="10587206" y="6499270"/>
                </a:lnTo>
                <a:lnTo>
                  <a:pt x="10587206" y="6521447"/>
                </a:lnTo>
                <a:lnTo>
                  <a:pt x="10678149" y="6521447"/>
                </a:lnTo>
                <a:cubicBezTo>
                  <a:pt x="10716555" y="6521447"/>
                  <a:pt x="10734671" y="6510358"/>
                  <a:pt x="10734671" y="6484115"/>
                </a:cubicBezTo>
                <a:cubicBezTo>
                  <a:pt x="10734671" y="6458241"/>
                  <a:pt x="10719091" y="6449370"/>
                  <a:pt x="10683221" y="6449370"/>
                </a:cubicBezTo>
                <a:lnTo>
                  <a:pt x="10637931" y="6449370"/>
                </a:lnTo>
                <a:cubicBezTo>
                  <a:pt x="10623800" y="6449370"/>
                  <a:pt x="10616554" y="6444934"/>
                  <a:pt x="10616554" y="6435694"/>
                </a:cubicBezTo>
                <a:cubicBezTo>
                  <a:pt x="10616554" y="6424235"/>
                  <a:pt x="10624887" y="6419430"/>
                  <a:pt x="10642641" y="6419430"/>
                </a:cubicBezTo>
                <a:lnTo>
                  <a:pt x="10726700" y="6419430"/>
                </a:lnTo>
                <a:lnTo>
                  <a:pt x="10726700" y="6397622"/>
                </a:lnTo>
                <a:close/>
                <a:moveTo>
                  <a:pt x="10413996" y="6397622"/>
                </a:moveTo>
                <a:lnTo>
                  <a:pt x="10413996" y="6521447"/>
                </a:lnTo>
                <a:lnTo>
                  <a:pt x="10448897" y="6521447"/>
                </a:lnTo>
                <a:lnTo>
                  <a:pt x="10447443" y="6427562"/>
                </a:lnTo>
                <a:lnTo>
                  <a:pt x="10517608" y="6521447"/>
                </a:lnTo>
                <a:lnTo>
                  <a:pt x="10556871" y="6521447"/>
                </a:lnTo>
                <a:lnTo>
                  <a:pt x="10556871" y="6397622"/>
                </a:lnTo>
                <a:lnTo>
                  <a:pt x="10522334" y="6397622"/>
                </a:lnTo>
                <a:lnTo>
                  <a:pt x="10523788" y="6486702"/>
                </a:lnTo>
                <a:lnTo>
                  <a:pt x="10457258" y="6397622"/>
                </a:lnTo>
                <a:close/>
                <a:moveTo>
                  <a:pt x="10327466" y="6397622"/>
                </a:moveTo>
                <a:cubicBezTo>
                  <a:pt x="10276126" y="6397622"/>
                  <a:pt x="10252071" y="6417952"/>
                  <a:pt x="10252071" y="6461568"/>
                </a:cubicBezTo>
                <a:cubicBezTo>
                  <a:pt x="10252071" y="6484115"/>
                  <a:pt x="10259970" y="6500379"/>
                  <a:pt x="10276844" y="6510358"/>
                </a:cubicBezTo>
                <a:cubicBezTo>
                  <a:pt x="10292282" y="6520338"/>
                  <a:pt x="10307361" y="6521447"/>
                  <a:pt x="10326748" y="6521447"/>
                </a:cubicBezTo>
                <a:lnTo>
                  <a:pt x="10383833" y="6521447"/>
                </a:lnTo>
                <a:lnTo>
                  <a:pt x="10383833" y="6499639"/>
                </a:lnTo>
                <a:lnTo>
                  <a:pt x="10328184" y="6499639"/>
                </a:lnTo>
                <a:cubicBezTo>
                  <a:pt x="10301616" y="6499639"/>
                  <a:pt x="10290128" y="6491877"/>
                  <a:pt x="10290128" y="6469330"/>
                </a:cubicBezTo>
                <a:lnTo>
                  <a:pt x="10383833" y="6469330"/>
                </a:lnTo>
                <a:lnTo>
                  <a:pt x="10383833" y="6447892"/>
                </a:lnTo>
                <a:lnTo>
                  <a:pt x="10290128" y="6447892"/>
                </a:lnTo>
                <a:cubicBezTo>
                  <a:pt x="10291564" y="6428301"/>
                  <a:pt x="10303771" y="6419061"/>
                  <a:pt x="10328184" y="6419061"/>
                </a:cubicBezTo>
                <a:lnTo>
                  <a:pt x="10383833" y="6419061"/>
                </a:lnTo>
                <a:lnTo>
                  <a:pt x="10383833" y="6397622"/>
                </a:lnTo>
                <a:close/>
                <a:moveTo>
                  <a:pt x="10139094" y="6397622"/>
                </a:moveTo>
                <a:cubicBezTo>
                  <a:pt x="10100325" y="6397622"/>
                  <a:pt x="10082209" y="6408341"/>
                  <a:pt x="10082209" y="6435324"/>
                </a:cubicBezTo>
                <a:cubicBezTo>
                  <a:pt x="10082209" y="6460459"/>
                  <a:pt x="10099238" y="6471178"/>
                  <a:pt x="10136195" y="6471178"/>
                </a:cubicBezTo>
                <a:lnTo>
                  <a:pt x="10176413" y="6471178"/>
                </a:lnTo>
                <a:cubicBezTo>
                  <a:pt x="10192717" y="6471178"/>
                  <a:pt x="10200326" y="6474135"/>
                  <a:pt x="10200326" y="6485224"/>
                </a:cubicBezTo>
                <a:cubicBezTo>
                  <a:pt x="10200326" y="6495943"/>
                  <a:pt x="10191993" y="6499270"/>
                  <a:pt x="10173877" y="6499270"/>
                </a:cubicBezTo>
                <a:lnTo>
                  <a:pt x="10088731" y="6499270"/>
                </a:lnTo>
                <a:lnTo>
                  <a:pt x="10088731" y="6521447"/>
                </a:lnTo>
                <a:lnTo>
                  <a:pt x="10179311" y="6521447"/>
                </a:lnTo>
                <a:cubicBezTo>
                  <a:pt x="10217718" y="6521447"/>
                  <a:pt x="10236196" y="6510358"/>
                  <a:pt x="10236196" y="6484115"/>
                </a:cubicBezTo>
                <a:cubicBezTo>
                  <a:pt x="10236196" y="6458241"/>
                  <a:pt x="10220616" y="6449370"/>
                  <a:pt x="10184384" y="6449370"/>
                </a:cubicBezTo>
                <a:lnTo>
                  <a:pt x="10139456" y="6449370"/>
                </a:lnTo>
                <a:cubicBezTo>
                  <a:pt x="10124963" y="6449370"/>
                  <a:pt x="10117717" y="6444934"/>
                  <a:pt x="10117717" y="6435694"/>
                </a:cubicBezTo>
                <a:cubicBezTo>
                  <a:pt x="10117717" y="6424235"/>
                  <a:pt x="10126050" y="6419430"/>
                  <a:pt x="10144166" y="6419430"/>
                </a:cubicBezTo>
                <a:lnTo>
                  <a:pt x="10228225" y="6419430"/>
                </a:lnTo>
                <a:lnTo>
                  <a:pt x="10228225" y="6397622"/>
                </a:lnTo>
                <a:close/>
                <a:moveTo>
                  <a:pt x="10828333" y="6397621"/>
                </a:moveTo>
                <a:lnTo>
                  <a:pt x="10828333" y="6521446"/>
                </a:lnTo>
                <a:lnTo>
                  <a:pt x="10862629" y="6521446"/>
                </a:lnTo>
                <a:lnTo>
                  <a:pt x="10862629" y="6472655"/>
                </a:lnTo>
                <a:lnTo>
                  <a:pt x="10903128" y="6472655"/>
                </a:lnTo>
                <a:lnTo>
                  <a:pt x="10938884" y="6521446"/>
                </a:lnTo>
                <a:lnTo>
                  <a:pt x="10977558" y="6521446"/>
                </a:lnTo>
                <a:lnTo>
                  <a:pt x="10937059" y="6469698"/>
                </a:lnTo>
                <a:cubicBezTo>
                  <a:pt x="10958221" y="6466002"/>
                  <a:pt x="10969896" y="6453805"/>
                  <a:pt x="10969896" y="6434584"/>
                </a:cubicBezTo>
                <a:cubicBezTo>
                  <a:pt x="10969896" y="6408710"/>
                  <a:pt x="10951653" y="6397621"/>
                  <a:pt x="10912979" y="6397621"/>
                </a:cubicBezTo>
                <a:close/>
                <a:moveTo>
                  <a:pt x="11137895" y="6394446"/>
                </a:moveTo>
                <a:cubicBezTo>
                  <a:pt x="11083436" y="6394446"/>
                  <a:pt x="11056933" y="6415079"/>
                  <a:pt x="11056933" y="6457451"/>
                </a:cubicBezTo>
                <a:cubicBezTo>
                  <a:pt x="11056933" y="6502401"/>
                  <a:pt x="11081984" y="6523034"/>
                  <a:pt x="11137895" y="6523034"/>
                </a:cubicBezTo>
                <a:cubicBezTo>
                  <a:pt x="11193081" y="6523034"/>
                  <a:pt x="11218858" y="6502401"/>
                  <a:pt x="11218858" y="6458556"/>
                </a:cubicBezTo>
                <a:cubicBezTo>
                  <a:pt x="11218858" y="6415079"/>
                  <a:pt x="11193081" y="6394446"/>
                  <a:pt x="11137895" y="6394446"/>
                </a:cubicBezTo>
                <a:close/>
                <a:moveTo>
                  <a:pt x="0" y="0"/>
                </a:moveTo>
                <a:lnTo>
                  <a:pt x="12191996" y="0"/>
                </a:lnTo>
                <a:lnTo>
                  <a:pt x="12191996" y="3141658"/>
                </a:lnTo>
                <a:lnTo>
                  <a:pt x="6095997" y="3141658"/>
                </a:lnTo>
                <a:lnTo>
                  <a:pt x="6095997" y="6237283"/>
                </a:lnTo>
                <a:lnTo>
                  <a:pt x="12191996" y="6237283"/>
                </a:lnTo>
                <a:lnTo>
                  <a:pt x="12191996" y="6857997"/>
                </a:lnTo>
                <a:lnTo>
                  <a:pt x="0" y="6857997"/>
                </a:lnTo>
                <a:close/>
              </a:path>
            </a:pathLst>
          </a:custGeom>
          <a:noFill/>
        </p:spPr>
        <p:txBody>
          <a:bodyPr wrap="square">
            <a:noAutofit/>
          </a:bodyPr>
          <a:lstStyle>
            <a:lvl1pPr algn="ctr">
              <a:defRPr/>
            </a:lvl1pPr>
          </a:lstStyle>
          <a:p>
            <a:r>
              <a:rPr lang="en-US"/>
              <a:t>Click icon to add picture</a:t>
            </a:r>
          </a:p>
        </p:txBody>
      </p:sp>
      <p:grpSp>
        <p:nvGrpSpPr>
          <p:cNvPr id="11" name="Gruppieren 10">
            <a:extLst>
              <a:ext uri="{FF2B5EF4-FFF2-40B4-BE49-F238E27FC236}">
                <a16:creationId xmlns:a16="http://schemas.microsoft.com/office/drawing/2014/main" id="{8BFFA3EC-C47B-497D-85D5-07C3889E9073}"/>
              </a:ext>
            </a:extLst>
          </p:cNvPr>
          <p:cNvGrpSpPr/>
          <p:nvPr userDrawn="1"/>
        </p:nvGrpSpPr>
        <p:grpSpPr>
          <a:xfrm>
            <a:off x="731952" y="3106800"/>
            <a:ext cx="11457648" cy="3590562"/>
            <a:chOff x="731952" y="3106800"/>
            <a:chExt cx="11457648" cy="3590562"/>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5005854" cy="457200"/>
          </a:xfrm>
        </p:spPr>
        <p:txBody>
          <a:bodyPr/>
          <a:lstStyle>
            <a:lvl1pPr>
              <a:spcBef>
                <a:spcPts val="500"/>
              </a:spcBef>
              <a:defRPr sz="3100" b="1">
                <a:solidFill>
                  <a:srgbClr val="FFFFFF"/>
                </a:solidFill>
              </a:defRPr>
            </a:lvl1pPr>
          </a:lstStyle>
          <a:p>
            <a:pPr lvl="0"/>
            <a:r>
              <a:rPr lang="en-US" noProof="0"/>
              <a:t>Add Title</a:t>
            </a:r>
          </a:p>
        </p:txBody>
      </p:sp>
      <p:sp>
        <p:nvSpPr>
          <p:cNvPr id="10" name="Textplatzhalter 2"/>
          <p:cNvSpPr>
            <a:spLocks noGrp="1"/>
          </p:cNvSpPr>
          <p:nvPr>
            <p:ph type="body" sz="quarter" idx="11" hasCustomPrompt="1"/>
          </p:nvPr>
        </p:nvSpPr>
        <p:spPr>
          <a:xfrm>
            <a:off x="6395432"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p:ph type="title" hasCustomPrompt="1"/>
          </p:nvPr>
        </p:nvSpPr>
        <p:spPr/>
        <p:txBody>
          <a:bodyPr/>
          <a:lstStyle>
            <a:lvl1pPr>
              <a:defRPr/>
            </a:lvl1pPr>
          </a:lstStyle>
          <a:p>
            <a:r>
              <a:rPr lang="en-US"/>
              <a:t>Add Title</a:t>
            </a:r>
          </a:p>
        </p:txBody>
      </p:sp>
    </p:spTree>
    <p:extLst>
      <p:ext uri="{BB962C8B-B14F-4D97-AF65-F5344CB8AC3E}">
        <p14:creationId xmlns:p14="http://schemas.microsoft.com/office/powerpoint/2010/main" val="14265973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510315" cy="3590562"/>
            <a:chOff x="4" y="3106800"/>
            <a:chExt cx="11510315" cy="3590562"/>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Bildplatzhalter 11">
            <a:extLst>
              <a:ext uri="{FF2B5EF4-FFF2-40B4-BE49-F238E27FC236}">
                <a16:creationId xmlns:a16="http://schemas.microsoft.com/office/drawing/2014/main" id="{CDE31D27-C1A5-4AB1-9C8A-EF2A7C603F94}"/>
              </a:ext>
            </a:extLst>
          </p:cNvPr>
          <p:cNvSpPr>
            <a:spLocks noGrp="1"/>
          </p:cNvSpPr>
          <p:nvPr>
            <p:ph type="pic" sz="quarter" idx="14" hasCustomPrompt="1"/>
          </p:nvPr>
        </p:nvSpPr>
        <p:spPr>
          <a:xfrm>
            <a:off x="5" y="5"/>
            <a:ext cx="12191996" cy="6857997"/>
          </a:xfrm>
          <a:custGeom>
            <a:avLst/>
            <a:gdLst>
              <a:gd name="connsiteX0" fmla="*/ 11197257 w 12191996"/>
              <a:gd name="connsiteY0" fmla="*/ 6583359 h 6857997"/>
              <a:gd name="connsiteX1" fmla="*/ 11207745 w 12191996"/>
              <a:gd name="connsiteY1" fmla="*/ 6602409 h 6857997"/>
              <a:gd name="connsiteX2" fmla="*/ 11187108 w 12191996"/>
              <a:gd name="connsiteY2" fmla="*/ 6602409 h 6857997"/>
              <a:gd name="connsiteX3" fmla="*/ 11114083 w 12191996"/>
              <a:gd name="connsiteY3" fmla="*/ 6583359 h 6857997"/>
              <a:gd name="connsiteX4" fmla="*/ 11131338 w 12191996"/>
              <a:gd name="connsiteY4" fmla="*/ 6583359 h 6857997"/>
              <a:gd name="connsiteX5" fmla="*/ 11145833 w 12191996"/>
              <a:gd name="connsiteY5" fmla="*/ 6589709 h 6857997"/>
              <a:gd name="connsiteX6" fmla="*/ 11132374 w 12191996"/>
              <a:gd name="connsiteY6" fmla="*/ 6596059 h 6857997"/>
              <a:gd name="connsiteX7" fmla="*/ 11114083 w 12191996"/>
              <a:gd name="connsiteY7" fmla="*/ 6596059 h 6857997"/>
              <a:gd name="connsiteX8" fmla="*/ 10745783 w 12191996"/>
              <a:gd name="connsiteY8" fmla="*/ 6583359 h 6857997"/>
              <a:gd name="connsiteX9" fmla="*/ 10765350 w 12191996"/>
              <a:gd name="connsiteY9" fmla="*/ 6583359 h 6857997"/>
              <a:gd name="connsiteX10" fmla="*/ 10779120 w 12191996"/>
              <a:gd name="connsiteY10" fmla="*/ 6588747 h 6857997"/>
              <a:gd name="connsiteX11" fmla="*/ 10765350 w 12191996"/>
              <a:gd name="connsiteY11" fmla="*/ 6594472 h 6857997"/>
              <a:gd name="connsiteX12" fmla="*/ 10745783 w 12191996"/>
              <a:gd name="connsiteY12" fmla="*/ 6594472 h 6857997"/>
              <a:gd name="connsiteX13" fmla="*/ 10949955 w 12191996"/>
              <a:gd name="connsiteY13" fmla="*/ 6581771 h 6857997"/>
              <a:gd name="connsiteX14" fmla="*/ 10969620 w 12191996"/>
              <a:gd name="connsiteY14" fmla="*/ 6598623 h 6857997"/>
              <a:gd name="connsiteX15" fmla="*/ 10949955 w 12191996"/>
              <a:gd name="connsiteY15" fmla="*/ 6615109 h 6857997"/>
              <a:gd name="connsiteX16" fmla="*/ 10929933 w 12191996"/>
              <a:gd name="connsiteY16" fmla="*/ 6598257 h 6857997"/>
              <a:gd name="connsiteX17" fmla="*/ 10949955 w 12191996"/>
              <a:gd name="connsiteY17" fmla="*/ 6581771 h 6857997"/>
              <a:gd name="connsiteX18" fmla="*/ 10682898 w 12191996"/>
              <a:gd name="connsiteY18" fmla="*/ 6581771 h 6857997"/>
              <a:gd name="connsiteX19" fmla="*/ 10702920 w 12191996"/>
              <a:gd name="connsiteY19" fmla="*/ 6598623 h 6857997"/>
              <a:gd name="connsiteX20" fmla="*/ 10682898 w 12191996"/>
              <a:gd name="connsiteY20" fmla="*/ 6615109 h 6857997"/>
              <a:gd name="connsiteX21" fmla="*/ 10663233 w 12191996"/>
              <a:gd name="connsiteY21" fmla="*/ 6598257 h 6857997"/>
              <a:gd name="connsiteX22" fmla="*/ 10682898 w 12191996"/>
              <a:gd name="connsiteY22" fmla="*/ 6581771 h 6857997"/>
              <a:gd name="connsiteX23" fmla="*/ 11312520 w 12191996"/>
              <a:gd name="connsiteY23" fmla="*/ 6573834 h 6857997"/>
              <a:gd name="connsiteX24" fmla="*/ 11341079 w 12191996"/>
              <a:gd name="connsiteY24" fmla="*/ 6601258 h 6857997"/>
              <a:gd name="connsiteX25" fmla="*/ 11341079 w 12191996"/>
              <a:gd name="connsiteY25" fmla="*/ 6623047 h 6857997"/>
              <a:gd name="connsiteX26" fmla="*/ 11356624 w 12191996"/>
              <a:gd name="connsiteY26" fmla="*/ 6623047 h 6857997"/>
              <a:gd name="connsiteX27" fmla="*/ 11356624 w 12191996"/>
              <a:gd name="connsiteY27" fmla="*/ 6601258 h 6857997"/>
              <a:gd name="connsiteX28" fmla="*/ 11385545 w 12191996"/>
              <a:gd name="connsiteY28" fmla="*/ 6573834 h 6857997"/>
              <a:gd name="connsiteX29" fmla="*/ 11367470 w 12191996"/>
              <a:gd name="connsiteY29" fmla="*/ 6573834 h 6857997"/>
              <a:gd name="connsiteX30" fmla="*/ 11348671 w 12191996"/>
              <a:gd name="connsiteY30" fmla="*/ 6592618 h 6857997"/>
              <a:gd name="connsiteX31" fmla="*/ 11330234 w 12191996"/>
              <a:gd name="connsiteY31" fmla="*/ 6573834 h 6857997"/>
              <a:gd name="connsiteX32" fmla="*/ 11242670 w 12191996"/>
              <a:gd name="connsiteY32" fmla="*/ 6573834 h 6857997"/>
              <a:gd name="connsiteX33" fmla="*/ 11242670 w 12191996"/>
              <a:gd name="connsiteY33" fmla="*/ 6623047 h 6857997"/>
              <a:gd name="connsiteX34" fmla="*/ 11259156 w 12191996"/>
              <a:gd name="connsiteY34" fmla="*/ 6623047 h 6857997"/>
              <a:gd name="connsiteX35" fmla="*/ 11258423 w 12191996"/>
              <a:gd name="connsiteY35" fmla="*/ 6585856 h 6857997"/>
              <a:gd name="connsiteX36" fmla="*/ 11291028 w 12191996"/>
              <a:gd name="connsiteY36" fmla="*/ 6623047 h 6857997"/>
              <a:gd name="connsiteX37" fmla="*/ 11309345 w 12191996"/>
              <a:gd name="connsiteY37" fmla="*/ 6623047 h 6857997"/>
              <a:gd name="connsiteX38" fmla="*/ 11309345 w 12191996"/>
              <a:gd name="connsiteY38" fmla="*/ 6573834 h 6857997"/>
              <a:gd name="connsiteX39" fmla="*/ 11293226 w 12191996"/>
              <a:gd name="connsiteY39" fmla="*/ 6573834 h 6857997"/>
              <a:gd name="connsiteX40" fmla="*/ 11293958 w 12191996"/>
              <a:gd name="connsiteY40" fmla="*/ 6609147 h 6857997"/>
              <a:gd name="connsiteX41" fmla="*/ 11262819 w 12191996"/>
              <a:gd name="connsiteY41" fmla="*/ 6573834 h 6857997"/>
              <a:gd name="connsiteX42" fmla="*/ 11189997 w 12191996"/>
              <a:gd name="connsiteY42" fmla="*/ 6573834 h 6857997"/>
              <a:gd name="connsiteX43" fmla="*/ 11158533 w 12191996"/>
              <a:gd name="connsiteY43" fmla="*/ 6623047 h 6857997"/>
              <a:gd name="connsiteX44" fmla="*/ 11174980 w 12191996"/>
              <a:gd name="connsiteY44" fmla="*/ 6623047 h 6857997"/>
              <a:gd name="connsiteX45" fmla="*/ 11181773 w 12191996"/>
              <a:gd name="connsiteY45" fmla="*/ 6611401 h 6857997"/>
              <a:gd name="connsiteX46" fmla="*/ 11213595 w 12191996"/>
              <a:gd name="connsiteY46" fmla="*/ 6611401 h 6857997"/>
              <a:gd name="connsiteX47" fmla="*/ 11220388 w 12191996"/>
              <a:gd name="connsiteY47" fmla="*/ 6623047 h 6857997"/>
              <a:gd name="connsiteX48" fmla="*/ 11237908 w 12191996"/>
              <a:gd name="connsiteY48" fmla="*/ 6623047 h 6857997"/>
              <a:gd name="connsiteX49" fmla="*/ 11206444 w 12191996"/>
              <a:gd name="connsiteY49" fmla="*/ 6573834 h 6857997"/>
              <a:gd name="connsiteX50" fmla="*/ 11098208 w 12191996"/>
              <a:gd name="connsiteY50" fmla="*/ 6573834 h 6857997"/>
              <a:gd name="connsiteX51" fmla="*/ 11098208 w 12191996"/>
              <a:gd name="connsiteY51" fmla="*/ 6623047 h 6857997"/>
              <a:gd name="connsiteX52" fmla="*/ 11113502 w 12191996"/>
              <a:gd name="connsiteY52" fmla="*/ 6623047 h 6857997"/>
              <a:gd name="connsiteX53" fmla="*/ 11113502 w 12191996"/>
              <a:gd name="connsiteY53" fmla="*/ 6605766 h 6857997"/>
              <a:gd name="connsiteX54" fmla="*/ 11132352 w 12191996"/>
              <a:gd name="connsiteY54" fmla="*/ 6605766 h 6857997"/>
              <a:gd name="connsiteX55" fmla="*/ 11154759 w 12191996"/>
              <a:gd name="connsiteY55" fmla="*/ 6602761 h 6857997"/>
              <a:gd name="connsiteX56" fmla="*/ 11163295 w 12191996"/>
              <a:gd name="connsiteY56" fmla="*/ 6589988 h 6857997"/>
              <a:gd name="connsiteX57" fmla="*/ 11153336 w 12191996"/>
              <a:gd name="connsiteY57" fmla="*/ 6576464 h 6857997"/>
              <a:gd name="connsiteX58" fmla="*/ 11131641 w 12191996"/>
              <a:gd name="connsiteY58" fmla="*/ 6573834 h 6857997"/>
              <a:gd name="connsiteX59" fmla="*/ 10998195 w 12191996"/>
              <a:gd name="connsiteY59" fmla="*/ 6573834 h 6857997"/>
              <a:gd name="connsiteX60" fmla="*/ 10998195 w 12191996"/>
              <a:gd name="connsiteY60" fmla="*/ 6623047 h 6857997"/>
              <a:gd name="connsiteX61" fmla="*/ 11014084 w 12191996"/>
              <a:gd name="connsiteY61" fmla="*/ 6623047 h 6857997"/>
              <a:gd name="connsiteX62" fmla="*/ 11012639 w 12191996"/>
              <a:gd name="connsiteY62" fmla="*/ 6584353 h 6857997"/>
              <a:gd name="connsiteX63" fmla="*/ 11032500 w 12191996"/>
              <a:gd name="connsiteY63" fmla="*/ 6623047 h 6857997"/>
              <a:gd name="connsiteX64" fmla="*/ 11049111 w 12191996"/>
              <a:gd name="connsiteY64" fmla="*/ 6623047 h 6857997"/>
              <a:gd name="connsiteX65" fmla="*/ 11068249 w 12191996"/>
              <a:gd name="connsiteY65" fmla="*/ 6584729 h 6857997"/>
              <a:gd name="connsiteX66" fmla="*/ 11066805 w 12191996"/>
              <a:gd name="connsiteY66" fmla="*/ 6623047 h 6857997"/>
              <a:gd name="connsiteX67" fmla="*/ 11082332 w 12191996"/>
              <a:gd name="connsiteY67" fmla="*/ 6623047 h 6857997"/>
              <a:gd name="connsiteX68" fmla="*/ 11082332 w 12191996"/>
              <a:gd name="connsiteY68" fmla="*/ 6573834 h 6857997"/>
              <a:gd name="connsiteX69" fmla="*/ 11059221 w 12191996"/>
              <a:gd name="connsiteY69" fmla="*/ 6573834 h 6857997"/>
              <a:gd name="connsiteX70" fmla="*/ 11040444 w 12191996"/>
              <a:gd name="connsiteY70" fmla="*/ 6611401 h 6857997"/>
              <a:gd name="connsiteX71" fmla="*/ 11021306 w 12191996"/>
              <a:gd name="connsiteY71" fmla="*/ 6573834 h 6857997"/>
              <a:gd name="connsiteX72" fmla="*/ 10949776 w 12191996"/>
              <a:gd name="connsiteY72" fmla="*/ 6573834 h 6857997"/>
              <a:gd name="connsiteX73" fmla="*/ 10912470 w 12191996"/>
              <a:gd name="connsiteY73" fmla="*/ 6597717 h 6857997"/>
              <a:gd name="connsiteX74" fmla="*/ 10949776 w 12191996"/>
              <a:gd name="connsiteY74" fmla="*/ 6623047 h 6857997"/>
              <a:gd name="connsiteX75" fmla="*/ 10987082 w 12191996"/>
              <a:gd name="connsiteY75" fmla="*/ 6598441 h 6857997"/>
              <a:gd name="connsiteX76" fmla="*/ 10949776 w 12191996"/>
              <a:gd name="connsiteY76" fmla="*/ 6573834 h 6857997"/>
              <a:gd name="connsiteX77" fmla="*/ 10879898 w 12191996"/>
              <a:gd name="connsiteY77" fmla="*/ 6573834 h 6857997"/>
              <a:gd name="connsiteX78" fmla="*/ 10844208 w 12191996"/>
              <a:gd name="connsiteY78" fmla="*/ 6599380 h 6857997"/>
              <a:gd name="connsiteX79" fmla="*/ 10855862 w 12191996"/>
              <a:gd name="connsiteY79" fmla="*/ 6618539 h 6857997"/>
              <a:gd name="connsiteX80" fmla="*/ 10879170 w 12191996"/>
              <a:gd name="connsiteY80" fmla="*/ 6623047 h 6857997"/>
              <a:gd name="connsiteX81" fmla="*/ 10906120 w 12191996"/>
              <a:gd name="connsiteY81" fmla="*/ 6623047 h 6857997"/>
              <a:gd name="connsiteX82" fmla="*/ 10906120 w 12191996"/>
              <a:gd name="connsiteY82" fmla="*/ 6614407 h 6857997"/>
              <a:gd name="connsiteX83" fmla="*/ 10879898 w 12191996"/>
              <a:gd name="connsiteY83" fmla="*/ 6614407 h 6857997"/>
              <a:gd name="connsiteX84" fmla="*/ 10861689 w 12191996"/>
              <a:gd name="connsiteY84" fmla="*/ 6599756 h 6857997"/>
              <a:gd name="connsiteX85" fmla="*/ 10879898 w 12191996"/>
              <a:gd name="connsiteY85" fmla="*/ 6582475 h 6857997"/>
              <a:gd name="connsiteX86" fmla="*/ 10906120 w 12191996"/>
              <a:gd name="connsiteY86" fmla="*/ 6582475 h 6857997"/>
              <a:gd name="connsiteX87" fmla="*/ 10906120 w 12191996"/>
              <a:gd name="connsiteY87" fmla="*/ 6573834 h 6857997"/>
              <a:gd name="connsiteX88" fmla="*/ 10729908 w 12191996"/>
              <a:gd name="connsiteY88" fmla="*/ 6573834 h 6857997"/>
              <a:gd name="connsiteX89" fmla="*/ 10729908 w 12191996"/>
              <a:gd name="connsiteY89" fmla="*/ 6623047 h 6857997"/>
              <a:gd name="connsiteX90" fmla="*/ 10745800 w 12191996"/>
              <a:gd name="connsiteY90" fmla="*/ 6623047 h 6857997"/>
              <a:gd name="connsiteX91" fmla="*/ 10745800 w 12191996"/>
              <a:gd name="connsiteY91" fmla="*/ 6603888 h 6857997"/>
              <a:gd name="connsiteX92" fmla="*/ 10765018 w 12191996"/>
              <a:gd name="connsiteY92" fmla="*/ 6603888 h 6857997"/>
              <a:gd name="connsiteX93" fmla="*/ 10781649 w 12191996"/>
              <a:gd name="connsiteY93" fmla="*/ 6623047 h 6857997"/>
              <a:gd name="connsiteX94" fmla="*/ 10799758 w 12191996"/>
              <a:gd name="connsiteY94" fmla="*/ 6623047 h 6857997"/>
              <a:gd name="connsiteX95" fmla="*/ 10780910 w 12191996"/>
              <a:gd name="connsiteY95" fmla="*/ 6602385 h 6857997"/>
              <a:gd name="connsiteX96" fmla="*/ 10796062 w 12191996"/>
              <a:gd name="connsiteY96" fmla="*/ 6588861 h 6857997"/>
              <a:gd name="connsiteX97" fmla="*/ 10769453 w 12191996"/>
              <a:gd name="connsiteY97" fmla="*/ 6573834 h 6857997"/>
              <a:gd name="connsiteX98" fmla="*/ 10683076 w 12191996"/>
              <a:gd name="connsiteY98" fmla="*/ 6573834 h 6857997"/>
              <a:gd name="connsiteX99" fmla="*/ 10645770 w 12191996"/>
              <a:gd name="connsiteY99" fmla="*/ 6597717 h 6857997"/>
              <a:gd name="connsiteX100" fmla="*/ 10683076 w 12191996"/>
              <a:gd name="connsiteY100" fmla="*/ 6623047 h 6857997"/>
              <a:gd name="connsiteX101" fmla="*/ 10720382 w 12191996"/>
              <a:gd name="connsiteY101" fmla="*/ 6598441 h 6857997"/>
              <a:gd name="connsiteX102" fmla="*/ 10683076 w 12191996"/>
              <a:gd name="connsiteY102" fmla="*/ 6573834 h 6857997"/>
              <a:gd name="connsiteX103" fmla="*/ 10593642 w 12191996"/>
              <a:gd name="connsiteY103" fmla="*/ 6573834 h 6857997"/>
              <a:gd name="connsiteX104" fmla="*/ 10567983 w 12191996"/>
              <a:gd name="connsiteY104" fmla="*/ 6588861 h 6857997"/>
              <a:gd name="connsiteX105" fmla="*/ 10592573 w 12191996"/>
              <a:gd name="connsiteY105" fmla="*/ 6603137 h 6857997"/>
              <a:gd name="connsiteX106" fmla="*/ 10610748 w 12191996"/>
              <a:gd name="connsiteY106" fmla="*/ 6603137 h 6857997"/>
              <a:gd name="connsiteX107" fmla="*/ 10621796 w 12191996"/>
              <a:gd name="connsiteY107" fmla="*/ 6608772 h 6857997"/>
              <a:gd name="connsiteX108" fmla="*/ 10609679 w 12191996"/>
              <a:gd name="connsiteY108" fmla="*/ 6614407 h 6857997"/>
              <a:gd name="connsiteX109" fmla="*/ 10570834 w 12191996"/>
              <a:gd name="connsiteY109" fmla="*/ 6614407 h 6857997"/>
              <a:gd name="connsiteX110" fmla="*/ 10570834 w 12191996"/>
              <a:gd name="connsiteY110" fmla="*/ 6623047 h 6857997"/>
              <a:gd name="connsiteX111" fmla="*/ 10612174 w 12191996"/>
              <a:gd name="connsiteY111" fmla="*/ 6623047 h 6857997"/>
              <a:gd name="connsiteX112" fmla="*/ 10637833 w 12191996"/>
              <a:gd name="connsiteY112" fmla="*/ 6608396 h 6857997"/>
              <a:gd name="connsiteX113" fmla="*/ 10614312 w 12191996"/>
              <a:gd name="connsiteY113" fmla="*/ 6594496 h 6857997"/>
              <a:gd name="connsiteX114" fmla="*/ 10593999 w 12191996"/>
              <a:gd name="connsiteY114" fmla="*/ 6594496 h 6857997"/>
              <a:gd name="connsiteX115" fmla="*/ 10584020 w 12191996"/>
              <a:gd name="connsiteY115" fmla="*/ 6589237 h 6857997"/>
              <a:gd name="connsiteX116" fmla="*/ 10596137 w 12191996"/>
              <a:gd name="connsiteY116" fmla="*/ 6582850 h 6857997"/>
              <a:gd name="connsiteX117" fmla="*/ 10634269 w 12191996"/>
              <a:gd name="connsiteY117" fmla="*/ 6582850 h 6857997"/>
              <a:gd name="connsiteX118" fmla="*/ 10634269 w 12191996"/>
              <a:gd name="connsiteY118" fmla="*/ 6573834 h 6857997"/>
              <a:gd name="connsiteX119" fmla="*/ 10490195 w 12191996"/>
              <a:gd name="connsiteY119" fmla="*/ 6573834 h 6857997"/>
              <a:gd name="connsiteX120" fmla="*/ 10490195 w 12191996"/>
              <a:gd name="connsiteY120" fmla="*/ 6623047 h 6857997"/>
              <a:gd name="connsiteX121" fmla="*/ 10506681 w 12191996"/>
              <a:gd name="connsiteY121" fmla="*/ 6623047 h 6857997"/>
              <a:gd name="connsiteX122" fmla="*/ 10505948 w 12191996"/>
              <a:gd name="connsiteY122" fmla="*/ 6585856 h 6857997"/>
              <a:gd name="connsiteX123" fmla="*/ 10538553 w 12191996"/>
              <a:gd name="connsiteY123" fmla="*/ 6623047 h 6857997"/>
              <a:gd name="connsiteX124" fmla="*/ 10556870 w 12191996"/>
              <a:gd name="connsiteY124" fmla="*/ 6623047 h 6857997"/>
              <a:gd name="connsiteX125" fmla="*/ 10556870 w 12191996"/>
              <a:gd name="connsiteY125" fmla="*/ 6573834 h 6857997"/>
              <a:gd name="connsiteX126" fmla="*/ 10540751 w 12191996"/>
              <a:gd name="connsiteY126" fmla="*/ 6573834 h 6857997"/>
              <a:gd name="connsiteX127" fmla="*/ 10541483 w 12191996"/>
              <a:gd name="connsiteY127" fmla="*/ 6609147 h 6857997"/>
              <a:gd name="connsiteX128" fmla="*/ 10510344 w 12191996"/>
              <a:gd name="connsiteY128" fmla="*/ 6573834 h 6857997"/>
              <a:gd name="connsiteX129" fmla="*/ 10450207 w 12191996"/>
              <a:gd name="connsiteY129" fmla="*/ 6573834 h 6857997"/>
              <a:gd name="connsiteX130" fmla="*/ 10415583 w 12191996"/>
              <a:gd name="connsiteY130" fmla="*/ 6599380 h 6857997"/>
              <a:gd name="connsiteX131" fmla="*/ 10427005 w 12191996"/>
              <a:gd name="connsiteY131" fmla="*/ 6618539 h 6857997"/>
              <a:gd name="connsiteX132" fmla="*/ 10449850 w 12191996"/>
              <a:gd name="connsiteY132" fmla="*/ 6623047 h 6857997"/>
              <a:gd name="connsiteX133" fmla="*/ 10475908 w 12191996"/>
              <a:gd name="connsiteY133" fmla="*/ 6623047 h 6857997"/>
              <a:gd name="connsiteX134" fmla="*/ 10475908 w 12191996"/>
              <a:gd name="connsiteY134" fmla="*/ 6614407 h 6857997"/>
              <a:gd name="connsiteX135" fmla="*/ 10450564 w 12191996"/>
              <a:gd name="connsiteY135" fmla="*/ 6614407 h 6857997"/>
              <a:gd name="connsiteX136" fmla="*/ 10433074 w 12191996"/>
              <a:gd name="connsiteY136" fmla="*/ 6602385 h 6857997"/>
              <a:gd name="connsiteX137" fmla="*/ 10475908 w 12191996"/>
              <a:gd name="connsiteY137" fmla="*/ 6602385 h 6857997"/>
              <a:gd name="connsiteX138" fmla="*/ 10475908 w 12191996"/>
              <a:gd name="connsiteY138" fmla="*/ 6593745 h 6857997"/>
              <a:gd name="connsiteX139" fmla="*/ 10433074 w 12191996"/>
              <a:gd name="connsiteY139" fmla="*/ 6593745 h 6857997"/>
              <a:gd name="connsiteX140" fmla="*/ 10450564 w 12191996"/>
              <a:gd name="connsiteY140" fmla="*/ 6582475 h 6857997"/>
              <a:gd name="connsiteX141" fmla="*/ 10475908 w 12191996"/>
              <a:gd name="connsiteY141" fmla="*/ 6582475 h 6857997"/>
              <a:gd name="connsiteX142" fmla="*/ 10475908 w 12191996"/>
              <a:gd name="connsiteY142" fmla="*/ 6573834 h 6857997"/>
              <a:gd name="connsiteX143" fmla="*/ 10363811 w 12191996"/>
              <a:gd name="connsiteY143" fmla="*/ 6573834 h 6857997"/>
              <a:gd name="connsiteX144" fmla="*/ 10337795 w 12191996"/>
              <a:gd name="connsiteY144" fmla="*/ 6588861 h 6857997"/>
              <a:gd name="connsiteX145" fmla="*/ 10362385 w 12191996"/>
              <a:gd name="connsiteY145" fmla="*/ 6603137 h 6857997"/>
              <a:gd name="connsiteX146" fmla="*/ 10380560 w 12191996"/>
              <a:gd name="connsiteY146" fmla="*/ 6603137 h 6857997"/>
              <a:gd name="connsiteX147" fmla="*/ 10391608 w 12191996"/>
              <a:gd name="connsiteY147" fmla="*/ 6608772 h 6857997"/>
              <a:gd name="connsiteX148" fmla="*/ 10379491 w 12191996"/>
              <a:gd name="connsiteY148" fmla="*/ 6614407 h 6857997"/>
              <a:gd name="connsiteX149" fmla="*/ 10340646 w 12191996"/>
              <a:gd name="connsiteY149" fmla="*/ 6614407 h 6857997"/>
              <a:gd name="connsiteX150" fmla="*/ 10340646 w 12191996"/>
              <a:gd name="connsiteY150" fmla="*/ 6623047 h 6857997"/>
              <a:gd name="connsiteX151" fmla="*/ 10381986 w 12191996"/>
              <a:gd name="connsiteY151" fmla="*/ 6623047 h 6857997"/>
              <a:gd name="connsiteX152" fmla="*/ 10407645 w 12191996"/>
              <a:gd name="connsiteY152" fmla="*/ 6608396 h 6857997"/>
              <a:gd name="connsiteX153" fmla="*/ 10384124 w 12191996"/>
              <a:gd name="connsiteY153" fmla="*/ 6594496 h 6857997"/>
              <a:gd name="connsiteX154" fmla="*/ 10363811 w 12191996"/>
              <a:gd name="connsiteY154" fmla="*/ 6594496 h 6857997"/>
              <a:gd name="connsiteX155" fmla="*/ 10354188 w 12191996"/>
              <a:gd name="connsiteY155" fmla="*/ 6589237 h 6857997"/>
              <a:gd name="connsiteX156" fmla="*/ 10365949 w 12191996"/>
              <a:gd name="connsiteY156" fmla="*/ 6582850 h 6857997"/>
              <a:gd name="connsiteX157" fmla="*/ 10404081 w 12191996"/>
              <a:gd name="connsiteY157" fmla="*/ 6582850 h 6857997"/>
              <a:gd name="connsiteX158" fmla="*/ 10404081 w 12191996"/>
              <a:gd name="connsiteY158" fmla="*/ 6573834 h 6857997"/>
              <a:gd name="connsiteX159" fmla="*/ 10261294 w 12191996"/>
              <a:gd name="connsiteY159" fmla="*/ 6573834 h 6857997"/>
              <a:gd name="connsiteX160" fmla="*/ 10226670 w 12191996"/>
              <a:gd name="connsiteY160" fmla="*/ 6599380 h 6857997"/>
              <a:gd name="connsiteX161" fmla="*/ 10237736 w 12191996"/>
              <a:gd name="connsiteY161" fmla="*/ 6618539 h 6857997"/>
              <a:gd name="connsiteX162" fmla="*/ 10260937 w 12191996"/>
              <a:gd name="connsiteY162" fmla="*/ 6623047 h 6857997"/>
              <a:gd name="connsiteX163" fmla="*/ 10286995 w 12191996"/>
              <a:gd name="connsiteY163" fmla="*/ 6623047 h 6857997"/>
              <a:gd name="connsiteX164" fmla="*/ 10286995 w 12191996"/>
              <a:gd name="connsiteY164" fmla="*/ 6614407 h 6857997"/>
              <a:gd name="connsiteX165" fmla="*/ 10261651 w 12191996"/>
              <a:gd name="connsiteY165" fmla="*/ 6614407 h 6857997"/>
              <a:gd name="connsiteX166" fmla="*/ 10244161 w 12191996"/>
              <a:gd name="connsiteY166" fmla="*/ 6602385 h 6857997"/>
              <a:gd name="connsiteX167" fmla="*/ 10286995 w 12191996"/>
              <a:gd name="connsiteY167" fmla="*/ 6602385 h 6857997"/>
              <a:gd name="connsiteX168" fmla="*/ 10286995 w 12191996"/>
              <a:gd name="connsiteY168" fmla="*/ 6593745 h 6857997"/>
              <a:gd name="connsiteX169" fmla="*/ 10244161 w 12191996"/>
              <a:gd name="connsiteY169" fmla="*/ 6593745 h 6857997"/>
              <a:gd name="connsiteX170" fmla="*/ 10261651 w 12191996"/>
              <a:gd name="connsiteY170" fmla="*/ 6582475 h 6857997"/>
              <a:gd name="connsiteX171" fmla="*/ 10286995 w 12191996"/>
              <a:gd name="connsiteY171" fmla="*/ 6582475 h 6857997"/>
              <a:gd name="connsiteX172" fmla="*/ 10286995 w 12191996"/>
              <a:gd name="connsiteY172" fmla="*/ 6573834 h 6857997"/>
              <a:gd name="connsiteX173" fmla="*/ 10155233 w 12191996"/>
              <a:gd name="connsiteY173" fmla="*/ 6573834 h 6857997"/>
              <a:gd name="connsiteX174" fmla="*/ 10155233 w 12191996"/>
              <a:gd name="connsiteY174" fmla="*/ 6623047 h 6857997"/>
              <a:gd name="connsiteX175" fmla="*/ 10170859 w 12191996"/>
              <a:gd name="connsiteY175" fmla="*/ 6623047 h 6857997"/>
              <a:gd name="connsiteX176" fmla="*/ 10170859 w 12191996"/>
              <a:gd name="connsiteY176" fmla="*/ 6602385 h 6857997"/>
              <a:gd name="connsiteX177" fmla="*/ 10199932 w 12191996"/>
              <a:gd name="connsiteY177" fmla="*/ 6602385 h 6857997"/>
              <a:gd name="connsiteX178" fmla="*/ 10199932 w 12191996"/>
              <a:gd name="connsiteY178" fmla="*/ 6623047 h 6857997"/>
              <a:gd name="connsiteX179" fmla="*/ 10215558 w 12191996"/>
              <a:gd name="connsiteY179" fmla="*/ 6623047 h 6857997"/>
              <a:gd name="connsiteX180" fmla="*/ 10215558 w 12191996"/>
              <a:gd name="connsiteY180" fmla="*/ 6573834 h 6857997"/>
              <a:gd name="connsiteX181" fmla="*/ 10199932 w 12191996"/>
              <a:gd name="connsiteY181" fmla="*/ 6573834 h 6857997"/>
              <a:gd name="connsiteX182" fmla="*/ 10199932 w 12191996"/>
              <a:gd name="connsiteY182" fmla="*/ 6593745 h 6857997"/>
              <a:gd name="connsiteX183" fmla="*/ 10170859 w 12191996"/>
              <a:gd name="connsiteY183" fmla="*/ 6593745 h 6857997"/>
              <a:gd name="connsiteX184" fmla="*/ 10170859 w 12191996"/>
              <a:gd name="connsiteY184" fmla="*/ 6573834 h 6857997"/>
              <a:gd name="connsiteX185" fmla="*/ 10082208 w 12191996"/>
              <a:gd name="connsiteY185" fmla="*/ 6573834 h 6857997"/>
              <a:gd name="connsiteX186" fmla="*/ 10082208 w 12191996"/>
              <a:gd name="connsiteY186" fmla="*/ 6582163 h 6857997"/>
              <a:gd name="connsiteX187" fmla="*/ 10106570 w 12191996"/>
              <a:gd name="connsiteY187" fmla="*/ 6582163 h 6857997"/>
              <a:gd name="connsiteX188" fmla="*/ 10106570 w 12191996"/>
              <a:gd name="connsiteY188" fmla="*/ 6623047 h 6857997"/>
              <a:gd name="connsiteX189" fmla="*/ 10122569 w 12191996"/>
              <a:gd name="connsiteY189" fmla="*/ 6623047 h 6857997"/>
              <a:gd name="connsiteX190" fmla="*/ 10122569 w 12191996"/>
              <a:gd name="connsiteY190" fmla="*/ 6582163 h 6857997"/>
              <a:gd name="connsiteX191" fmla="*/ 10147295 w 12191996"/>
              <a:gd name="connsiteY191" fmla="*/ 6582163 h 6857997"/>
              <a:gd name="connsiteX192" fmla="*/ 10147295 w 12191996"/>
              <a:gd name="connsiteY192" fmla="*/ 6573834 h 6857997"/>
              <a:gd name="connsiteX193" fmla="*/ 2164828 w 12191996"/>
              <a:gd name="connsiteY193" fmla="*/ 6506715 h 6857997"/>
              <a:gd name="connsiteX194" fmla="*/ 2164828 w 12191996"/>
              <a:gd name="connsiteY194" fmla="*/ 6521016 h 6857997"/>
              <a:gd name="connsiteX195" fmla="*/ 2170617 w 12191996"/>
              <a:gd name="connsiteY195" fmla="*/ 6521016 h 6857997"/>
              <a:gd name="connsiteX196" fmla="*/ 2168875 w 12191996"/>
              <a:gd name="connsiteY196" fmla="*/ 6530888 h 6857997"/>
              <a:gd name="connsiteX197" fmla="*/ 2164132 w 12191996"/>
              <a:gd name="connsiteY197" fmla="*/ 6535876 h 6857997"/>
              <a:gd name="connsiteX198" fmla="*/ 2166989 w 12191996"/>
              <a:gd name="connsiteY198" fmla="*/ 6541248 h 6857997"/>
              <a:gd name="connsiteX199" fmla="*/ 2174106 w 12191996"/>
              <a:gd name="connsiteY199" fmla="*/ 6534027 h 6857997"/>
              <a:gd name="connsiteX200" fmla="*/ 2176545 w 12191996"/>
              <a:gd name="connsiteY200" fmla="*/ 6521016 h 6857997"/>
              <a:gd name="connsiteX201" fmla="*/ 2176545 w 12191996"/>
              <a:gd name="connsiteY201" fmla="*/ 6506715 h 6857997"/>
              <a:gd name="connsiteX202" fmla="*/ 6291678 w 12191996"/>
              <a:gd name="connsiteY202" fmla="*/ 6483832 h 6857997"/>
              <a:gd name="connsiteX203" fmla="*/ 6291678 w 12191996"/>
              <a:gd name="connsiteY203" fmla="*/ 6488437 h 6857997"/>
              <a:gd name="connsiteX204" fmla="*/ 6289446 w 12191996"/>
              <a:gd name="connsiteY204" fmla="*/ 6502355 h 6857997"/>
              <a:gd name="connsiteX205" fmla="*/ 6282713 w 12191996"/>
              <a:gd name="connsiteY205" fmla="*/ 6509994 h 6857997"/>
              <a:gd name="connsiteX206" fmla="*/ 6272702 w 12191996"/>
              <a:gd name="connsiteY206" fmla="*/ 6512854 h 6857997"/>
              <a:gd name="connsiteX207" fmla="*/ 6263633 w 12191996"/>
              <a:gd name="connsiteY207" fmla="*/ 6509680 h 6857997"/>
              <a:gd name="connsiteX208" fmla="*/ 6260354 w 12191996"/>
              <a:gd name="connsiteY208" fmla="*/ 6501204 h 6857997"/>
              <a:gd name="connsiteX209" fmla="*/ 6261784 w 12191996"/>
              <a:gd name="connsiteY209" fmla="*/ 6495169 h 6857997"/>
              <a:gd name="connsiteX210" fmla="*/ 6265796 w 12191996"/>
              <a:gd name="connsiteY210" fmla="*/ 6491123 h 6857997"/>
              <a:gd name="connsiteX211" fmla="*/ 6274865 w 12191996"/>
              <a:gd name="connsiteY211" fmla="*/ 6488576 h 6857997"/>
              <a:gd name="connsiteX212" fmla="*/ 6291678 w 12191996"/>
              <a:gd name="connsiteY212" fmla="*/ 6483832 h 6857997"/>
              <a:gd name="connsiteX213" fmla="*/ 2657744 w 12191996"/>
              <a:gd name="connsiteY213" fmla="*/ 6483832 h 6857997"/>
              <a:gd name="connsiteX214" fmla="*/ 2657744 w 12191996"/>
              <a:gd name="connsiteY214" fmla="*/ 6488437 h 6857997"/>
              <a:gd name="connsiteX215" fmla="*/ 2655513 w 12191996"/>
              <a:gd name="connsiteY215" fmla="*/ 6502355 h 6857997"/>
              <a:gd name="connsiteX216" fmla="*/ 2648779 w 12191996"/>
              <a:gd name="connsiteY216" fmla="*/ 6509994 h 6857997"/>
              <a:gd name="connsiteX217" fmla="*/ 2638768 w 12191996"/>
              <a:gd name="connsiteY217" fmla="*/ 6512854 h 6857997"/>
              <a:gd name="connsiteX218" fmla="*/ 2629699 w 12191996"/>
              <a:gd name="connsiteY218" fmla="*/ 6509680 h 6857997"/>
              <a:gd name="connsiteX219" fmla="*/ 2626419 w 12191996"/>
              <a:gd name="connsiteY219" fmla="*/ 6501204 h 6857997"/>
              <a:gd name="connsiteX220" fmla="*/ 2627851 w 12191996"/>
              <a:gd name="connsiteY220" fmla="*/ 6495169 h 6857997"/>
              <a:gd name="connsiteX221" fmla="*/ 2631864 w 12191996"/>
              <a:gd name="connsiteY221" fmla="*/ 6491123 h 6857997"/>
              <a:gd name="connsiteX222" fmla="*/ 2640931 w 12191996"/>
              <a:gd name="connsiteY222" fmla="*/ 6488576 h 6857997"/>
              <a:gd name="connsiteX223" fmla="*/ 2657744 w 12191996"/>
              <a:gd name="connsiteY223" fmla="*/ 6483832 h 6857997"/>
              <a:gd name="connsiteX224" fmla="*/ 6087298 w 12191996"/>
              <a:gd name="connsiteY224" fmla="*/ 6455578 h 6857997"/>
              <a:gd name="connsiteX225" fmla="*/ 6099922 w 12191996"/>
              <a:gd name="connsiteY225" fmla="*/ 6462485 h 6857997"/>
              <a:gd name="connsiteX226" fmla="*/ 6104038 w 12191996"/>
              <a:gd name="connsiteY226" fmla="*/ 6476856 h 6857997"/>
              <a:gd name="connsiteX227" fmla="*/ 6070136 w 12191996"/>
              <a:gd name="connsiteY227" fmla="*/ 6476856 h 6857997"/>
              <a:gd name="connsiteX228" fmla="*/ 6075505 w 12191996"/>
              <a:gd name="connsiteY228" fmla="*/ 6461334 h 6857997"/>
              <a:gd name="connsiteX229" fmla="*/ 6087298 w 12191996"/>
              <a:gd name="connsiteY229" fmla="*/ 6455578 h 6857997"/>
              <a:gd name="connsiteX230" fmla="*/ 6018399 w 12191996"/>
              <a:gd name="connsiteY230" fmla="*/ 6455578 h 6857997"/>
              <a:gd name="connsiteX231" fmla="*/ 6030544 w 12191996"/>
              <a:gd name="connsiteY231" fmla="*/ 6462729 h 6857997"/>
              <a:gd name="connsiteX232" fmla="*/ 6035362 w 12191996"/>
              <a:gd name="connsiteY232" fmla="*/ 6485437 h 6857997"/>
              <a:gd name="connsiteX233" fmla="*/ 6030544 w 12191996"/>
              <a:gd name="connsiteY233" fmla="*/ 6505668 h 6857997"/>
              <a:gd name="connsiteX234" fmla="*/ 6019168 w 12191996"/>
              <a:gd name="connsiteY234" fmla="*/ 6512366 h 6857997"/>
              <a:gd name="connsiteX235" fmla="*/ 6007544 w 12191996"/>
              <a:gd name="connsiteY235" fmla="*/ 6505389 h 6857997"/>
              <a:gd name="connsiteX236" fmla="*/ 6002552 w 12191996"/>
              <a:gd name="connsiteY236" fmla="*/ 6484042 h 6857997"/>
              <a:gd name="connsiteX237" fmla="*/ 6007230 w 12191996"/>
              <a:gd name="connsiteY237" fmla="*/ 6462450 h 6857997"/>
              <a:gd name="connsiteX238" fmla="*/ 6018399 w 12191996"/>
              <a:gd name="connsiteY238" fmla="*/ 6455578 h 6857997"/>
              <a:gd name="connsiteX239" fmla="*/ 5829564 w 12191996"/>
              <a:gd name="connsiteY239" fmla="*/ 6455578 h 6857997"/>
              <a:gd name="connsiteX240" fmla="*/ 5842539 w 12191996"/>
              <a:gd name="connsiteY240" fmla="*/ 6462598 h 6857997"/>
              <a:gd name="connsiteX241" fmla="*/ 5847773 w 12191996"/>
              <a:gd name="connsiteY241" fmla="*/ 6483937 h 6857997"/>
              <a:gd name="connsiteX242" fmla="*/ 5842576 w 12191996"/>
              <a:gd name="connsiteY242" fmla="*/ 6505276 h 6857997"/>
              <a:gd name="connsiteX243" fmla="*/ 5830122 w 12191996"/>
              <a:gd name="connsiteY243" fmla="*/ 6512366 h 6857997"/>
              <a:gd name="connsiteX244" fmla="*/ 5817145 w 12191996"/>
              <a:gd name="connsiteY244" fmla="*/ 6505346 h 6857997"/>
              <a:gd name="connsiteX245" fmla="*/ 5811914 w 12191996"/>
              <a:gd name="connsiteY245" fmla="*/ 6483937 h 6857997"/>
              <a:gd name="connsiteX246" fmla="*/ 5817079 w 12191996"/>
              <a:gd name="connsiteY246" fmla="*/ 6462633 h 6857997"/>
              <a:gd name="connsiteX247" fmla="*/ 5829564 w 12191996"/>
              <a:gd name="connsiteY247" fmla="*/ 6455578 h 6857997"/>
              <a:gd name="connsiteX248" fmla="*/ 2774990 w 12191996"/>
              <a:gd name="connsiteY248" fmla="*/ 6455578 h 6857997"/>
              <a:gd name="connsiteX249" fmla="*/ 2787135 w 12191996"/>
              <a:gd name="connsiteY249" fmla="*/ 6462729 h 6857997"/>
              <a:gd name="connsiteX250" fmla="*/ 2791951 w 12191996"/>
              <a:gd name="connsiteY250" fmla="*/ 6485437 h 6857997"/>
              <a:gd name="connsiteX251" fmla="*/ 2787135 w 12191996"/>
              <a:gd name="connsiteY251" fmla="*/ 6505668 h 6857997"/>
              <a:gd name="connsiteX252" fmla="*/ 2775759 w 12191996"/>
              <a:gd name="connsiteY252" fmla="*/ 6512366 h 6857997"/>
              <a:gd name="connsiteX253" fmla="*/ 2764133 w 12191996"/>
              <a:gd name="connsiteY253" fmla="*/ 6505389 h 6857997"/>
              <a:gd name="connsiteX254" fmla="*/ 2759145 w 12191996"/>
              <a:gd name="connsiteY254" fmla="*/ 6484042 h 6857997"/>
              <a:gd name="connsiteX255" fmla="*/ 2763822 w 12191996"/>
              <a:gd name="connsiteY255" fmla="*/ 6462450 h 6857997"/>
              <a:gd name="connsiteX256" fmla="*/ 2774990 w 12191996"/>
              <a:gd name="connsiteY256" fmla="*/ 6455578 h 6857997"/>
              <a:gd name="connsiteX257" fmla="*/ 2510511 w 12191996"/>
              <a:gd name="connsiteY257" fmla="*/ 6455578 h 6857997"/>
              <a:gd name="connsiteX258" fmla="*/ 2523140 w 12191996"/>
              <a:gd name="connsiteY258" fmla="*/ 6462485 h 6857997"/>
              <a:gd name="connsiteX259" fmla="*/ 2527255 w 12191996"/>
              <a:gd name="connsiteY259" fmla="*/ 6476856 h 6857997"/>
              <a:gd name="connsiteX260" fmla="*/ 2493349 w 12191996"/>
              <a:gd name="connsiteY260" fmla="*/ 6476856 h 6857997"/>
              <a:gd name="connsiteX261" fmla="*/ 2498723 w 12191996"/>
              <a:gd name="connsiteY261" fmla="*/ 6461334 h 6857997"/>
              <a:gd name="connsiteX262" fmla="*/ 2510511 w 12191996"/>
              <a:gd name="connsiteY262" fmla="*/ 6455578 h 6857997"/>
              <a:gd name="connsiteX263" fmla="*/ 1871776 w 12191996"/>
              <a:gd name="connsiteY263" fmla="*/ 6455578 h 6857997"/>
              <a:gd name="connsiteX264" fmla="*/ 1884752 w 12191996"/>
              <a:gd name="connsiteY264" fmla="*/ 6462598 h 6857997"/>
              <a:gd name="connsiteX265" fmla="*/ 1889984 w 12191996"/>
              <a:gd name="connsiteY265" fmla="*/ 6483937 h 6857997"/>
              <a:gd name="connsiteX266" fmla="*/ 1884787 w 12191996"/>
              <a:gd name="connsiteY266" fmla="*/ 6505276 h 6857997"/>
              <a:gd name="connsiteX267" fmla="*/ 1872334 w 12191996"/>
              <a:gd name="connsiteY267" fmla="*/ 6512366 h 6857997"/>
              <a:gd name="connsiteX268" fmla="*/ 1859358 w 12191996"/>
              <a:gd name="connsiteY268" fmla="*/ 6505346 h 6857997"/>
              <a:gd name="connsiteX269" fmla="*/ 1854126 w 12191996"/>
              <a:gd name="connsiteY269" fmla="*/ 6483937 h 6857997"/>
              <a:gd name="connsiteX270" fmla="*/ 1859288 w 12191996"/>
              <a:gd name="connsiteY270" fmla="*/ 6462633 h 6857997"/>
              <a:gd name="connsiteX271" fmla="*/ 1871776 w 12191996"/>
              <a:gd name="connsiteY271" fmla="*/ 6455578 h 6857997"/>
              <a:gd name="connsiteX272" fmla="*/ 1586584 w 12191996"/>
              <a:gd name="connsiteY272" fmla="*/ 6455578 h 6857997"/>
              <a:gd name="connsiteX273" fmla="*/ 1599211 w 12191996"/>
              <a:gd name="connsiteY273" fmla="*/ 6462485 h 6857997"/>
              <a:gd name="connsiteX274" fmla="*/ 1603327 w 12191996"/>
              <a:gd name="connsiteY274" fmla="*/ 6476856 h 6857997"/>
              <a:gd name="connsiteX275" fmla="*/ 1569422 w 12191996"/>
              <a:gd name="connsiteY275" fmla="*/ 6476856 h 6857997"/>
              <a:gd name="connsiteX276" fmla="*/ 1574794 w 12191996"/>
              <a:gd name="connsiteY276" fmla="*/ 6461334 h 6857997"/>
              <a:gd name="connsiteX277" fmla="*/ 1586584 w 12191996"/>
              <a:gd name="connsiteY277" fmla="*/ 6455578 h 6857997"/>
              <a:gd name="connsiteX278" fmla="*/ 1317685 w 12191996"/>
              <a:gd name="connsiteY278" fmla="*/ 6455578 h 6857997"/>
              <a:gd name="connsiteX279" fmla="*/ 1329920 w 12191996"/>
              <a:gd name="connsiteY279" fmla="*/ 6462398 h 6857997"/>
              <a:gd name="connsiteX280" fmla="*/ 1334953 w 12191996"/>
              <a:gd name="connsiteY280" fmla="*/ 6483205 h 6857997"/>
              <a:gd name="connsiteX281" fmla="*/ 1330059 w 12191996"/>
              <a:gd name="connsiteY281" fmla="*/ 6504117 h 6857997"/>
              <a:gd name="connsiteX282" fmla="*/ 1318175 w 12191996"/>
              <a:gd name="connsiteY282" fmla="*/ 6510691 h 6857997"/>
              <a:gd name="connsiteX283" fmla="*/ 1306360 w 12191996"/>
              <a:gd name="connsiteY283" fmla="*/ 6503977 h 6857997"/>
              <a:gd name="connsiteX284" fmla="*/ 1301536 w 12191996"/>
              <a:gd name="connsiteY284" fmla="*/ 6482645 h 6857997"/>
              <a:gd name="connsiteX285" fmla="*/ 1306395 w 12191996"/>
              <a:gd name="connsiteY285" fmla="*/ 6462398 h 6857997"/>
              <a:gd name="connsiteX286" fmla="*/ 1317685 w 12191996"/>
              <a:gd name="connsiteY286" fmla="*/ 6455578 h 6857997"/>
              <a:gd name="connsiteX287" fmla="*/ 1071676 w 12191996"/>
              <a:gd name="connsiteY287" fmla="*/ 6455578 h 6857997"/>
              <a:gd name="connsiteX288" fmla="*/ 1084652 w 12191996"/>
              <a:gd name="connsiteY288" fmla="*/ 6462598 h 6857997"/>
              <a:gd name="connsiteX289" fmla="*/ 1089884 w 12191996"/>
              <a:gd name="connsiteY289" fmla="*/ 6483937 h 6857997"/>
              <a:gd name="connsiteX290" fmla="*/ 1084687 w 12191996"/>
              <a:gd name="connsiteY290" fmla="*/ 6505276 h 6857997"/>
              <a:gd name="connsiteX291" fmla="*/ 1072234 w 12191996"/>
              <a:gd name="connsiteY291" fmla="*/ 6512366 h 6857997"/>
              <a:gd name="connsiteX292" fmla="*/ 1059258 w 12191996"/>
              <a:gd name="connsiteY292" fmla="*/ 6505346 h 6857997"/>
              <a:gd name="connsiteX293" fmla="*/ 1054026 w 12191996"/>
              <a:gd name="connsiteY293" fmla="*/ 6483937 h 6857997"/>
              <a:gd name="connsiteX294" fmla="*/ 1059188 w 12191996"/>
              <a:gd name="connsiteY294" fmla="*/ 6462633 h 6857997"/>
              <a:gd name="connsiteX295" fmla="*/ 1071676 w 12191996"/>
              <a:gd name="connsiteY295" fmla="*/ 6455578 h 6857997"/>
              <a:gd name="connsiteX296" fmla="*/ 1139788 w 12191996"/>
              <a:gd name="connsiteY296" fmla="*/ 6455090 h 6857997"/>
              <a:gd name="connsiteX297" fmla="*/ 1151478 w 12191996"/>
              <a:gd name="connsiteY297" fmla="*/ 6462066 h 6857997"/>
              <a:gd name="connsiteX298" fmla="*/ 1156280 w 12191996"/>
              <a:gd name="connsiteY298" fmla="*/ 6483553 h 6857997"/>
              <a:gd name="connsiteX299" fmla="*/ 1151339 w 12191996"/>
              <a:gd name="connsiteY299" fmla="*/ 6505320 h 6857997"/>
              <a:gd name="connsiteX300" fmla="*/ 1139857 w 12191996"/>
              <a:gd name="connsiteY300" fmla="*/ 6512366 h 6857997"/>
              <a:gd name="connsiteX301" fmla="*/ 1128235 w 12191996"/>
              <a:gd name="connsiteY301" fmla="*/ 6505564 h 6857997"/>
              <a:gd name="connsiteX302" fmla="*/ 1123434 w 12191996"/>
              <a:gd name="connsiteY302" fmla="*/ 6484391 h 6857997"/>
              <a:gd name="connsiteX303" fmla="*/ 1128514 w 12191996"/>
              <a:gd name="connsiteY303" fmla="*/ 6462590 h 6857997"/>
              <a:gd name="connsiteX304" fmla="*/ 1139788 w 12191996"/>
              <a:gd name="connsiteY304" fmla="*/ 6455090 h 6857997"/>
              <a:gd name="connsiteX305" fmla="*/ 6224384 w 12191996"/>
              <a:gd name="connsiteY305" fmla="*/ 6446928 h 6857997"/>
              <a:gd name="connsiteX306" fmla="*/ 6224384 w 12191996"/>
              <a:gd name="connsiteY306" fmla="*/ 6521016 h 6857997"/>
              <a:gd name="connsiteX307" fmla="*/ 6234640 w 12191996"/>
              <a:gd name="connsiteY307" fmla="*/ 6521016 h 6857997"/>
              <a:gd name="connsiteX308" fmla="*/ 6234640 w 12191996"/>
              <a:gd name="connsiteY308" fmla="*/ 6446928 h 6857997"/>
              <a:gd name="connsiteX309" fmla="*/ 5967211 w 12191996"/>
              <a:gd name="connsiteY309" fmla="*/ 6446928 h 6857997"/>
              <a:gd name="connsiteX310" fmla="*/ 5967211 w 12191996"/>
              <a:gd name="connsiteY310" fmla="*/ 6521016 h 6857997"/>
              <a:gd name="connsiteX311" fmla="*/ 5977467 w 12191996"/>
              <a:gd name="connsiteY311" fmla="*/ 6521016 h 6857997"/>
              <a:gd name="connsiteX312" fmla="*/ 5977467 w 12191996"/>
              <a:gd name="connsiteY312" fmla="*/ 6446928 h 6857997"/>
              <a:gd name="connsiteX313" fmla="*/ 2380902 w 12191996"/>
              <a:gd name="connsiteY313" fmla="*/ 6446928 h 6857997"/>
              <a:gd name="connsiteX314" fmla="*/ 2380902 w 12191996"/>
              <a:gd name="connsiteY314" fmla="*/ 6521016 h 6857997"/>
              <a:gd name="connsiteX315" fmla="*/ 2391160 w 12191996"/>
              <a:gd name="connsiteY315" fmla="*/ 6521016 h 6857997"/>
              <a:gd name="connsiteX316" fmla="*/ 2391160 w 12191996"/>
              <a:gd name="connsiteY316" fmla="*/ 6446928 h 6857997"/>
              <a:gd name="connsiteX317" fmla="*/ 2287711 w 12191996"/>
              <a:gd name="connsiteY317" fmla="*/ 6446928 h 6857997"/>
              <a:gd name="connsiteX318" fmla="*/ 2306375 w 12191996"/>
              <a:gd name="connsiteY318" fmla="*/ 6521016 h 6857997"/>
              <a:gd name="connsiteX319" fmla="*/ 2317119 w 12191996"/>
              <a:gd name="connsiteY319" fmla="*/ 6521016 h 6857997"/>
              <a:gd name="connsiteX320" fmla="*/ 2329394 w 12191996"/>
              <a:gd name="connsiteY320" fmla="*/ 6464020 h 6857997"/>
              <a:gd name="connsiteX321" fmla="*/ 2331698 w 12191996"/>
              <a:gd name="connsiteY321" fmla="*/ 6476647 h 6857997"/>
              <a:gd name="connsiteX322" fmla="*/ 2341394 w 12191996"/>
              <a:gd name="connsiteY322" fmla="*/ 6521016 h 6857997"/>
              <a:gd name="connsiteX323" fmla="*/ 2352113 w 12191996"/>
              <a:gd name="connsiteY323" fmla="*/ 6521016 h 6857997"/>
              <a:gd name="connsiteX324" fmla="*/ 2371081 w 12191996"/>
              <a:gd name="connsiteY324" fmla="*/ 6446928 h 6857997"/>
              <a:gd name="connsiteX325" fmla="*/ 2361033 w 12191996"/>
              <a:gd name="connsiteY325" fmla="*/ 6446928 h 6857997"/>
              <a:gd name="connsiteX326" fmla="*/ 2350666 w 12191996"/>
              <a:gd name="connsiteY326" fmla="*/ 6489762 h 6857997"/>
              <a:gd name="connsiteX327" fmla="*/ 2347183 w 12191996"/>
              <a:gd name="connsiteY327" fmla="*/ 6504064 h 6857997"/>
              <a:gd name="connsiteX328" fmla="*/ 2344125 w 12191996"/>
              <a:gd name="connsiteY328" fmla="*/ 6489902 h 6857997"/>
              <a:gd name="connsiteX329" fmla="*/ 2335086 w 12191996"/>
              <a:gd name="connsiteY329" fmla="*/ 6446928 h 6857997"/>
              <a:gd name="connsiteX330" fmla="*/ 2324456 w 12191996"/>
              <a:gd name="connsiteY330" fmla="*/ 6446928 h 6857997"/>
              <a:gd name="connsiteX331" fmla="*/ 2314822 w 12191996"/>
              <a:gd name="connsiteY331" fmla="*/ 6490320 h 6857997"/>
              <a:gd name="connsiteX332" fmla="*/ 2311609 w 12191996"/>
              <a:gd name="connsiteY332" fmla="*/ 6505599 h 6857997"/>
              <a:gd name="connsiteX333" fmla="*/ 2308033 w 12191996"/>
              <a:gd name="connsiteY333" fmla="*/ 6489693 h 6857997"/>
              <a:gd name="connsiteX334" fmla="*/ 2298356 w 12191996"/>
              <a:gd name="connsiteY334" fmla="*/ 6446928 h 6857997"/>
              <a:gd name="connsiteX335" fmla="*/ 1818925 w 12191996"/>
              <a:gd name="connsiteY335" fmla="*/ 6446928 h 6857997"/>
              <a:gd name="connsiteX336" fmla="*/ 1818925 w 12191996"/>
              <a:gd name="connsiteY336" fmla="*/ 6521016 h 6857997"/>
              <a:gd name="connsiteX337" fmla="*/ 1829180 w 12191996"/>
              <a:gd name="connsiteY337" fmla="*/ 6521016 h 6857997"/>
              <a:gd name="connsiteX338" fmla="*/ 1829180 w 12191996"/>
              <a:gd name="connsiteY338" fmla="*/ 6446928 h 6857997"/>
              <a:gd name="connsiteX339" fmla="*/ 1752248 w 12191996"/>
              <a:gd name="connsiteY339" fmla="*/ 6446928 h 6857997"/>
              <a:gd name="connsiteX340" fmla="*/ 1752248 w 12191996"/>
              <a:gd name="connsiteY340" fmla="*/ 6521016 h 6857997"/>
              <a:gd name="connsiteX341" fmla="*/ 1762504 w 12191996"/>
              <a:gd name="connsiteY341" fmla="*/ 6521016 h 6857997"/>
              <a:gd name="connsiteX342" fmla="*/ 1762504 w 12191996"/>
              <a:gd name="connsiteY342" fmla="*/ 6446928 h 6857997"/>
              <a:gd name="connsiteX343" fmla="*/ 1266473 w 12191996"/>
              <a:gd name="connsiteY343" fmla="*/ 6446928 h 6857997"/>
              <a:gd name="connsiteX344" fmla="*/ 1266473 w 12191996"/>
              <a:gd name="connsiteY344" fmla="*/ 6521016 h 6857997"/>
              <a:gd name="connsiteX345" fmla="*/ 1276729 w 12191996"/>
              <a:gd name="connsiteY345" fmla="*/ 6521016 h 6857997"/>
              <a:gd name="connsiteX346" fmla="*/ 1276729 w 12191996"/>
              <a:gd name="connsiteY346" fmla="*/ 6446928 h 6857997"/>
              <a:gd name="connsiteX347" fmla="*/ 6278772 w 12191996"/>
              <a:gd name="connsiteY347" fmla="*/ 6445253 h 6857997"/>
              <a:gd name="connsiteX348" fmla="*/ 6259901 w 12191996"/>
              <a:gd name="connsiteY348" fmla="*/ 6450695 h 6857997"/>
              <a:gd name="connsiteX349" fmla="*/ 6251146 w 12191996"/>
              <a:gd name="connsiteY349" fmla="*/ 6468066 h 6857997"/>
              <a:gd name="connsiteX350" fmla="*/ 6261261 w 12191996"/>
              <a:gd name="connsiteY350" fmla="*/ 6469740 h 6857997"/>
              <a:gd name="connsiteX351" fmla="*/ 6266493 w 12191996"/>
              <a:gd name="connsiteY351" fmla="*/ 6458558 h 6857997"/>
              <a:gd name="connsiteX352" fmla="*/ 6277237 w 12191996"/>
              <a:gd name="connsiteY352" fmla="*/ 6455578 h 6857997"/>
              <a:gd name="connsiteX353" fmla="*/ 6289027 w 12191996"/>
              <a:gd name="connsiteY353" fmla="*/ 6460043 h 6857997"/>
              <a:gd name="connsiteX354" fmla="*/ 6291748 w 12191996"/>
              <a:gd name="connsiteY354" fmla="*/ 6470717 h 6857997"/>
              <a:gd name="connsiteX355" fmla="*/ 6291678 w 12191996"/>
              <a:gd name="connsiteY355" fmla="*/ 6473926 h 6857997"/>
              <a:gd name="connsiteX356" fmla="*/ 6273260 w 12191996"/>
              <a:gd name="connsiteY356" fmla="*/ 6478321 h 6857997"/>
              <a:gd name="connsiteX357" fmla="*/ 6259308 w 12191996"/>
              <a:gd name="connsiteY357" fmla="*/ 6482437 h 6857997"/>
              <a:gd name="connsiteX358" fmla="*/ 6252052 w 12191996"/>
              <a:gd name="connsiteY358" fmla="*/ 6490181 h 6857997"/>
              <a:gd name="connsiteX359" fmla="*/ 6249401 w 12191996"/>
              <a:gd name="connsiteY359" fmla="*/ 6501552 h 6857997"/>
              <a:gd name="connsiteX360" fmla="*/ 6255052 w 12191996"/>
              <a:gd name="connsiteY360" fmla="*/ 6516970 h 6857997"/>
              <a:gd name="connsiteX361" fmla="*/ 6270191 w 12191996"/>
              <a:gd name="connsiteY361" fmla="*/ 6522691 h 6857997"/>
              <a:gd name="connsiteX362" fmla="*/ 6281772 w 12191996"/>
              <a:gd name="connsiteY362" fmla="*/ 6519969 h 6857997"/>
              <a:gd name="connsiteX363" fmla="*/ 6292515 w 12191996"/>
              <a:gd name="connsiteY363" fmla="*/ 6511876 h 6857997"/>
              <a:gd name="connsiteX364" fmla="*/ 6294608 w 12191996"/>
              <a:gd name="connsiteY364" fmla="*/ 6521016 h 6857997"/>
              <a:gd name="connsiteX365" fmla="*/ 6305352 w 12191996"/>
              <a:gd name="connsiteY365" fmla="*/ 6521016 h 6857997"/>
              <a:gd name="connsiteX366" fmla="*/ 6302735 w 12191996"/>
              <a:gd name="connsiteY366" fmla="*/ 6512121 h 6857997"/>
              <a:gd name="connsiteX367" fmla="*/ 6302073 w 12191996"/>
              <a:gd name="connsiteY367" fmla="*/ 6489972 h 6857997"/>
              <a:gd name="connsiteX368" fmla="*/ 6302073 w 12191996"/>
              <a:gd name="connsiteY368" fmla="*/ 6473228 h 6857997"/>
              <a:gd name="connsiteX369" fmla="*/ 6300643 w 12191996"/>
              <a:gd name="connsiteY369" fmla="*/ 6457741 h 6857997"/>
              <a:gd name="connsiteX370" fmla="*/ 6293771 w 12191996"/>
              <a:gd name="connsiteY370" fmla="*/ 6448846 h 6857997"/>
              <a:gd name="connsiteX371" fmla="*/ 6278772 w 12191996"/>
              <a:gd name="connsiteY371" fmla="*/ 6445253 h 6857997"/>
              <a:gd name="connsiteX372" fmla="*/ 6157704 w 12191996"/>
              <a:gd name="connsiteY372" fmla="*/ 6445253 h 6857997"/>
              <a:gd name="connsiteX373" fmla="*/ 6146596 w 12191996"/>
              <a:gd name="connsiteY373" fmla="*/ 6448271 h 6857997"/>
              <a:gd name="connsiteX374" fmla="*/ 6138413 w 12191996"/>
              <a:gd name="connsiteY374" fmla="*/ 6457393 h 6857997"/>
              <a:gd name="connsiteX375" fmla="*/ 6138413 w 12191996"/>
              <a:gd name="connsiteY375" fmla="*/ 6446928 h 6857997"/>
              <a:gd name="connsiteX376" fmla="*/ 6129134 w 12191996"/>
              <a:gd name="connsiteY376" fmla="*/ 6446928 h 6857997"/>
              <a:gd name="connsiteX377" fmla="*/ 6129134 w 12191996"/>
              <a:gd name="connsiteY377" fmla="*/ 6521016 h 6857997"/>
              <a:gd name="connsiteX378" fmla="*/ 6139390 w 12191996"/>
              <a:gd name="connsiteY378" fmla="*/ 6521016 h 6857997"/>
              <a:gd name="connsiteX379" fmla="*/ 6139390 w 12191996"/>
              <a:gd name="connsiteY379" fmla="*/ 6480510 h 6857997"/>
              <a:gd name="connsiteX380" fmla="*/ 6143785 w 12191996"/>
              <a:gd name="connsiteY380" fmla="*/ 6461584 h 6857997"/>
              <a:gd name="connsiteX381" fmla="*/ 6155575 w 12191996"/>
              <a:gd name="connsiteY381" fmla="*/ 6456067 h 6857997"/>
              <a:gd name="connsiteX382" fmla="*/ 6162446 w 12191996"/>
              <a:gd name="connsiteY382" fmla="*/ 6458127 h 6857997"/>
              <a:gd name="connsiteX383" fmla="*/ 6166807 w 12191996"/>
              <a:gd name="connsiteY383" fmla="*/ 6463958 h 6857997"/>
              <a:gd name="connsiteX384" fmla="*/ 6168202 w 12191996"/>
              <a:gd name="connsiteY384" fmla="*/ 6475901 h 6857997"/>
              <a:gd name="connsiteX385" fmla="*/ 6168202 w 12191996"/>
              <a:gd name="connsiteY385" fmla="*/ 6521016 h 6857997"/>
              <a:gd name="connsiteX386" fmla="*/ 6178457 w 12191996"/>
              <a:gd name="connsiteY386" fmla="*/ 6521016 h 6857997"/>
              <a:gd name="connsiteX387" fmla="*/ 6178457 w 12191996"/>
              <a:gd name="connsiteY387" fmla="*/ 6475461 h 6857997"/>
              <a:gd name="connsiteX388" fmla="*/ 6177203 w 12191996"/>
              <a:gd name="connsiteY388" fmla="*/ 6460253 h 6857997"/>
              <a:gd name="connsiteX389" fmla="*/ 6173408 w 12191996"/>
              <a:gd name="connsiteY389" fmla="*/ 6452195 h 6857997"/>
              <a:gd name="connsiteX390" fmla="*/ 6166722 w 12191996"/>
              <a:gd name="connsiteY390" fmla="*/ 6447172 h 6857997"/>
              <a:gd name="connsiteX391" fmla="*/ 6157704 w 12191996"/>
              <a:gd name="connsiteY391" fmla="*/ 6445253 h 6857997"/>
              <a:gd name="connsiteX392" fmla="*/ 6087367 w 12191996"/>
              <a:gd name="connsiteY392" fmla="*/ 6445253 h 6857997"/>
              <a:gd name="connsiteX393" fmla="*/ 6066962 w 12191996"/>
              <a:gd name="connsiteY393" fmla="*/ 6455334 h 6857997"/>
              <a:gd name="connsiteX394" fmla="*/ 6058901 w 12191996"/>
              <a:gd name="connsiteY394" fmla="*/ 6484600 h 6857997"/>
              <a:gd name="connsiteX395" fmla="*/ 6066893 w 12191996"/>
              <a:gd name="connsiteY395" fmla="*/ 6512889 h 6857997"/>
              <a:gd name="connsiteX396" fmla="*/ 6087783 w 12191996"/>
              <a:gd name="connsiteY396" fmla="*/ 6522691 h 6857997"/>
              <a:gd name="connsiteX397" fmla="*/ 6104980 w 12191996"/>
              <a:gd name="connsiteY397" fmla="*/ 6516656 h 6857997"/>
              <a:gd name="connsiteX398" fmla="*/ 6114573 w 12191996"/>
              <a:gd name="connsiteY398" fmla="*/ 6498762 h 6857997"/>
              <a:gd name="connsiteX399" fmla="*/ 6103969 w 12191996"/>
              <a:gd name="connsiteY399" fmla="*/ 6497157 h 6857997"/>
              <a:gd name="connsiteX400" fmla="*/ 6087853 w 12191996"/>
              <a:gd name="connsiteY400" fmla="*/ 6512366 h 6857997"/>
              <a:gd name="connsiteX401" fmla="*/ 6075296 w 12191996"/>
              <a:gd name="connsiteY401" fmla="*/ 6506017 h 6857997"/>
              <a:gd name="connsiteX402" fmla="*/ 6069506 w 12191996"/>
              <a:gd name="connsiteY402" fmla="*/ 6487181 h 6857997"/>
              <a:gd name="connsiteX403" fmla="*/ 6114852 w 12191996"/>
              <a:gd name="connsiteY403" fmla="*/ 6487181 h 6857997"/>
              <a:gd name="connsiteX404" fmla="*/ 6114921 w 12191996"/>
              <a:gd name="connsiteY404" fmla="*/ 6483832 h 6857997"/>
              <a:gd name="connsiteX405" fmla="*/ 6107038 w 12191996"/>
              <a:gd name="connsiteY405" fmla="*/ 6455160 h 6857997"/>
              <a:gd name="connsiteX406" fmla="*/ 6087367 w 12191996"/>
              <a:gd name="connsiteY406" fmla="*/ 6445253 h 6857997"/>
              <a:gd name="connsiteX407" fmla="*/ 5900531 w 12191996"/>
              <a:gd name="connsiteY407" fmla="*/ 6445253 h 6857997"/>
              <a:gd name="connsiteX408" fmla="*/ 5889422 w 12191996"/>
              <a:gd name="connsiteY408" fmla="*/ 6448271 h 6857997"/>
              <a:gd name="connsiteX409" fmla="*/ 5881238 w 12191996"/>
              <a:gd name="connsiteY409" fmla="*/ 6457393 h 6857997"/>
              <a:gd name="connsiteX410" fmla="*/ 5881238 w 12191996"/>
              <a:gd name="connsiteY410" fmla="*/ 6446928 h 6857997"/>
              <a:gd name="connsiteX411" fmla="*/ 5871961 w 12191996"/>
              <a:gd name="connsiteY411" fmla="*/ 6446928 h 6857997"/>
              <a:gd name="connsiteX412" fmla="*/ 5871961 w 12191996"/>
              <a:gd name="connsiteY412" fmla="*/ 6521016 h 6857997"/>
              <a:gd name="connsiteX413" fmla="*/ 5882218 w 12191996"/>
              <a:gd name="connsiteY413" fmla="*/ 6521016 h 6857997"/>
              <a:gd name="connsiteX414" fmla="*/ 5882218 w 12191996"/>
              <a:gd name="connsiteY414" fmla="*/ 6480510 h 6857997"/>
              <a:gd name="connsiteX415" fmla="*/ 5886612 w 12191996"/>
              <a:gd name="connsiteY415" fmla="*/ 6461584 h 6857997"/>
              <a:gd name="connsiteX416" fmla="*/ 5898402 w 12191996"/>
              <a:gd name="connsiteY416" fmla="*/ 6456067 h 6857997"/>
              <a:gd name="connsiteX417" fmla="*/ 5905276 w 12191996"/>
              <a:gd name="connsiteY417" fmla="*/ 6458127 h 6857997"/>
              <a:gd name="connsiteX418" fmla="*/ 5909633 w 12191996"/>
              <a:gd name="connsiteY418" fmla="*/ 6463958 h 6857997"/>
              <a:gd name="connsiteX419" fmla="*/ 5911030 w 12191996"/>
              <a:gd name="connsiteY419" fmla="*/ 6475901 h 6857997"/>
              <a:gd name="connsiteX420" fmla="*/ 5911030 w 12191996"/>
              <a:gd name="connsiteY420" fmla="*/ 6521016 h 6857997"/>
              <a:gd name="connsiteX421" fmla="*/ 5921285 w 12191996"/>
              <a:gd name="connsiteY421" fmla="*/ 6521016 h 6857997"/>
              <a:gd name="connsiteX422" fmla="*/ 5921285 w 12191996"/>
              <a:gd name="connsiteY422" fmla="*/ 6475461 h 6857997"/>
              <a:gd name="connsiteX423" fmla="*/ 5920030 w 12191996"/>
              <a:gd name="connsiteY423" fmla="*/ 6460253 h 6857997"/>
              <a:gd name="connsiteX424" fmla="*/ 5916235 w 12191996"/>
              <a:gd name="connsiteY424" fmla="*/ 6452195 h 6857997"/>
              <a:gd name="connsiteX425" fmla="*/ 5909549 w 12191996"/>
              <a:gd name="connsiteY425" fmla="*/ 6447172 h 6857997"/>
              <a:gd name="connsiteX426" fmla="*/ 5900531 w 12191996"/>
              <a:gd name="connsiteY426" fmla="*/ 6445253 h 6857997"/>
              <a:gd name="connsiteX427" fmla="*/ 5829842 w 12191996"/>
              <a:gd name="connsiteY427" fmla="*/ 6445253 h 6857997"/>
              <a:gd name="connsiteX428" fmla="*/ 5809436 w 12191996"/>
              <a:gd name="connsiteY428" fmla="*/ 6455020 h 6857997"/>
              <a:gd name="connsiteX429" fmla="*/ 5801380 w 12191996"/>
              <a:gd name="connsiteY429" fmla="*/ 6483972 h 6857997"/>
              <a:gd name="connsiteX430" fmla="*/ 5809506 w 12191996"/>
              <a:gd name="connsiteY430" fmla="*/ 6512889 h 6857997"/>
              <a:gd name="connsiteX431" fmla="*/ 5829842 w 12191996"/>
              <a:gd name="connsiteY431" fmla="*/ 6522691 h 6857997"/>
              <a:gd name="connsiteX432" fmla="*/ 5850285 w 12191996"/>
              <a:gd name="connsiteY432" fmla="*/ 6512924 h 6857997"/>
              <a:gd name="connsiteX433" fmla="*/ 5858305 w 12191996"/>
              <a:gd name="connsiteY433" fmla="*/ 6483205 h 6857997"/>
              <a:gd name="connsiteX434" fmla="*/ 5850143 w 12191996"/>
              <a:gd name="connsiteY434" fmla="*/ 6455020 h 6857997"/>
              <a:gd name="connsiteX435" fmla="*/ 5829842 w 12191996"/>
              <a:gd name="connsiteY435" fmla="*/ 6445253 h 6857997"/>
              <a:gd name="connsiteX436" fmla="*/ 2714271 w 12191996"/>
              <a:gd name="connsiteY436" fmla="*/ 6445253 h 6857997"/>
              <a:gd name="connsiteX437" fmla="*/ 2703162 w 12191996"/>
              <a:gd name="connsiteY437" fmla="*/ 6448271 h 6857997"/>
              <a:gd name="connsiteX438" fmla="*/ 2694979 w 12191996"/>
              <a:gd name="connsiteY438" fmla="*/ 6457393 h 6857997"/>
              <a:gd name="connsiteX439" fmla="*/ 2694979 w 12191996"/>
              <a:gd name="connsiteY439" fmla="*/ 6446928 h 6857997"/>
              <a:gd name="connsiteX440" fmla="*/ 2685702 w 12191996"/>
              <a:gd name="connsiteY440" fmla="*/ 6446928 h 6857997"/>
              <a:gd name="connsiteX441" fmla="*/ 2685702 w 12191996"/>
              <a:gd name="connsiteY441" fmla="*/ 6521016 h 6857997"/>
              <a:gd name="connsiteX442" fmla="*/ 2695956 w 12191996"/>
              <a:gd name="connsiteY442" fmla="*/ 6521016 h 6857997"/>
              <a:gd name="connsiteX443" fmla="*/ 2695956 w 12191996"/>
              <a:gd name="connsiteY443" fmla="*/ 6480510 h 6857997"/>
              <a:gd name="connsiteX444" fmla="*/ 2700353 w 12191996"/>
              <a:gd name="connsiteY444" fmla="*/ 6461584 h 6857997"/>
              <a:gd name="connsiteX445" fmla="*/ 2712140 w 12191996"/>
              <a:gd name="connsiteY445" fmla="*/ 6456067 h 6857997"/>
              <a:gd name="connsiteX446" fmla="*/ 2719012 w 12191996"/>
              <a:gd name="connsiteY446" fmla="*/ 6458127 h 6857997"/>
              <a:gd name="connsiteX447" fmla="*/ 2723374 w 12191996"/>
              <a:gd name="connsiteY447" fmla="*/ 6463958 h 6857997"/>
              <a:gd name="connsiteX448" fmla="*/ 2724768 w 12191996"/>
              <a:gd name="connsiteY448" fmla="*/ 6475901 h 6857997"/>
              <a:gd name="connsiteX449" fmla="*/ 2724768 w 12191996"/>
              <a:gd name="connsiteY449" fmla="*/ 6521016 h 6857997"/>
              <a:gd name="connsiteX450" fmla="*/ 2735023 w 12191996"/>
              <a:gd name="connsiteY450" fmla="*/ 6521016 h 6857997"/>
              <a:gd name="connsiteX451" fmla="*/ 2735023 w 12191996"/>
              <a:gd name="connsiteY451" fmla="*/ 6475461 h 6857997"/>
              <a:gd name="connsiteX452" fmla="*/ 2733768 w 12191996"/>
              <a:gd name="connsiteY452" fmla="*/ 6460253 h 6857997"/>
              <a:gd name="connsiteX453" fmla="*/ 2729976 w 12191996"/>
              <a:gd name="connsiteY453" fmla="*/ 6452195 h 6857997"/>
              <a:gd name="connsiteX454" fmla="*/ 2723290 w 12191996"/>
              <a:gd name="connsiteY454" fmla="*/ 6447172 h 6857997"/>
              <a:gd name="connsiteX455" fmla="*/ 2714271 w 12191996"/>
              <a:gd name="connsiteY455" fmla="*/ 6445253 h 6857997"/>
              <a:gd name="connsiteX456" fmla="*/ 2644839 w 12191996"/>
              <a:gd name="connsiteY456" fmla="*/ 6445253 h 6857997"/>
              <a:gd name="connsiteX457" fmla="*/ 2625967 w 12191996"/>
              <a:gd name="connsiteY457" fmla="*/ 6450695 h 6857997"/>
              <a:gd name="connsiteX458" fmla="*/ 2617211 w 12191996"/>
              <a:gd name="connsiteY458" fmla="*/ 6468066 h 6857997"/>
              <a:gd name="connsiteX459" fmla="*/ 2627327 w 12191996"/>
              <a:gd name="connsiteY459" fmla="*/ 6469740 h 6857997"/>
              <a:gd name="connsiteX460" fmla="*/ 2632562 w 12191996"/>
              <a:gd name="connsiteY460" fmla="*/ 6458558 h 6857997"/>
              <a:gd name="connsiteX461" fmla="*/ 2643303 w 12191996"/>
              <a:gd name="connsiteY461" fmla="*/ 6455578 h 6857997"/>
              <a:gd name="connsiteX462" fmla="*/ 2655093 w 12191996"/>
              <a:gd name="connsiteY462" fmla="*/ 6460043 h 6857997"/>
              <a:gd name="connsiteX463" fmla="*/ 2657815 w 12191996"/>
              <a:gd name="connsiteY463" fmla="*/ 6470717 h 6857997"/>
              <a:gd name="connsiteX464" fmla="*/ 2657744 w 12191996"/>
              <a:gd name="connsiteY464" fmla="*/ 6473926 h 6857997"/>
              <a:gd name="connsiteX465" fmla="*/ 2639327 w 12191996"/>
              <a:gd name="connsiteY465" fmla="*/ 6478321 h 6857997"/>
              <a:gd name="connsiteX466" fmla="*/ 2625374 w 12191996"/>
              <a:gd name="connsiteY466" fmla="*/ 6482437 h 6857997"/>
              <a:gd name="connsiteX467" fmla="*/ 2618117 w 12191996"/>
              <a:gd name="connsiteY467" fmla="*/ 6490181 h 6857997"/>
              <a:gd name="connsiteX468" fmla="*/ 2615466 w 12191996"/>
              <a:gd name="connsiteY468" fmla="*/ 6501552 h 6857997"/>
              <a:gd name="connsiteX469" fmla="*/ 2621117 w 12191996"/>
              <a:gd name="connsiteY469" fmla="*/ 6516970 h 6857997"/>
              <a:gd name="connsiteX470" fmla="*/ 2636258 w 12191996"/>
              <a:gd name="connsiteY470" fmla="*/ 6522691 h 6857997"/>
              <a:gd name="connsiteX471" fmla="*/ 2647837 w 12191996"/>
              <a:gd name="connsiteY471" fmla="*/ 6519969 h 6857997"/>
              <a:gd name="connsiteX472" fmla="*/ 2658582 w 12191996"/>
              <a:gd name="connsiteY472" fmla="*/ 6511876 h 6857997"/>
              <a:gd name="connsiteX473" fmla="*/ 2660674 w 12191996"/>
              <a:gd name="connsiteY473" fmla="*/ 6521016 h 6857997"/>
              <a:gd name="connsiteX474" fmla="*/ 2671419 w 12191996"/>
              <a:gd name="connsiteY474" fmla="*/ 6521016 h 6857997"/>
              <a:gd name="connsiteX475" fmla="*/ 2668802 w 12191996"/>
              <a:gd name="connsiteY475" fmla="*/ 6512121 h 6857997"/>
              <a:gd name="connsiteX476" fmla="*/ 2668139 w 12191996"/>
              <a:gd name="connsiteY476" fmla="*/ 6489972 h 6857997"/>
              <a:gd name="connsiteX477" fmla="*/ 2668139 w 12191996"/>
              <a:gd name="connsiteY477" fmla="*/ 6473228 h 6857997"/>
              <a:gd name="connsiteX478" fmla="*/ 2666708 w 12191996"/>
              <a:gd name="connsiteY478" fmla="*/ 6457741 h 6857997"/>
              <a:gd name="connsiteX479" fmla="*/ 2659837 w 12191996"/>
              <a:gd name="connsiteY479" fmla="*/ 6448846 h 6857997"/>
              <a:gd name="connsiteX480" fmla="*/ 2644839 w 12191996"/>
              <a:gd name="connsiteY480" fmla="*/ 6445253 h 6857997"/>
              <a:gd name="connsiteX481" fmla="*/ 2574815 w 12191996"/>
              <a:gd name="connsiteY481" fmla="*/ 6445253 h 6857997"/>
              <a:gd name="connsiteX482" fmla="*/ 2568151 w 12191996"/>
              <a:gd name="connsiteY482" fmla="*/ 6447800 h 6857997"/>
              <a:gd name="connsiteX483" fmla="*/ 2561629 w 12191996"/>
              <a:gd name="connsiteY483" fmla="*/ 6458160 h 6857997"/>
              <a:gd name="connsiteX484" fmla="*/ 2561629 w 12191996"/>
              <a:gd name="connsiteY484" fmla="*/ 6446928 h 6857997"/>
              <a:gd name="connsiteX485" fmla="*/ 2552350 w 12191996"/>
              <a:gd name="connsiteY485" fmla="*/ 6446928 h 6857997"/>
              <a:gd name="connsiteX486" fmla="*/ 2552350 w 12191996"/>
              <a:gd name="connsiteY486" fmla="*/ 6521016 h 6857997"/>
              <a:gd name="connsiteX487" fmla="*/ 2562605 w 12191996"/>
              <a:gd name="connsiteY487" fmla="*/ 6521016 h 6857997"/>
              <a:gd name="connsiteX488" fmla="*/ 2562605 w 12191996"/>
              <a:gd name="connsiteY488" fmla="*/ 6482228 h 6857997"/>
              <a:gd name="connsiteX489" fmla="*/ 2564558 w 12191996"/>
              <a:gd name="connsiteY489" fmla="*/ 6466950 h 6857997"/>
              <a:gd name="connsiteX490" fmla="*/ 2568395 w 12191996"/>
              <a:gd name="connsiteY490" fmla="*/ 6460532 h 6857997"/>
              <a:gd name="connsiteX491" fmla="*/ 2574395 w 12191996"/>
              <a:gd name="connsiteY491" fmla="*/ 6458229 h 6857997"/>
              <a:gd name="connsiteX492" fmla="*/ 2581860 w 12191996"/>
              <a:gd name="connsiteY492" fmla="*/ 6460950 h 6857997"/>
              <a:gd name="connsiteX493" fmla="*/ 2585348 w 12191996"/>
              <a:gd name="connsiteY493" fmla="*/ 6449300 h 6857997"/>
              <a:gd name="connsiteX494" fmla="*/ 2574815 w 12191996"/>
              <a:gd name="connsiteY494" fmla="*/ 6445253 h 6857997"/>
              <a:gd name="connsiteX495" fmla="*/ 2510583 w 12191996"/>
              <a:gd name="connsiteY495" fmla="*/ 6445253 h 6857997"/>
              <a:gd name="connsiteX496" fmla="*/ 2490178 w 12191996"/>
              <a:gd name="connsiteY496" fmla="*/ 6455334 h 6857997"/>
              <a:gd name="connsiteX497" fmla="*/ 2482119 w 12191996"/>
              <a:gd name="connsiteY497" fmla="*/ 6484600 h 6857997"/>
              <a:gd name="connsiteX498" fmla="*/ 2490104 w 12191996"/>
              <a:gd name="connsiteY498" fmla="*/ 6512889 h 6857997"/>
              <a:gd name="connsiteX499" fmla="*/ 2511000 w 12191996"/>
              <a:gd name="connsiteY499" fmla="*/ 6522691 h 6857997"/>
              <a:gd name="connsiteX500" fmla="*/ 2528195 w 12191996"/>
              <a:gd name="connsiteY500" fmla="*/ 6516656 h 6857997"/>
              <a:gd name="connsiteX501" fmla="*/ 2537790 w 12191996"/>
              <a:gd name="connsiteY501" fmla="*/ 6498762 h 6857997"/>
              <a:gd name="connsiteX502" fmla="*/ 2527186 w 12191996"/>
              <a:gd name="connsiteY502" fmla="*/ 6497157 h 6857997"/>
              <a:gd name="connsiteX503" fmla="*/ 2511068 w 12191996"/>
              <a:gd name="connsiteY503" fmla="*/ 6512366 h 6857997"/>
              <a:gd name="connsiteX504" fmla="*/ 2498511 w 12191996"/>
              <a:gd name="connsiteY504" fmla="*/ 6506017 h 6857997"/>
              <a:gd name="connsiteX505" fmla="*/ 2492723 w 12191996"/>
              <a:gd name="connsiteY505" fmla="*/ 6487181 h 6857997"/>
              <a:gd name="connsiteX506" fmla="*/ 2538068 w 12191996"/>
              <a:gd name="connsiteY506" fmla="*/ 6487181 h 6857997"/>
              <a:gd name="connsiteX507" fmla="*/ 2538139 w 12191996"/>
              <a:gd name="connsiteY507" fmla="*/ 6483832 h 6857997"/>
              <a:gd name="connsiteX508" fmla="*/ 2530255 w 12191996"/>
              <a:gd name="connsiteY508" fmla="*/ 6455160 h 6857997"/>
              <a:gd name="connsiteX509" fmla="*/ 2510583 w 12191996"/>
              <a:gd name="connsiteY509" fmla="*/ 6445253 h 6857997"/>
              <a:gd name="connsiteX510" fmla="*/ 1942743 w 12191996"/>
              <a:gd name="connsiteY510" fmla="*/ 6445253 h 6857997"/>
              <a:gd name="connsiteX511" fmla="*/ 1931635 w 12191996"/>
              <a:gd name="connsiteY511" fmla="*/ 6448271 h 6857997"/>
              <a:gd name="connsiteX512" fmla="*/ 1923452 w 12191996"/>
              <a:gd name="connsiteY512" fmla="*/ 6457393 h 6857997"/>
              <a:gd name="connsiteX513" fmla="*/ 1923452 w 12191996"/>
              <a:gd name="connsiteY513" fmla="*/ 6446928 h 6857997"/>
              <a:gd name="connsiteX514" fmla="*/ 1914173 w 12191996"/>
              <a:gd name="connsiteY514" fmla="*/ 6446928 h 6857997"/>
              <a:gd name="connsiteX515" fmla="*/ 1914173 w 12191996"/>
              <a:gd name="connsiteY515" fmla="*/ 6521016 h 6857997"/>
              <a:gd name="connsiteX516" fmla="*/ 1924429 w 12191996"/>
              <a:gd name="connsiteY516" fmla="*/ 6521016 h 6857997"/>
              <a:gd name="connsiteX517" fmla="*/ 1924429 w 12191996"/>
              <a:gd name="connsiteY517" fmla="*/ 6480510 h 6857997"/>
              <a:gd name="connsiteX518" fmla="*/ 1928824 w 12191996"/>
              <a:gd name="connsiteY518" fmla="*/ 6461584 h 6857997"/>
              <a:gd name="connsiteX519" fmla="*/ 1940614 w 12191996"/>
              <a:gd name="connsiteY519" fmla="*/ 6456067 h 6857997"/>
              <a:gd name="connsiteX520" fmla="*/ 1947485 w 12191996"/>
              <a:gd name="connsiteY520" fmla="*/ 6458127 h 6857997"/>
              <a:gd name="connsiteX521" fmla="*/ 1951846 w 12191996"/>
              <a:gd name="connsiteY521" fmla="*/ 6463958 h 6857997"/>
              <a:gd name="connsiteX522" fmla="*/ 1953242 w 12191996"/>
              <a:gd name="connsiteY522" fmla="*/ 6475901 h 6857997"/>
              <a:gd name="connsiteX523" fmla="*/ 1953242 w 12191996"/>
              <a:gd name="connsiteY523" fmla="*/ 6521016 h 6857997"/>
              <a:gd name="connsiteX524" fmla="*/ 1963497 w 12191996"/>
              <a:gd name="connsiteY524" fmla="*/ 6521016 h 6857997"/>
              <a:gd name="connsiteX525" fmla="*/ 1963497 w 12191996"/>
              <a:gd name="connsiteY525" fmla="*/ 6475461 h 6857997"/>
              <a:gd name="connsiteX526" fmla="*/ 1962243 w 12191996"/>
              <a:gd name="connsiteY526" fmla="*/ 6460253 h 6857997"/>
              <a:gd name="connsiteX527" fmla="*/ 1958447 w 12191996"/>
              <a:gd name="connsiteY527" fmla="*/ 6452195 h 6857997"/>
              <a:gd name="connsiteX528" fmla="*/ 1951761 w 12191996"/>
              <a:gd name="connsiteY528" fmla="*/ 6447172 h 6857997"/>
              <a:gd name="connsiteX529" fmla="*/ 1942743 w 12191996"/>
              <a:gd name="connsiteY529" fmla="*/ 6445253 h 6857997"/>
              <a:gd name="connsiteX530" fmla="*/ 1872055 w 12191996"/>
              <a:gd name="connsiteY530" fmla="*/ 6445253 h 6857997"/>
              <a:gd name="connsiteX531" fmla="*/ 1851649 w 12191996"/>
              <a:gd name="connsiteY531" fmla="*/ 6455020 h 6857997"/>
              <a:gd name="connsiteX532" fmla="*/ 1843593 w 12191996"/>
              <a:gd name="connsiteY532" fmla="*/ 6483972 h 6857997"/>
              <a:gd name="connsiteX533" fmla="*/ 1851719 w 12191996"/>
              <a:gd name="connsiteY533" fmla="*/ 6512889 h 6857997"/>
              <a:gd name="connsiteX534" fmla="*/ 1872055 w 12191996"/>
              <a:gd name="connsiteY534" fmla="*/ 6522691 h 6857997"/>
              <a:gd name="connsiteX535" fmla="*/ 1892496 w 12191996"/>
              <a:gd name="connsiteY535" fmla="*/ 6512924 h 6857997"/>
              <a:gd name="connsiteX536" fmla="*/ 1900519 w 12191996"/>
              <a:gd name="connsiteY536" fmla="*/ 6483205 h 6857997"/>
              <a:gd name="connsiteX537" fmla="*/ 1892356 w 12191996"/>
              <a:gd name="connsiteY537" fmla="*/ 6455020 h 6857997"/>
              <a:gd name="connsiteX538" fmla="*/ 1872055 w 12191996"/>
              <a:gd name="connsiteY538" fmla="*/ 6445253 h 6857997"/>
              <a:gd name="connsiteX539" fmla="*/ 1803287 w 12191996"/>
              <a:gd name="connsiteY539" fmla="*/ 6445253 h 6857997"/>
              <a:gd name="connsiteX540" fmla="*/ 1796625 w 12191996"/>
              <a:gd name="connsiteY540" fmla="*/ 6447800 h 6857997"/>
              <a:gd name="connsiteX541" fmla="*/ 1790103 w 12191996"/>
              <a:gd name="connsiteY541" fmla="*/ 6458160 h 6857997"/>
              <a:gd name="connsiteX542" fmla="*/ 1790103 w 12191996"/>
              <a:gd name="connsiteY542" fmla="*/ 6446928 h 6857997"/>
              <a:gd name="connsiteX543" fmla="*/ 1780823 w 12191996"/>
              <a:gd name="connsiteY543" fmla="*/ 6446928 h 6857997"/>
              <a:gd name="connsiteX544" fmla="*/ 1780823 w 12191996"/>
              <a:gd name="connsiteY544" fmla="*/ 6521016 h 6857997"/>
              <a:gd name="connsiteX545" fmla="*/ 1791079 w 12191996"/>
              <a:gd name="connsiteY545" fmla="*/ 6521016 h 6857997"/>
              <a:gd name="connsiteX546" fmla="*/ 1791079 w 12191996"/>
              <a:gd name="connsiteY546" fmla="*/ 6482228 h 6857997"/>
              <a:gd name="connsiteX547" fmla="*/ 1793032 w 12191996"/>
              <a:gd name="connsiteY547" fmla="*/ 6466950 h 6857997"/>
              <a:gd name="connsiteX548" fmla="*/ 1796869 w 12191996"/>
              <a:gd name="connsiteY548" fmla="*/ 6460532 h 6857997"/>
              <a:gd name="connsiteX549" fmla="*/ 1802869 w 12191996"/>
              <a:gd name="connsiteY549" fmla="*/ 6458229 h 6857997"/>
              <a:gd name="connsiteX550" fmla="*/ 1810333 w 12191996"/>
              <a:gd name="connsiteY550" fmla="*/ 6460950 h 6857997"/>
              <a:gd name="connsiteX551" fmla="*/ 1813822 w 12191996"/>
              <a:gd name="connsiteY551" fmla="*/ 6449300 h 6857997"/>
              <a:gd name="connsiteX552" fmla="*/ 1803287 w 12191996"/>
              <a:gd name="connsiteY552" fmla="*/ 6445253 h 6857997"/>
              <a:gd name="connsiteX553" fmla="*/ 1715748 w 12191996"/>
              <a:gd name="connsiteY553" fmla="*/ 6445253 h 6857997"/>
              <a:gd name="connsiteX554" fmla="*/ 1698935 w 12191996"/>
              <a:gd name="connsiteY554" fmla="*/ 6451183 h 6857997"/>
              <a:gd name="connsiteX555" fmla="*/ 1692866 w 12191996"/>
              <a:gd name="connsiteY555" fmla="*/ 6466601 h 6857997"/>
              <a:gd name="connsiteX556" fmla="*/ 1695099 w 12191996"/>
              <a:gd name="connsiteY556" fmla="*/ 6476438 h 6857997"/>
              <a:gd name="connsiteX557" fmla="*/ 1701377 w 12191996"/>
              <a:gd name="connsiteY557" fmla="*/ 6483344 h 6857997"/>
              <a:gd name="connsiteX558" fmla="*/ 1717423 w 12191996"/>
              <a:gd name="connsiteY558" fmla="*/ 6489623 h 6857997"/>
              <a:gd name="connsiteX559" fmla="*/ 1727887 w 12191996"/>
              <a:gd name="connsiteY559" fmla="*/ 6493809 h 6857997"/>
              <a:gd name="connsiteX560" fmla="*/ 1731026 w 12191996"/>
              <a:gd name="connsiteY560" fmla="*/ 6500645 h 6857997"/>
              <a:gd name="connsiteX561" fmla="*/ 1727373 w 12191996"/>
              <a:gd name="connsiteY561" fmla="*/ 6509052 h 6857997"/>
              <a:gd name="connsiteX562" fmla="*/ 1717037 w 12191996"/>
              <a:gd name="connsiteY562" fmla="*/ 6512366 h 6857997"/>
              <a:gd name="connsiteX563" fmla="*/ 1706319 w 12191996"/>
              <a:gd name="connsiteY563" fmla="*/ 6508546 h 6857997"/>
              <a:gd name="connsiteX564" fmla="*/ 1701377 w 12191996"/>
              <a:gd name="connsiteY564" fmla="*/ 6496878 h 6857997"/>
              <a:gd name="connsiteX565" fmla="*/ 1691122 w 12191996"/>
              <a:gd name="connsiteY565" fmla="*/ 6498832 h 6857997"/>
              <a:gd name="connsiteX566" fmla="*/ 1716446 w 12191996"/>
              <a:gd name="connsiteY566" fmla="*/ 6522691 h 6857997"/>
              <a:gd name="connsiteX567" fmla="*/ 1734829 w 12191996"/>
              <a:gd name="connsiteY567" fmla="*/ 6516121 h 6857997"/>
              <a:gd name="connsiteX568" fmla="*/ 1741562 w 12191996"/>
              <a:gd name="connsiteY568" fmla="*/ 6498930 h 6857997"/>
              <a:gd name="connsiteX569" fmla="*/ 1739475 w 12191996"/>
              <a:gd name="connsiteY569" fmla="*/ 6489041 h 6857997"/>
              <a:gd name="connsiteX570" fmla="*/ 1733637 w 12191996"/>
              <a:gd name="connsiteY570" fmla="*/ 6482472 h 6857997"/>
              <a:gd name="connsiteX571" fmla="*/ 1717100 w 12191996"/>
              <a:gd name="connsiteY571" fmla="*/ 6476005 h 6857997"/>
              <a:gd name="connsiteX572" fmla="*/ 1705917 w 12191996"/>
              <a:gd name="connsiteY572" fmla="*/ 6471559 h 6857997"/>
              <a:gd name="connsiteX573" fmla="*/ 1702772 w 12191996"/>
              <a:gd name="connsiteY573" fmla="*/ 6465097 h 6857997"/>
              <a:gd name="connsiteX574" fmla="*/ 1706052 w 12191996"/>
              <a:gd name="connsiteY574" fmla="*/ 6458253 h 6857997"/>
              <a:gd name="connsiteX575" fmla="*/ 1716027 w 12191996"/>
              <a:gd name="connsiteY575" fmla="*/ 6455578 h 6857997"/>
              <a:gd name="connsiteX576" fmla="*/ 1729213 w 12191996"/>
              <a:gd name="connsiteY576" fmla="*/ 6467717 h 6857997"/>
              <a:gd name="connsiteX577" fmla="*/ 1739260 w 12191996"/>
              <a:gd name="connsiteY577" fmla="*/ 6466043 h 6857997"/>
              <a:gd name="connsiteX578" fmla="*/ 1735491 w 12191996"/>
              <a:gd name="connsiteY578" fmla="*/ 6454253 h 6857997"/>
              <a:gd name="connsiteX579" fmla="*/ 1727643 w 12191996"/>
              <a:gd name="connsiteY579" fmla="*/ 6447695 h 6857997"/>
              <a:gd name="connsiteX580" fmla="*/ 1715748 w 12191996"/>
              <a:gd name="connsiteY580" fmla="*/ 6445253 h 6857997"/>
              <a:gd name="connsiteX581" fmla="*/ 1656992 w 12191996"/>
              <a:gd name="connsiteY581" fmla="*/ 6445253 h 6857997"/>
              <a:gd name="connsiteX582" fmla="*/ 1645885 w 12191996"/>
              <a:gd name="connsiteY582" fmla="*/ 6448271 h 6857997"/>
              <a:gd name="connsiteX583" fmla="*/ 1637702 w 12191996"/>
              <a:gd name="connsiteY583" fmla="*/ 6457393 h 6857997"/>
              <a:gd name="connsiteX584" fmla="*/ 1637702 w 12191996"/>
              <a:gd name="connsiteY584" fmla="*/ 6446928 h 6857997"/>
              <a:gd name="connsiteX585" fmla="*/ 1628424 w 12191996"/>
              <a:gd name="connsiteY585" fmla="*/ 6446928 h 6857997"/>
              <a:gd name="connsiteX586" fmla="*/ 1628424 w 12191996"/>
              <a:gd name="connsiteY586" fmla="*/ 6521016 h 6857997"/>
              <a:gd name="connsiteX587" fmla="*/ 1638679 w 12191996"/>
              <a:gd name="connsiteY587" fmla="*/ 6521016 h 6857997"/>
              <a:gd name="connsiteX588" fmla="*/ 1638679 w 12191996"/>
              <a:gd name="connsiteY588" fmla="*/ 6480510 h 6857997"/>
              <a:gd name="connsiteX589" fmla="*/ 1643074 w 12191996"/>
              <a:gd name="connsiteY589" fmla="*/ 6461584 h 6857997"/>
              <a:gd name="connsiteX590" fmla="*/ 1654864 w 12191996"/>
              <a:gd name="connsiteY590" fmla="*/ 6456067 h 6857997"/>
              <a:gd name="connsiteX591" fmla="*/ 1661735 w 12191996"/>
              <a:gd name="connsiteY591" fmla="*/ 6458127 h 6857997"/>
              <a:gd name="connsiteX592" fmla="*/ 1666095 w 12191996"/>
              <a:gd name="connsiteY592" fmla="*/ 6463958 h 6857997"/>
              <a:gd name="connsiteX593" fmla="*/ 1667491 w 12191996"/>
              <a:gd name="connsiteY593" fmla="*/ 6475901 h 6857997"/>
              <a:gd name="connsiteX594" fmla="*/ 1667491 w 12191996"/>
              <a:gd name="connsiteY594" fmla="*/ 6521016 h 6857997"/>
              <a:gd name="connsiteX595" fmla="*/ 1677746 w 12191996"/>
              <a:gd name="connsiteY595" fmla="*/ 6521016 h 6857997"/>
              <a:gd name="connsiteX596" fmla="*/ 1677746 w 12191996"/>
              <a:gd name="connsiteY596" fmla="*/ 6475461 h 6857997"/>
              <a:gd name="connsiteX597" fmla="*/ 1676493 w 12191996"/>
              <a:gd name="connsiteY597" fmla="*/ 6460253 h 6857997"/>
              <a:gd name="connsiteX598" fmla="*/ 1672697 w 12191996"/>
              <a:gd name="connsiteY598" fmla="*/ 6452195 h 6857997"/>
              <a:gd name="connsiteX599" fmla="*/ 1666011 w 12191996"/>
              <a:gd name="connsiteY599" fmla="*/ 6447172 h 6857997"/>
              <a:gd name="connsiteX600" fmla="*/ 1656992 w 12191996"/>
              <a:gd name="connsiteY600" fmla="*/ 6445253 h 6857997"/>
              <a:gd name="connsiteX601" fmla="*/ 1586654 w 12191996"/>
              <a:gd name="connsiteY601" fmla="*/ 6445253 h 6857997"/>
              <a:gd name="connsiteX602" fmla="*/ 1566248 w 12191996"/>
              <a:gd name="connsiteY602" fmla="*/ 6455334 h 6857997"/>
              <a:gd name="connsiteX603" fmla="*/ 1558191 w 12191996"/>
              <a:gd name="connsiteY603" fmla="*/ 6484600 h 6857997"/>
              <a:gd name="connsiteX604" fmla="*/ 1566178 w 12191996"/>
              <a:gd name="connsiteY604" fmla="*/ 6512889 h 6857997"/>
              <a:gd name="connsiteX605" fmla="*/ 1587073 w 12191996"/>
              <a:gd name="connsiteY605" fmla="*/ 6522691 h 6857997"/>
              <a:gd name="connsiteX606" fmla="*/ 1604269 w 12191996"/>
              <a:gd name="connsiteY606" fmla="*/ 6516656 h 6857997"/>
              <a:gd name="connsiteX607" fmla="*/ 1613862 w 12191996"/>
              <a:gd name="connsiteY607" fmla="*/ 6498762 h 6857997"/>
              <a:gd name="connsiteX608" fmla="*/ 1603258 w 12191996"/>
              <a:gd name="connsiteY608" fmla="*/ 6497157 h 6857997"/>
              <a:gd name="connsiteX609" fmla="*/ 1587142 w 12191996"/>
              <a:gd name="connsiteY609" fmla="*/ 6512366 h 6857997"/>
              <a:gd name="connsiteX610" fmla="*/ 1574585 w 12191996"/>
              <a:gd name="connsiteY610" fmla="*/ 6506017 h 6857997"/>
              <a:gd name="connsiteX611" fmla="*/ 1568795 w 12191996"/>
              <a:gd name="connsiteY611" fmla="*/ 6487181 h 6857997"/>
              <a:gd name="connsiteX612" fmla="*/ 1614140 w 12191996"/>
              <a:gd name="connsiteY612" fmla="*/ 6487181 h 6857997"/>
              <a:gd name="connsiteX613" fmla="*/ 1614210 w 12191996"/>
              <a:gd name="connsiteY613" fmla="*/ 6483832 h 6857997"/>
              <a:gd name="connsiteX614" fmla="*/ 1606327 w 12191996"/>
              <a:gd name="connsiteY614" fmla="*/ 6455160 h 6857997"/>
              <a:gd name="connsiteX615" fmla="*/ 1586654 w 12191996"/>
              <a:gd name="connsiteY615" fmla="*/ 6445253 h 6857997"/>
              <a:gd name="connsiteX616" fmla="*/ 1317373 w 12191996"/>
              <a:gd name="connsiteY616" fmla="*/ 6445253 h 6857997"/>
              <a:gd name="connsiteX617" fmla="*/ 1304152 w 12191996"/>
              <a:gd name="connsiteY617" fmla="*/ 6449439 h 6857997"/>
              <a:gd name="connsiteX618" fmla="*/ 1294630 w 12191996"/>
              <a:gd name="connsiteY618" fmla="*/ 6462555 h 6857997"/>
              <a:gd name="connsiteX619" fmla="*/ 1291002 w 12191996"/>
              <a:gd name="connsiteY619" fmla="*/ 6483414 h 6857997"/>
              <a:gd name="connsiteX620" fmla="*/ 1299234 w 12191996"/>
              <a:gd name="connsiteY620" fmla="*/ 6511808 h 6857997"/>
              <a:gd name="connsiteX621" fmla="*/ 1317303 w 12191996"/>
              <a:gd name="connsiteY621" fmla="*/ 6521016 h 6857997"/>
              <a:gd name="connsiteX622" fmla="*/ 1326581 w 12191996"/>
              <a:gd name="connsiteY622" fmla="*/ 6518591 h 6857997"/>
              <a:gd name="connsiteX623" fmla="*/ 1334116 w 12191996"/>
              <a:gd name="connsiteY623" fmla="*/ 6511385 h 6857997"/>
              <a:gd name="connsiteX624" fmla="*/ 1333209 w 12191996"/>
              <a:gd name="connsiteY624" fmla="*/ 6527851 h 6857997"/>
              <a:gd name="connsiteX625" fmla="*/ 1327732 w 12191996"/>
              <a:gd name="connsiteY625" fmla="*/ 6537515 h 6857997"/>
              <a:gd name="connsiteX626" fmla="*/ 1316954 w 12191996"/>
              <a:gd name="connsiteY626" fmla="*/ 6540759 h 6857997"/>
              <a:gd name="connsiteX627" fmla="*/ 1307257 w 12191996"/>
              <a:gd name="connsiteY627" fmla="*/ 6537847 h 6857997"/>
              <a:gd name="connsiteX628" fmla="*/ 1303071 w 12191996"/>
              <a:gd name="connsiteY628" fmla="*/ 6528969 h 6857997"/>
              <a:gd name="connsiteX629" fmla="*/ 1293025 w 12191996"/>
              <a:gd name="connsiteY629" fmla="*/ 6527155 h 6857997"/>
              <a:gd name="connsiteX630" fmla="*/ 1299164 w 12191996"/>
              <a:gd name="connsiteY630" fmla="*/ 6544736 h 6857997"/>
              <a:gd name="connsiteX631" fmla="*/ 1317303 w 12191996"/>
              <a:gd name="connsiteY631" fmla="*/ 6551084 h 6857997"/>
              <a:gd name="connsiteX632" fmla="*/ 1332581 w 12191996"/>
              <a:gd name="connsiteY632" fmla="*/ 6546864 h 6857997"/>
              <a:gd name="connsiteX633" fmla="*/ 1341720 w 12191996"/>
              <a:gd name="connsiteY633" fmla="*/ 6535353 h 6857997"/>
              <a:gd name="connsiteX634" fmla="*/ 1344510 w 12191996"/>
              <a:gd name="connsiteY634" fmla="*/ 6510970 h 6857997"/>
              <a:gd name="connsiteX635" fmla="*/ 1344510 w 12191996"/>
              <a:gd name="connsiteY635" fmla="*/ 6446928 h 6857997"/>
              <a:gd name="connsiteX636" fmla="*/ 1335023 w 12191996"/>
              <a:gd name="connsiteY636" fmla="*/ 6446928 h 6857997"/>
              <a:gd name="connsiteX637" fmla="*/ 1335023 w 12191996"/>
              <a:gd name="connsiteY637" fmla="*/ 6455788 h 6857997"/>
              <a:gd name="connsiteX638" fmla="*/ 1327174 w 12191996"/>
              <a:gd name="connsiteY638" fmla="*/ 6447887 h 6857997"/>
              <a:gd name="connsiteX639" fmla="*/ 1317373 w 12191996"/>
              <a:gd name="connsiteY639" fmla="*/ 6445253 h 6857997"/>
              <a:gd name="connsiteX640" fmla="*/ 1250837 w 12191996"/>
              <a:gd name="connsiteY640" fmla="*/ 6445253 h 6857997"/>
              <a:gd name="connsiteX641" fmla="*/ 1244175 w 12191996"/>
              <a:gd name="connsiteY641" fmla="*/ 6447800 h 6857997"/>
              <a:gd name="connsiteX642" fmla="*/ 1237652 w 12191996"/>
              <a:gd name="connsiteY642" fmla="*/ 6458160 h 6857997"/>
              <a:gd name="connsiteX643" fmla="*/ 1237652 w 12191996"/>
              <a:gd name="connsiteY643" fmla="*/ 6446928 h 6857997"/>
              <a:gd name="connsiteX644" fmla="*/ 1230699 w 12191996"/>
              <a:gd name="connsiteY644" fmla="*/ 6446928 h 6857997"/>
              <a:gd name="connsiteX645" fmla="*/ 1228373 w 12191996"/>
              <a:gd name="connsiteY645" fmla="*/ 6446928 h 6857997"/>
              <a:gd name="connsiteX646" fmla="*/ 1220375 w 12191996"/>
              <a:gd name="connsiteY646" fmla="*/ 6446928 h 6857997"/>
              <a:gd name="connsiteX647" fmla="*/ 1207398 w 12191996"/>
              <a:gd name="connsiteY647" fmla="*/ 6490087 h 6857997"/>
              <a:gd name="connsiteX648" fmla="*/ 1203212 w 12191996"/>
              <a:gd name="connsiteY648" fmla="*/ 6506961 h 6857997"/>
              <a:gd name="connsiteX649" fmla="*/ 1198817 w 12191996"/>
              <a:gd name="connsiteY649" fmla="*/ 6489809 h 6857997"/>
              <a:gd name="connsiteX650" fmla="*/ 1186120 w 12191996"/>
              <a:gd name="connsiteY650" fmla="*/ 6446928 h 6857997"/>
              <a:gd name="connsiteX651" fmla="*/ 1175028 w 12191996"/>
              <a:gd name="connsiteY651" fmla="*/ 6446928 h 6857997"/>
              <a:gd name="connsiteX652" fmla="*/ 1198138 w 12191996"/>
              <a:gd name="connsiteY652" fmla="*/ 6521126 h 6857997"/>
              <a:gd name="connsiteX653" fmla="*/ 1194086 w 12191996"/>
              <a:gd name="connsiteY653" fmla="*/ 6533432 h 6857997"/>
              <a:gd name="connsiteX654" fmla="*/ 1190560 w 12191996"/>
              <a:gd name="connsiteY654" fmla="*/ 6537550 h 6857997"/>
              <a:gd name="connsiteX655" fmla="*/ 1185149 w 12191996"/>
              <a:gd name="connsiteY655" fmla="*/ 6538876 h 6857997"/>
              <a:gd name="connsiteX656" fmla="*/ 1179283 w 12191996"/>
              <a:gd name="connsiteY656" fmla="*/ 6537759 h 6857997"/>
              <a:gd name="connsiteX657" fmla="*/ 1180400 w 12191996"/>
              <a:gd name="connsiteY657" fmla="*/ 6549549 h 6857997"/>
              <a:gd name="connsiteX658" fmla="*/ 1187038 w 12191996"/>
              <a:gd name="connsiteY658" fmla="*/ 6551084 h 6857997"/>
              <a:gd name="connsiteX659" fmla="*/ 1194549 w 12191996"/>
              <a:gd name="connsiteY659" fmla="*/ 6548922 h 6857997"/>
              <a:gd name="connsiteX660" fmla="*/ 1200489 w 12191996"/>
              <a:gd name="connsiteY660" fmla="*/ 6541841 h 6857997"/>
              <a:gd name="connsiteX661" fmla="*/ 1207651 w 12191996"/>
              <a:gd name="connsiteY661" fmla="*/ 6522272 h 6857997"/>
              <a:gd name="connsiteX662" fmla="*/ 1228373 w 12191996"/>
              <a:gd name="connsiteY662" fmla="*/ 6454530 h 6857997"/>
              <a:gd name="connsiteX663" fmla="*/ 1228373 w 12191996"/>
              <a:gd name="connsiteY663" fmla="*/ 6521016 h 6857997"/>
              <a:gd name="connsiteX664" fmla="*/ 1238629 w 12191996"/>
              <a:gd name="connsiteY664" fmla="*/ 6521016 h 6857997"/>
              <a:gd name="connsiteX665" fmla="*/ 1238629 w 12191996"/>
              <a:gd name="connsiteY665" fmla="*/ 6482228 h 6857997"/>
              <a:gd name="connsiteX666" fmla="*/ 1240582 w 12191996"/>
              <a:gd name="connsiteY666" fmla="*/ 6466950 h 6857997"/>
              <a:gd name="connsiteX667" fmla="*/ 1244419 w 12191996"/>
              <a:gd name="connsiteY667" fmla="*/ 6460532 h 6857997"/>
              <a:gd name="connsiteX668" fmla="*/ 1250419 w 12191996"/>
              <a:gd name="connsiteY668" fmla="*/ 6458229 h 6857997"/>
              <a:gd name="connsiteX669" fmla="*/ 1257883 w 12191996"/>
              <a:gd name="connsiteY669" fmla="*/ 6460950 h 6857997"/>
              <a:gd name="connsiteX670" fmla="*/ 1261371 w 12191996"/>
              <a:gd name="connsiteY670" fmla="*/ 6449300 h 6857997"/>
              <a:gd name="connsiteX671" fmla="*/ 1250837 w 12191996"/>
              <a:gd name="connsiteY671" fmla="*/ 6445253 h 6857997"/>
              <a:gd name="connsiteX672" fmla="*/ 1141043 w 12191996"/>
              <a:gd name="connsiteY672" fmla="*/ 6445253 h 6857997"/>
              <a:gd name="connsiteX673" fmla="*/ 1131292 w 12191996"/>
              <a:gd name="connsiteY673" fmla="*/ 6447904 h 6857997"/>
              <a:gd name="connsiteX674" fmla="*/ 1123561 w 12191996"/>
              <a:gd name="connsiteY674" fmla="*/ 6456555 h 6857997"/>
              <a:gd name="connsiteX675" fmla="*/ 1123561 w 12191996"/>
              <a:gd name="connsiteY675" fmla="*/ 6446928 h 6857997"/>
              <a:gd name="connsiteX676" fmla="*/ 1114073 w 12191996"/>
              <a:gd name="connsiteY676" fmla="*/ 6446928 h 6857997"/>
              <a:gd name="connsiteX677" fmla="*/ 1114073 w 12191996"/>
              <a:gd name="connsiteY677" fmla="*/ 6549410 h 6857997"/>
              <a:gd name="connsiteX678" fmla="*/ 1124329 w 12191996"/>
              <a:gd name="connsiteY678" fmla="*/ 6549410 h 6857997"/>
              <a:gd name="connsiteX679" fmla="*/ 1124329 w 12191996"/>
              <a:gd name="connsiteY679" fmla="*/ 6513342 h 6857997"/>
              <a:gd name="connsiteX680" fmla="*/ 1131444 w 12191996"/>
              <a:gd name="connsiteY680" fmla="*/ 6520249 h 6857997"/>
              <a:gd name="connsiteX681" fmla="*/ 1140304 w 12191996"/>
              <a:gd name="connsiteY681" fmla="*/ 6522691 h 6857997"/>
              <a:gd name="connsiteX682" fmla="*/ 1158896 w 12191996"/>
              <a:gd name="connsiteY682" fmla="*/ 6512470 h 6857997"/>
              <a:gd name="connsiteX683" fmla="*/ 1166814 w 12191996"/>
              <a:gd name="connsiteY683" fmla="*/ 6483344 h 6857997"/>
              <a:gd name="connsiteX684" fmla="*/ 1163297 w 12191996"/>
              <a:gd name="connsiteY684" fmla="*/ 6462450 h 6857997"/>
              <a:gd name="connsiteX685" fmla="*/ 1153999 w 12191996"/>
              <a:gd name="connsiteY685" fmla="*/ 6449509 h 6857997"/>
              <a:gd name="connsiteX686" fmla="*/ 1141043 w 12191996"/>
              <a:gd name="connsiteY686" fmla="*/ 6445253 h 6857997"/>
              <a:gd name="connsiteX687" fmla="*/ 1071955 w 12191996"/>
              <a:gd name="connsiteY687" fmla="*/ 6445253 h 6857997"/>
              <a:gd name="connsiteX688" fmla="*/ 1051549 w 12191996"/>
              <a:gd name="connsiteY688" fmla="*/ 6455020 h 6857997"/>
              <a:gd name="connsiteX689" fmla="*/ 1043492 w 12191996"/>
              <a:gd name="connsiteY689" fmla="*/ 6483972 h 6857997"/>
              <a:gd name="connsiteX690" fmla="*/ 1051619 w 12191996"/>
              <a:gd name="connsiteY690" fmla="*/ 6512889 h 6857997"/>
              <a:gd name="connsiteX691" fmla="*/ 1071955 w 12191996"/>
              <a:gd name="connsiteY691" fmla="*/ 6522691 h 6857997"/>
              <a:gd name="connsiteX692" fmla="*/ 1092396 w 12191996"/>
              <a:gd name="connsiteY692" fmla="*/ 6512924 h 6857997"/>
              <a:gd name="connsiteX693" fmla="*/ 1100419 w 12191996"/>
              <a:gd name="connsiteY693" fmla="*/ 6483205 h 6857997"/>
              <a:gd name="connsiteX694" fmla="*/ 1092256 w 12191996"/>
              <a:gd name="connsiteY694" fmla="*/ 6455020 h 6857997"/>
              <a:gd name="connsiteX695" fmla="*/ 1071955 w 12191996"/>
              <a:gd name="connsiteY695" fmla="*/ 6445253 h 6857997"/>
              <a:gd name="connsiteX696" fmla="*/ 883898 w 12191996"/>
              <a:gd name="connsiteY696" fmla="*/ 6440021 h 6857997"/>
              <a:gd name="connsiteX697" fmla="*/ 867092 w 12191996"/>
              <a:gd name="connsiteY697" fmla="*/ 6447643 h 6857997"/>
              <a:gd name="connsiteX698" fmla="*/ 860698 w 12191996"/>
              <a:gd name="connsiteY698" fmla="*/ 6469810 h 6857997"/>
              <a:gd name="connsiteX699" fmla="*/ 867162 w 12191996"/>
              <a:gd name="connsiteY699" fmla="*/ 6492116 h 6857997"/>
              <a:gd name="connsiteX700" fmla="*/ 883407 w 12191996"/>
              <a:gd name="connsiteY700" fmla="*/ 6499878 h 6857997"/>
              <a:gd name="connsiteX701" fmla="*/ 896719 w 12191996"/>
              <a:gd name="connsiteY701" fmla="*/ 6494820 h 6857997"/>
              <a:gd name="connsiteX702" fmla="*/ 904161 w 12191996"/>
              <a:gd name="connsiteY702" fmla="*/ 6480763 h 6857997"/>
              <a:gd name="connsiteX703" fmla="*/ 897184 w 12191996"/>
              <a:gd name="connsiteY703" fmla="*/ 6478251 h 6857997"/>
              <a:gd name="connsiteX704" fmla="*/ 891869 w 12191996"/>
              <a:gd name="connsiteY704" fmla="*/ 6488193 h 6857997"/>
              <a:gd name="connsiteX705" fmla="*/ 882848 w 12191996"/>
              <a:gd name="connsiteY705" fmla="*/ 6491716 h 6857997"/>
              <a:gd name="connsiteX706" fmla="*/ 872568 w 12191996"/>
              <a:gd name="connsiteY706" fmla="*/ 6486327 h 6857997"/>
              <a:gd name="connsiteX707" fmla="*/ 868442 w 12191996"/>
              <a:gd name="connsiteY707" fmla="*/ 6470301 h 6857997"/>
              <a:gd name="connsiteX708" fmla="*/ 872778 w 12191996"/>
              <a:gd name="connsiteY708" fmla="*/ 6453503 h 6857997"/>
              <a:gd name="connsiteX709" fmla="*/ 883619 w 12191996"/>
              <a:gd name="connsiteY709" fmla="*/ 6447835 h 6857997"/>
              <a:gd name="connsiteX710" fmla="*/ 891347 w 12191996"/>
              <a:gd name="connsiteY710" fmla="*/ 6450521 h 6857997"/>
              <a:gd name="connsiteX711" fmla="*/ 896487 w 12191996"/>
              <a:gd name="connsiteY711" fmla="*/ 6458508 h 6857997"/>
              <a:gd name="connsiteX712" fmla="*/ 903324 w 12191996"/>
              <a:gd name="connsiteY712" fmla="*/ 6456485 h 6857997"/>
              <a:gd name="connsiteX713" fmla="*/ 896266 w 12191996"/>
              <a:gd name="connsiteY713" fmla="*/ 6444347 h 6857997"/>
              <a:gd name="connsiteX714" fmla="*/ 883898 w 12191996"/>
              <a:gd name="connsiteY714" fmla="*/ 6440021 h 6857997"/>
              <a:gd name="connsiteX715" fmla="*/ 2030141 w 12191996"/>
              <a:gd name="connsiteY715" fmla="*/ 6429487 h 6857997"/>
              <a:gd name="connsiteX716" fmla="*/ 2036069 w 12191996"/>
              <a:gd name="connsiteY716" fmla="*/ 6450695 h 6857997"/>
              <a:gd name="connsiteX717" fmla="*/ 2044784 w 12191996"/>
              <a:gd name="connsiteY717" fmla="*/ 6479019 h 6857997"/>
              <a:gd name="connsiteX718" fmla="*/ 2016217 w 12191996"/>
              <a:gd name="connsiteY718" fmla="*/ 6479019 h 6857997"/>
              <a:gd name="connsiteX719" fmla="*/ 2025546 w 12191996"/>
              <a:gd name="connsiteY719" fmla="*/ 6449021 h 6857997"/>
              <a:gd name="connsiteX720" fmla="*/ 2030141 w 12191996"/>
              <a:gd name="connsiteY720" fmla="*/ 6429487 h 6857997"/>
              <a:gd name="connsiteX721" fmla="*/ 883232 w 12191996"/>
              <a:gd name="connsiteY721" fmla="*/ 6425650 h 6857997"/>
              <a:gd name="connsiteX722" fmla="*/ 907928 w 12191996"/>
              <a:gd name="connsiteY722" fmla="*/ 6437739 h 6857997"/>
              <a:gd name="connsiteX723" fmla="*/ 919230 w 12191996"/>
              <a:gd name="connsiteY723" fmla="*/ 6469671 h 6857997"/>
              <a:gd name="connsiteX724" fmla="*/ 909323 w 12191996"/>
              <a:gd name="connsiteY724" fmla="*/ 6499926 h 6857997"/>
              <a:gd name="connsiteX725" fmla="*/ 883232 w 12191996"/>
              <a:gd name="connsiteY725" fmla="*/ 6513621 h 6857997"/>
              <a:gd name="connsiteX726" fmla="*/ 858536 w 12191996"/>
              <a:gd name="connsiteY726" fmla="*/ 6501604 h 6857997"/>
              <a:gd name="connsiteX727" fmla="*/ 847234 w 12191996"/>
              <a:gd name="connsiteY727" fmla="*/ 6469671 h 6857997"/>
              <a:gd name="connsiteX728" fmla="*/ 857140 w 12191996"/>
              <a:gd name="connsiteY728" fmla="*/ 6439345 h 6857997"/>
              <a:gd name="connsiteX729" fmla="*/ 883232 w 12191996"/>
              <a:gd name="connsiteY729" fmla="*/ 6425650 h 6857997"/>
              <a:gd name="connsiteX730" fmla="*/ 6208297 w 12191996"/>
              <a:gd name="connsiteY730" fmla="*/ 6421046 h 6857997"/>
              <a:gd name="connsiteX731" fmla="*/ 6198042 w 12191996"/>
              <a:gd name="connsiteY731" fmla="*/ 6428580 h 6857997"/>
              <a:gd name="connsiteX732" fmla="*/ 6198042 w 12191996"/>
              <a:gd name="connsiteY732" fmla="*/ 6446928 h 6857997"/>
              <a:gd name="connsiteX733" fmla="*/ 6190507 w 12191996"/>
              <a:gd name="connsiteY733" fmla="*/ 6446928 h 6857997"/>
              <a:gd name="connsiteX734" fmla="*/ 6190507 w 12191996"/>
              <a:gd name="connsiteY734" fmla="*/ 6456695 h 6857997"/>
              <a:gd name="connsiteX735" fmla="*/ 6198042 w 12191996"/>
              <a:gd name="connsiteY735" fmla="*/ 6456695 h 6857997"/>
              <a:gd name="connsiteX736" fmla="*/ 6198042 w 12191996"/>
              <a:gd name="connsiteY736" fmla="*/ 6499320 h 6857997"/>
              <a:gd name="connsiteX737" fmla="*/ 6199263 w 12191996"/>
              <a:gd name="connsiteY737" fmla="*/ 6514040 h 6857997"/>
              <a:gd name="connsiteX738" fmla="*/ 6203762 w 12191996"/>
              <a:gd name="connsiteY738" fmla="*/ 6519865 h 6857997"/>
              <a:gd name="connsiteX739" fmla="*/ 6212413 w 12191996"/>
              <a:gd name="connsiteY739" fmla="*/ 6521993 h 6857997"/>
              <a:gd name="connsiteX740" fmla="*/ 6220087 w 12191996"/>
              <a:gd name="connsiteY740" fmla="*/ 6520877 h 6857997"/>
              <a:gd name="connsiteX741" fmla="*/ 6218692 w 12191996"/>
              <a:gd name="connsiteY741" fmla="*/ 6509784 h 6857997"/>
              <a:gd name="connsiteX742" fmla="*/ 6214157 w 12191996"/>
              <a:gd name="connsiteY742" fmla="*/ 6510273 h 6857997"/>
              <a:gd name="connsiteX743" fmla="*/ 6209204 w 12191996"/>
              <a:gd name="connsiteY743" fmla="*/ 6507761 h 6857997"/>
              <a:gd name="connsiteX744" fmla="*/ 6208297 w 12191996"/>
              <a:gd name="connsiteY744" fmla="*/ 6500018 h 6857997"/>
              <a:gd name="connsiteX745" fmla="*/ 6208297 w 12191996"/>
              <a:gd name="connsiteY745" fmla="*/ 6456695 h 6857997"/>
              <a:gd name="connsiteX746" fmla="*/ 6218692 w 12191996"/>
              <a:gd name="connsiteY746" fmla="*/ 6456695 h 6857997"/>
              <a:gd name="connsiteX747" fmla="*/ 6218692 w 12191996"/>
              <a:gd name="connsiteY747" fmla="*/ 6446928 h 6857997"/>
              <a:gd name="connsiteX748" fmla="*/ 6208297 w 12191996"/>
              <a:gd name="connsiteY748" fmla="*/ 6446928 h 6857997"/>
              <a:gd name="connsiteX749" fmla="*/ 2421963 w 12191996"/>
              <a:gd name="connsiteY749" fmla="*/ 6421046 h 6857997"/>
              <a:gd name="connsiteX750" fmla="*/ 2411708 w 12191996"/>
              <a:gd name="connsiteY750" fmla="*/ 6428580 h 6857997"/>
              <a:gd name="connsiteX751" fmla="*/ 2411708 w 12191996"/>
              <a:gd name="connsiteY751" fmla="*/ 6446928 h 6857997"/>
              <a:gd name="connsiteX752" fmla="*/ 2404176 w 12191996"/>
              <a:gd name="connsiteY752" fmla="*/ 6446928 h 6857997"/>
              <a:gd name="connsiteX753" fmla="*/ 2404176 w 12191996"/>
              <a:gd name="connsiteY753" fmla="*/ 6456695 h 6857997"/>
              <a:gd name="connsiteX754" fmla="*/ 2411708 w 12191996"/>
              <a:gd name="connsiteY754" fmla="*/ 6456695 h 6857997"/>
              <a:gd name="connsiteX755" fmla="*/ 2411708 w 12191996"/>
              <a:gd name="connsiteY755" fmla="*/ 6499320 h 6857997"/>
              <a:gd name="connsiteX756" fmla="*/ 2412932 w 12191996"/>
              <a:gd name="connsiteY756" fmla="*/ 6514040 h 6857997"/>
              <a:gd name="connsiteX757" fmla="*/ 2417431 w 12191996"/>
              <a:gd name="connsiteY757" fmla="*/ 6519865 h 6857997"/>
              <a:gd name="connsiteX758" fmla="*/ 2426082 w 12191996"/>
              <a:gd name="connsiteY758" fmla="*/ 6521993 h 6857997"/>
              <a:gd name="connsiteX759" fmla="*/ 2432793 w 12191996"/>
              <a:gd name="connsiteY759" fmla="*/ 6521016 h 6857997"/>
              <a:gd name="connsiteX760" fmla="*/ 2486537 w 12191996"/>
              <a:gd name="connsiteY760" fmla="*/ 6521016 h 6857997"/>
              <a:gd name="connsiteX761" fmla="*/ 2486537 w 12191996"/>
              <a:gd name="connsiteY761" fmla="*/ 6510203 h 6857997"/>
              <a:gd name="connsiteX762" fmla="*/ 2458413 w 12191996"/>
              <a:gd name="connsiteY762" fmla="*/ 6510203 h 6857997"/>
              <a:gd name="connsiteX763" fmla="*/ 2445434 w 12191996"/>
              <a:gd name="connsiteY763" fmla="*/ 6510831 h 6857997"/>
              <a:gd name="connsiteX764" fmla="*/ 2451797 w 12191996"/>
              <a:gd name="connsiteY764" fmla="*/ 6502250 h 6857997"/>
              <a:gd name="connsiteX765" fmla="*/ 2484792 w 12191996"/>
              <a:gd name="connsiteY765" fmla="*/ 6455230 h 6857997"/>
              <a:gd name="connsiteX766" fmla="*/ 2484792 w 12191996"/>
              <a:gd name="connsiteY766" fmla="*/ 6446928 h 6857997"/>
              <a:gd name="connsiteX767" fmla="*/ 2435051 w 12191996"/>
              <a:gd name="connsiteY767" fmla="*/ 6446928 h 6857997"/>
              <a:gd name="connsiteX768" fmla="*/ 2435051 w 12191996"/>
              <a:gd name="connsiteY768" fmla="*/ 6457113 h 6857997"/>
              <a:gd name="connsiteX769" fmla="*/ 2459836 w 12191996"/>
              <a:gd name="connsiteY769" fmla="*/ 6457113 h 6857997"/>
              <a:gd name="connsiteX770" fmla="*/ 2471498 w 12191996"/>
              <a:gd name="connsiteY770" fmla="*/ 6456695 h 6857997"/>
              <a:gd name="connsiteX771" fmla="*/ 2432747 w 12191996"/>
              <a:gd name="connsiteY771" fmla="*/ 6510831 h 6857997"/>
              <a:gd name="connsiteX772" fmla="*/ 2432747 w 12191996"/>
              <a:gd name="connsiteY772" fmla="*/ 6512890 h 6857997"/>
              <a:gd name="connsiteX773" fmla="*/ 2432359 w 12191996"/>
              <a:gd name="connsiteY773" fmla="*/ 6509784 h 6857997"/>
              <a:gd name="connsiteX774" fmla="*/ 2427824 w 12191996"/>
              <a:gd name="connsiteY774" fmla="*/ 6510273 h 6857997"/>
              <a:gd name="connsiteX775" fmla="*/ 2422869 w 12191996"/>
              <a:gd name="connsiteY775" fmla="*/ 6507761 h 6857997"/>
              <a:gd name="connsiteX776" fmla="*/ 2421963 w 12191996"/>
              <a:gd name="connsiteY776" fmla="*/ 6500018 h 6857997"/>
              <a:gd name="connsiteX777" fmla="*/ 2421963 w 12191996"/>
              <a:gd name="connsiteY777" fmla="*/ 6456695 h 6857997"/>
              <a:gd name="connsiteX778" fmla="*/ 2432359 w 12191996"/>
              <a:gd name="connsiteY778" fmla="*/ 6456695 h 6857997"/>
              <a:gd name="connsiteX779" fmla="*/ 2432359 w 12191996"/>
              <a:gd name="connsiteY779" fmla="*/ 6446928 h 6857997"/>
              <a:gd name="connsiteX780" fmla="*/ 2421963 w 12191996"/>
              <a:gd name="connsiteY780" fmla="*/ 6446928 h 6857997"/>
              <a:gd name="connsiteX781" fmla="*/ 1440886 w 12191996"/>
              <a:gd name="connsiteY781" fmla="*/ 6421046 h 6857997"/>
              <a:gd name="connsiteX782" fmla="*/ 1430631 w 12191996"/>
              <a:gd name="connsiteY782" fmla="*/ 6428580 h 6857997"/>
              <a:gd name="connsiteX783" fmla="*/ 1430631 w 12191996"/>
              <a:gd name="connsiteY783" fmla="*/ 6446928 h 6857997"/>
              <a:gd name="connsiteX784" fmla="*/ 1423097 w 12191996"/>
              <a:gd name="connsiteY784" fmla="*/ 6446928 h 6857997"/>
              <a:gd name="connsiteX785" fmla="*/ 1423097 w 12191996"/>
              <a:gd name="connsiteY785" fmla="*/ 6456695 h 6857997"/>
              <a:gd name="connsiteX786" fmla="*/ 1430631 w 12191996"/>
              <a:gd name="connsiteY786" fmla="*/ 6456695 h 6857997"/>
              <a:gd name="connsiteX787" fmla="*/ 1430631 w 12191996"/>
              <a:gd name="connsiteY787" fmla="*/ 6499320 h 6857997"/>
              <a:gd name="connsiteX788" fmla="*/ 1431852 w 12191996"/>
              <a:gd name="connsiteY788" fmla="*/ 6514040 h 6857997"/>
              <a:gd name="connsiteX789" fmla="*/ 1436352 w 12191996"/>
              <a:gd name="connsiteY789" fmla="*/ 6519865 h 6857997"/>
              <a:gd name="connsiteX790" fmla="*/ 1445002 w 12191996"/>
              <a:gd name="connsiteY790" fmla="*/ 6521993 h 6857997"/>
              <a:gd name="connsiteX791" fmla="*/ 1452676 w 12191996"/>
              <a:gd name="connsiteY791" fmla="*/ 6520877 h 6857997"/>
              <a:gd name="connsiteX792" fmla="*/ 1451281 w 12191996"/>
              <a:gd name="connsiteY792" fmla="*/ 6509784 h 6857997"/>
              <a:gd name="connsiteX793" fmla="*/ 1446746 w 12191996"/>
              <a:gd name="connsiteY793" fmla="*/ 6510273 h 6857997"/>
              <a:gd name="connsiteX794" fmla="*/ 1441793 w 12191996"/>
              <a:gd name="connsiteY794" fmla="*/ 6507761 h 6857997"/>
              <a:gd name="connsiteX795" fmla="*/ 1440886 w 12191996"/>
              <a:gd name="connsiteY795" fmla="*/ 6500018 h 6857997"/>
              <a:gd name="connsiteX796" fmla="*/ 1440886 w 12191996"/>
              <a:gd name="connsiteY796" fmla="*/ 6456695 h 6857997"/>
              <a:gd name="connsiteX797" fmla="*/ 1451281 w 12191996"/>
              <a:gd name="connsiteY797" fmla="*/ 6456695 h 6857997"/>
              <a:gd name="connsiteX798" fmla="*/ 1451281 w 12191996"/>
              <a:gd name="connsiteY798" fmla="*/ 6446928 h 6857997"/>
              <a:gd name="connsiteX799" fmla="*/ 1440886 w 12191996"/>
              <a:gd name="connsiteY799" fmla="*/ 6446928 h 6857997"/>
              <a:gd name="connsiteX800" fmla="*/ 6319286 w 12191996"/>
              <a:gd name="connsiteY800" fmla="*/ 6418743 h 6857997"/>
              <a:gd name="connsiteX801" fmla="*/ 6319286 w 12191996"/>
              <a:gd name="connsiteY801" fmla="*/ 6521016 h 6857997"/>
              <a:gd name="connsiteX802" fmla="*/ 6329541 w 12191996"/>
              <a:gd name="connsiteY802" fmla="*/ 6521016 h 6857997"/>
              <a:gd name="connsiteX803" fmla="*/ 6329541 w 12191996"/>
              <a:gd name="connsiteY803" fmla="*/ 6418743 h 6857997"/>
              <a:gd name="connsiteX804" fmla="*/ 6224384 w 12191996"/>
              <a:gd name="connsiteY804" fmla="*/ 6418743 h 6857997"/>
              <a:gd name="connsiteX805" fmla="*/ 6224384 w 12191996"/>
              <a:gd name="connsiteY805" fmla="*/ 6433184 h 6857997"/>
              <a:gd name="connsiteX806" fmla="*/ 6234640 w 12191996"/>
              <a:gd name="connsiteY806" fmla="*/ 6433184 h 6857997"/>
              <a:gd name="connsiteX807" fmla="*/ 6234640 w 12191996"/>
              <a:gd name="connsiteY807" fmla="*/ 6418743 h 6857997"/>
              <a:gd name="connsiteX808" fmla="*/ 6034363 w 12191996"/>
              <a:gd name="connsiteY808" fmla="*/ 6418743 h 6857997"/>
              <a:gd name="connsiteX809" fmla="*/ 6034363 w 12191996"/>
              <a:gd name="connsiteY809" fmla="*/ 6455439 h 6857997"/>
              <a:gd name="connsiteX810" fmla="*/ 6027156 w 12191996"/>
              <a:gd name="connsiteY810" fmla="*/ 6447939 h 6857997"/>
              <a:gd name="connsiteX811" fmla="*/ 6017719 w 12191996"/>
              <a:gd name="connsiteY811" fmla="*/ 6445253 h 6857997"/>
              <a:gd name="connsiteX812" fmla="*/ 6004799 w 12191996"/>
              <a:gd name="connsiteY812" fmla="*/ 6449509 h 6857997"/>
              <a:gd name="connsiteX813" fmla="*/ 5995500 w 12191996"/>
              <a:gd name="connsiteY813" fmla="*/ 6462555 h 6857997"/>
              <a:gd name="connsiteX814" fmla="*/ 5992018 w 12191996"/>
              <a:gd name="connsiteY814" fmla="*/ 6483972 h 6857997"/>
              <a:gd name="connsiteX815" fmla="*/ 5999866 w 12191996"/>
              <a:gd name="connsiteY815" fmla="*/ 6512540 h 6857997"/>
              <a:gd name="connsiteX816" fmla="*/ 6018459 w 12191996"/>
              <a:gd name="connsiteY816" fmla="*/ 6522691 h 6857997"/>
              <a:gd name="connsiteX817" fmla="*/ 6027948 w 12191996"/>
              <a:gd name="connsiteY817" fmla="*/ 6519865 h 6857997"/>
              <a:gd name="connsiteX818" fmla="*/ 6035132 w 12191996"/>
              <a:gd name="connsiteY818" fmla="*/ 6511668 h 6857997"/>
              <a:gd name="connsiteX819" fmla="*/ 6035132 w 12191996"/>
              <a:gd name="connsiteY819" fmla="*/ 6521016 h 6857997"/>
              <a:gd name="connsiteX820" fmla="*/ 6044761 w 12191996"/>
              <a:gd name="connsiteY820" fmla="*/ 6521016 h 6857997"/>
              <a:gd name="connsiteX821" fmla="*/ 6044761 w 12191996"/>
              <a:gd name="connsiteY821" fmla="*/ 6418743 h 6857997"/>
              <a:gd name="connsiteX822" fmla="*/ 2790954 w 12191996"/>
              <a:gd name="connsiteY822" fmla="*/ 6418743 h 6857997"/>
              <a:gd name="connsiteX823" fmla="*/ 2790954 w 12191996"/>
              <a:gd name="connsiteY823" fmla="*/ 6455439 h 6857997"/>
              <a:gd name="connsiteX824" fmla="*/ 2783745 w 12191996"/>
              <a:gd name="connsiteY824" fmla="*/ 6447939 h 6857997"/>
              <a:gd name="connsiteX825" fmla="*/ 2774311 w 12191996"/>
              <a:gd name="connsiteY825" fmla="*/ 6445253 h 6857997"/>
              <a:gd name="connsiteX826" fmla="*/ 2761389 w 12191996"/>
              <a:gd name="connsiteY826" fmla="*/ 6449509 h 6857997"/>
              <a:gd name="connsiteX827" fmla="*/ 2752089 w 12191996"/>
              <a:gd name="connsiteY827" fmla="*/ 6462555 h 6857997"/>
              <a:gd name="connsiteX828" fmla="*/ 2748607 w 12191996"/>
              <a:gd name="connsiteY828" fmla="*/ 6483972 h 6857997"/>
              <a:gd name="connsiteX829" fmla="*/ 2756457 w 12191996"/>
              <a:gd name="connsiteY829" fmla="*/ 6512540 h 6857997"/>
              <a:gd name="connsiteX830" fmla="*/ 2775051 w 12191996"/>
              <a:gd name="connsiteY830" fmla="*/ 6522691 h 6857997"/>
              <a:gd name="connsiteX831" fmla="*/ 2784536 w 12191996"/>
              <a:gd name="connsiteY831" fmla="*/ 6519865 h 6857997"/>
              <a:gd name="connsiteX832" fmla="*/ 2791721 w 12191996"/>
              <a:gd name="connsiteY832" fmla="*/ 6511668 h 6857997"/>
              <a:gd name="connsiteX833" fmla="*/ 2791721 w 12191996"/>
              <a:gd name="connsiteY833" fmla="*/ 6521016 h 6857997"/>
              <a:gd name="connsiteX834" fmla="*/ 2801352 w 12191996"/>
              <a:gd name="connsiteY834" fmla="*/ 6521016 h 6857997"/>
              <a:gd name="connsiteX835" fmla="*/ 2801352 w 12191996"/>
              <a:gd name="connsiteY835" fmla="*/ 6418743 h 6857997"/>
              <a:gd name="connsiteX836" fmla="*/ 2590102 w 12191996"/>
              <a:gd name="connsiteY836" fmla="*/ 6418743 h 6857997"/>
              <a:gd name="connsiteX837" fmla="*/ 2590102 w 12191996"/>
              <a:gd name="connsiteY837" fmla="*/ 6521016 h 6857997"/>
              <a:gd name="connsiteX838" fmla="*/ 2600357 w 12191996"/>
              <a:gd name="connsiteY838" fmla="*/ 6521016 h 6857997"/>
              <a:gd name="connsiteX839" fmla="*/ 2600357 w 12191996"/>
              <a:gd name="connsiteY839" fmla="*/ 6418743 h 6857997"/>
              <a:gd name="connsiteX840" fmla="*/ 2380902 w 12191996"/>
              <a:gd name="connsiteY840" fmla="*/ 6418743 h 6857997"/>
              <a:gd name="connsiteX841" fmla="*/ 2380902 w 12191996"/>
              <a:gd name="connsiteY841" fmla="*/ 6433184 h 6857997"/>
              <a:gd name="connsiteX842" fmla="*/ 2391160 w 12191996"/>
              <a:gd name="connsiteY842" fmla="*/ 6433184 h 6857997"/>
              <a:gd name="connsiteX843" fmla="*/ 2391160 w 12191996"/>
              <a:gd name="connsiteY843" fmla="*/ 6418743 h 6857997"/>
              <a:gd name="connsiteX844" fmla="*/ 2024499 w 12191996"/>
              <a:gd name="connsiteY844" fmla="*/ 6418743 h 6857997"/>
              <a:gd name="connsiteX845" fmla="*/ 1992155 w 12191996"/>
              <a:gd name="connsiteY845" fmla="*/ 6521016 h 6857997"/>
              <a:gd name="connsiteX846" fmla="*/ 2003857 w 12191996"/>
              <a:gd name="connsiteY846" fmla="*/ 6521016 h 6857997"/>
              <a:gd name="connsiteX847" fmla="*/ 2012973 w 12191996"/>
              <a:gd name="connsiteY847" fmla="*/ 6490041 h 6857997"/>
              <a:gd name="connsiteX848" fmla="*/ 2048255 w 12191996"/>
              <a:gd name="connsiteY848" fmla="*/ 6490041 h 6857997"/>
              <a:gd name="connsiteX849" fmla="*/ 2058010 w 12191996"/>
              <a:gd name="connsiteY849" fmla="*/ 6521016 h 6857997"/>
              <a:gd name="connsiteX850" fmla="*/ 2070709 w 12191996"/>
              <a:gd name="connsiteY850" fmla="*/ 6521016 h 6857997"/>
              <a:gd name="connsiteX851" fmla="*/ 2036363 w 12191996"/>
              <a:gd name="connsiteY851" fmla="*/ 6418743 h 6857997"/>
              <a:gd name="connsiteX852" fmla="*/ 1818925 w 12191996"/>
              <a:gd name="connsiteY852" fmla="*/ 6418743 h 6857997"/>
              <a:gd name="connsiteX853" fmla="*/ 1818925 w 12191996"/>
              <a:gd name="connsiteY853" fmla="*/ 6433184 h 6857997"/>
              <a:gd name="connsiteX854" fmla="*/ 1829180 w 12191996"/>
              <a:gd name="connsiteY854" fmla="*/ 6433184 h 6857997"/>
              <a:gd name="connsiteX855" fmla="*/ 1829180 w 12191996"/>
              <a:gd name="connsiteY855" fmla="*/ 6418743 h 6857997"/>
              <a:gd name="connsiteX856" fmla="*/ 1752248 w 12191996"/>
              <a:gd name="connsiteY856" fmla="*/ 6418743 h 6857997"/>
              <a:gd name="connsiteX857" fmla="*/ 1752248 w 12191996"/>
              <a:gd name="connsiteY857" fmla="*/ 6433184 h 6857997"/>
              <a:gd name="connsiteX858" fmla="*/ 1762504 w 12191996"/>
              <a:gd name="connsiteY858" fmla="*/ 6433184 h 6857997"/>
              <a:gd name="connsiteX859" fmla="*/ 1762504 w 12191996"/>
              <a:gd name="connsiteY859" fmla="*/ 6418743 h 6857997"/>
              <a:gd name="connsiteX860" fmla="*/ 1361723 w 12191996"/>
              <a:gd name="connsiteY860" fmla="*/ 6418743 h 6857997"/>
              <a:gd name="connsiteX861" fmla="*/ 1361723 w 12191996"/>
              <a:gd name="connsiteY861" fmla="*/ 6521016 h 6857997"/>
              <a:gd name="connsiteX862" fmla="*/ 1371979 w 12191996"/>
              <a:gd name="connsiteY862" fmla="*/ 6521016 h 6857997"/>
              <a:gd name="connsiteX863" fmla="*/ 1371979 w 12191996"/>
              <a:gd name="connsiteY863" fmla="*/ 6480484 h 6857997"/>
              <a:gd name="connsiteX864" fmla="*/ 1376688 w 12191996"/>
              <a:gd name="connsiteY864" fmla="*/ 6461438 h 6857997"/>
              <a:gd name="connsiteX865" fmla="*/ 1388094 w 12191996"/>
              <a:gd name="connsiteY865" fmla="*/ 6456067 h 6857997"/>
              <a:gd name="connsiteX866" fmla="*/ 1397512 w 12191996"/>
              <a:gd name="connsiteY866" fmla="*/ 6460253 h 6857997"/>
              <a:gd name="connsiteX867" fmla="*/ 1400930 w 12191996"/>
              <a:gd name="connsiteY867" fmla="*/ 6474066 h 6857997"/>
              <a:gd name="connsiteX868" fmla="*/ 1400930 w 12191996"/>
              <a:gd name="connsiteY868" fmla="*/ 6521016 h 6857997"/>
              <a:gd name="connsiteX869" fmla="*/ 1411186 w 12191996"/>
              <a:gd name="connsiteY869" fmla="*/ 6521016 h 6857997"/>
              <a:gd name="connsiteX870" fmla="*/ 1411186 w 12191996"/>
              <a:gd name="connsiteY870" fmla="*/ 6474066 h 6857997"/>
              <a:gd name="connsiteX871" fmla="*/ 1405570 w 12191996"/>
              <a:gd name="connsiteY871" fmla="*/ 6451427 h 6857997"/>
              <a:gd name="connsiteX872" fmla="*/ 1390256 w 12191996"/>
              <a:gd name="connsiteY872" fmla="*/ 6445253 h 6857997"/>
              <a:gd name="connsiteX873" fmla="*/ 1380176 w 12191996"/>
              <a:gd name="connsiteY873" fmla="*/ 6447800 h 6857997"/>
              <a:gd name="connsiteX874" fmla="*/ 1371979 w 12191996"/>
              <a:gd name="connsiteY874" fmla="*/ 6455439 h 6857997"/>
              <a:gd name="connsiteX875" fmla="*/ 1371979 w 12191996"/>
              <a:gd name="connsiteY875" fmla="*/ 6418743 h 6857997"/>
              <a:gd name="connsiteX876" fmla="*/ 1266473 w 12191996"/>
              <a:gd name="connsiteY876" fmla="*/ 6418743 h 6857997"/>
              <a:gd name="connsiteX877" fmla="*/ 1266473 w 12191996"/>
              <a:gd name="connsiteY877" fmla="*/ 6433184 h 6857997"/>
              <a:gd name="connsiteX878" fmla="*/ 1276729 w 12191996"/>
              <a:gd name="connsiteY878" fmla="*/ 6433184 h 6857997"/>
              <a:gd name="connsiteX879" fmla="*/ 1276729 w 12191996"/>
              <a:gd name="connsiteY879" fmla="*/ 6418743 h 6857997"/>
              <a:gd name="connsiteX880" fmla="*/ 10863258 w 12191996"/>
              <a:gd name="connsiteY880" fmla="*/ 6418259 h 6857997"/>
              <a:gd name="connsiteX881" fmla="*/ 10904541 w 12191996"/>
              <a:gd name="connsiteY881" fmla="*/ 6418259 h 6857997"/>
              <a:gd name="connsiteX882" fmla="*/ 10934695 w 12191996"/>
              <a:gd name="connsiteY882" fmla="*/ 6433947 h 6857997"/>
              <a:gd name="connsiteX883" fmla="*/ 10904541 w 12191996"/>
              <a:gd name="connsiteY883" fmla="*/ 6450009 h 6857997"/>
              <a:gd name="connsiteX884" fmla="*/ 10863258 w 12191996"/>
              <a:gd name="connsiteY884" fmla="*/ 6450009 h 6857997"/>
              <a:gd name="connsiteX885" fmla="*/ 5958284 w 12191996"/>
              <a:gd name="connsiteY885" fmla="*/ 6416999 h 6857997"/>
              <a:gd name="connsiteX886" fmla="*/ 5948876 w 12191996"/>
              <a:gd name="connsiteY886" fmla="*/ 6419302 h 6857997"/>
              <a:gd name="connsiteX887" fmla="*/ 5943316 w 12191996"/>
              <a:gd name="connsiteY887" fmla="*/ 6425964 h 6857997"/>
              <a:gd name="connsiteX888" fmla="*/ 5941497 w 12191996"/>
              <a:gd name="connsiteY888" fmla="*/ 6439045 h 6857997"/>
              <a:gd name="connsiteX889" fmla="*/ 5941497 w 12191996"/>
              <a:gd name="connsiteY889" fmla="*/ 6446928 h 6857997"/>
              <a:gd name="connsiteX890" fmla="*/ 5932359 w 12191996"/>
              <a:gd name="connsiteY890" fmla="*/ 6446928 h 6857997"/>
              <a:gd name="connsiteX891" fmla="*/ 5932359 w 12191996"/>
              <a:gd name="connsiteY891" fmla="*/ 6456695 h 6857997"/>
              <a:gd name="connsiteX892" fmla="*/ 5941497 w 12191996"/>
              <a:gd name="connsiteY892" fmla="*/ 6456695 h 6857997"/>
              <a:gd name="connsiteX893" fmla="*/ 5941497 w 12191996"/>
              <a:gd name="connsiteY893" fmla="*/ 6521016 h 6857997"/>
              <a:gd name="connsiteX894" fmla="*/ 5951752 w 12191996"/>
              <a:gd name="connsiteY894" fmla="*/ 6521016 h 6857997"/>
              <a:gd name="connsiteX895" fmla="*/ 5951752 w 12191996"/>
              <a:gd name="connsiteY895" fmla="*/ 6456695 h 6857997"/>
              <a:gd name="connsiteX896" fmla="*/ 5963612 w 12191996"/>
              <a:gd name="connsiteY896" fmla="*/ 6456695 h 6857997"/>
              <a:gd name="connsiteX897" fmla="*/ 5963612 w 12191996"/>
              <a:gd name="connsiteY897" fmla="*/ 6446928 h 6857997"/>
              <a:gd name="connsiteX898" fmla="*/ 5951752 w 12191996"/>
              <a:gd name="connsiteY898" fmla="*/ 6446928 h 6857997"/>
              <a:gd name="connsiteX899" fmla="*/ 5951752 w 12191996"/>
              <a:gd name="connsiteY899" fmla="*/ 6440091 h 6857997"/>
              <a:gd name="connsiteX900" fmla="*/ 5953740 w 12191996"/>
              <a:gd name="connsiteY900" fmla="*/ 6430917 h 6857997"/>
              <a:gd name="connsiteX901" fmla="*/ 5960331 w 12191996"/>
              <a:gd name="connsiteY901" fmla="*/ 6428510 h 6857997"/>
              <a:gd name="connsiteX902" fmla="*/ 5966402 w 12191996"/>
              <a:gd name="connsiteY902" fmla="*/ 6429208 h 6857997"/>
              <a:gd name="connsiteX903" fmla="*/ 5967211 w 12191996"/>
              <a:gd name="connsiteY903" fmla="*/ 6423470 h 6857997"/>
              <a:gd name="connsiteX904" fmla="*/ 5967211 w 12191996"/>
              <a:gd name="connsiteY904" fmla="*/ 6433184 h 6857997"/>
              <a:gd name="connsiteX905" fmla="*/ 5977467 w 12191996"/>
              <a:gd name="connsiteY905" fmla="*/ 6433184 h 6857997"/>
              <a:gd name="connsiteX906" fmla="*/ 5977467 w 12191996"/>
              <a:gd name="connsiteY906" fmla="*/ 6418743 h 6857997"/>
              <a:gd name="connsiteX907" fmla="*/ 5967879 w 12191996"/>
              <a:gd name="connsiteY907" fmla="*/ 6418743 h 6857997"/>
              <a:gd name="connsiteX908" fmla="*/ 5967935 w 12191996"/>
              <a:gd name="connsiteY908" fmla="*/ 6418325 h 6857997"/>
              <a:gd name="connsiteX909" fmla="*/ 5958284 w 12191996"/>
              <a:gd name="connsiteY909" fmla="*/ 6416999 h 6857997"/>
              <a:gd name="connsiteX910" fmla="*/ 883232 w 12191996"/>
              <a:gd name="connsiteY910" fmla="*/ 6416999 h 6857997"/>
              <a:gd name="connsiteX911" fmla="*/ 862268 w 12191996"/>
              <a:gd name="connsiteY911" fmla="*/ 6423592 h 6857997"/>
              <a:gd name="connsiteX912" fmla="*/ 846187 w 12191996"/>
              <a:gd name="connsiteY912" fmla="*/ 6442533 h 6857997"/>
              <a:gd name="connsiteX913" fmla="*/ 840048 w 12191996"/>
              <a:gd name="connsiteY913" fmla="*/ 6469671 h 6857997"/>
              <a:gd name="connsiteX914" fmla="*/ 852466 w 12191996"/>
              <a:gd name="connsiteY914" fmla="*/ 6506540 h 6857997"/>
              <a:gd name="connsiteX915" fmla="*/ 883232 w 12191996"/>
              <a:gd name="connsiteY915" fmla="*/ 6522272 h 6857997"/>
              <a:gd name="connsiteX916" fmla="*/ 904196 w 12191996"/>
              <a:gd name="connsiteY916" fmla="*/ 6515679 h 6857997"/>
              <a:gd name="connsiteX917" fmla="*/ 920276 w 12191996"/>
              <a:gd name="connsiteY917" fmla="*/ 6496739 h 6857997"/>
              <a:gd name="connsiteX918" fmla="*/ 926415 w 12191996"/>
              <a:gd name="connsiteY918" fmla="*/ 6469671 h 6857997"/>
              <a:gd name="connsiteX919" fmla="*/ 913997 w 12191996"/>
              <a:gd name="connsiteY919" fmla="*/ 6432766 h 6857997"/>
              <a:gd name="connsiteX920" fmla="*/ 883232 w 12191996"/>
              <a:gd name="connsiteY920" fmla="*/ 6416999 h 6857997"/>
              <a:gd name="connsiteX921" fmla="*/ 5757201 w 12191996"/>
              <a:gd name="connsiteY921" fmla="*/ 6416930 h 6857997"/>
              <a:gd name="connsiteX922" fmla="*/ 5737090 w 12191996"/>
              <a:gd name="connsiteY922" fmla="*/ 6422898 h 6857997"/>
              <a:gd name="connsiteX923" fmla="*/ 5722810 w 12191996"/>
              <a:gd name="connsiteY923" fmla="*/ 6440560 h 6857997"/>
              <a:gd name="connsiteX924" fmla="*/ 5717538 w 12191996"/>
              <a:gd name="connsiteY924" fmla="*/ 6469147 h 6857997"/>
              <a:gd name="connsiteX925" fmla="*/ 5722804 w 12191996"/>
              <a:gd name="connsiteY925" fmla="*/ 6498816 h 6857997"/>
              <a:gd name="connsiteX926" fmla="*/ 5736339 w 12191996"/>
              <a:gd name="connsiteY926" fmla="*/ 6517071 h 6857997"/>
              <a:gd name="connsiteX927" fmla="*/ 5756258 w 12191996"/>
              <a:gd name="connsiteY927" fmla="*/ 6522760 h 6857997"/>
              <a:gd name="connsiteX928" fmla="*/ 5778755 w 12191996"/>
              <a:gd name="connsiteY928" fmla="*/ 6514284 h 6857997"/>
              <a:gd name="connsiteX929" fmla="*/ 5791698 w 12191996"/>
              <a:gd name="connsiteY929" fmla="*/ 6488576 h 6857997"/>
              <a:gd name="connsiteX930" fmla="*/ 5780536 w 12191996"/>
              <a:gd name="connsiteY930" fmla="*/ 6485158 h 6857997"/>
              <a:gd name="connsiteX931" fmla="*/ 5771710 w 12191996"/>
              <a:gd name="connsiteY931" fmla="*/ 6504727 h 6857997"/>
              <a:gd name="connsiteX932" fmla="*/ 5756048 w 12191996"/>
              <a:gd name="connsiteY932" fmla="*/ 6511180 h 6857997"/>
              <a:gd name="connsiteX933" fmla="*/ 5736375 w 12191996"/>
              <a:gd name="connsiteY933" fmla="*/ 6500672 h 6857997"/>
              <a:gd name="connsiteX934" fmla="*/ 5728981 w 12191996"/>
              <a:gd name="connsiteY934" fmla="*/ 6469146 h 6857997"/>
              <a:gd name="connsiteX935" fmla="*/ 5732647 w 12191996"/>
              <a:gd name="connsiteY935" fmla="*/ 6446176 h 6857997"/>
              <a:gd name="connsiteX936" fmla="*/ 5742462 w 12191996"/>
              <a:gd name="connsiteY936" fmla="*/ 6432805 h 6857997"/>
              <a:gd name="connsiteX937" fmla="*/ 5756996 w 12191996"/>
              <a:gd name="connsiteY937" fmla="*/ 6428510 h 6857997"/>
              <a:gd name="connsiteX938" fmla="*/ 5779417 w 12191996"/>
              <a:gd name="connsiteY938" fmla="*/ 6449788 h 6857997"/>
              <a:gd name="connsiteX939" fmla="*/ 5790300 w 12191996"/>
              <a:gd name="connsiteY939" fmla="*/ 6446649 h 6857997"/>
              <a:gd name="connsiteX940" fmla="*/ 5778080 w 12191996"/>
              <a:gd name="connsiteY940" fmla="*/ 6424481 h 6857997"/>
              <a:gd name="connsiteX941" fmla="*/ 5757201 w 12191996"/>
              <a:gd name="connsiteY941" fmla="*/ 6416930 h 6857997"/>
              <a:gd name="connsiteX942" fmla="*/ 2249532 w 12191996"/>
              <a:gd name="connsiteY942" fmla="*/ 6416930 h 6857997"/>
              <a:gd name="connsiteX943" fmla="*/ 2227909 w 12191996"/>
              <a:gd name="connsiteY943" fmla="*/ 6424813 h 6857997"/>
              <a:gd name="connsiteX944" fmla="*/ 2219883 w 12191996"/>
              <a:gd name="connsiteY944" fmla="*/ 6445114 h 6857997"/>
              <a:gd name="connsiteX945" fmla="*/ 2222671 w 12191996"/>
              <a:gd name="connsiteY945" fmla="*/ 6457497 h 6857997"/>
              <a:gd name="connsiteX946" fmla="*/ 2230487 w 12191996"/>
              <a:gd name="connsiteY946" fmla="*/ 6466531 h 6857997"/>
              <a:gd name="connsiteX947" fmla="*/ 2247373 w 12191996"/>
              <a:gd name="connsiteY947" fmla="*/ 6473610 h 6857997"/>
              <a:gd name="connsiteX948" fmla="*/ 2264706 w 12191996"/>
              <a:gd name="connsiteY948" fmla="*/ 6479712 h 6857997"/>
              <a:gd name="connsiteX949" fmla="*/ 2270706 w 12191996"/>
              <a:gd name="connsiteY949" fmla="*/ 6485247 h 6857997"/>
              <a:gd name="connsiteX950" fmla="*/ 2272693 w 12191996"/>
              <a:gd name="connsiteY950" fmla="*/ 6493148 h 6857997"/>
              <a:gd name="connsiteX951" fmla="*/ 2267221 w 12191996"/>
              <a:gd name="connsiteY951" fmla="*/ 6505714 h 6857997"/>
              <a:gd name="connsiteX952" fmla="*/ 2251834 w 12191996"/>
              <a:gd name="connsiteY952" fmla="*/ 6510552 h 6857997"/>
              <a:gd name="connsiteX953" fmla="*/ 2239420 w 12191996"/>
              <a:gd name="connsiteY953" fmla="*/ 6507691 h 6857997"/>
              <a:gd name="connsiteX954" fmla="*/ 2230941 w 12191996"/>
              <a:gd name="connsiteY954" fmla="*/ 6500122 h 6857997"/>
              <a:gd name="connsiteX955" fmla="*/ 2227140 w 12191996"/>
              <a:gd name="connsiteY955" fmla="*/ 6486972 h 6857997"/>
              <a:gd name="connsiteX956" fmla="*/ 2216673 w 12191996"/>
              <a:gd name="connsiteY956" fmla="*/ 6488088 h 6857997"/>
              <a:gd name="connsiteX957" fmla="*/ 2226270 w 12191996"/>
              <a:gd name="connsiteY957" fmla="*/ 6513412 h 6857997"/>
              <a:gd name="connsiteX958" fmla="*/ 2251071 w 12191996"/>
              <a:gd name="connsiteY958" fmla="*/ 6522760 h 6857997"/>
              <a:gd name="connsiteX959" fmla="*/ 2268127 w 12191996"/>
              <a:gd name="connsiteY959" fmla="*/ 6518997 h 6857997"/>
              <a:gd name="connsiteX960" fmla="*/ 2279325 w 12191996"/>
              <a:gd name="connsiteY960" fmla="*/ 6508021 h 6857997"/>
              <a:gd name="connsiteX961" fmla="*/ 2283436 w 12191996"/>
              <a:gd name="connsiteY961" fmla="*/ 6492029 h 6857997"/>
              <a:gd name="connsiteX962" fmla="*/ 2279522 w 12191996"/>
              <a:gd name="connsiteY962" fmla="*/ 6476801 h 6857997"/>
              <a:gd name="connsiteX963" fmla="*/ 2267938 w 12191996"/>
              <a:gd name="connsiteY963" fmla="*/ 6466501 h 6857997"/>
              <a:gd name="connsiteX964" fmla="*/ 2250508 w 12191996"/>
              <a:gd name="connsiteY964" fmla="*/ 6460544 h 6857997"/>
              <a:gd name="connsiteX965" fmla="*/ 2234185 w 12191996"/>
              <a:gd name="connsiteY965" fmla="*/ 6453622 h 6857997"/>
              <a:gd name="connsiteX966" fmla="*/ 2230560 w 12191996"/>
              <a:gd name="connsiteY966" fmla="*/ 6443996 h 6857997"/>
              <a:gd name="connsiteX967" fmla="*/ 2235513 w 12191996"/>
              <a:gd name="connsiteY967" fmla="*/ 6433079 h 6857997"/>
              <a:gd name="connsiteX968" fmla="*/ 2249881 w 12191996"/>
              <a:gd name="connsiteY968" fmla="*/ 6428859 h 6857997"/>
              <a:gd name="connsiteX969" fmla="*/ 2264286 w 12191996"/>
              <a:gd name="connsiteY969" fmla="*/ 6433673 h 6857997"/>
              <a:gd name="connsiteX970" fmla="*/ 2270252 w 12191996"/>
              <a:gd name="connsiteY970" fmla="*/ 6448463 h 6857997"/>
              <a:gd name="connsiteX971" fmla="*/ 2280928 w 12191996"/>
              <a:gd name="connsiteY971" fmla="*/ 6447486 h 6857997"/>
              <a:gd name="connsiteX972" fmla="*/ 2276778 w 12191996"/>
              <a:gd name="connsiteY972" fmla="*/ 6431231 h 6857997"/>
              <a:gd name="connsiteX973" fmla="*/ 2265892 w 12191996"/>
              <a:gd name="connsiteY973" fmla="*/ 6420627 h 6857997"/>
              <a:gd name="connsiteX974" fmla="*/ 2249532 w 12191996"/>
              <a:gd name="connsiteY974" fmla="*/ 6416930 h 6857997"/>
              <a:gd name="connsiteX975" fmla="*/ 2107530 w 12191996"/>
              <a:gd name="connsiteY975" fmla="*/ 6416930 h 6857997"/>
              <a:gd name="connsiteX976" fmla="*/ 2085898 w 12191996"/>
              <a:gd name="connsiteY976" fmla="*/ 6422828 h 6857997"/>
              <a:gd name="connsiteX977" fmla="*/ 2071108 w 12191996"/>
              <a:gd name="connsiteY977" fmla="*/ 6441153 h 6857997"/>
              <a:gd name="connsiteX978" fmla="*/ 2065457 w 12191996"/>
              <a:gd name="connsiteY978" fmla="*/ 6470333 h 6857997"/>
              <a:gd name="connsiteX979" fmla="*/ 2071073 w 12191996"/>
              <a:gd name="connsiteY979" fmla="*/ 6498676 h 6857997"/>
              <a:gd name="connsiteX980" fmla="*/ 2086316 w 12191996"/>
              <a:gd name="connsiteY980" fmla="*/ 6516617 h 6857997"/>
              <a:gd name="connsiteX981" fmla="*/ 2108228 w 12191996"/>
              <a:gd name="connsiteY981" fmla="*/ 6522760 h 6857997"/>
              <a:gd name="connsiteX982" fmla="*/ 2126153 w 12191996"/>
              <a:gd name="connsiteY982" fmla="*/ 6518749 h 6857997"/>
              <a:gd name="connsiteX983" fmla="*/ 2143038 w 12191996"/>
              <a:gd name="connsiteY983" fmla="*/ 6506785 h 6857997"/>
              <a:gd name="connsiteX984" fmla="*/ 2143038 w 12191996"/>
              <a:gd name="connsiteY984" fmla="*/ 6468764 h 6857997"/>
              <a:gd name="connsiteX985" fmla="*/ 2107530 w 12191996"/>
              <a:gd name="connsiteY985" fmla="*/ 6468833 h 6857997"/>
              <a:gd name="connsiteX986" fmla="*/ 2107530 w 12191996"/>
              <a:gd name="connsiteY986" fmla="*/ 6480902 h 6857997"/>
              <a:gd name="connsiteX987" fmla="*/ 2132151 w 12191996"/>
              <a:gd name="connsiteY987" fmla="*/ 6480902 h 6857997"/>
              <a:gd name="connsiteX988" fmla="*/ 2132151 w 12191996"/>
              <a:gd name="connsiteY988" fmla="*/ 6499948 h 6857997"/>
              <a:gd name="connsiteX989" fmla="*/ 2121238 w 12191996"/>
              <a:gd name="connsiteY989" fmla="*/ 6507412 h 6857997"/>
              <a:gd name="connsiteX990" fmla="*/ 2107806 w 12191996"/>
              <a:gd name="connsiteY990" fmla="*/ 6510552 h 6857997"/>
              <a:gd name="connsiteX991" fmla="*/ 2085479 w 12191996"/>
              <a:gd name="connsiteY991" fmla="*/ 6500323 h 6857997"/>
              <a:gd name="connsiteX992" fmla="*/ 2076898 w 12191996"/>
              <a:gd name="connsiteY992" fmla="*/ 6469566 h 6857997"/>
              <a:gd name="connsiteX993" fmla="*/ 2080910 w 12191996"/>
              <a:gd name="connsiteY993" fmla="*/ 6446734 h 6857997"/>
              <a:gd name="connsiteX994" fmla="*/ 2091514 w 12191996"/>
              <a:gd name="connsiteY994" fmla="*/ 6432944 h 6857997"/>
              <a:gd name="connsiteX995" fmla="*/ 2107247 w 12191996"/>
              <a:gd name="connsiteY995" fmla="*/ 6428510 h 6857997"/>
              <a:gd name="connsiteX996" fmla="*/ 2118547 w 12191996"/>
              <a:gd name="connsiteY996" fmla="*/ 6430952 h 6857997"/>
              <a:gd name="connsiteX997" fmla="*/ 2126643 w 12191996"/>
              <a:gd name="connsiteY997" fmla="*/ 6437684 h 6857997"/>
              <a:gd name="connsiteX998" fmla="*/ 2131738 w 12191996"/>
              <a:gd name="connsiteY998" fmla="*/ 6450625 h 6857997"/>
              <a:gd name="connsiteX999" fmla="*/ 2141711 w 12191996"/>
              <a:gd name="connsiteY999" fmla="*/ 6447277 h 6857997"/>
              <a:gd name="connsiteX1000" fmla="*/ 2135015 w 12191996"/>
              <a:gd name="connsiteY1000" fmla="*/ 6430045 h 6857997"/>
              <a:gd name="connsiteX1001" fmla="*/ 2123643 w 12191996"/>
              <a:gd name="connsiteY1001" fmla="*/ 6420348 h 6857997"/>
              <a:gd name="connsiteX1002" fmla="*/ 2107530 w 12191996"/>
              <a:gd name="connsiteY1002" fmla="*/ 6416930 h 6857997"/>
              <a:gd name="connsiteX1003" fmla="*/ 1516105 w 12191996"/>
              <a:gd name="connsiteY1003" fmla="*/ 6416930 h 6857997"/>
              <a:gd name="connsiteX1004" fmla="*/ 1494478 w 12191996"/>
              <a:gd name="connsiteY1004" fmla="*/ 6424813 h 6857997"/>
              <a:gd name="connsiteX1005" fmla="*/ 1486455 w 12191996"/>
              <a:gd name="connsiteY1005" fmla="*/ 6445114 h 6857997"/>
              <a:gd name="connsiteX1006" fmla="*/ 1489246 w 12191996"/>
              <a:gd name="connsiteY1006" fmla="*/ 6457497 h 6857997"/>
              <a:gd name="connsiteX1007" fmla="*/ 1497059 w 12191996"/>
              <a:gd name="connsiteY1007" fmla="*/ 6466531 h 6857997"/>
              <a:gd name="connsiteX1008" fmla="*/ 1513942 w 12191996"/>
              <a:gd name="connsiteY1008" fmla="*/ 6473610 h 6857997"/>
              <a:gd name="connsiteX1009" fmla="*/ 1531278 w 12191996"/>
              <a:gd name="connsiteY1009" fmla="*/ 6479712 h 6857997"/>
              <a:gd name="connsiteX1010" fmla="*/ 1537278 w 12191996"/>
              <a:gd name="connsiteY1010" fmla="*/ 6485247 h 6857997"/>
              <a:gd name="connsiteX1011" fmla="*/ 1539266 w 12191996"/>
              <a:gd name="connsiteY1011" fmla="*/ 6493148 h 6857997"/>
              <a:gd name="connsiteX1012" fmla="*/ 1533790 w 12191996"/>
              <a:gd name="connsiteY1012" fmla="*/ 6505714 h 6857997"/>
              <a:gd name="connsiteX1013" fmla="*/ 1518407 w 12191996"/>
              <a:gd name="connsiteY1013" fmla="*/ 6510552 h 6857997"/>
              <a:gd name="connsiteX1014" fmla="*/ 1505989 w 12191996"/>
              <a:gd name="connsiteY1014" fmla="*/ 6507691 h 6857997"/>
              <a:gd name="connsiteX1015" fmla="*/ 1497513 w 12191996"/>
              <a:gd name="connsiteY1015" fmla="*/ 6500122 h 6857997"/>
              <a:gd name="connsiteX1016" fmla="*/ 1493711 w 12191996"/>
              <a:gd name="connsiteY1016" fmla="*/ 6486972 h 6857997"/>
              <a:gd name="connsiteX1017" fmla="*/ 1483246 w 12191996"/>
              <a:gd name="connsiteY1017" fmla="*/ 6488088 h 6857997"/>
              <a:gd name="connsiteX1018" fmla="*/ 1492839 w 12191996"/>
              <a:gd name="connsiteY1018" fmla="*/ 6513412 h 6857997"/>
              <a:gd name="connsiteX1019" fmla="*/ 1517639 w 12191996"/>
              <a:gd name="connsiteY1019" fmla="*/ 6522760 h 6857997"/>
              <a:gd name="connsiteX1020" fmla="*/ 1534697 w 12191996"/>
              <a:gd name="connsiteY1020" fmla="*/ 6518997 h 6857997"/>
              <a:gd name="connsiteX1021" fmla="*/ 1545894 w 12191996"/>
              <a:gd name="connsiteY1021" fmla="*/ 6508021 h 6857997"/>
              <a:gd name="connsiteX1022" fmla="*/ 1550010 w 12191996"/>
              <a:gd name="connsiteY1022" fmla="*/ 6492029 h 6857997"/>
              <a:gd name="connsiteX1023" fmla="*/ 1546095 w 12191996"/>
              <a:gd name="connsiteY1023" fmla="*/ 6476801 h 6857997"/>
              <a:gd name="connsiteX1024" fmla="*/ 1534510 w 12191996"/>
              <a:gd name="connsiteY1024" fmla="*/ 6466501 h 6857997"/>
              <a:gd name="connsiteX1025" fmla="*/ 1517077 w 12191996"/>
              <a:gd name="connsiteY1025" fmla="*/ 6460544 h 6857997"/>
              <a:gd name="connsiteX1026" fmla="*/ 1500758 w 12191996"/>
              <a:gd name="connsiteY1026" fmla="*/ 6453622 h 6857997"/>
              <a:gd name="connsiteX1027" fmla="*/ 1497129 w 12191996"/>
              <a:gd name="connsiteY1027" fmla="*/ 6443996 h 6857997"/>
              <a:gd name="connsiteX1028" fmla="*/ 1502082 w 12191996"/>
              <a:gd name="connsiteY1028" fmla="*/ 6433079 h 6857997"/>
              <a:gd name="connsiteX1029" fmla="*/ 1516453 w 12191996"/>
              <a:gd name="connsiteY1029" fmla="*/ 6428859 h 6857997"/>
              <a:gd name="connsiteX1030" fmla="*/ 1530860 w 12191996"/>
              <a:gd name="connsiteY1030" fmla="*/ 6433673 h 6857997"/>
              <a:gd name="connsiteX1031" fmla="*/ 1536824 w 12191996"/>
              <a:gd name="connsiteY1031" fmla="*/ 6448463 h 6857997"/>
              <a:gd name="connsiteX1032" fmla="*/ 1547498 w 12191996"/>
              <a:gd name="connsiteY1032" fmla="*/ 6447486 h 6857997"/>
              <a:gd name="connsiteX1033" fmla="*/ 1543347 w 12191996"/>
              <a:gd name="connsiteY1033" fmla="*/ 6431231 h 6857997"/>
              <a:gd name="connsiteX1034" fmla="*/ 1532464 w 12191996"/>
              <a:gd name="connsiteY1034" fmla="*/ 6420627 h 6857997"/>
              <a:gd name="connsiteX1035" fmla="*/ 1516105 w 12191996"/>
              <a:gd name="connsiteY1035" fmla="*/ 6416930 h 6857997"/>
              <a:gd name="connsiteX1036" fmla="*/ 999314 w 12191996"/>
              <a:gd name="connsiteY1036" fmla="*/ 6416930 h 6857997"/>
              <a:gd name="connsiteX1037" fmla="*/ 979202 w 12191996"/>
              <a:gd name="connsiteY1037" fmla="*/ 6422898 h 6857997"/>
              <a:gd name="connsiteX1038" fmla="*/ 964922 w 12191996"/>
              <a:gd name="connsiteY1038" fmla="*/ 6440560 h 6857997"/>
              <a:gd name="connsiteX1039" fmla="*/ 959650 w 12191996"/>
              <a:gd name="connsiteY1039" fmla="*/ 6469147 h 6857997"/>
              <a:gd name="connsiteX1040" fmla="*/ 964918 w 12191996"/>
              <a:gd name="connsiteY1040" fmla="*/ 6498816 h 6857997"/>
              <a:gd name="connsiteX1041" fmla="*/ 978452 w 12191996"/>
              <a:gd name="connsiteY1041" fmla="*/ 6517071 h 6857997"/>
              <a:gd name="connsiteX1042" fmla="*/ 998369 w 12191996"/>
              <a:gd name="connsiteY1042" fmla="*/ 6522760 h 6857997"/>
              <a:gd name="connsiteX1043" fmla="*/ 1020867 w 12191996"/>
              <a:gd name="connsiteY1043" fmla="*/ 6514284 h 6857997"/>
              <a:gd name="connsiteX1044" fmla="*/ 1033809 w 12191996"/>
              <a:gd name="connsiteY1044" fmla="*/ 6488576 h 6857997"/>
              <a:gd name="connsiteX1045" fmla="*/ 1022646 w 12191996"/>
              <a:gd name="connsiteY1045" fmla="*/ 6485158 h 6857997"/>
              <a:gd name="connsiteX1046" fmla="*/ 1013821 w 12191996"/>
              <a:gd name="connsiteY1046" fmla="*/ 6504727 h 6857997"/>
              <a:gd name="connsiteX1047" fmla="*/ 998160 w 12191996"/>
              <a:gd name="connsiteY1047" fmla="*/ 6511180 h 6857997"/>
              <a:gd name="connsiteX1048" fmla="*/ 978486 w 12191996"/>
              <a:gd name="connsiteY1048" fmla="*/ 6500672 h 6857997"/>
              <a:gd name="connsiteX1049" fmla="*/ 971092 w 12191996"/>
              <a:gd name="connsiteY1049" fmla="*/ 6469146 h 6857997"/>
              <a:gd name="connsiteX1050" fmla="*/ 974759 w 12191996"/>
              <a:gd name="connsiteY1050" fmla="*/ 6446176 h 6857997"/>
              <a:gd name="connsiteX1051" fmla="*/ 984574 w 12191996"/>
              <a:gd name="connsiteY1051" fmla="*/ 6432805 h 6857997"/>
              <a:gd name="connsiteX1052" fmla="*/ 999106 w 12191996"/>
              <a:gd name="connsiteY1052" fmla="*/ 6428510 h 6857997"/>
              <a:gd name="connsiteX1053" fmla="*/ 1021530 w 12191996"/>
              <a:gd name="connsiteY1053" fmla="*/ 6449788 h 6857997"/>
              <a:gd name="connsiteX1054" fmla="*/ 1032413 w 12191996"/>
              <a:gd name="connsiteY1054" fmla="*/ 6446649 h 6857997"/>
              <a:gd name="connsiteX1055" fmla="*/ 1020193 w 12191996"/>
              <a:gd name="connsiteY1055" fmla="*/ 6424481 h 6857997"/>
              <a:gd name="connsiteX1056" fmla="*/ 999314 w 12191996"/>
              <a:gd name="connsiteY1056" fmla="*/ 6416930 h 6857997"/>
              <a:gd name="connsiteX1057" fmla="*/ 11136920 w 12191996"/>
              <a:gd name="connsiteY1057" fmla="*/ 6415084 h 6857997"/>
              <a:gd name="connsiteX1058" fmla="*/ 11180757 w 12191996"/>
              <a:gd name="connsiteY1058" fmla="*/ 6458741 h 6857997"/>
              <a:gd name="connsiteX1059" fmla="*/ 11136920 w 12191996"/>
              <a:gd name="connsiteY1059" fmla="*/ 6502397 h 6857997"/>
              <a:gd name="connsiteX1060" fmla="*/ 11093445 w 12191996"/>
              <a:gd name="connsiteY1060" fmla="*/ 6457621 h 6857997"/>
              <a:gd name="connsiteX1061" fmla="*/ 11136920 w 12191996"/>
              <a:gd name="connsiteY1061" fmla="*/ 6415084 h 6857997"/>
              <a:gd name="connsiteX1062" fmla="*/ 11241084 w 12191996"/>
              <a:gd name="connsiteY1062" fmla="*/ 6397622 h 6857997"/>
              <a:gd name="connsiteX1063" fmla="*/ 11241084 w 12191996"/>
              <a:gd name="connsiteY1063" fmla="*/ 6521447 h 6857997"/>
              <a:gd name="connsiteX1064" fmla="*/ 11276259 w 12191996"/>
              <a:gd name="connsiteY1064" fmla="*/ 6521447 h 6857997"/>
              <a:gd name="connsiteX1065" fmla="*/ 11274446 w 12191996"/>
              <a:gd name="connsiteY1065" fmla="*/ 6427562 h 6857997"/>
              <a:gd name="connsiteX1066" fmla="*/ 11344433 w 12191996"/>
              <a:gd name="connsiteY1066" fmla="*/ 6521447 h 6857997"/>
              <a:gd name="connsiteX1067" fmla="*/ 11383959 w 12191996"/>
              <a:gd name="connsiteY1067" fmla="*/ 6521447 h 6857997"/>
              <a:gd name="connsiteX1068" fmla="*/ 11383959 w 12191996"/>
              <a:gd name="connsiteY1068" fmla="*/ 6397622 h 6857997"/>
              <a:gd name="connsiteX1069" fmla="*/ 11349147 w 12191996"/>
              <a:gd name="connsiteY1069" fmla="*/ 6397622 h 6857997"/>
              <a:gd name="connsiteX1070" fmla="*/ 11350597 w 12191996"/>
              <a:gd name="connsiteY1070" fmla="*/ 6486702 h 6857997"/>
              <a:gd name="connsiteX1071" fmla="*/ 11284237 w 12191996"/>
              <a:gd name="connsiteY1071" fmla="*/ 6397622 h 6857997"/>
              <a:gd name="connsiteX1072" fmla="*/ 10998196 w 12191996"/>
              <a:gd name="connsiteY1072" fmla="*/ 6397622 h 6857997"/>
              <a:gd name="connsiteX1073" fmla="*/ 10998196 w 12191996"/>
              <a:gd name="connsiteY1073" fmla="*/ 6521447 h 6857997"/>
              <a:gd name="connsiteX1074" fmla="*/ 11033121 w 12191996"/>
              <a:gd name="connsiteY1074" fmla="*/ 6521447 h 6857997"/>
              <a:gd name="connsiteX1075" fmla="*/ 11033121 w 12191996"/>
              <a:gd name="connsiteY1075" fmla="*/ 6397622 h 6857997"/>
              <a:gd name="connsiteX1076" fmla="*/ 10760071 w 12191996"/>
              <a:gd name="connsiteY1076" fmla="*/ 6397622 h 6857997"/>
              <a:gd name="connsiteX1077" fmla="*/ 10760071 w 12191996"/>
              <a:gd name="connsiteY1077" fmla="*/ 6521447 h 6857997"/>
              <a:gd name="connsiteX1078" fmla="*/ 10794996 w 12191996"/>
              <a:gd name="connsiteY1078" fmla="*/ 6521447 h 6857997"/>
              <a:gd name="connsiteX1079" fmla="*/ 10794996 w 12191996"/>
              <a:gd name="connsiteY1079" fmla="*/ 6397622 h 6857997"/>
              <a:gd name="connsiteX1080" fmla="*/ 10637569 w 12191996"/>
              <a:gd name="connsiteY1080" fmla="*/ 6397622 h 6857997"/>
              <a:gd name="connsiteX1081" fmla="*/ 10580684 w 12191996"/>
              <a:gd name="connsiteY1081" fmla="*/ 6435324 h 6857997"/>
              <a:gd name="connsiteX1082" fmla="*/ 10634670 w 12191996"/>
              <a:gd name="connsiteY1082" fmla="*/ 6471178 h 6857997"/>
              <a:gd name="connsiteX1083" fmla="*/ 10674888 w 12191996"/>
              <a:gd name="connsiteY1083" fmla="*/ 6471178 h 6857997"/>
              <a:gd name="connsiteX1084" fmla="*/ 10699163 w 12191996"/>
              <a:gd name="connsiteY1084" fmla="*/ 6485224 h 6857997"/>
              <a:gd name="connsiteX1085" fmla="*/ 10672714 w 12191996"/>
              <a:gd name="connsiteY1085" fmla="*/ 6499270 h 6857997"/>
              <a:gd name="connsiteX1086" fmla="*/ 10587206 w 12191996"/>
              <a:gd name="connsiteY1086" fmla="*/ 6499270 h 6857997"/>
              <a:gd name="connsiteX1087" fmla="*/ 10587206 w 12191996"/>
              <a:gd name="connsiteY1087" fmla="*/ 6521447 h 6857997"/>
              <a:gd name="connsiteX1088" fmla="*/ 10678149 w 12191996"/>
              <a:gd name="connsiteY1088" fmla="*/ 6521447 h 6857997"/>
              <a:gd name="connsiteX1089" fmla="*/ 10734671 w 12191996"/>
              <a:gd name="connsiteY1089" fmla="*/ 6484115 h 6857997"/>
              <a:gd name="connsiteX1090" fmla="*/ 10683221 w 12191996"/>
              <a:gd name="connsiteY1090" fmla="*/ 6449370 h 6857997"/>
              <a:gd name="connsiteX1091" fmla="*/ 10637931 w 12191996"/>
              <a:gd name="connsiteY1091" fmla="*/ 6449370 h 6857997"/>
              <a:gd name="connsiteX1092" fmla="*/ 10616554 w 12191996"/>
              <a:gd name="connsiteY1092" fmla="*/ 6435694 h 6857997"/>
              <a:gd name="connsiteX1093" fmla="*/ 10642641 w 12191996"/>
              <a:gd name="connsiteY1093" fmla="*/ 6419430 h 6857997"/>
              <a:gd name="connsiteX1094" fmla="*/ 10726700 w 12191996"/>
              <a:gd name="connsiteY1094" fmla="*/ 6419430 h 6857997"/>
              <a:gd name="connsiteX1095" fmla="*/ 10726700 w 12191996"/>
              <a:gd name="connsiteY1095" fmla="*/ 6397622 h 6857997"/>
              <a:gd name="connsiteX1096" fmla="*/ 10413996 w 12191996"/>
              <a:gd name="connsiteY1096" fmla="*/ 6397622 h 6857997"/>
              <a:gd name="connsiteX1097" fmla="*/ 10413996 w 12191996"/>
              <a:gd name="connsiteY1097" fmla="*/ 6521447 h 6857997"/>
              <a:gd name="connsiteX1098" fmla="*/ 10448897 w 12191996"/>
              <a:gd name="connsiteY1098" fmla="*/ 6521447 h 6857997"/>
              <a:gd name="connsiteX1099" fmla="*/ 10447443 w 12191996"/>
              <a:gd name="connsiteY1099" fmla="*/ 6427562 h 6857997"/>
              <a:gd name="connsiteX1100" fmla="*/ 10517608 w 12191996"/>
              <a:gd name="connsiteY1100" fmla="*/ 6521447 h 6857997"/>
              <a:gd name="connsiteX1101" fmla="*/ 10556871 w 12191996"/>
              <a:gd name="connsiteY1101" fmla="*/ 6521447 h 6857997"/>
              <a:gd name="connsiteX1102" fmla="*/ 10556871 w 12191996"/>
              <a:gd name="connsiteY1102" fmla="*/ 6397622 h 6857997"/>
              <a:gd name="connsiteX1103" fmla="*/ 10522334 w 12191996"/>
              <a:gd name="connsiteY1103" fmla="*/ 6397622 h 6857997"/>
              <a:gd name="connsiteX1104" fmla="*/ 10523788 w 12191996"/>
              <a:gd name="connsiteY1104" fmla="*/ 6486702 h 6857997"/>
              <a:gd name="connsiteX1105" fmla="*/ 10457258 w 12191996"/>
              <a:gd name="connsiteY1105" fmla="*/ 6397622 h 6857997"/>
              <a:gd name="connsiteX1106" fmla="*/ 10327466 w 12191996"/>
              <a:gd name="connsiteY1106" fmla="*/ 6397622 h 6857997"/>
              <a:gd name="connsiteX1107" fmla="*/ 10252071 w 12191996"/>
              <a:gd name="connsiteY1107" fmla="*/ 6461568 h 6857997"/>
              <a:gd name="connsiteX1108" fmla="*/ 10276844 w 12191996"/>
              <a:gd name="connsiteY1108" fmla="*/ 6510358 h 6857997"/>
              <a:gd name="connsiteX1109" fmla="*/ 10326748 w 12191996"/>
              <a:gd name="connsiteY1109" fmla="*/ 6521447 h 6857997"/>
              <a:gd name="connsiteX1110" fmla="*/ 10383833 w 12191996"/>
              <a:gd name="connsiteY1110" fmla="*/ 6521447 h 6857997"/>
              <a:gd name="connsiteX1111" fmla="*/ 10383833 w 12191996"/>
              <a:gd name="connsiteY1111" fmla="*/ 6499639 h 6857997"/>
              <a:gd name="connsiteX1112" fmla="*/ 10328184 w 12191996"/>
              <a:gd name="connsiteY1112" fmla="*/ 6499639 h 6857997"/>
              <a:gd name="connsiteX1113" fmla="*/ 10290128 w 12191996"/>
              <a:gd name="connsiteY1113" fmla="*/ 6469330 h 6857997"/>
              <a:gd name="connsiteX1114" fmla="*/ 10383833 w 12191996"/>
              <a:gd name="connsiteY1114" fmla="*/ 6469330 h 6857997"/>
              <a:gd name="connsiteX1115" fmla="*/ 10383833 w 12191996"/>
              <a:gd name="connsiteY1115" fmla="*/ 6447892 h 6857997"/>
              <a:gd name="connsiteX1116" fmla="*/ 10290128 w 12191996"/>
              <a:gd name="connsiteY1116" fmla="*/ 6447892 h 6857997"/>
              <a:gd name="connsiteX1117" fmla="*/ 10328184 w 12191996"/>
              <a:gd name="connsiteY1117" fmla="*/ 6419061 h 6857997"/>
              <a:gd name="connsiteX1118" fmla="*/ 10383833 w 12191996"/>
              <a:gd name="connsiteY1118" fmla="*/ 6419061 h 6857997"/>
              <a:gd name="connsiteX1119" fmla="*/ 10383833 w 12191996"/>
              <a:gd name="connsiteY1119" fmla="*/ 6397622 h 6857997"/>
              <a:gd name="connsiteX1120" fmla="*/ 10139094 w 12191996"/>
              <a:gd name="connsiteY1120" fmla="*/ 6397622 h 6857997"/>
              <a:gd name="connsiteX1121" fmla="*/ 10082209 w 12191996"/>
              <a:gd name="connsiteY1121" fmla="*/ 6435324 h 6857997"/>
              <a:gd name="connsiteX1122" fmla="*/ 10136195 w 12191996"/>
              <a:gd name="connsiteY1122" fmla="*/ 6471178 h 6857997"/>
              <a:gd name="connsiteX1123" fmla="*/ 10176413 w 12191996"/>
              <a:gd name="connsiteY1123" fmla="*/ 6471178 h 6857997"/>
              <a:gd name="connsiteX1124" fmla="*/ 10200326 w 12191996"/>
              <a:gd name="connsiteY1124" fmla="*/ 6485224 h 6857997"/>
              <a:gd name="connsiteX1125" fmla="*/ 10173877 w 12191996"/>
              <a:gd name="connsiteY1125" fmla="*/ 6499270 h 6857997"/>
              <a:gd name="connsiteX1126" fmla="*/ 10088731 w 12191996"/>
              <a:gd name="connsiteY1126" fmla="*/ 6499270 h 6857997"/>
              <a:gd name="connsiteX1127" fmla="*/ 10088731 w 12191996"/>
              <a:gd name="connsiteY1127" fmla="*/ 6521447 h 6857997"/>
              <a:gd name="connsiteX1128" fmla="*/ 10179311 w 12191996"/>
              <a:gd name="connsiteY1128" fmla="*/ 6521447 h 6857997"/>
              <a:gd name="connsiteX1129" fmla="*/ 10236196 w 12191996"/>
              <a:gd name="connsiteY1129" fmla="*/ 6484115 h 6857997"/>
              <a:gd name="connsiteX1130" fmla="*/ 10184384 w 12191996"/>
              <a:gd name="connsiteY1130" fmla="*/ 6449370 h 6857997"/>
              <a:gd name="connsiteX1131" fmla="*/ 10139456 w 12191996"/>
              <a:gd name="connsiteY1131" fmla="*/ 6449370 h 6857997"/>
              <a:gd name="connsiteX1132" fmla="*/ 10117717 w 12191996"/>
              <a:gd name="connsiteY1132" fmla="*/ 6435694 h 6857997"/>
              <a:gd name="connsiteX1133" fmla="*/ 10144166 w 12191996"/>
              <a:gd name="connsiteY1133" fmla="*/ 6419430 h 6857997"/>
              <a:gd name="connsiteX1134" fmla="*/ 10228225 w 12191996"/>
              <a:gd name="connsiteY1134" fmla="*/ 6419430 h 6857997"/>
              <a:gd name="connsiteX1135" fmla="*/ 10228225 w 12191996"/>
              <a:gd name="connsiteY1135" fmla="*/ 6397622 h 6857997"/>
              <a:gd name="connsiteX1136" fmla="*/ 10828333 w 12191996"/>
              <a:gd name="connsiteY1136" fmla="*/ 6397621 h 6857997"/>
              <a:gd name="connsiteX1137" fmla="*/ 10828333 w 12191996"/>
              <a:gd name="connsiteY1137" fmla="*/ 6521446 h 6857997"/>
              <a:gd name="connsiteX1138" fmla="*/ 10862629 w 12191996"/>
              <a:gd name="connsiteY1138" fmla="*/ 6521446 h 6857997"/>
              <a:gd name="connsiteX1139" fmla="*/ 10862629 w 12191996"/>
              <a:gd name="connsiteY1139" fmla="*/ 6472655 h 6857997"/>
              <a:gd name="connsiteX1140" fmla="*/ 10903128 w 12191996"/>
              <a:gd name="connsiteY1140" fmla="*/ 6472655 h 6857997"/>
              <a:gd name="connsiteX1141" fmla="*/ 10938884 w 12191996"/>
              <a:gd name="connsiteY1141" fmla="*/ 6521446 h 6857997"/>
              <a:gd name="connsiteX1142" fmla="*/ 10977558 w 12191996"/>
              <a:gd name="connsiteY1142" fmla="*/ 6521446 h 6857997"/>
              <a:gd name="connsiteX1143" fmla="*/ 10937059 w 12191996"/>
              <a:gd name="connsiteY1143" fmla="*/ 6469698 h 6857997"/>
              <a:gd name="connsiteX1144" fmla="*/ 10969896 w 12191996"/>
              <a:gd name="connsiteY1144" fmla="*/ 6434584 h 6857997"/>
              <a:gd name="connsiteX1145" fmla="*/ 10912979 w 12191996"/>
              <a:gd name="connsiteY1145" fmla="*/ 6397621 h 6857997"/>
              <a:gd name="connsiteX1146" fmla="*/ 11137895 w 12191996"/>
              <a:gd name="connsiteY1146" fmla="*/ 6394446 h 6857997"/>
              <a:gd name="connsiteX1147" fmla="*/ 11056933 w 12191996"/>
              <a:gd name="connsiteY1147" fmla="*/ 6457451 h 6857997"/>
              <a:gd name="connsiteX1148" fmla="*/ 11137895 w 12191996"/>
              <a:gd name="connsiteY1148" fmla="*/ 6523034 h 6857997"/>
              <a:gd name="connsiteX1149" fmla="*/ 11218858 w 12191996"/>
              <a:gd name="connsiteY1149" fmla="*/ 6458556 h 6857997"/>
              <a:gd name="connsiteX1150" fmla="*/ 11137895 w 12191996"/>
              <a:gd name="connsiteY1150" fmla="*/ 6394446 h 6857997"/>
              <a:gd name="connsiteX1151" fmla="*/ 0 w 12191996"/>
              <a:gd name="connsiteY1151" fmla="*/ 0 h 6857997"/>
              <a:gd name="connsiteX1152" fmla="*/ 12191996 w 12191996"/>
              <a:gd name="connsiteY1152" fmla="*/ 0 h 6857997"/>
              <a:gd name="connsiteX1153" fmla="*/ 12191996 w 12191996"/>
              <a:gd name="connsiteY1153" fmla="*/ 6857997 h 6857997"/>
              <a:gd name="connsiteX1154" fmla="*/ 0 w 12191996"/>
              <a:gd name="connsiteY1154" fmla="*/ 6857997 h 6857997"/>
              <a:gd name="connsiteX1155" fmla="*/ 0 w 12191996"/>
              <a:gd name="connsiteY1155" fmla="*/ 6237283 h 6857997"/>
              <a:gd name="connsiteX1156" fmla="*/ 6095995 w 12191996"/>
              <a:gd name="connsiteY1156" fmla="*/ 6237283 h 6857997"/>
              <a:gd name="connsiteX1157" fmla="*/ 6095995 w 12191996"/>
              <a:gd name="connsiteY1157" fmla="*/ 3138970 h 6857997"/>
              <a:gd name="connsiteX1158" fmla="*/ 0 w 12191996"/>
              <a:gd name="connsiteY1158" fmla="*/ 3138970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91996" h="6857997">
                <a:moveTo>
                  <a:pt x="11197257" y="6583359"/>
                </a:moveTo>
                <a:lnTo>
                  <a:pt x="11207745" y="6602409"/>
                </a:lnTo>
                <a:lnTo>
                  <a:pt x="11187108" y="6602409"/>
                </a:lnTo>
                <a:close/>
                <a:moveTo>
                  <a:pt x="11114083" y="6583359"/>
                </a:moveTo>
                <a:lnTo>
                  <a:pt x="11131338" y="6583359"/>
                </a:lnTo>
                <a:cubicBezTo>
                  <a:pt x="11141347" y="6583359"/>
                  <a:pt x="11145833" y="6584696"/>
                  <a:pt x="11145833" y="6589709"/>
                </a:cubicBezTo>
                <a:cubicBezTo>
                  <a:pt x="11145833" y="6594054"/>
                  <a:pt x="11141347" y="6596059"/>
                  <a:pt x="11132374" y="6596059"/>
                </a:cubicBezTo>
                <a:lnTo>
                  <a:pt x="11114083" y="6596059"/>
                </a:lnTo>
                <a:close/>
                <a:moveTo>
                  <a:pt x="10745783" y="6583359"/>
                </a:moveTo>
                <a:lnTo>
                  <a:pt x="10765350" y="6583359"/>
                </a:lnTo>
                <a:cubicBezTo>
                  <a:pt x="10774772" y="6583359"/>
                  <a:pt x="10779120" y="6584370"/>
                  <a:pt x="10779120" y="6588747"/>
                </a:cubicBezTo>
                <a:cubicBezTo>
                  <a:pt x="10779120" y="6593125"/>
                  <a:pt x="10774772" y="6594472"/>
                  <a:pt x="10765350" y="6594472"/>
                </a:cubicBezTo>
                <a:lnTo>
                  <a:pt x="10745783" y="6594472"/>
                </a:lnTo>
                <a:close/>
                <a:moveTo>
                  <a:pt x="10949955" y="6581771"/>
                </a:moveTo>
                <a:cubicBezTo>
                  <a:pt x="10963542" y="6581771"/>
                  <a:pt x="10969620" y="6587267"/>
                  <a:pt x="10969620" y="6598623"/>
                </a:cubicBezTo>
                <a:cubicBezTo>
                  <a:pt x="10969620" y="6609614"/>
                  <a:pt x="10963542" y="6615109"/>
                  <a:pt x="10949955" y="6615109"/>
                </a:cubicBezTo>
                <a:cubicBezTo>
                  <a:pt x="10936011" y="6615109"/>
                  <a:pt x="10929933" y="6609614"/>
                  <a:pt x="10929933" y="6598257"/>
                </a:cubicBezTo>
                <a:cubicBezTo>
                  <a:pt x="10929933" y="6587267"/>
                  <a:pt x="10936369" y="6581771"/>
                  <a:pt x="10949955" y="6581771"/>
                </a:cubicBezTo>
                <a:close/>
                <a:moveTo>
                  <a:pt x="10682898" y="6581771"/>
                </a:moveTo>
                <a:cubicBezTo>
                  <a:pt x="10696842" y="6581771"/>
                  <a:pt x="10702920" y="6587267"/>
                  <a:pt x="10702920" y="6598623"/>
                </a:cubicBezTo>
                <a:cubicBezTo>
                  <a:pt x="10702920" y="6609614"/>
                  <a:pt x="10696842" y="6615109"/>
                  <a:pt x="10682898" y="6615109"/>
                </a:cubicBezTo>
                <a:cubicBezTo>
                  <a:pt x="10669311" y="6615109"/>
                  <a:pt x="10663233" y="6609614"/>
                  <a:pt x="10663233" y="6598257"/>
                </a:cubicBezTo>
                <a:cubicBezTo>
                  <a:pt x="10663233" y="6587267"/>
                  <a:pt x="10669669" y="6581771"/>
                  <a:pt x="10682898" y="6581771"/>
                </a:cubicBezTo>
                <a:close/>
                <a:moveTo>
                  <a:pt x="11312520" y="6573834"/>
                </a:moveTo>
                <a:lnTo>
                  <a:pt x="11341079" y="6601258"/>
                </a:lnTo>
                <a:lnTo>
                  <a:pt x="11341079" y="6623047"/>
                </a:lnTo>
                <a:lnTo>
                  <a:pt x="11356624" y="6623047"/>
                </a:lnTo>
                <a:lnTo>
                  <a:pt x="11356624" y="6601258"/>
                </a:lnTo>
                <a:lnTo>
                  <a:pt x="11385545" y="6573834"/>
                </a:lnTo>
                <a:lnTo>
                  <a:pt x="11367470" y="6573834"/>
                </a:lnTo>
                <a:lnTo>
                  <a:pt x="11348671" y="6592618"/>
                </a:lnTo>
                <a:lnTo>
                  <a:pt x="11330234" y="6573834"/>
                </a:lnTo>
                <a:close/>
                <a:moveTo>
                  <a:pt x="11242670" y="6573834"/>
                </a:moveTo>
                <a:lnTo>
                  <a:pt x="11242670" y="6623047"/>
                </a:lnTo>
                <a:lnTo>
                  <a:pt x="11259156" y="6623047"/>
                </a:lnTo>
                <a:lnTo>
                  <a:pt x="11258423" y="6585856"/>
                </a:lnTo>
                <a:lnTo>
                  <a:pt x="11291028" y="6623047"/>
                </a:lnTo>
                <a:lnTo>
                  <a:pt x="11309345" y="6623047"/>
                </a:lnTo>
                <a:lnTo>
                  <a:pt x="11309345" y="6573834"/>
                </a:lnTo>
                <a:lnTo>
                  <a:pt x="11293226" y="6573834"/>
                </a:lnTo>
                <a:lnTo>
                  <a:pt x="11293958" y="6609147"/>
                </a:lnTo>
                <a:lnTo>
                  <a:pt x="11262819" y="6573834"/>
                </a:lnTo>
                <a:close/>
                <a:moveTo>
                  <a:pt x="11189997" y="6573834"/>
                </a:moveTo>
                <a:lnTo>
                  <a:pt x="11158533" y="6623047"/>
                </a:lnTo>
                <a:lnTo>
                  <a:pt x="11174980" y="6623047"/>
                </a:lnTo>
                <a:lnTo>
                  <a:pt x="11181773" y="6611401"/>
                </a:lnTo>
                <a:lnTo>
                  <a:pt x="11213595" y="6611401"/>
                </a:lnTo>
                <a:lnTo>
                  <a:pt x="11220388" y="6623047"/>
                </a:lnTo>
                <a:lnTo>
                  <a:pt x="11237908" y="6623047"/>
                </a:lnTo>
                <a:lnTo>
                  <a:pt x="11206444" y="6573834"/>
                </a:lnTo>
                <a:close/>
                <a:moveTo>
                  <a:pt x="11098208" y="6573834"/>
                </a:moveTo>
                <a:lnTo>
                  <a:pt x="11098208" y="6623047"/>
                </a:lnTo>
                <a:lnTo>
                  <a:pt x="11113502" y="6623047"/>
                </a:lnTo>
                <a:lnTo>
                  <a:pt x="11113502" y="6605766"/>
                </a:lnTo>
                <a:lnTo>
                  <a:pt x="11132352" y="6605766"/>
                </a:lnTo>
                <a:cubicBezTo>
                  <a:pt x="11141599" y="6605766"/>
                  <a:pt x="11148713" y="6605766"/>
                  <a:pt x="11154759" y="6602761"/>
                </a:cubicBezTo>
                <a:cubicBezTo>
                  <a:pt x="11160450" y="6600131"/>
                  <a:pt x="11163295" y="6595999"/>
                  <a:pt x="11163295" y="6589988"/>
                </a:cubicBezTo>
                <a:cubicBezTo>
                  <a:pt x="11163295" y="6583977"/>
                  <a:pt x="11159738" y="6579094"/>
                  <a:pt x="11153336" y="6576464"/>
                </a:cubicBezTo>
                <a:cubicBezTo>
                  <a:pt x="11148713" y="6574586"/>
                  <a:pt x="11141599" y="6573834"/>
                  <a:pt x="11131641" y="6573834"/>
                </a:cubicBezTo>
                <a:close/>
                <a:moveTo>
                  <a:pt x="10998195" y="6573834"/>
                </a:moveTo>
                <a:lnTo>
                  <a:pt x="10998195" y="6623047"/>
                </a:lnTo>
                <a:lnTo>
                  <a:pt x="11014084" y="6623047"/>
                </a:lnTo>
                <a:lnTo>
                  <a:pt x="11012639" y="6584353"/>
                </a:lnTo>
                <a:lnTo>
                  <a:pt x="11032500" y="6623047"/>
                </a:lnTo>
                <a:lnTo>
                  <a:pt x="11049111" y="6623047"/>
                </a:lnTo>
                <a:lnTo>
                  <a:pt x="11068249" y="6584729"/>
                </a:lnTo>
                <a:lnTo>
                  <a:pt x="11066805" y="6623047"/>
                </a:lnTo>
                <a:lnTo>
                  <a:pt x="11082332" y="6623047"/>
                </a:lnTo>
                <a:lnTo>
                  <a:pt x="11082332" y="6573834"/>
                </a:lnTo>
                <a:lnTo>
                  <a:pt x="11059221" y="6573834"/>
                </a:lnTo>
                <a:lnTo>
                  <a:pt x="11040444" y="6611401"/>
                </a:lnTo>
                <a:lnTo>
                  <a:pt x="11021306" y="6573834"/>
                </a:lnTo>
                <a:close/>
                <a:moveTo>
                  <a:pt x="10949776" y="6573834"/>
                </a:moveTo>
                <a:cubicBezTo>
                  <a:pt x="10924422" y="6573834"/>
                  <a:pt x="10912470" y="6581433"/>
                  <a:pt x="10912470" y="6597717"/>
                </a:cubicBezTo>
                <a:cubicBezTo>
                  <a:pt x="10912470" y="6615086"/>
                  <a:pt x="10923698" y="6623047"/>
                  <a:pt x="10949776" y="6623047"/>
                </a:cubicBezTo>
                <a:cubicBezTo>
                  <a:pt x="10975130" y="6623047"/>
                  <a:pt x="10987082" y="6615086"/>
                  <a:pt x="10987082" y="6598441"/>
                </a:cubicBezTo>
                <a:cubicBezTo>
                  <a:pt x="10987082" y="6581433"/>
                  <a:pt x="10975130" y="6573834"/>
                  <a:pt x="10949776" y="6573834"/>
                </a:cubicBezTo>
                <a:close/>
                <a:moveTo>
                  <a:pt x="10879898" y="6573834"/>
                </a:moveTo>
                <a:cubicBezTo>
                  <a:pt x="10855498" y="6573834"/>
                  <a:pt x="10844208" y="6582099"/>
                  <a:pt x="10844208" y="6599380"/>
                </a:cubicBezTo>
                <a:cubicBezTo>
                  <a:pt x="10844208" y="6608396"/>
                  <a:pt x="10848214" y="6614782"/>
                  <a:pt x="10855862" y="6618539"/>
                </a:cubicBezTo>
                <a:cubicBezTo>
                  <a:pt x="10863146" y="6622672"/>
                  <a:pt x="10870065" y="6623047"/>
                  <a:pt x="10879170" y="6623047"/>
                </a:cubicBezTo>
                <a:lnTo>
                  <a:pt x="10906120" y="6623047"/>
                </a:lnTo>
                <a:lnTo>
                  <a:pt x="10906120" y="6614407"/>
                </a:lnTo>
                <a:lnTo>
                  <a:pt x="10879898" y="6614407"/>
                </a:lnTo>
                <a:cubicBezTo>
                  <a:pt x="10866788" y="6614407"/>
                  <a:pt x="10861689" y="6610650"/>
                  <a:pt x="10861689" y="6599756"/>
                </a:cubicBezTo>
                <a:cubicBezTo>
                  <a:pt x="10861689" y="6587734"/>
                  <a:pt x="10866788" y="6582475"/>
                  <a:pt x="10879898" y="6582475"/>
                </a:cubicBezTo>
                <a:lnTo>
                  <a:pt x="10906120" y="6582475"/>
                </a:lnTo>
                <a:lnTo>
                  <a:pt x="10906120" y="6573834"/>
                </a:lnTo>
                <a:close/>
                <a:moveTo>
                  <a:pt x="10729908" y="6573834"/>
                </a:moveTo>
                <a:lnTo>
                  <a:pt x="10729908" y="6623047"/>
                </a:lnTo>
                <a:lnTo>
                  <a:pt x="10745800" y="6623047"/>
                </a:lnTo>
                <a:lnTo>
                  <a:pt x="10745800" y="6603888"/>
                </a:lnTo>
                <a:lnTo>
                  <a:pt x="10765018" y="6603888"/>
                </a:lnTo>
                <a:lnTo>
                  <a:pt x="10781649" y="6623047"/>
                </a:lnTo>
                <a:lnTo>
                  <a:pt x="10799758" y="6623047"/>
                </a:lnTo>
                <a:lnTo>
                  <a:pt x="10780910" y="6602385"/>
                </a:lnTo>
                <a:cubicBezTo>
                  <a:pt x="10790519" y="6601258"/>
                  <a:pt x="10796062" y="6596375"/>
                  <a:pt x="10796062" y="6588861"/>
                </a:cubicBezTo>
                <a:cubicBezTo>
                  <a:pt x="10796062" y="6578342"/>
                  <a:pt x="10787562" y="6573834"/>
                  <a:pt x="10769453" y="6573834"/>
                </a:cubicBezTo>
                <a:close/>
                <a:moveTo>
                  <a:pt x="10683076" y="6573834"/>
                </a:moveTo>
                <a:cubicBezTo>
                  <a:pt x="10658085" y="6573834"/>
                  <a:pt x="10645770" y="6581433"/>
                  <a:pt x="10645770" y="6597717"/>
                </a:cubicBezTo>
                <a:cubicBezTo>
                  <a:pt x="10645770" y="6615086"/>
                  <a:pt x="10657360" y="6623047"/>
                  <a:pt x="10683076" y="6623047"/>
                </a:cubicBezTo>
                <a:cubicBezTo>
                  <a:pt x="10708792" y="6623047"/>
                  <a:pt x="10720382" y="6615086"/>
                  <a:pt x="10720382" y="6598441"/>
                </a:cubicBezTo>
                <a:cubicBezTo>
                  <a:pt x="10720382" y="6581433"/>
                  <a:pt x="10708792" y="6573834"/>
                  <a:pt x="10683076" y="6573834"/>
                </a:cubicBezTo>
                <a:close/>
                <a:moveTo>
                  <a:pt x="10593642" y="6573834"/>
                </a:moveTo>
                <a:cubicBezTo>
                  <a:pt x="10576180" y="6573834"/>
                  <a:pt x="10567983" y="6578342"/>
                  <a:pt x="10567983" y="6588861"/>
                </a:cubicBezTo>
                <a:cubicBezTo>
                  <a:pt x="10567983" y="6598629"/>
                  <a:pt x="10575467" y="6603137"/>
                  <a:pt x="10592573" y="6603137"/>
                </a:cubicBezTo>
                <a:lnTo>
                  <a:pt x="10610748" y="6603137"/>
                </a:lnTo>
                <a:cubicBezTo>
                  <a:pt x="10618232" y="6603137"/>
                  <a:pt x="10621796" y="6604264"/>
                  <a:pt x="10621796" y="6608772"/>
                </a:cubicBezTo>
                <a:cubicBezTo>
                  <a:pt x="10621796" y="6612904"/>
                  <a:pt x="10617876" y="6614407"/>
                  <a:pt x="10609679" y="6614407"/>
                </a:cubicBezTo>
                <a:lnTo>
                  <a:pt x="10570834" y="6614407"/>
                </a:lnTo>
                <a:lnTo>
                  <a:pt x="10570834" y="6623047"/>
                </a:lnTo>
                <a:lnTo>
                  <a:pt x="10612174" y="6623047"/>
                </a:lnTo>
                <a:cubicBezTo>
                  <a:pt x="10629636" y="6623047"/>
                  <a:pt x="10637833" y="6618539"/>
                  <a:pt x="10637833" y="6608396"/>
                </a:cubicBezTo>
                <a:cubicBezTo>
                  <a:pt x="10637833" y="6598253"/>
                  <a:pt x="10630705" y="6594496"/>
                  <a:pt x="10614312" y="6594496"/>
                </a:cubicBezTo>
                <a:lnTo>
                  <a:pt x="10593999" y="6594496"/>
                </a:lnTo>
                <a:cubicBezTo>
                  <a:pt x="10587584" y="6594496"/>
                  <a:pt x="10584020" y="6592618"/>
                  <a:pt x="10584020" y="6589237"/>
                </a:cubicBezTo>
                <a:cubicBezTo>
                  <a:pt x="10584020" y="6584729"/>
                  <a:pt x="10587940" y="6582850"/>
                  <a:pt x="10596137" y="6582850"/>
                </a:cubicBezTo>
                <a:lnTo>
                  <a:pt x="10634269" y="6582850"/>
                </a:lnTo>
                <a:lnTo>
                  <a:pt x="10634269" y="6573834"/>
                </a:lnTo>
                <a:close/>
                <a:moveTo>
                  <a:pt x="10490195" y="6573834"/>
                </a:moveTo>
                <a:lnTo>
                  <a:pt x="10490195" y="6623047"/>
                </a:lnTo>
                <a:lnTo>
                  <a:pt x="10506681" y="6623047"/>
                </a:lnTo>
                <a:lnTo>
                  <a:pt x="10505948" y="6585856"/>
                </a:lnTo>
                <a:lnTo>
                  <a:pt x="10538553" y="6623047"/>
                </a:lnTo>
                <a:lnTo>
                  <a:pt x="10556870" y="6623047"/>
                </a:lnTo>
                <a:lnTo>
                  <a:pt x="10556870" y="6573834"/>
                </a:lnTo>
                <a:lnTo>
                  <a:pt x="10540751" y="6573834"/>
                </a:lnTo>
                <a:lnTo>
                  <a:pt x="10541483" y="6609147"/>
                </a:lnTo>
                <a:lnTo>
                  <a:pt x="10510344" y="6573834"/>
                </a:lnTo>
                <a:close/>
                <a:moveTo>
                  <a:pt x="10450207" y="6573834"/>
                </a:moveTo>
                <a:cubicBezTo>
                  <a:pt x="10426649" y="6573834"/>
                  <a:pt x="10415583" y="6582099"/>
                  <a:pt x="10415583" y="6599380"/>
                </a:cubicBezTo>
                <a:cubicBezTo>
                  <a:pt x="10415583" y="6608396"/>
                  <a:pt x="10419153" y="6614782"/>
                  <a:pt x="10427005" y="6618539"/>
                </a:cubicBezTo>
                <a:cubicBezTo>
                  <a:pt x="10434145" y="6622672"/>
                  <a:pt x="10440927" y="6623047"/>
                  <a:pt x="10449850" y="6623047"/>
                </a:cubicBezTo>
                <a:lnTo>
                  <a:pt x="10475908" y="6623047"/>
                </a:lnTo>
                <a:lnTo>
                  <a:pt x="10475908" y="6614407"/>
                </a:lnTo>
                <a:lnTo>
                  <a:pt x="10450564" y="6614407"/>
                </a:lnTo>
                <a:cubicBezTo>
                  <a:pt x="10438428" y="6614407"/>
                  <a:pt x="10433074" y="6611401"/>
                  <a:pt x="10433074" y="6602385"/>
                </a:cubicBezTo>
                <a:lnTo>
                  <a:pt x="10475908" y="6602385"/>
                </a:lnTo>
                <a:lnTo>
                  <a:pt x="10475908" y="6593745"/>
                </a:lnTo>
                <a:lnTo>
                  <a:pt x="10433074" y="6593745"/>
                </a:lnTo>
                <a:cubicBezTo>
                  <a:pt x="10433788" y="6586231"/>
                  <a:pt x="10439499" y="6582475"/>
                  <a:pt x="10450564" y="6582475"/>
                </a:cubicBezTo>
                <a:lnTo>
                  <a:pt x="10475908" y="6582475"/>
                </a:lnTo>
                <a:lnTo>
                  <a:pt x="10475908" y="6573834"/>
                </a:lnTo>
                <a:close/>
                <a:moveTo>
                  <a:pt x="10363811" y="6573834"/>
                </a:moveTo>
                <a:cubicBezTo>
                  <a:pt x="10345992" y="6573834"/>
                  <a:pt x="10337795" y="6578342"/>
                  <a:pt x="10337795" y="6588861"/>
                </a:cubicBezTo>
                <a:cubicBezTo>
                  <a:pt x="10337795" y="6598629"/>
                  <a:pt x="10345635" y="6603137"/>
                  <a:pt x="10362385" y="6603137"/>
                </a:cubicBezTo>
                <a:lnTo>
                  <a:pt x="10380560" y="6603137"/>
                </a:lnTo>
                <a:cubicBezTo>
                  <a:pt x="10388044" y="6603137"/>
                  <a:pt x="10391608" y="6604264"/>
                  <a:pt x="10391608" y="6608772"/>
                </a:cubicBezTo>
                <a:cubicBezTo>
                  <a:pt x="10391608" y="6612904"/>
                  <a:pt x="10387688" y="6614407"/>
                  <a:pt x="10379491" y="6614407"/>
                </a:cubicBezTo>
                <a:lnTo>
                  <a:pt x="10340646" y="6614407"/>
                </a:lnTo>
                <a:lnTo>
                  <a:pt x="10340646" y="6623047"/>
                </a:lnTo>
                <a:lnTo>
                  <a:pt x="10381986" y="6623047"/>
                </a:lnTo>
                <a:cubicBezTo>
                  <a:pt x="10399448" y="6623047"/>
                  <a:pt x="10407645" y="6618539"/>
                  <a:pt x="10407645" y="6608396"/>
                </a:cubicBezTo>
                <a:cubicBezTo>
                  <a:pt x="10407645" y="6598253"/>
                  <a:pt x="10400874" y="6594496"/>
                  <a:pt x="10384124" y="6594496"/>
                </a:cubicBezTo>
                <a:lnTo>
                  <a:pt x="10363811" y="6594496"/>
                </a:lnTo>
                <a:cubicBezTo>
                  <a:pt x="10357396" y="6594496"/>
                  <a:pt x="10354188" y="6592618"/>
                  <a:pt x="10354188" y="6589237"/>
                </a:cubicBezTo>
                <a:cubicBezTo>
                  <a:pt x="10354188" y="6584729"/>
                  <a:pt x="10357752" y="6582850"/>
                  <a:pt x="10365949" y="6582850"/>
                </a:cubicBezTo>
                <a:lnTo>
                  <a:pt x="10404081" y="6582850"/>
                </a:lnTo>
                <a:lnTo>
                  <a:pt x="10404081" y="6573834"/>
                </a:lnTo>
                <a:close/>
                <a:moveTo>
                  <a:pt x="10261294" y="6573834"/>
                </a:moveTo>
                <a:cubicBezTo>
                  <a:pt x="10237736" y="6573834"/>
                  <a:pt x="10226670" y="6582099"/>
                  <a:pt x="10226670" y="6599380"/>
                </a:cubicBezTo>
                <a:cubicBezTo>
                  <a:pt x="10226670" y="6608396"/>
                  <a:pt x="10230240" y="6614782"/>
                  <a:pt x="10237736" y="6618539"/>
                </a:cubicBezTo>
                <a:cubicBezTo>
                  <a:pt x="10245232" y="6622672"/>
                  <a:pt x="10252014" y="6623047"/>
                  <a:pt x="10260937" y="6623047"/>
                </a:cubicBezTo>
                <a:lnTo>
                  <a:pt x="10286995" y="6623047"/>
                </a:lnTo>
                <a:lnTo>
                  <a:pt x="10286995" y="6614407"/>
                </a:lnTo>
                <a:lnTo>
                  <a:pt x="10261651" y="6614407"/>
                </a:lnTo>
                <a:cubicBezTo>
                  <a:pt x="10249515" y="6614407"/>
                  <a:pt x="10244161" y="6611401"/>
                  <a:pt x="10244161" y="6602385"/>
                </a:cubicBezTo>
                <a:lnTo>
                  <a:pt x="10286995" y="6602385"/>
                </a:lnTo>
                <a:lnTo>
                  <a:pt x="10286995" y="6593745"/>
                </a:lnTo>
                <a:lnTo>
                  <a:pt x="10244161" y="6593745"/>
                </a:lnTo>
                <a:cubicBezTo>
                  <a:pt x="10244875" y="6586231"/>
                  <a:pt x="10250586" y="6582475"/>
                  <a:pt x="10261651" y="6582475"/>
                </a:cubicBezTo>
                <a:lnTo>
                  <a:pt x="10286995" y="6582475"/>
                </a:lnTo>
                <a:lnTo>
                  <a:pt x="10286995" y="6573834"/>
                </a:lnTo>
                <a:close/>
                <a:moveTo>
                  <a:pt x="10155233" y="6573834"/>
                </a:moveTo>
                <a:lnTo>
                  <a:pt x="10155233" y="6623047"/>
                </a:lnTo>
                <a:lnTo>
                  <a:pt x="10170859" y="6623047"/>
                </a:lnTo>
                <a:lnTo>
                  <a:pt x="10170859" y="6602385"/>
                </a:lnTo>
                <a:lnTo>
                  <a:pt x="10199932" y="6602385"/>
                </a:lnTo>
                <a:lnTo>
                  <a:pt x="10199932" y="6623047"/>
                </a:lnTo>
                <a:lnTo>
                  <a:pt x="10215558" y="6623047"/>
                </a:lnTo>
                <a:lnTo>
                  <a:pt x="10215558" y="6573834"/>
                </a:lnTo>
                <a:lnTo>
                  <a:pt x="10199932" y="6573834"/>
                </a:lnTo>
                <a:lnTo>
                  <a:pt x="10199932" y="6593745"/>
                </a:lnTo>
                <a:lnTo>
                  <a:pt x="10170859" y="6593745"/>
                </a:lnTo>
                <a:lnTo>
                  <a:pt x="10170859" y="6573834"/>
                </a:lnTo>
                <a:close/>
                <a:moveTo>
                  <a:pt x="10082208" y="6573834"/>
                </a:moveTo>
                <a:lnTo>
                  <a:pt x="10082208" y="6582163"/>
                </a:lnTo>
                <a:lnTo>
                  <a:pt x="10106570" y="6582163"/>
                </a:lnTo>
                <a:lnTo>
                  <a:pt x="10106570" y="6623047"/>
                </a:lnTo>
                <a:lnTo>
                  <a:pt x="10122569" y="6623047"/>
                </a:lnTo>
                <a:lnTo>
                  <a:pt x="10122569" y="6582163"/>
                </a:lnTo>
                <a:lnTo>
                  <a:pt x="10147295" y="6582163"/>
                </a:lnTo>
                <a:lnTo>
                  <a:pt x="10147295" y="6573834"/>
                </a:lnTo>
                <a:close/>
                <a:moveTo>
                  <a:pt x="2164828" y="6506715"/>
                </a:moveTo>
                <a:lnTo>
                  <a:pt x="2164828" y="6521016"/>
                </a:lnTo>
                <a:lnTo>
                  <a:pt x="2170617" y="6521016"/>
                </a:lnTo>
                <a:cubicBezTo>
                  <a:pt x="2170525" y="6525388"/>
                  <a:pt x="2169942" y="6528679"/>
                  <a:pt x="2168875" y="6530888"/>
                </a:cubicBezTo>
                <a:cubicBezTo>
                  <a:pt x="2167801" y="6533097"/>
                  <a:pt x="2166224" y="6534760"/>
                  <a:pt x="2164132" y="6535876"/>
                </a:cubicBezTo>
                <a:lnTo>
                  <a:pt x="2166989" y="6541248"/>
                </a:lnTo>
                <a:cubicBezTo>
                  <a:pt x="2170103" y="6539573"/>
                  <a:pt x="2172478" y="6537166"/>
                  <a:pt x="2174106" y="6534027"/>
                </a:cubicBezTo>
                <a:cubicBezTo>
                  <a:pt x="2175732" y="6530888"/>
                  <a:pt x="2176545" y="6526551"/>
                  <a:pt x="2176545" y="6521016"/>
                </a:cubicBezTo>
                <a:lnTo>
                  <a:pt x="2176545" y="6506715"/>
                </a:lnTo>
                <a:close/>
                <a:moveTo>
                  <a:pt x="6291678" y="6483832"/>
                </a:moveTo>
                <a:lnTo>
                  <a:pt x="6291678" y="6488437"/>
                </a:lnTo>
                <a:cubicBezTo>
                  <a:pt x="6291678" y="6494529"/>
                  <a:pt x="6290934" y="6499169"/>
                  <a:pt x="6289446" y="6502355"/>
                </a:cubicBezTo>
                <a:cubicBezTo>
                  <a:pt x="6287957" y="6505540"/>
                  <a:pt x="6285713" y="6508087"/>
                  <a:pt x="6282713" y="6509994"/>
                </a:cubicBezTo>
                <a:cubicBezTo>
                  <a:pt x="6279714" y="6511901"/>
                  <a:pt x="6276377" y="6512854"/>
                  <a:pt x="6272702" y="6512854"/>
                </a:cubicBezTo>
                <a:cubicBezTo>
                  <a:pt x="6268842" y="6512854"/>
                  <a:pt x="6265819" y="6511796"/>
                  <a:pt x="6263633" y="6509680"/>
                </a:cubicBezTo>
                <a:cubicBezTo>
                  <a:pt x="6261447" y="6507564"/>
                  <a:pt x="6260354" y="6504738"/>
                  <a:pt x="6260354" y="6501204"/>
                </a:cubicBezTo>
                <a:cubicBezTo>
                  <a:pt x="6260354" y="6498925"/>
                  <a:pt x="6260831" y="6496913"/>
                  <a:pt x="6261784" y="6495169"/>
                </a:cubicBezTo>
                <a:cubicBezTo>
                  <a:pt x="6262738" y="6493425"/>
                  <a:pt x="6264075" y="6492076"/>
                  <a:pt x="6265796" y="6491123"/>
                </a:cubicBezTo>
                <a:cubicBezTo>
                  <a:pt x="6267517" y="6490169"/>
                  <a:pt x="6270540" y="6489321"/>
                  <a:pt x="6274865" y="6488576"/>
                </a:cubicBezTo>
                <a:cubicBezTo>
                  <a:pt x="6282306" y="6487274"/>
                  <a:pt x="6287911" y="6485693"/>
                  <a:pt x="6291678" y="6483832"/>
                </a:cubicBezTo>
                <a:close/>
                <a:moveTo>
                  <a:pt x="2657744" y="6483832"/>
                </a:moveTo>
                <a:lnTo>
                  <a:pt x="2657744" y="6488437"/>
                </a:lnTo>
                <a:cubicBezTo>
                  <a:pt x="2657744" y="6494529"/>
                  <a:pt x="2657002" y="6499169"/>
                  <a:pt x="2655513" y="6502355"/>
                </a:cubicBezTo>
                <a:cubicBezTo>
                  <a:pt x="2654022" y="6505540"/>
                  <a:pt x="2651779" y="6508087"/>
                  <a:pt x="2648779" y="6509994"/>
                </a:cubicBezTo>
                <a:cubicBezTo>
                  <a:pt x="2645781" y="6511901"/>
                  <a:pt x="2642444" y="6512854"/>
                  <a:pt x="2638768" y="6512854"/>
                </a:cubicBezTo>
                <a:cubicBezTo>
                  <a:pt x="2634908" y="6512854"/>
                  <a:pt x="2631884" y="6511796"/>
                  <a:pt x="2629699" y="6509680"/>
                </a:cubicBezTo>
                <a:cubicBezTo>
                  <a:pt x="2627512" y="6507564"/>
                  <a:pt x="2626419" y="6504738"/>
                  <a:pt x="2626419" y="6501204"/>
                </a:cubicBezTo>
                <a:cubicBezTo>
                  <a:pt x="2626419" y="6498925"/>
                  <a:pt x="2626899" y="6496913"/>
                  <a:pt x="2627851" y="6495169"/>
                </a:cubicBezTo>
                <a:cubicBezTo>
                  <a:pt x="2628803" y="6493425"/>
                  <a:pt x="2630143" y="6492076"/>
                  <a:pt x="2631864" y="6491123"/>
                </a:cubicBezTo>
                <a:cubicBezTo>
                  <a:pt x="2633583" y="6490169"/>
                  <a:pt x="2636607" y="6489321"/>
                  <a:pt x="2640931" y="6488576"/>
                </a:cubicBezTo>
                <a:cubicBezTo>
                  <a:pt x="2648373" y="6487274"/>
                  <a:pt x="2653976" y="6485693"/>
                  <a:pt x="2657744" y="6483832"/>
                </a:cubicBezTo>
                <a:close/>
                <a:moveTo>
                  <a:pt x="6087298" y="6455578"/>
                </a:moveTo>
                <a:cubicBezTo>
                  <a:pt x="6092411" y="6455578"/>
                  <a:pt x="6096620" y="6457881"/>
                  <a:pt x="6099922" y="6462485"/>
                </a:cubicBezTo>
                <a:cubicBezTo>
                  <a:pt x="6102201" y="6465648"/>
                  <a:pt x="6103573" y="6470438"/>
                  <a:pt x="6104038" y="6476856"/>
                </a:cubicBezTo>
                <a:lnTo>
                  <a:pt x="6070136" y="6476856"/>
                </a:lnTo>
                <a:cubicBezTo>
                  <a:pt x="6070462" y="6470345"/>
                  <a:pt x="6072252" y="6465171"/>
                  <a:pt x="6075505" y="6461334"/>
                </a:cubicBezTo>
                <a:cubicBezTo>
                  <a:pt x="6078764" y="6457497"/>
                  <a:pt x="6082694" y="6455578"/>
                  <a:pt x="6087298" y="6455578"/>
                </a:cubicBezTo>
                <a:close/>
                <a:moveTo>
                  <a:pt x="6018399" y="6455578"/>
                </a:moveTo>
                <a:cubicBezTo>
                  <a:pt x="6023285" y="6455578"/>
                  <a:pt x="6027334" y="6457962"/>
                  <a:pt x="6030544" y="6462729"/>
                </a:cubicBezTo>
                <a:cubicBezTo>
                  <a:pt x="6033756" y="6467496"/>
                  <a:pt x="6035362" y="6475066"/>
                  <a:pt x="6035362" y="6485437"/>
                </a:cubicBezTo>
                <a:cubicBezTo>
                  <a:pt x="6035362" y="6494460"/>
                  <a:pt x="6033756" y="6501204"/>
                  <a:pt x="6030544" y="6505668"/>
                </a:cubicBezTo>
                <a:cubicBezTo>
                  <a:pt x="6027334" y="6510133"/>
                  <a:pt x="6023542" y="6512366"/>
                  <a:pt x="6019168" y="6512366"/>
                </a:cubicBezTo>
                <a:cubicBezTo>
                  <a:pt x="6014745" y="6512366"/>
                  <a:pt x="6010872" y="6510040"/>
                  <a:pt x="6007544" y="6505389"/>
                </a:cubicBezTo>
                <a:cubicBezTo>
                  <a:pt x="6004217" y="6500738"/>
                  <a:pt x="6002552" y="6493623"/>
                  <a:pt x="6002552" y="6484042"/>
                </a:cubicBezTo>
                <a:cubicBezTo>
                  <a:pt x="6002552" y="6474228"/>
                  <a:pt x="6004113" y="6467031"/>
                  <a:pt x="6007230" y="6462450"/>
                </a:cubicBezTo>
                <a:cubicBezTo>
                  <a:pt x="6010347" y="6457869"/>
                  <a:pt x="6014069" y="6455578"/>
                  <a:pt x="6018399" y="6455578"/>
                </a:cubicBezTo>
                <a:close/>
                <a:moveTo>
                  <a:pt x="5829564" y="6455578"/>
                </a:moveTo>
                <a:cubicBezTo>
                  <a:pt x="5834728" y="6455578"/>
                  <a:pt x="5839051" y="6457918"/>
                  <a:pt x="5842539" y="6462598"/>
                </a:cubicBezTo>
                <a:cubicBezTo>
                  <a:pt x="5846028" y="6467278"/>
                  <a:pt x="5847773" y="6474391"/>
                  <a:pt x="5847773" y="6483937"/>
                </a:cubicBezTo>
                <a:cubicBezTo>
                  <a:pt x="5847773" y="6493437"/>
                  <a:pt x="5846040" y="6500549"/>
                  <a:pt x="5842576" y="6505276"/>
                </a:cubicBezTo>
                <a:cubicBezTo>
                  <a:pt x="5839110" y="6510002"/>
                  <a:pt x="5834960" y="6512366"/>
                  <a:pt x="5830122" y="6512366"/>
                </a:cubicBezTo>
                <a:cubicBezTo>
                  <a:pt x="5824960" y="6512366"/>
                  <a:pt x="5820635" y="6510026"/>
                  <a:pt x="5817145" y="6505346"/>
                </a:cubicBezTo>
                <a:cubicBezTo>
                  <a:pt x="5813658" y="6500666"/>
                  <a:pt x="5811914" y="6493530"/>
                  <a:pt x="5811914" y="6483937"/>
                </a:cubicBezTo>
                <a:cubicBezTo>
                  <a:pt x="5811914" y="6474438"/>
                  <a:pt x="5813635" y="6467336"/>
                  <a:pt x="5817079" y="6462633"/>
                </a:cubicBezTo>
                <a:cubicBezTo>
                  <a:pt x="5820520" y="6457930"/>
                  <a:pt x="5824683" y="6455578"/>
                  <a:pt x="5829564" y="6455578"/>
                </a:cubicBezTo>
                <a:close/>
                <a:moveTo>
                  <a:pt x="2774990" y="6455578"/>
                </a:moveTo>
                <a:cubicBezTo>
                  <a:pt x="2779874" y="6455578"/>
                  <a:pt x="2783923" y="6457962"/>
                  <a:pt x="2787135" y="6462729"/>
                </a:cubicBezTo>
                <a:cubicBezTo>
                  <a:pt x="2790345" y="6467496"/>
                  <a:pt x="2791951" y="6475066"/>
                  <a:pt x="2791951" y="6485437"/>
                </a:cubicBezTo>
                <a:cubicBezTo>
                  <a:pt x="2791951" y="6494460"/>
                  <a:pt x="2790345" y="6501204"/>
                  <a:pt x="2787135" y="6505668"/>
                </a:cubicBezTo>
                <a:cubicBezTo>
                  <a:pt x="2783923" y="6510133"/>
                  <a:pt x="2780133" y="6512366"/>
                  <a:pt x="2775759" y="6512366"/>
                </a:cubicBezTo>
                <a:cubicBezTo>
                  <a:pt x="2771336" y="6512366"/>
                  <a:pt x="2767460" y="6510040"/>
                  <a:pt x="2764133" y="6505389"/>
                </a:cubicBezTo>
                <a:cubicBezTo>
                  <a:pt x="2760806" y="6500738"/>
                  <a:pt x="2759145" y="6493623"/>
                  <a:pt x="2759145" y="6484042"/>
                </a:cubicBezTo>
                <a:cubicBezTo>
                  <a:pt x="2759145" y="6474228"/>
                  <a:pt x="2760704" y="6467031"/>
                  <a:pt x="2763822" y="6462450"/>
                </a:cubicBezTo>
                <a:cubicBezTo>
                  <a:pt x="2766936" y="6457869"/>
                  <a:pt x="2770658" y="6455578"/>
                  <a:pt x="2774990" y="6455578"/>
                </a:cubicBezTo>
                <a:close/>
                <a:moveTo>
                  <a:pt x="2510511" y="6455578"/>
                </a:moveTo>
                <a:cubicBezTo>
                  <a:pt x="2515626" y="6455578"/>
                  <a:pt x="2519836" y="6457881"/>
                  <a:pt x="2523140" y="6462485"/>
                </a:cubicBezTo>
                <a:cubicBezTo>
                  <a:pt x="2525417" y="6465648"/>
                  <a:pt x="2526789" y="6470438"/>
                  <a:pt x="2527255" y="6476856"/>
                </a:cubicBezTo>
                <a:lnTo>
                  <a:pt x="2493349" y="6476856"/>
                </a:lnTo>
                <a:cubicBezTo>
                  <a:pt x="2493675" y="6470345"/>
                  <a:pt x="2495465" y="6465171"/>
                  <a:pt x="2498723" y="6461334"/>
                </a:cubicBezTo>
                <a:cubicBezTo>
                  <a:pt x="2501977" y="6457497"/>
                  <a:pt x="2505907" y="6455578"/>
                  <a:pt x="2510511" y="6455578"/>
                </a:cubicBezTo>
                <a:close/>
                <a:moveTo>
                  <a:pt x="1871776" y="6455578"/>
                </a:moveTo>
                <a:cubicBezTo>
                  <a:pt x="1876939" y="6455578"/>
                  <a:pt x="1881264" y="6457918"/>
                  <a:pt x="1884752" y="6462598"/>
                </a:cubicBezTo>
                <a:cubicBezTo>
                  <a:pt x="1888240" y="6467278"/>
                  <a:pt x="1889984" y="6474391"/>
                  <a:pt x="1889984" y="6483937"/>
                </a:cubicBezTo>
                <a:cubicBezTo>
                  <a:pt x="1889984" y="6493437"/>
                  <a:pt x="1888252" y="6500549"/>
                  <a:pt x="1884787" y="6505276"/>
                </a:cubicBezTo>
                <a:cubicBezTo>
                  <a:pt x="1881322" y="6510002"/>
                  <a:pt x="1877171" y="6512366"/>
                  <a:pt x="1872334" y="6512366"/>
                </a:cubicBezTo>
                <a:cubicBezTo>
                  <a:pt x="1867172" y="6512366"/>
                  <a:pt x="1862846" y="6510026"/>
                  <a:pt x="1859358" y="6505346"/>
                </a:cubicBezTo>
                <a:cubicBezTo>
                  <a:pt x="1855870" y="6500666"/>
                  <a:pt x="1854126" y="6493530"/>
                  <a:pt x="1854126" y="6483937"/>
                </a:cubicBezTo>
                <a:cubicBezTo>
                  <a:pt x="1854126" y="6474438"/>
                  <a:pt x="1855847" y="6467336"/>
                  <a:pt x="1859288" y="6462633"/>
                </a:cubicBezTo>
                <a:cubicBezTo>
                  <a:pt x="1862731" y="6457930"/>
                  <a:pt x="1866893" y="6455578"/>
                  <a:pt x="1871776" y="6455578"/>
                </a:cubicBezTo>
                <a:close/>
                <a:moveTo>
                  <a:pt x="1586584" y="6455578"/>
                </a:moveTo>
                <a:cubicBezTo>
                  <a:pt x="1591700" y="6455578"/>
                  <a:pt x="1595909" y="6457881"/>
                  <a:pt x="1599211" y="6462485"/>
                </a:cubicBezTo>
                <a:cubicBezTo>
                  <a:pt x="1601491" y="6465648"/>
                  <a:pt x="1602862" y="6470438"/>
                  <a:pt x="1603327" y="6476856"/>
                </a:cubicBezTo>
                <a:lnTo>
                  <a:pt x="1569422" y="6476856"/>
                </a:lnTo>
                <a:cubicBezTo>
                  <a:pt x="1569748" y="6470345"/>
                  <a:pt x="1571538" y="6465171"/>
                  <a:pt x="1574794" y="6461334"/>
                </a:cubicBezTo>
                <a:cubicBezTo>
                  <a:pt x="1578050" y="6457497"/>
                  <a:pt x="1581980" y="6455578"/>
                  <a:pt x="1586584" y="6455578"/>
                </a:cubicBezTo>
                <a:close/>
                <a:moveTo>
                  <a:pt x="1317685" y="6455578"/>
                </a:moveTo>
                <a:cubicBezTo>
                  <a:pt x="1322486" y="6455578"/>
                  <a:pt x="1326564" y="6457851"/>
                  <a:pt x="1329920" y="6462398"/>
                </a:cubicBezTo>
                <a:cubicBezTo>
                  <a:pt x="1333275" y="6466944"/>
                  <a:pt x="1334953" y="6473880"/>
                  <a:pt x="1334953" y="6483205"/>
                </a:cubicBezTo>
                <a:cubicBezTo>
                  <a:pt x="1334953" y="6492763"/>
                  <a:pt x="1333322" y="6499734"/>
                  <a:pt x="1330059" y="6504117"/>
                </a:cubicBezTo>
                <a:cubicBezTo>
                  <a:pt x="1326797" y="6508500"/>
                  <a:pt x="1322836" y="6510691"/>
                  <a:pt x="1318175" y="6510691"/>
                </a:cubicBezTo>
                <a:cubicBezTo>
                  <a:pt x="1313514" y="6510691"/>
                  <a:pt x="1309575" y="6508453"/>
                  <a:pt x="1306360" y="6503977"/>
                </a:cubicBezTo>
                <a:cubicBezTo>
                  <a:pt x="1303144" y="6499501"/>
                  <a:pt x="1301536" y="6492390"/>
                  <a:pt x="1301536" y="6482645"/>
                </a:cubicBezTo>
                <a:cubicBezTo>
                  <a:pt x="1301536" y="6473693"/>
                  <a:pt x="1303156" y="6466944"/>
                  <a:pt x="1306395" y="6462398"/>
                </a:cubicBezTo>
                <a:cubicBezTo>
                  <a:pt x="1309635" y="6457851"/>
                  <a:pt x="1313398" y="6455578"/>
                  <a:pt x="1317685" y="6455578"/>
                </a:cubicBezTo>
                <a:close/>
                <a:moveTo>
                  <a:pt x="1071676" y="6455578"/>
                </a:moveTo>
                <a:cubicBezTo>
                  <a:pt x="1076839" y="6455578"/>
                  <a:pt x="1081164" y="6457918"/>
                  <a:pt x="1084652" y="6462598"/>
                </a:cubicBezTo>
                <a:cubicBezTo>
                  <a:pt x="1088140" y="6467278"/>
                  <a:pt x="1089884" y="6474391"/>
                  <a:pt x="1089884" y="6483937"/>
                </a:cubicBezTo>
                <a:cubicBezTo>
                  <a:pt x="1089884" y="6493437"/>
                  <a:pt x="1088152" y="6500549"/>
                  <a:pt x="1084687" y="6505276"/>
                </a:cubicBezTo>
                <a:cubicBezTo>
                  <a:pt x="1081222" y="6510002"/>
                  <a:pt x="1077071" y="6512366"/>
                  <a:pt x="1072234" y="6512366"/>
                </a:cubicBezTo>
                <a:cubicBezTo>
                  <a:pt x="1067072" y="6512366"/>
                  <a:pt x="1062746" y="6510026"/>
                  <a:pt x="1059258" y="6505346"/>
                </a:cubicBezTo>
                <a:cubicBezTo>
                  <a:pt x="1055770" y="6500666"/>
                  <a:pt x="1054026" y="6493530"/>
                  <a:pt x="1054026" y="6483937"/>
                </a:cubicBezTo>
                <a:cubicBezTo>
                  <a:pt x="1054026" y="6474438"/>
                  <a:pt x="1055747" y="6467336"/>
                  <a:pt x="1059188" y="6462633"/>
                </a:cubicBezTo>
                <a:cubicBezTo>
                  <a:pt x="1062630" y="6457930"/>
                  <a:pt x="1066793" y="6455578"/>
                  <a:pt x="1071676" y="6455578"/>
                </a:cubicBezTo>
                <a:close/>
                <a:moveTo>
                  <a:pt x="1139788" y="6455090"/>
                </a:moveTo>
                <a:cubicBezTo>
                  <a:pt x="1144380" y="6455090"/>
                  <a:pt x="1148277" y="6457415"/>
                  <a:pt x="1151478" y="6462066"/>
                </a:cubicBezTo>
                <a:cubicBezTo>
                  <a:pt x="1154680" y="6466717"/>
                  <a:pt x="1156280" y="6473880"/>
                  <a:pt x="1156280" y="6483553"/>
                </a:cubicBezTo>
                <a:cubicBezTo>
                  <a:pt x="1156280" y="6493367"/>
                  <a:pt x="1154633" y="6500622"/>
                  <a:pt x="1151339" y="6505320"/>
                </a:cubicBezTo>
                <a:cubicBezTo>
                  <a:pt x="1148046" y="6510017"/>
                  <a:pt x="1144218" y="6512366"/>
                  <a:pt x="1139857" y="6512366"/>
                </a:cubicBezTo>
                <a:cubicBezTo>
                  <a:pt x="1135310" y="6512366"/>
                  <a:pt x="1131436" y="6510098"/>
                  <a:pt x="1128235" y="6505564"/>
                </a:cubicBezTo>
                <a:cubicBezTo>
                  <a:pt x="1125034" y="6501029"/>
                  <a:pt x="1123434" y="6493971"/>
                  <a:pt x="1123434" y="6484391"/>
                </a:cubicBezTo>
                <a:cubicBezTo>
                  <a:pt x="1123434" y="6474856"/>
                  <a:pt x="1125127" y="6467589"/>
                  <a:pt x="1128514" y="6462590"/>
                </a:cubicBezTo>
                <a:cubicBezTo>
                  <a:pt x="1131901" y="6457590"/>
                  <a:pt x="1135659" y="6455090"/>
                  <a:pt x="1139788" y="6455090"/>
                </a:cubicBezTo>
                <a:close/>
                <a:moveTo>
                  <a:pt x="6224384" y="6446928"/>
                </a:moveTo>
                <a:lnTo>
                  <a:pt x="6224384" y="6521016"/>
                </a:lnTo>
                <a:lnTo>
                  <a:pt x="6234640" y="6521016"/>
                </a:lnTo>
                <a:lnTo>
                  <a:pt x="6234640" y="6446928"/>
                </a:lnTo>
                <a:close/>
                <a:moveTo>
                  <a:pt x="5967211" y="6446928"/>
                </a:moveTo>
                <a:lnTo>
                  <a:pt x="5967211" y="6521016"/>
                </a:lnTo>
                <a:lnTo>
                  <a:pt x="5977467" y="6521016"/>
                </a:lnTo>
                <a:lnTo>
                  <a:pt x="5977467" y="6446928"/>
                </a:lnTo>
                <a:close/>
                <a:moveTo>
                  <a:pt x="2380902" y="6446928"/>
                </a:moveTo>
                <a:lnTo>
                  <a:pt x="2380902" y="6521016"/>
                </a:lnTo>
                <a:lnTo>
                  <a:pt x="2391160" y="6521016"/>
                </a:lnTo>
                <a:lnTo>
                  <a:pt x="2391160" y="6446928"/>
                </a:lnTo>
                <a:close/>
                <a:moveTo>
                  <a:pt x="2287711" y="6446928"/>
                </a:moveTo>
                <a:lnTo>
                  <a:pt x="2306375" y="6521016"/>
                </a:lnTo>
                <a:lnTo>
                  <a:pt x="2317119" y="6521016"/>
                </a:lnTo>
                <a:lnTo>
                  <a:pt x="2329394" y="6464020"/>
                </a:lnTo>
                <a:lnTo>
                  <a:pt x="2331698" y="6476647"/>
                </a:lnTo>
                <a:lnTo>
                  <a:pt x="2341394" y="6521016"/>
                </a:lnTo>
                <a:lnTo>
                  <a:pt x="2352113" y="6521016"/>
                </a:lnTo>
                <a:lnTo>
                  <a:pt x="2371081" y="6446928"/>
                </a:lnTo>
                <a:lnTo>
                  <a:pt x="2361033" y="6446928"/>
                </a:lnTo>
                <a:lnTo>
                  <a:pt x="2350666" y="6489762"/>
                </a:lnTo>
                <a:lnTo>
                  <a:pt x="2347183" y="6504064"/>
                </a:lnTo>
                <a:lnTo>
                  <a:pt x="2344125" y="6489902"/>
                </a:lnTo>
                <a:lnTo>
                  <a:pt x="2335086" y="6446928"/>
                </a:lnTo>
                <a:lnTo>
                  <a:pt x="2324456" y="6446928"/>
                </a:lnTo>
                <a:lnTo>
                  <a:pt x="2314822" y="6490320"/>
                </a:lnTo>
                <a:lnTo>
                  <a:pt x="2311609" y="6505599"/>
                </a:lnTo>
                <a:lnTo>
                  <a:pt x="2308033" y="6489693"/>
                </a:lnTo>
                <a:lnTo>
                  <a:pt x="2298356" y="6446928"/>
                </a:lnTo>
                <a:close/>
                <a:moveTo>
                  <a:pt x="1818925" y="6446928"/>
                </a:moveTo>
                <a:lnTo>
                  <a:pt x="1818925" y="6521016"/>
                </a:lnTo>
                <a:lnTo>
                  <a:pt x="1829180" y="6521016"/>
                </a:lnTo>
                <a:lnTo>
                  <a:pt x="1829180" y="6446928"/>
                </a:lnTo>
                <a:close/>
                <a:moveTo>
                  <a:pt x="1752248" y="6446928"/>
                </a:moveTo>
                <a:lnTo>
                  <a:pt x="1752248" y="6521016"/>
                </a:lnTo>
                <a:lnTo>
                  <a:pt x="1762504" y="6521016"/>
                </a:lnTo>
                <a:lnTo>
                  <a:pt x="1762504" y="6446928"/>
                </a:lnTo>
                <a:close/>
                <a:moveTo>
                  <a:pt x="1266473" y="6446928"/>
                </a:moveTo>
                <a:lnTo>
                  <a:pt x="1266473" y="6521016"/>
                </a:lnTo>
                <a:lnTo>
                  <a:pt x="1276729" y="6521016"/>
                </a:lnTo>
                <a:lnTo>
                  <a:pt x="1276729" y="6446928"/>
                </a:lnTo>
                <a:close/>
                <a:moveTo>
                  <a:pt x="6278772" y="6445253"/>
                </a:moveTo>
                <a:cubicBezTo>
                  <a:pt x="6270586" y="6445253"/>
                  <a:pt x="6264296" y="6447067"/>
                  <a:pt x="6259901" y="6450695"/>
                </a:cubicBezTo>
                <a:cubicBezTo>
                  <a:pt x="6255506" y="6454323"/>
                  <a:pt x="6252587" y="6460113"/>
                  <a:pt x="6251146" y="6468066"/>
                </a:cubicBezTo>
                <a:lnTo>
                  <a:pt x="6261261" y="6469740"/>
                </a:lnTo>
                <a:cubicBezTo>
                  <a:pt x="6262377" y="6464272"/>
                  <a:pt x="6264122" y="6460544"/>
                  <a:pt x="6266493" y="6458558"/>
                </a:cubicBezTo>
                <a:cubicBezTo>
                  <a:pt x="6268865" y="6456572"/>
                  <a:pt x="6272447" y="6455578"/>
                  <a:pt x="6277237" y="6455578"/>
                </a:cubicBezTo>
                <a:cubicBezTo>
                  <a:pt x="6282539" y="6455578"/>
                  <a:pt x="6286469" y="6457067"/>
                  <a:pt x="6289027" y="6460043"/>
                </a:cubicBezTo>
                <a:cubicBezTo>
                  <a:pt x="6290841" y="6462090"/>
                  <a:pt x="6291748" y="6465648"/>
                  <a:pt x="6291748" y="6470717"/>
                </a:cubicBezTo>
                <a:lnTo>
                  <a:pt x="6291678" y="6473926"/>
                </a:lnTo>
                <a:cubicBezTo>
                  <a:pt x="6287771" y="6475627"/>
                  <a:pt x="6281632" y="6477092"/>
                  <a:pt x="6273260" y="6478321"/>
                </a:cubicBezTo>
                <a:cubicBezTo>
                  <a:pt x="6267028" y="6479205"/>
                  <a:pt x="6262377" y="6480577"/>
                  <a:pt x="6259308" y="6482437"/>
                </a:cubicBezTo>
                <a:cubicBezTo>
                  <a:pt x="6256238" y="6484298"/>
                  <a:pt x="6253820" y="6486879"/>
                  <a:pt x="6252052" y="6490181"/>
                </a:cubicBezTo>
                <a:cubicBezTo>
                  <a:pt x="6250285" y="6493483"/>
                  <a:pt x="6249401" y="6497274"/>
                  <a:pt x="6249401" y="6501552"/>
                </a:cubicBezTo>
                <a:cubicBezTo>
                  <a:pt x="6249401" y="6508017"/>
                  <a:pt x="6251285" y="6513156"/>
                  <a:pt x="6255052" y="6516970"/>
                </a:cubicBezTo>
                <a:cubicBezTo>
                  <a:pt x="6258820" y="6520784"/>
                  <a:pt x="6263866" y="6522691"/>
                  <a:pt x="6270191" y="6522691"/>
                </a:cubicBezTo>
                <a:cubicBezTo>
                  <a:pt x="6274191" y="6522691"/>
                  <a:pt x="6278051" y="6521783"/>
                  <a:pt x="6281772" y="6519969"/>
                </a:cubicBezTo>
                <a:cubicBezTo>
                  <a:pt x="6285492" y="6518155"/>
                  <a:pt x="6289073" y="6515457"/>
                  <a:pt x="6292515" y="6511876"/>
                </a:cubicBezTo>
                <a:cubicBezTo>
                  <a:pt x="6292841" y="6515412"/>
                  <a:pt x="6293538" y="6518458"/>
                  <a:pt x="6294608" y="6521016"/>
                </a:cubicBezTo>
                <a:lnTo>
                  <a:pt x="6305352" y="6521016"/>
                </a:lnTo>
                <a:cubicBezTo>
                  <a:pt x="6304049" y="6518133"/>
                  <a:pt x="6303177" y="6515168"/>
                  <a:pt x="6302735" y="6512121"/>
                </a:cubicBezTo>
                <a:cubicBezTo>
                  <a:pt x="6302294" y="6509075"/>
                  <a:pt x="6302073" y="6501692"/>
                  <a:pt x="6302073" y="6489972"/>
                </a:cubicBezTo>
                <a:lnTo>
                  <a:pt x="6302073" y="6473228"/>
                </a:lnTo>
                <a:cubicBezTo>
                  <a:pt x="6302073" y="6466438"/>
                  <a:pt x="6301596" y="6461276"/>
                  <a:pt x="6300643" y="6457741"/>
                </a:cubicBezTo>
                <a:cubicBezTo>
                  <a:pt x="6299689" y="6454206"/>
                  <a:pt x="6297399" y="6451241"/>
                  <a:pt x="6293771" y="6448846"/>
                </a:cubicBezTo>
                <a:cubicBezTo>
                  <a:pt x="6290143" y="6446451"/>
                  <a:pt x="6285143" y="6445253"/>
                  <a:pt x="6278772" y="6445253"/>
                </a:cubicBezTo>
                <a:close/>
                <a:moveTo>
                  <a:pt x="6157704" y="6445253"/>
                </a:moveTo>
                <a:cubicBezTo>
                  <a:pt x="6153525" y="6445253"/>
                  <a:pt x="6149822" y="6446259"/>
                  <a:pt x="6146596" y="6448271"/>
                </a:cubicBezTo>
                <a:cubicBezTo>
                  <a:pt x="6143369" y="6450283"/>
                  <a:pt x="6140642" y="6453324"/>
                  <a:pt x="6138413" y="6457393"/>
                </a:cubicBezTo>
                <a:lnTo>
                  <a:pt x="6138413" y="6446928"/>
                </a:lnTo>
                <a:lnTo>
                  <a:pt x="6129134" y="6446928"/>
                </a:lnTo>
                <a:lnTo>
                  <a:pt x="6129134" y="6521016"/>
                </a:lnTo>
                <a:lnTo>
                  <a:pt x="6139390" y="6521016"/>
                </a:lnTo>
                <a:lnTo>
                  <a:pt x="6139390" y="6480510"/>
                </a:lnTo>
                <a:cubicBezTo>
                  <a:pt x="6139390" y="6471571"/>
                  <a:pt x="6140855" y="6465262"/>
                  <a:pt x="6143785" y="6461584"/>
                </a:cubicBezTo>
                <a:cubicBezTo>
                  <a:pt x="6146715" y="6457906"/>
                  <a:pt x="6150645" y="6456067"/>
                  <a:pt x="6155575" y="6456067"/>
                </a:cubicBezTo>
                <a:cubicBezTo>
                  <a:pt x="6158179" y="6456067"/>
                  <a:pt x="6160470" y="6456753"/>
                  <a:pt x="6162446" y="6458127"/>
                </a:cubicBezTo>
                <a:cubicBezTo>
                  <a:pt x="6164423" y="6459500"/>
                  <a:pt x="6165876" y="6461444"/>
                  <a:pt x="6166807" y="6463958"/>
                </a:cubicBezTo>
                <a:cubicBezTo>
                  <a:pt x="6167737" y="6466472"/>
                  <a:pt x="6168202" y="6470453"/>
                  <a:pt x="6168202" y="6475901"/>
                </a:cubicBezTo>
                <a:lnTo>
                  <a:pt x="6168202" y="6521016"/>
                </a:lnTo>
                <a:lnTo>
                  <a:pt x="6178457" y="6521016"/>
                </a:lnTo>
                <a:lnTo>
                  <a:pt x="6178457" y="6475461"/>
                </a:lnTo>
                <a:cubicBezTo>
                  <a:pt x="6178457" y="6468624"/>
                  <a:pt x="6178039" y="6463555"/>
                  <a:pt x="6177203" y="6460253"/>
                </a:cubicBezTo>
                <a:cubicBezTo>
                  <a:pt x="6176368" y="6456950"/>
                  <a:pt x="6175103" y="6454265"/>
                  <a:pt x="6173408" y="6452195"/>
                </a:cubicBezTo>
                <a:cubicBezTo>
                  <a:pt x="6171713" y="6450125"/>
                  <a:pt x="6169485" y="6448451"/>
                  <a:pt x="6166722" y="6447172"/>
                </a:cubicBezTo>
                <a:cubicBezTo>
                  <a:pt x="6163960" y="6445893"/>
                  <a:pt x="6160953" y="6445253"/>
                  <a:pt x="6157704" y="6445253"/>
                </a:cubicBezTo>
                <a:close/>
                <a:moveTo>
                  <a:pt x="6087367" y="6445253"/>
                </a:moveTo>
                <a:cubicBezTo>
                  <a:pt x="6079136" y="6445253"/>
                  <a:pt x="6072333" y="6448614"/>
                  <a:pt x="6066962" y="6455334"/>
                </a:cubicBezTo>
                <a:cubicBezTo>
                  <a:pt x="6061591" y="6462055"/>
                  <a:pt x="6058901" y="6471810"/>
                  <a:pt x="6058901" y="6484600"/>
                </a:cubicBezTo>
                <a:cubicBezTo>
                  <a:pt x="6058901" y="6496925"/>
                  <a:pt x="6061564" y="6506354"/>
                  <a:pt x="6066893" y="6512889"/>
                </a:cubicBezTo>
                <a:cubicBezTo>
                  <a:pt x="6072218" y="6519423"/>
                  <a:pt x="6079182" y="6522691"/>
                  <a:pt x="6087783" y="6522691"/>
                </a:cubicBezTo>
                <a:cubicBezTo>
                  <a:pt x="6094622" y="6522691"/>
                  <a:pt x="6100352" y="6520679"/>
                  <a:pt x="6104980" y="6516656"/>
                </a:cubicBezTo>
                <a:cubicBezTo>
                  <a:pt x="6109608" y="6512633"/>
                  <a:pt x="6112805" y="6506668"/>
                  <a:pt x="6114573" y="6498762"/>
                </a:cubicBezTo>
                <a:lnTo>
                  <a:pt x="6103969" y="6497157"/>
                </a:lnTo>
                <a:cubicBezTo>
                  <a:pt x="6100945" y="6507296"/>
                  <a:pt x="6095574" y="6512366"/>
                  <a:pt x="6087853" y="6512366"/>
                </a:cubicBezTo>
                <a:cubicBezTo>
                  <a:pt x="6082926" y="6512366"/>
                  <a:pt x="6078737" y="6510249"/>
                  <a:pt x="6075296" y="6506017"/>
                </a:cubicBezTo>
                <a:cubicBezTo>
                  <a:pt x="6071858" y="6501785"/>
                  <a:pt x="6069924" y="6495506"/>
                  <a:pt x="6069506" y="6487181"/>
                </a:cubicBezTo>
                <a:lnTo>
                  <a:pt x="6114852" y="6487181"/>
                </a:lnTo>
                <a:lnTo>
                  <a:pt x="6114921" y="6483832"/>
                </a:lnTo>
                <a:cubicBezTo>
                  <a:pt x="6114921" y="6471322"/>
                  <a:pt x="6112294" y="6461764"/>
                  <a:pt x="6107038" y="6455160"/>
                </a:cubicBezTo>
                <a:cubicBezTo>
                  <a:pt x="6101783" y="6448556"/>
                  <a:pt x="6095225" y="6445253"/>
                  <a:pt x="6087367" y="6445253"/>
                </a:cubicBezTo>
                <a:close/>
                <a:moveTo>
                  <a:pt x="5900531" y="6445253"/>
                </a:moveTo>
                <a:cubicBezTo>
                  <a:pt x="5896351" y="6445253"/>
                  <a:pt x="5892648" y="6446259"/>
                  <a:pt x="5889422" y="6448271"/>
                </a:cubicBezTo>
                <a:cubicBezTo>
                  <a:pt x="5886194" y="6450283"/>
                  <a:pt x="5883469" y="6453324"/>
                  <a:pt x="5881238" y="6457393"/>
                </a:cubicBezTo>
                <a:lnTo>
                  <a:pt x="5881238" y="6446928"/>
                </a:lnTo>
                <a:lnTo>
                  <a:pt x="5871961" y="6446928"/>
                </a:lnTo>
                <a:lnTo>
                  <a:pt x="5871961" y="6521016"/>
                </a:lnTo>
                <a:lnTo>
                  <a:pt x="5882218" y="6521016"/>
                </a:lnTo>
                <a:lnTo>
                  <a:pt x="5882218" y="6480510"/>
                </a:lnTo>
                <a:cubicBezTo>
                  <a:pt x="5882218" y="6471571"/>
                  <a:pt x="5883681" y="6465262"/>
                  <a:pt x="5886612" y="6461584"/>
                </a:cubicBezTo>
                <a:cubicBezTo>
                  <a:pt x="5889540" y="6457906"/>
                  <a:pt x="5893471" y="6456067"/>
                  <a:pt x="5898402" y="6456067"/>
                </a:cubicBezTo>
                <a:cubicBezTo>
                  <a:pt x="5901009" y="6456067"/>
                  <a:pt x="5903296" y="6456753"/>
                  <a:pt x="5905276" y="6458127"/>
                </a:cubicBezTo>
                <a:cubicBezTo>
                  <a:pt x="5907250" y="6459500"/>
                  <a:pt x="5908702" y="6461444"/>
                  <a:pt x="5909633" y="6463958"/>
                </a:cubicBezTo>
                <a:cubicBezTo>
                  <a:pt x="5910564" y="6466472"/>
                  <a:pt x="5911030" y="6470453"/>
                  <a:pt x="5911030" y="6475901"/>
                </a:cubicBezTo>
                <a:lnTo>
                  <a:pt x="5911030" y="6521016"/>
                </a:lnTo>
                <a:lnTo>
                  <a:pt x="5921285" y="6521016"/>
                </a:lnTo>
                <a:lnTo>
                  <a:pt x="5921285" y="6475461"/>
                </a:lnTo>
                <a:cubicBezTo>
                  <a:pt x="5921285" y="6468624"/>
                  <a:pt x="5920866" y="6463555"/>
                  <a:pt x="5920030" y="6460253"/>
                </a:cubicBezTo>
                <a:cubicBezTo>
                  <a:pt x="5919194" y="6456950"/>
                  <a:pt x="5917929" y="6454265"/>
                  <a:pt x="5916235" y="6452195"/>
                </a:cubicBezTo>
                <a:cubicBezTo>
                  <a:pt x="5914540" y="6450125"/>
                  <a:pt x="5912313" y="6448451"/>
                  <a:pt x="5909549" y="6447172"/>
                </a:cubicBezTo>
                <a:cubicBezTo>
                  <a:pt x="5906787" y="6445893"/>
                  <a:pt x="5903781" y="6445253"/>
                  <a:pt x="5900531" y="6445253"/>
                </a:cubicBezTo>
                <a:close/>
                <a:moveTo>
                  <a:pt x="5829842" y="6445253"/>
                </a:moveTo>
                <a:cubicBezTo>
                  <a:pt x="5821611" y="6445253"/>
                  <a:pt x="5814808" y="6448509"/>
                  <a:pt x="5809436" y="6455020"/>
                </a:cubicBezTo>
                <a:cubicBezTo>
                  <a:pt x="5804066" y="6461532"/>
                  <a:pt x="5801380" y="6471182"/>
                  <a:pt x="5801380" y="6483972"/>
                </a:cubicBezTo>
                <a:cubicBezTo>
                  <a:pt x="5801380" y="6496715"/>
                  <a:pt x="5804089" y="6506354"/>
                  <a:pt x="5809506" y="6512889"/>
                </a:cubicBezTo>
                <a:cubicBezTo>
                  <a:pt x="5814925" y="6519423"/>
                  <a:pt x="5821705" y="6522691"/>
                  <a:pt x="5829842" y="6522691"/>
                </a:cubicBezTo>
                <a:cubicBezTo>
                  <a:pt x="5838120" y="6522691"/>
                  <a:pt x="5844934" y="6519435"/>
                  <a:pt x="5850285" y="6512924"/>
                </a:cubicBezTo>
                <a:cubicBezTo>
                  <a:pt x="5855632" y="6506412"/>
                  <a:pt x="5858305" y="6496506"/>
                  <a:pt x="5858305" y="6483205"/>
                </a:cubicBezTo>
                <a:cubicBezTo>
                  <a:pt x="5858305" y="6470926"/>
                  <a:pt x="5855587" y="6461532"/>
                  <a:pt x="5850143" y="6455020"/>
                </a:cubicBezTo>
                <a:cubicBezTo>
                  <a:pt x="5844702" y="6448509"/>
                  <a:pt x="5837938" y="6445253"/>
                  <a:pt x="5829842" y="6445253"/>
                </a:cubicBezTo>
                <a:close/>
                <a:moveTo>
                  <a:pt x="2714271" y="6445253"/>
                </a:moveTo>
                <a:cubicBezTo>
                  <a:pt x="2710094" y="6445253"/>
                  <a:pt x="2706388" y="6446259"/>
                  <a:pt x="2703162" y="6448271"/>
                </a:cubicBezTo>
                <a:cubicBezTo>
                  <a:pt x="2699936" y="6450283"/>
                  <a:pt x="2697209" y="6453324"/>
                  <a:pt x="2694979" y="6457393"/>
                </a:cubicBezTo>
                <a:lnTo>
                  <a:pt x="2694979" y="6446928"/>
                </a:lnTo>
                <a:lnTo>
                  <a:pt x="2685702" y="6446928"/>
                </a:lnTo>
                <a:lnTo>
                  <a:pt x="2685702" y="6521016"/>
                </a:lnTo>
                <a:lnTo>
                  <a:pt x="2695956" y="6521016"/>
                </a:lnTo>
                <a:lnTo>
                  <a:pt x="2695956" y="6480510"/>
                </a:lnTo>
                <a:cubicBezTo>
                  <a:pt x="2695956" y="6471571"/>
                  <a:pt x="2697421" y="6465262"/>
                  <a:pt x="2700353" y="6461584"/>
                </a:cubicBezTo>
                <a:cubicBezTo>
                  <a:pt x="2703282" y="6457906"/>
                  <a:pt x="2707212" y="6456067"/>
                  <a:pt x="2712140" y="6456067"/>
                </a:cubicBezTo>
                <a:cubicBezTo>
                  <a:pt x="2714745" y="6456067"/>
                  <a:pt x="2717037" y="6456753"/>
                  <a:pt x="2719012" y="6458127"/>
                </a:cubicBezTo>
                <a:cubicBezTo>
                  <a:pt x="2720992" y="6459500"/>
                  <a:pt x="2722442" y="6461444"/>
                  <a:pt x="2723374" y="6463958"/>
                </a:cubicBezTo>
                <a:cubicBezTo>
                  <a:pt x="2724302" y="6466472"/>
                  <a:pt x="2724768" y="6470453"/>
                  <a:pt x="2724768" y="6475901"/>
                </a:cubicBezTo>
                <a:lnTo>
                  <a:pt x="2724768" y="6521016"/>
                </a:lnTo>
                <a:lnTo>
                  <a:pt x="2735023" y="6521016"/>
                </a:lnTo>
                <a:lnTo>
                  <a:pt x="2735023" y="6475461"/>
                </a:lnTo>
                <a:cubicBezTo>
                  <a:pt x="2735023" y="6468624"/>
                  <a:pt x="2734605" y="6463555"/>
                  <a:pt x="2733768" y="6460253"/>
                </a:cubicBezTo>
                <a:cubicBezTo>
                  <a:pt x="2732936" y="6456950"/>
                  <a:pt x="2731669" y="6454265"/>
                  <a:pt x="2729976" y="6452195"/>
                </a:cubicBezTo>
                <a:cubicBezTo>
                  <a:pt x="2728278" y="6450125"/>
                  <a:pt x="2726053" y="6448451"/>
                  <a:pt x="2723290" y="6447172"/>
                </a:cubicBezTo>
                <a:cubicBezTo>
                  <a:pt x="2720528" y="6445893"/>
                  <a:pt x="2717521" y="6445253"/>
                  <a:pt x="2714271" y="6445253"/>
                </a:cubicBezTo>
                <a:close/>
                <a:moveTo>
                  <a:pt x="2644839" y="6445253"/>
                </a:moveTo>
                <a:cubicBezTo>
                  <a:pt x="2636651" y="6445253"/>
                  <a:pt x="2630365" y="6447067"/>
                  <a:pt x="2625967" y="6450695"/>
                </a:cubicBezTo>
                <a:cubicBezTo>
                  <a:pt x="2621573" y="6454323"/>
                  <a:pt x="2618653" y="6460113"/>
                  <a:pt x="2617211" y="6468066"/>
                </a:cubicBezTo>
                <a:lnTo>
                  <a:pt x="2627327" y="6469740"/>
                </a:lnTo>
                <a:cubicBezTo>
                  <a:pt x="2628444" y="6464272"/>
                  <a:pt x="2630187" y="6460544"/>
                  <a:pt x="2632562" y="6458558"/>
                </a:cubicBezTo>
                <a:cubicBezTo>
                  <a:pt x="2634933" y="6456572"/>
                  <a:pt x="2638514" y="6455578"/>
                  <a:pt x="2643303" y="6455578"/>
                </a:cubicBezTo>
                <a:cubicBezTo>
                  <a:pt x="2648605" y="6455578"/>
                  <a:pt x="2652535" y="6457067"/>
                  <a:pt x="2655093" y="6460043"/>
                </a:cubicBezTo>
                <a:cubicBezTo>
                  <a:pt x="2656907" y="6462090"/>
                  <a:pt x="2657815" y="6465648"/>
                  <a:pt x="2657815" y="6470717"/>
                </a:cubicBezTo>
                <a:lnTo>
                  <a:pt x="2657744" y="6473926"/>
                </a:lnTo>
                <a:cubicBezTo>
                  <a:pt x="2653837" y="6475627"/>
                  <a:pt x="2647697" y="6477092"/>
                  <a:pt x="2639327" y="6478321"/>
                </a:cubicBezTo>
                <a:cubicBezTo>
                  <a:pt x="2633095" y="6479205"/>
                  <a:pt x="2628444" y="6480577"/>
                  <a:pt x="2625374" y="6482437"/>
                </a:cubicBezTo>
                <a:cubicBezTo>
                  <a:pt x="2622305" y="6484298"/>
                  <a:pt x="2619888" y="6486879"/>
                  <a:pt x="2618117" y="6490181"/>
                </a:cubicBezTo>
                <a:cubicBezTo>
                  <a:pt x="2616351" y="6493483"/>
                  <a:pt x="2615466" y="6497274"/>
                  <a:pt x="2615466" y="6501552"/>
                </a:cubicBezTo>
                <a:cubicBezTo>
                  <a:pt x="2615466" y="6508017"/>
                  <a:pt x="2617352" y="6513156"/>
                  <a:pt x="2621117" y="6516970"/>
                </a:cubicBezTo>
                <a:cubicBezTo>
                  <a:pt x="2624885" y="6520784"/>
                  <a:pt x="2629931" y="6522691"/>
                  <a:pt x="2636258" y="6522691"/>
                </a:cubicBezTo>
                <a:cubicBezTo>
                  <a:pt x="2640257" y="6522691"/>
                  <a:pt x="2644116" y="6521783"/>
                  <a:pt x="2647837" y="6519969"/>
                </a:cubicBezTo>
                <a:cubicBezTo>
                  <a:pt x="2651557" y="6518155"/>
                  <a:pt x="2655138" y="6515457"/>
                  <a:pt x="2658582" y="6511876"/>
                </a:cubicBezTo>
                <a:cubicBezTo>
                  <a:pt x="2658907" y="6515412"/>
                  <a:pt x="2659605" y="6518458"/>
                  <a:pt x="2660674" y="6521016"/>
                </a:cubicBezTo>
                <a:lnTo>
                  <a:pt x="2671419" y="6521016"/>
                </a:lnTo>
                <a:cubicBezTo>
                  <a:pt x="2670114" y="6518133"/>
                  <a:pt x="2669242" y="6515168"/>
                  <a:pt x="2668802" y="6512121"/>
                </a:cubicBezTo>
                <a:cubicBezTo>
                  <a:pt x="2668359" y="6509075"/>
                  <a:pt x="2668139" y="6501692"/>
                  <a:pt x="2668139" y="6489972"/>
                </a:cubicBezTo>
                <a:lnTo>
                  <a:pt x="2668139" y="6473228"/>
                </a:lnTo>
                <a:cubicBezTo>
                  <a:pt x="2668139" y="6466438"/>
                  <a:pt x="2667663" y="6461276"/>
                  <a:pt x="2666708" y="6457741"/>
                </a:cubicBezTo>
                <a:cubicBezTo>
                  <a:pt x="2665757" y="6454206"/>
                  <a:pt x="2663466" y="6451241"/>
                  <a:pt x="2659837" y="6448846"/>
                </a:cubicBezTo>
                <a:cubicBezTo>
                  <a:pt x="2656209" y="6446451"/>
                  <a:pt x="2651208" y="6445253"/>
                  <a:pt x="2644839" y="6445253"/>
                </a:cubicBezTo>
                <a:close/>
                <a:moveTo>
                  <a:pt x="2574815" y="6445253"/>
                </a:moveTo>
                <a:cubicBezTo>
                  <a:pt x="2572348" y="6445253"/>
                  <a:pt x="2570128" y="6446102"/>
                  <a:pt x="2568151" y="6447800"/>
                </a:cubicBezTo>
                <a:cubicBezTo>
                  <a:pt x="2566174" y="6449497"/>
                  <a:pt x="2564001" y="6452951"/>
                  <a:pt x="2561629" y="6458160"/>
                </a:cubicBezTo>
                <a:lnTo>
                  <a:pt x="2561629" y="6446928"/>
                </a:lnTo>
                <a:lnTo>
                  <a:pt x="2552350" y="6446928"/>
                </a:lnTo>
                <a:lnTo>
                  <a:pt x="2552350" y="6521016"/>
                </a:lnTo>
                <a:lnTo>
                  <a:pt x="2562605" y="6521016"/>
                </a:lnTo>
                <a:lnTo>
                  <a:pt x="2562605" y="6482228"/>
                </a:lnTo>
                <a:cubicBezTo>
                  <a:pt x="2562605" y="6476833"/>
                  <a:pt x="2563260" y="6471740"/>
                  <a:pt x="2564558" y="6466950"/>
                </a:cubicBezTo>
                <a:cubicBezTo>
                  <a:pt x="2565303" y="6464206"/>
                  <a:pt x="2566582" y="6462066"/>
                  <a:pt x="2568395" y="6460532"/>
                </a:cubicBezTo>
                <a:cubicBezTo>
                  <a:pt x="2570209" y="6458997"/>
                  <a:pt x="2572211" y="6458229"/>
                  <a:pt x="2574395" y="6458229"/>
                </a:cubicBezTo>
                <a:cubicBezTo>
                  <a:pt x="2576814" y="6458229"/>
                  <a:pt x="2579304" y="6459136"/>
                  <a:pt x="2581860" y="6460950"/>
                </a:cubicBezTo>
                <a:lnTo>
                  <a:pt x="2585348" y="6449300"/>
                </a:lnTo>
                <a:cubicBezTo>
                  <a:pt x="2581767" y="6446602"/>
                  <a:pt x="2578257" y="6445253"/>
                  <a:pt x="2574815" y="6445253"/>
                </a:cubicBezTo>
                <a:close/>
                <a:moveTo>
                  <a:pt x="2510583" y="6445253"/>
                </a:moveTo>
                <a:cubicBezTo>
                  <a:pt x="2502349" y="6445253"/>
                  <a:pt x="2495548" y="6448614"/>
                  <a:pt x="2490178" y="6455334"/>
                </a:cubicBezTo>
                <a:cubicBezTo>
                  <a:pt x="2484802" y="6462055"/>
                  <a:pt x="2482119" y="6471810"/>
                  <a:pt x="2482119" y="6484600"/>
                </a:cubicBezTo>
                <a:cubicBezTo>
                  <a:pt x="2482119" y="6496925"/>
                  <a:pt x="2484780" y="6506354"/>
                  <a:pt x="2490104" y="6512889"/>
                </a:cubicBezTo>
                <a:cubicBezTo>
                  <a:pt x="2495431" y="6519423"/>
                  <a:pt x="2502398" y="6522691"/>
                  <a:pt x="2511000" y="6522691"/>
                </a:cubicBezTo>
                <a:cubicBezTo>
                  <a:pt x="2517838" y="6522691"/>
                  <a:pt x="2523569" y="6520679"/>
                  <a:pt x="2528195" y="6516656"/>
                </a:cubicBezTo>
                <a:cubicBezTo>
                  <a:pt x="2532826" y="6512633"/>
                  <a:pt x="2536021" y="6506668"/>
                  <a:pt x="2537790" y="6498762"/>
                </a:cubicBezTo>
                <a:lnTo>
                  <a:pt x="2527186" y="6497157"/>
                </a:lnTo>
                <a:cubicBezTo>
                  <a:pt x="2524162" y="6507296"/>
                  <a:pt x="2518789" y="6512366"/>
                  <a:pt x="2511068" y="6512366"/>
                </a:cubicBezTo>
                <a:cubicBezTo>
                  <a:pt x="2506139" y="6512366"/>
                  <a:pt x="2501953" y="6510249"/>
                  <a:pt x="2498511" y="6506017"/>
                </a:cubicBezTo>
                <a:cubicBezTo>
                  <a:pt x="2495071" y="6501785"/>
                  <a:pt x="2493141" y="6495506"/>
                  <a:pt x="2492723" y="6487181"/>
                </a:cubicBezTo>
                <a:lnTo>
                  <a:pt x="2538068" y="6487181"/>
                </a:lnTo>
                <a:lnTo>
                  <a:pt x="2538139" y="6483832"/>
                </a:lnTo>
                <a:cubicBezTo>
                  <a:pt x="2538139" y="6471322"/>
                  <a:pt x="2535510" y="6461764"/>
                  <a:pt x="2530255" y="6455160"/>
                </a:cubicBezTo>
                <a:cubicBezTo>
                  <a:pt x="2525001" y="6448556"/>
                  <a:pt x="2518440" y="6445253"/>
                  <a:pt x="2510583" y="6445253"/>
                </a:cubicBezTo>
                <a:close/>
                <a:moveTo>
                  <a:pt x="1942743" y="6445253"/>
                </a:moveTo>
                <a:cubicBezTo>
                  <a:pt x="1938564" y="6445253"/>
                  <a:pt x="1934861" y="6446259"/>
                  <a:pt x="1931635" y="6448271"/>
                </a:cubicBezTo>
                <a:cubicBezTo>
                  <a:pt x="1928408" y="6450283"/>
                  <a:pt x="1925681" y="6453324"/>
                  <a:pt x="1923452" y="6457393"/>
                </a:cubicBezTo>
                <a:lnTo>
                  <a:pt x="1923452" y="6446928"/>
                </a:lnTo>
                <a:lnTo>
                  <a:pt x="1914173" y="6446928"/>
                </a:lnTo>
                <a:lnTo>
                  <a:pt x="1914173" y="6521016"/>
                </a:lnTo>
                <a:lnTo>
                  <a:pt x="1924429" y="6521016"/>
                </a:lnTo>
                <a:lnTo>
                  <a:pt x="1924429" y="6480510"/>
                </a:lnTo>
                <a:cubicBezTo>
                  <a:pt x="1924429" y="6471571"/>
                  <a:pt x="1925894" y="6465262"/>
                  <a:pt x="1928824" y="6461584"/>
                </a:cubicBezTo>
                <a:cubicBezTo>
                  <a:pt x="1931754" y="6457906"/>
                  <a:pt x="1935684" y="6456067"/>
                  <a:pt x="1940614" y="6456067"/>
                </a:cubicBezTo>
                <a:cubicBezTo>
                  <a:pt x="1943218" y="6456067"/>
                  <a:pt x="1945509" y="6456753"/>
                  <a:pt x="1947485" y="6458127"/>
                </a:cubicBezTo>
                <a:cubicBezTo>
                  <a:pt x="1949462" y="6459500"/>
                  <a:pt x="1950915" y="6461444"/>
                  <a:pt x="1951846" y="6463958"/>
                </a:cubicBezTo>
                <a:cubicBezTo>
                  <a:pt x="1952776" y="6466472"/>
                  <a:pt x="1953242" y="6470453"/>
                  <a:pt x="1953242" y="6475901"/>
                </a:cubicBezTo>
                <a:lnTo>
                  <a:pt x="1953242" y="6521016"/>
                </a:lnTo>
                <a:lnTo>
                  <a:pt x="1963497" y="6521016"/>
                </a:lnTo>
                <a:lnTo>
                  <a:pt x="1963497" y="6475461"/>
                </a:lnTo>
                <a:cubicBezTo>
                  <a:pt x="1963497" y="6468624"/>
                  <a:pt x="1963078" y="6463555"/>
                  <a:pt x="1962243" y="6460253"/>
                </a:cubicBezTo>
                <a:cubicBezTo>
                  <a:pt x="1961407" y="6456950"/>
                  <a:pt x="1960142" y="6454265"/>
                  <a:pt x="1958447" y="6452195"/>
                </a:cubicBezTo>
                <a:cubicBezTo>
                  <a:pt x="1956752" y="6450125"/>
                  <a:pt x="1954524" y="6448451"/>
                  <a:pt x="1951761" y="6447172"/>
                </a:cubicBezTo>
                <a:cubicBezTo>
                  <a:pt x="1948998" y="6445893"/>
                  <a:pt x="1945992" y="6445253"/>
                  <a:pt x="1942743" y="6445253"/>
                </a:cubicBezTo>
                <a:close/>
                <a:moveTo>
                  <a:pt x="1872055" y="6445253"/>
                </a:moveTo>
                <a:cubicBezTo>
                  <a:pt x="1863823" y="6445253"/>
                  <a:pt x="1857021" y="6448509"/>
                  <a:pt x="1851649" y="6455020"/>
                </a:cubicBezTo>
                <a:cubicBezTo>
                  <a:pt x="1846277" y="6461532"/>
                  <a:pt x="1843593" y="6471182"/>
                  <a:pt x="1843593" y="6483972"/>
                </a:cubicBezTo>
                <a:cubicBezTo>
                  <a:pt x="1843593" y="6496715"/>
                  <a:pt x="1846301" y="6506354"/>
                  <a:pt x="1851719" y="6512889"/>
                </a:cubicBezTo>
                <a:cubicBezTo>
                  <a:pt x="1857137" y="6519423"/>
                  <a:pt x="1863916" y="6522691"/>
                  <a:pt x="1872055" y="6522691"/>
                </a:cubicBezTo>
                <a:cubicBezTo>
                  <a:pt x="1880334" y="6522691"/>
                  <a:pt x="1887147" y="6519435"/>
                  <a:pt x="1892496" y="6512924"/>
                </a:cubicBezTo>
                <a:cubicBezTo>
                  <a:pt x="1897844" y="6506412"/>
                  <a:pt x="1900519" y="6496506"/>
                  <a:pt x="1900519" y="6483205"/>
                </a:cubicBezTo>
                <a:cubicBezTo>
                  <a:pt x="1900519" y="6470926"/>
                  <a:pt x="1897798" y="6461532"/>
                  <a:pt x="1892356" y="6455020"/>
                </a:cubicBezTo>
                <a:cubicBezTo>
                  <a:pt x="1886915" y="6448509"/>
                  <a:pt x="1880148" y="6445253"/>
                  <a:pt x="1872055" y="6445253"/>
                </a:cubicBezTo>
                <a:close/>
                <a:moveTo>
                  <a:pt x="1803287" y="6445253"/>
                </a:moveTo>
                <a:cubicBezTo>
                  <a:pt x="1800822" y="6445253"/>
                  <a:pt x="1798602" y="6446102"/>
                  <a:pt x="1796625" y="6447800"/>
                </a:cubicBezTo>
                <a:cubicBezTo>
                  <a:pt x="1794648" y="6449497"/>
                  <a:pt x="1792474" y="6452951"/>
                  <a:pt x="1790103" y="6458160"/>
                </a:cubicBezTo>
                <a:lnTo>
                  <a:pt x="1790103" y="6446928"/>
                </a:lnTo>
                <a:lnTo>
                  <a:pt x="1780823" y="6446928"/>
                </a:lnTo>
                <a:lnTo>
                  <a:pt x="1780823" y="6521016"/>
                </a:lnTo>
                <a:lnTo>
                  <a:pt x="1791079" y="6521016"/>
                </a:lnTo>
                <a:lnTo>
                  <a:pt x="1791079" y="6482228"/>
                </a:lnTo>
                <a:cubicBezTo>
                  <a:pt x="1791079" y="6476833"/>
                  <a:pt x="1791730" y="6471740"/>
                  <a:pt x="1793032" y="6466950"/>
                </a:cubicBezTo>
                <a:cubicBezTo>
                  <a:pt x="1793776" y="6464206"/>
                  <a:pt x="1795056" y="6462066"/>
                  <a:pt x="1796869" y="6460532"/>
                </a:cubicBezTo>
                <a:cubicBezTo>
                  <a:pt x="1798683" y="6458997"/>
                  <a:pt x="1800683" y="6458229"/>
                  <a:pt x="1802869" y="6458229"/>
                </a:cubicBezTo>
                <a:cubicBezTo>
                  <a:pt x="1805287" y="6458229"/>
                  <a:pt x="1807775" y="6459136"/>
                  <a:pt x="1810333" y="6460950"/>
                </a:cubicBezTo>
                <a:lnTo>
                  <a:pt x="1813822" y="6449300"/>
                </a:lnTo>
                <a:cubicBezTo>
                  <a:pt x="1810240" y="6446602"/>
                  <a:pt x="1806729" y="6445253"/>
                  <a:pt x="1803287" y="6445253"/>
                </a:cubicBezTo>
                <a:close/>
                <a:moveTo>
                  <a:pt x="1715748" y="6445253"/>
                </a:moveTo>
                <a:cubicBezTo>
                  <a:pt x="1708586" y="6445253"/>
                  <a:pt x="1702982" y="6447230"/>
                  <a:pt x="1698935" y="6451183"/>
                </a:cubicBezTo>
                <a:cubicBezTo>
                  <a:pt x="1694889" y="6455137"/>
                  <a:pt x="1692866" y="6460276"/>
                  <a:pt x="1692866" y="6466601"/>
                </a:cubicBezTo>
                <a:cubicBezTo>
                  <a:pt x="1692866" y="6470275"/>
                  <a:pt x="1693610" y="6473554"/>
                  <a:pt x="1695099" y="6476438"/>
                </a:cubicBezTo>
                <a:cubicBezTo>
                  <a:pt x="1696587" y="6479321"/>
                  <a:pt x="1698680" y="6481623"/>
                  <a:pt x="1701377" y="6483344"/>
                </a:cubicBezTo>
                <a:cubicBezTo>
                  <a:pt x="1704075" y="6485065"/>
                  <a:pt x="1709423" y="6487158"/>
                  <a:pt x="1717423" y="6489623"/>
                </a:cubicBezTo>
                <a:cubicBezTo>
                  <a:pt x="1722957" y="6491297"/>
                  <a:pt x="1726445" y="6492692"/>
                  <a:pt x="1727887" y="6493809"/>
                </a:cubicBezTo>
                <a:cubicBezTo>
                  <a:pt x="1729980" y="6495436"/>
                  <a:pt x="1731026" y="6497715"/>
                  <a:pt x="1731026" y="6500645"/>
                </a:cubicBezTo>
                <a:cubicBezTo>
                  <a:pt x="1731026" y="6504041"/>
                  <a:pt x="1729810" y="6506843"/>
                  <a:pt x="1727373" y="6509052"/>
                </a:cubicBezTo>
                <a:cubicBezTo>
                  <a:pt x="1724937" y="6511261"/>
                  <a:pt x="1721491" y="6512366"/>
                  <a:pt x="1717037" y="6512366"/>
                </a:cubicBezTo>
                <a:cubicBezTo>
                  <a:pt x="1712583" y="6512366"/>
                  <a:pt x="1709010" y="6511092"/>
                  <a:pt x="1706319" y="6508546"/>
                </a:cubicBezTo>
                <a:cubicBezTo>
                  <a:pt x="1703628" y="6506000"/>
                  <a:pt x="1701980" y="6502110"/>
                  <a:pt x="1701377" y="6496878"/>
                </a:cubicBezTo>
                <a:lnTo>
                  <a:pt x="1691122" y="6498832"/>
                </a:lnTo>
                <a:cubicBezTo>
                  <a:pt x="1693447" y="6514738"/>
                  <a:pt x="1701889" y="6522691"/>
                  <a:pt x="1716446" y="6522691"/>
                </a:cubicBezTo>
                <a:cubicBezTo>
                  <a:pt x="1724213" y="6522691"/>
                  <a:pt x="1730340" y="6520501"/>
                  <a:pt x="1734829" y="6516121"/>
                </a:cubicBezTo>
                <a:cubicBezTo>
                  <a:pt x="1739317" y="6511742"/>
                  <a:pt x="1741562" y="6506011"/>
                  <a:pt x="1741562" y="6498930"/>
                </a:cubicBezTo>
                <a:cubicBezTo>
                  <a:pt x="1741562" y="6495109"/>
                  <a:pt x="1740866" y="6491813"/>
                  <a:pt x="1739475" y="6489041"/>
                </a:cubicBezTo>
                <a:cubicBezTo>
                  <a:pt x="1738085" y="6486269"/>
                  <a:pt x="1736139" y="6484080"/>
                  <a:pt x="1733637" y="6482472"/>
                </a:cubicBezTo>
                <a:cubicBezTo>
                  <a:pt x="1731135" y="6480865"/>
                  <a:pt x="1725623" y="6478709"/>
                  <a:pt x="1717100" y="6476005"/>
                </a:cubicBezTo>
                <a:cubicBezTo>
                  <a:pt x="1710904" y="6473967"/>
                  <a:pt x="1707175" y="6472485"/>
                  <a:pt x="1705917" y="6471559"/>
                </a:cubicBezTo>
                <a:cubicBezTo>
                  <a:pt x="1703821" y="6469984"/>
                  <a:pt x="1702772" y="6467830"/>
                  <a:pt x="1702772" y="6465097"/>
                </a:cubicBezTo>
                <a:cubicBezTo>
                  <a:pt x="1702772" y="6462318"/>
                  <a:pt x="1703865" y="6460037"/>
                  <a:pt x="1706052" y="6458253"/>
                </a:cubicBezTo>
                <a:cubicBezTo>
                  <a:pt x="1708237" y="6456470"/>
                  <a:pt x="1711563" y="6455578"/>
                  <a:pt x="1716027" y="6455578"/>
                </a:cubicBezTo>
                <a:cubicBezTo>
                  <a:pt x="1723887" y="6455578"/>
                  <a:pt x="1728282" y="6459625"/>
                  <a:pt x="1729213" y="6467717"/>
                </a:cubicBezTo>
                <a:lnTo>
                  <a:pt x="1739260" y="6466043"/>
                </a:lnTo>
                <a:cubicBezTo>
                  <a:pt x="1738561" y="6460927"/>
                  <a:pt x="1737305" y="6456997"/>
                  <a:pt x="1735491" y="6454253"/>
                </a:cubicBezTo>
                <a:cubicBezTo>
                  <a:pt x="1733677" y="6451509"/>
                  <a:pt x="1731061" y="6449323"/>
                  <a:pt x="1727643" y="6447695"/>
                </a:cubicBezTo>
                <a:cubicBezTo>
                  <a:pt x="1724225" y="6446067"/>
                  <a:pt x="1720260" y="6445253"/>
                  <a:pt x="1715748" y="6445253"/>
                </a:cubicBezTo>
                <a:close/>
                <a:moveTo>
                  <a:pt x="1656992" y="6445253"/>
                </a:moveTo>
                <a:cubicBezTo>
                  <a:pt x="1652814" y="6445253"/>
                  <a:pt x="1649111" y="6446259"/>
                  <a:pt x="1645885" y="6448271"/>
                </a:cubicBezTo>
                <a:cubicBezTo>
                  <a:pt x="1642658" y="6450283"/>
                  <a:pt x="1639931" y="6453324"/>
                  <a:pt x="1637702" y="6457393"/>
                </a:cubicBezTo>
                <a:lnTo>
                  <a:pt x="1637702" y="6446928"/>
                </a:lnTo>
                <a:lnTo>
                  <a:pt x="1628424" y="6446928"/>
                </a:lnTo>
                <a:lnTo>
                  <a:pt x="1628424" y="6521016"/>
                </a:lnTo>
                <a:lnTo>
                  <a:pt x="1638679" y="6521016"/>
                </a:lnTo>
                <a:lnTo>
                  <a:pt x="1638679" y="6480510"/>
                </a:lnTo>
                <a:cubicBezTo>
                  <a:pt x="1638679" y="6471571"/>
                  <a:pt x="1640144" y="6465262"/>
                  <a:pt x="1643074" y="6461584"/>
                </a:cubicBezTo>
                <a:cubicBezTo>
                  <a:pt x="1646004" y="6457906"/>
                  <a:pt x="1649934" y="6456067"/>
                  <a:pt x="1654864" y="6456067"/>
                </a:cubicBezTo>
                <a:cubicBezTo>
                  <a:pt x="1657468" y="6456067"/>
                  <a:pt x="1659759" y="6456753"/>
                  <a:pt x="1661735" y="6458127"/>
                </a:cubicBezTo>
                <a:cubicBezTo>
                  <a:pt x="1663712" y="6459500"/>
                  <a:pt x="1665165" y="6461444"/>
                  <a:pt x="1666095" y="6463958"/>
                </a:cubicBezTo>
                <a:cubicBezTo>
                  <a:pt x="1667026" y="6466472"/>
                  <a:pt x="1667491" y="6470453"/>
                  <a:pt x="1667491" y="6475901"/>
                </a:cubicBezTo>
                <a:lnTo>
                  <a:pt x="1667491" y="6521016"/>
                </a:lnTo>
                <a:lnTo>
                  <a:pt x="1677746" y="6521016"/>
                </a:lnTo>
                <a:lnTo>
                  <a:pt x="1677746" y="6475461"/>
                </a:lnTo>
                <a:cubicBezTo>
                  <a:pt x="1677746" y="6468624"/>
                  <a:pt x="1677328" y="6463555"/>
                  <a:pt x="1676493" y="6460253"/>
                </a:cubicBezTo>
                <a:cubicBezTo>
                  <a:pt x="1675657" y="6456950"/>
                  <a:pt x="1674392" y="6454265"/>
                  <a:pt x="1672697" y="6452195"/>
                </a:cubicBezTo>
                <a:cubicBezTo>
                  <a:pt x="1671002" y="6450125"/>
                  <a:pt x="1668774" y="6448451"/>
                  <a:pt x="1666011" y="6447172"/>
                </a:cubicBezTo>
                <a:cubicBezTo>
                  <a:pt x="1663248" y="6445893"/>
                  <a:pt x="1660242" y="6445253"/>
                  <a:pt x="1656992" y="6445253"/>
                </a:cubicBezTo>
                <a:close/>
                <a:moveTo>
                  <a:pt x="1586654" y="6445253"/>
                </a:moveTo>
                <a:cubicBezTo>
                  <a:pt x="1578422" y="6445253"/>
                  <a:pt x="1571620" y="6448614"/>
                  <a:pt x="1566248" y="6455334"/>
                </a:cubicBezTo>
                <a:cubicBezTo>
                  <a:pt x="1560876" y="6462055"/>
                  <a:pt x="1558191" y="6471810"/>
                  <a:pt x="1558191" y="6484600"/>
                </a:cubicBezTo>
                <a:cubicBezTo>
                  <a:pt x="1558191" y="6496925"/>
                  <a:pt x="1560853" y="6506354"/>
                  <a:pt x="1566178" y="6512889"/>
                </a:cubicBezTo>
                <a:cubicBezTo>
                  <a:pt x="1571504" y="6519423"/>
                  <a:pt x="1578468" y="6522691"/>
                  <a:pt x="1587073" y="6522691"/>
                </a:cubicBezTo>
                <a:cubicBezTo>
                  <a:pt x="1593909" y="6522691"/>
                  <a:pt x="1599643" y="6520679"/>
                  <a:pt x="1604269" y="6516656"/>
                </a:cubicBezTo>
                <a:cubicBezTo>
                  <a:pt x="1608897" y="6512633"/>
                  <a:pt x="1612095" y="6506668"/>
                  <a:pt x="1613862" y="6498762"/>
                </a:cubicBezTo>
                <a:lnTo>
                  <a:pt x="1603258" y="6497157"/>
                </a:lnTo>
                <a:cubicBezTo>
                  <a:pt x="1600235" y="6507296"/>
                  <a:pt x="1594863" y="6512366"/>
                  <a:pt x="1587142" y="6512366"/>
                </a:cubicBezTo>
                <a:cubicBezTo>
                  <a:pt x="1582212" y="6512366"/>
                  <a:pt x="1578027" y="6510249"/>
                  <a:pt x="1574585" y="6506017"/>
                </a:cubicBezTo>
                <a:cubicBezTo>
                  <a:pt x="1571143" y="6501785"/>
                  <a:pt x="1569213" y="6495506"/>
                  <a:pt x="1568795" y="6487181"/>
                </a:cubicBezTo>
                <a:lnTo>
                  <a:pt x="1614140" y="6487181"/>
                </a:lnTo>
                <a:lnTo>
                  <a:pt x="1614210" y="6483832"/>
                </a:lnTo>
                <a:cubicBezTo>
                  <a:pt x="1614210" y="6471322"/>
                  <a:pt x="1611583" y="6461764"/>
                  <a:pt x="1606327" y="6455160"/>
                </a:cubicBezTo>
                <a:cubicBezTo>
                  <a:pt x="1601072" y="6448556"/>
                  <a:pt x="1594514" y="6445253"/>
                  <a:pt x="1586654" y="6445253"/>
                </a:cubicBezTo>
                <a:close/>
                <a:moveTo>
                  <a:pt x="1317373" y="6445253"/>
                </a:moveTo>
                <a:cubicBezTo>
                  <a:pt x="1312489" y="6445253"/>
                  <a:pt x="1308082" y="6446649"/>
                  <a:pt x="1304152" y="6449439"/>
                </a:cubicBezTo>
                <a:cubicBezTo>
                  <a:pt x="1300222" y="6452230"/>
                  <a:pt x="1297048" y="6456602"/>
                  <a:pt x="1294630" y="6462555"/>
                </a:cubicBezTo>
                <a:cubicBezTo>
                  <a:pt x="1292211" y="6468508"/>
                  <a:pt x="1291002" y="6475461"/>
                  <a:pt x="1291002" y="6483414"/>
                </a:cubicBezTo>
                <a:cubicBezTo>
                  <a:pt x="1291002" y="6495274"/>
                  <a:pt x="1293746" y="6504738"/>
                  <a:pt x="1299234" y="6511808"/>
                </a:cubicBezTo>
                <a:cubicBezTo>
                  <a:pt x="1304025" y="6517947"/>
                  <a:pt x="1310047" y="6521016"/>
                  <a:pt x="1317303" y="6521016"/>
                </a:cubicBezTo>
                <a:cubicBezTo>
                  <a:pt x="1320698" y="6521016"/>
                  <a:pt x="1323791" y="6520208"/>
                  <a:pt x="1326581" y="6518591"/>
                </a:cubicBezTo>
                <a:cubicBezTo>
                  <a:pt x="1329372" y="6516974"/>
                  <a:pt x="1331883" y="6514572"/>
                  <a:pt x="1334116" y="6511385"/>
                </a:cubicBezTo>
                <a:cubicBezTo>
                  <a:pt x="1334116" y="6519758"/>
                  <a:pt x="1333813" y="6525246"/>
                  <a:pt x="1333209" y="6527851"/>
                </a:cubicBezTo>
                <a:cubicBezTo>
                  <a:pt x="1332232" y="6532130"/>
                  <a:pt x="1330407" y="6535352"/>
                  <a:pt x="1327732" y="6537515"/>
                </a:cubicBezTo>
                <a:cubicBezTo>
                  <a:pt x="1325058" y="6539678"/>
                  <a:pt x="1321466" y="6540759"/>
                  <a:pt x="1316954" y="6540759"/>
                </a:cubicBezTo>
                <a:cubicBezTo>
                  <a:pt x="1312815" y="6540759"/>
                  <a:pt x="1309583" y="6539788"/>
                  <a:pt x="1307257" y="6537847"/>
                </a:cubicBezTo>
                <a:cubicBezTo>
                  <a:pt x="1304931" y="6535905"/>
                  <a:pt x="1303536" y="6532946"/>
                  <a:pt x="1303071" y="6528969"/>
                </a:cubicBezTo>
                <a:lnTo>
                  <a:pt x="1293025" y="6527155"/>
                </a:lnTo>
                <a:cubicBezTo>
                  <a:pt x="1292886" y="6534643"/>
                  <a:pt x="1294932" y="6540503"/>
                  <a:pt x="1299164" y="6544736"/>
                </a:cubicBezTo>
                <a:cubicBezTo>
                  <a:pt x="1303397" y="6548968"/>
                  <a:pt x="1309443" y="6551084"/>
                  <a:pt x="1317303" y="6551084"/>
                </a:cubicBezTo>
                <a:cubicBezTo>
                  <a:pt x="1323256" y="6551084"/>
                  <a:pt x="1328349" y="6549677"/>
                  <a:pt x="1332581" y="6546864"/>
                </a:cubicBezTo>
                <a:cubicBezTo>
                  <a:pt x="1336813" y="6544050"/>
                  <a:pt x="1339860" y="6540213"/>
                  <a:pt x="1341720" y="6535353"/>
                </a:cubicBezTo>
                <a:cubicBezTo>
                  <a:pt x="1343580" y="6530492"/>
                  <a:pt x="1344510" y="6522365"/>
                  <a:pt x="1344510" y="6510970"/>
                </a:cubicBezTo>
                <a:lnTo>
                  <a:pt x="1344510" y="6446928"/>
                </a:lnTo>
                <a:lnTo>
                  <a:pt x="1335023" y="6446928"/>
                </a:lnTo>
                <a:lnTo>
                  <a:pt x="1335023" y="6455788"/>
                </a:lnTo>
                <a:cubicBezTo>
                  <a:pt x="1332744" y="6452276"/>
                  <a:pt x="1330128" y="6449643"/>
                  <a:pt x="1327174" y="6447887"/>
                </a:cubicBezTo>
                <a:cubicBezTo>
                  <a:pt x="1324221" y="6446131"/>
                  <a:pt x="1320954" y="6445253"/>
                  <a:pt x="1317373" y="6445253"/>
                </a:cubicBezTo>
                <a:close/>
                <a:moveTo>
                  <a:pt x="1250837" y="6445253"/>
                </a:moveTo>
                <a:cubicBezTo>
                  <a:pt x="1248372" y="6445253"/>
                  <a:pt x="1246151" y="6446102"/>
                  <a:pt x="1244175" y="6447800"/>
                </a:cubicBezTo>
                <a:cubicBezTo>
                  <a:pt x="1242198" y="6449497"/>
                  <a:pt x="1240024" y="6452951"/>
                  <a:pt x="1237652" y="6458160"/>
                </a:cubicBezTo>
                <a:lnTo>
                  <a:pt x="1237652" y="6446928"/>
                </a:lnTo>
                <a:lnTo>
                  <a:pt x="1230699" y="6446928"/>
                </a:lnTo>
                <a:lnTo>
                  <a:pt x="1228373" y="6446928"/>
                </a:lnTo>
                <a:lnTo>
                  <a:pt x="1220375" y="6446928"/>
                </a:lnTo>
                <a:lnTo>
                  <a:pt x="1207398" y="6490087"/>
                </a:lnTo>
                <a:cubicBezTo>
                  <a:pt x="1205770" y="6495572"/>
                  <a:pt x="1204375" y="6501197"/>
                  <a:pt x="1203212" y="6506961"/>
                </a:cubicBezTo>
                <a:cubicBezTo>
                  <a:pt x="1201863" y="6500872"/>
                  <a:pt x="1200398" y="6495155"/>
                  <a:pt x="1198817" y="6489809"/>
                </a:cubicBezTo>
                <a:lnTo>
                  <a:pt x="1186120" y="6446928"/>
                </a:lnTo>
                <a:lnTo>
                  <a:pt x="1175028" y="6446928"/>
                </a:lnTo>
                <a:lnTo>
                  <a:pt x="1198138" y="6521126"/>
                </a:lnTo>
                <a:cubicBezTo>
                  <a:pt x="1195762" y="6528679"/>
                  <a:pt x="1194412" y="6532781"/>
                  <a:pt x="1194086" y="6533432"/>
                </a:cubicBezTo>
                <a:cubicBezTo>
                  <a:pt x="1193155" y="6535293"/>
                  <a:pt x="1191980" y="6536666"/>
                  <a:pt x="1190560" y="6537550"/>
                </a:cubicBezTo>
                <a:cubicBezTo>
                  <a:pt x="1189140" y="6538434"/>
                  <a:pt x="1187336" y="6538876"/>
                  <a:pt x="1185149" y="6538876"/>
                </a:cubicBezTo>
                <a:cubicBezTo>
                  <a:pt x="1183520" y="6538876"/>
                  <a:pt x="1181565" y="6538504"/>
                  <a:pt x="1179283" y="6537759"/>
                </a:cubicBezTo>
                <a:lnTo>
                  <a:pt x="1180400" y="6549549"/>
                </a:lnTo>
                <a:cubicBezTo>
                  <a:pt x="1182868" y="6550573"/>
                  <a:pt x="1185081" y="6551084"/>
                  <a:pt x="1187038" y="6551084"/>
                </a:cubicBezTo>
                <a:cubicBezTo>
                  <a:pt x="1189833" y="6551084"/>
                  <a:pt x="1192337" y="6550363"/>
                  <a:pt x="1194549" y="6548922"/>
                </a:cubicBezTo>
                <a:cubicBezTo>
                  <a:pt x="1196762" y="6547480"/>
                  <a:pt x="1198742" y="6545119"/>
                  <a:pt x="1200489" y="6541841"/>
                </a:cubicBezTo>
                <a:cubicBezTo>
                  <a:pt x="1202235" y="6538562"/>
                  <a:pt x="1204623" y="6532039"/>
                  <a:pt x="1207651" y="6522272"/>
                </a:cubicBezTo>
                <a:lnTo>
                  <a:pt x="1228373" y="6454530"/>
                </a:lnTo>
                <a:lnTo>
                  <a:pt x="1228373" y="6521016"/>
                </a:lnTo>
                <a:lnTo>
                  <a:pt x="1238629" y="6521016"/>
                </a:lnTo>
                <a:lnTo>
                  <a:pt x="1238629" y="6482228"/>
                </a:lnTo>
                <a:cubicBezTo>
                  <a:pt x="1238629" y="6476833"/>
                  <a:pt x="1239280" y="6471740"/>
                  <a:pt x="1240582" y="6466950"/>
                </a:cubicBezTo>
                <a:cubicBezTo>
                  <a:pt x="1241326" y="6464206"/>
                  <a:pt x="1242605" y="6462066"/>
                  <a:pt x="1244419" y="6460532"/>
                </a:cubicBezTo>
                <a:cubicBezTo>
                  <a:pt x="1246233" y="6458997"/>
                  <a:pt x="1248233" y="6458229"/>
                  <a:pt x="1250419" y="6458229"/>
                </a:cubicBezTo>
                <a:cubicBezTo>
                  <a:pt x="1252837" y="6458229"/>
                  <a:pt x="1255325" y="6459136"/>
                  <a:pt x="1257883" y="6460950"/>
                </a:cubicBezTo>
                <a:lnTo>
                  <a:pt x="1261371" y="6449300"/>
                </a:lnTo>
                <a:cubicBezTo>
                  <a:pt x="1257790" y="6446602"/>
                  <a:pt x="1254279" y="6445253"/>
                  <a:pt x="1250837" y="6445253"/>
                </a:cubicBezTo>
                <a:close/>
                <a:moveTo>
                  <a:pt x="1141043" y="6445253"/>
                </a:moveTo>
                <a:cubicBezTo>
                  <a:pt x="1137375" y="6445253"/>
                  <a:pt x="1134125" y="6446137"/>
                  <a:pt x="1131292" y="6447904"/>
                </a:cubicBezTo>
                <a:cubicBezTo>
                  <a:pt x="1128460" y="6449672"/>
                  <a:pt x="1125883" y="6452555"/>
                  <a:pt x="1123561" y="6456555"/>
                </a:cubicBezTo>
                <a:lnTo>
                  <a:pt x="1123561" y="6446928"/>
                </a:lnTo>
                <a:lnTo>
                  <a:pt x="1114073" y="6446928"/>
                </a:lnTo>
                <a:lnTo>
                  <a:pt x="1114073" y="6549410"/>
                </a:lnTo>
                <a:lnTo>
                  <a:pt x="1124329" y="6549410"/>
                </a:lnTo>
                <a:lnTo>
                  <a:pt x="1124329" y="6513342"/>
                </a:lnTo>
                <a:cubicBezTo>
                  <a:pt x="1126328" y="6516319"/>
                  <a:pt x="1128700" y="6518621"/>
                  <a:pt x="1131444" y="6520249"/>
                </a:cubicBezTo>
                <a:cubicBezTo>
                  <a:pt x="1134188" y="6521877"/>
                  <a:pt x="1137142" y="6522691"/>
                  <a:pt x="1140304" y="6522691"/>
                </a:cubicBezTo>
                <a:cubicBezTo>
                  <a:pt x="1147420" y="6522691"/>
                  <a:pt x="1153618" y="6519284"/>
                  <a:pt x="1158896" y="6512470"/>
                </a:cubicBezTo>
                <a:cubicBezTo>
                  <a:pt x="1164175" y="6505657"/>
                  <a:pt x="1166814" y="6495948"/>
                  <a:pt x="1166814" y="6483344"/>
                </a:cubicBezTo>
                <a:cubicBezTo>
                  <a:pt x="1166814" y="6475205"/>
                  <a:pt x="1165642" y="6468240"/>
                  <a:pt x="1163297" y="6462450"/>
                </a:cubicBezTo>
                <a:cubicBezTo>
                  <a:pt x="1160952" y="6456660"/>
                  <a:pt x="1157852" y="6452346"/>
                  <a:pt x="1153999" y="6449509"/>
                </a:cubicBezTo>
                <a:cubicBezTo>
                  <a:pt x="1150145" y="6446672"/>
                  <a:pt x="1145827" y="6445253"/>
                  <a:pt x="1141043" y="6445253"/>
                </a:cubicBezTo>
                <a:close/>
                <a:moveTo>
                  <a:pt x="1071955" y="6445253"/>
                </a:moveTo>
                <a:cubicBezTo>
                  <a:pt x="1063723" y="6445253"/>
                  <a:pt x="1056921" y="6448509"/>
                  <a:pt x="1051549" y="6455020"/>
                </a:cubicBezTo>
                <a:cubicBezTo>
                  <a:pt x="1046178" y="6461532"/>
                  <a:pt x="1043492" y="6471182"/>
                  <a:pt x="1043492" y="6483972"/>
                </a:cubicBezTo>
                <a:cubicBezTo>
                  <a:pt x="1043492" y="6496715"/>
                  <a:pt x="1046201" y="6506354"/>
                  <a:pt x="1051619" y="6512889"/>
                </a:cubicBezTo>
                <a:cubicBezTo>
                  <a:pt x="1057037" y="6519423"/>
                  <a:pt x="1063816" y="6522691"/>
                  <a:pt x="1071955" y="6522691"/>
                </a:cubicBezTo>
                <a:cubicBezTo>
                  <a:pt x="1080234" y="6522691"/>
                  <a:pt x="1087047" y="6519435"/>
                  <a:pt x="1092396" y="6512924"/>
                </a:cubicBezTo>
                <a:cubicBezTo>
                  <a:pt x="1097744" y="6506412"/>
                  <a:pt x="1100419" y="6496506"/>
                  <a:pt x="1100419" y="6483205"/>
                </a:cubicBezTo>
                <a:cubicBezTo>
                  <a:pt x="1100419" y="6470926"/>
                  <a:pt x="1097698" y="6461532"/>
                  <a:pt x="1092256" y="6455020"/>
                </a:cubicBezTo>
                <a:cubicBezTo>
                  <a:pt x="1086815" y="6448509"/>
                  <a:pt x="1080048" y="6445253"/>
                  <a:pt x="1071955" y="6445253"/>
                </a:cubicBezTo>
                <a:close/>
                <a:moveTo>
                  <a:pt x="883898" y="6440021"/>
                </a:moveTo>
                <a:cubicBezTo>
                  <a:pt x="876956" y="6440021"/>
                  <a:pt x="871354" y="6442562"/>
                  <a:pt x="867092" y="6447643"/>
                </a:cubicBezTo>
                <a:cubicBezTo>
                  <a:pt x="862829" y="6452725"/>
                  <a:pt x="860698" y="6460114"/>
                  <a:pt x="860698" y="6469810"/>
                </a:cubicBezTo>
                <a:cubicBezTo>
                  <a:pt x="860698" y="6479506"/>
                  <a:pt x="862853" y="6486942"/>
                  <a:pt x="867162" y="6492116"/>
                </a:cubicBezTo>
                <a:cubicBezTo>
                  <a:pt x="871471" y="6497291"/>
                  <a:pt x="876886" y="6499878"/>
                  <a:pt x="883407" y="6499878"/>
                </a:cubicBezTo>
                <a:cubicBezTo>
                  <a:pt x="888485" y="6499878"/>
                  <a:pt x="892923" y="6498192"/>
                  <a:pt x="896719" y="6494820"/>
                </a:cubicBezTo>
                <a:cubicBezTo>
                  <a:pt x="900515" y="6491448"/>
                  <a:pt x="902996" y="6486763"/>
                  <a:pt x="904161" y="6480763"/>
                </a:cubicBezTo>
                <a:lnTo>
                  <a:pt x="897184" y="6478251"/>
                </a:lnTo>
                <a:cubicBezTo>
                  <a:pt x="896299" y="6482530"/>
                  <a:pt x="894527" y="6485844"/>
                  <a:pt x="891869" y="6488193"/>
                </a:cubicBezTo>
                <a:cubicBezTo>
                  <a:pt x="889212" y="6490541"/>
                  <a:pt x="886205" y="6491716"/>
                  <a:pt x="882848" y="6491716"/>
                </a:cubicBezTo>
                <a:cubicBezTo>
                  <a:pt x="878745" y="6491716"/>
                  <a:pt x="875318" y="6489919"/>
                  <a:pt x="872568" y="6486327"/>
                </a:cubicBezTo>
                <a:cubicBezTo>
                  <a:pt x="869817" y="6482735"/>
                  <a:pt x="868442" y="6477392"/>
                  <a:pt x="868442" y="6470301"/>
                </a:cubicBezTo>
                <a:cubicBezTo>
                  <a:pt x="868442" y="6462882"/>
                  <a:pt x="869887" y="6457283"/>
                  <a:pt x="872778" y="6453503"/>
                </a:cubicBezTo>
                <a:cubicBezTo>
                  <a:pt x="875669" y="6449724"/>
                  <a:pt x="879282" y="6447835"/>
                  <a:pt x="883619" y="6447835"/>
                </a:cubicBezTo>
                <a:cubicBezTo>
                  <a:pt x="886510" y="6447835"/>
                  <a:pt x="889085" y="6448730"/>
                  <a:pt x="891347" y="6450521"/>
                </a:cubicBezTo>
                <a:cubicBezTo>
                  <a:pt x="893608" y="6452311"/>
                  <a:pt x="895321" y="6454974"/>
                  <a:pt x="896487" y="6458508"/>
                </a:cubicBezTo>
                <a:lnTo>
                  <a:pt x="903324" y="6456485"/>
                </a:lnTo>
                <a:cubicBezTo>
                  <a:pt x="902066" y="6451276"/>
                  <a:pt x="899713" y="6447230"/>
                  <a:pt x="896266" y="6444347"/>
                </a:cubicBezTo>
                <a:cubicBezTo>
                  <a:pt x="892819" y="6441463"/>
                  <a:pt x="888696" y="6440021"/>
                  <a:pt x="883898" y="6440021"/>
                </a:cubicBezTo>
                <a:close/>
                <a:moveTo>
                  <a:pt x="2030141" y="6429487"/>
                </a:moveTo>
                <a:cubicBezTo>
                  <a:pt x="2031396" y="6434928"/>
                  <a:pt x="2033373" y="6441998"/>
                  <a:pt x="2036069" y="6450695"/>
                </a:cubicBezTo>
                <a:lnTo>
                  <a:pt x="2044784" y="6479019"/>
                </a:lnTo>
                <a:lnTo>
                  <a:pt x="2016217" y="6479019"/>
                </a:lnTo>
                <a:lnTo>
                  <a:pt x="2025546" y="6449021"/>
                </a:lnTo>
                <a:cubicBezTo>
                  <a:pt x="2027526" y="6442556"/>
                  <a:pt x="2029057" y="6436045"/>
                  <a:pt x="2030141" y="6429487"/>
                </a:cubicBezTo>
                <a:close/>
                <a:moveTo>
                  <a:pt x="883232" y="6425650"/>
                </a:moveTo>
                <a:cubicBezTo>
                  <a:pt x="892720" y="6425650"/>
                  <a:pt x="900952" y="6429680"/>
                  <a:pt x="907928" y="6437739"/>
                </a:cubicBezTo>
                <a:cubicBezTo>
                  <a:pt x="915462" y="6446402"/>
                  <a:pt x="919230" y="6457046"/>
                  <a:pt x="919230" y="6469671"/>
                </a:cubicBezTo>
                <a:cubicBezTo>
                  <a:pt x="919230" y="6481410"/>
                  <a:pt x="915927" y="6491495"/>
                  <a:pt x="909323" y="6499926"/>
                </a:cubicBezTo>
                <a:cubicBezTo>
                  <a:pt x="902161" y="6509056"/>
                  <a:pt x="893464" y="6513621"/>
                  <a:pt x="883232" y="6513621"/>
                </a:cubicBezTo>
                <a:cubicBezTo>
                  <a:pt x="873744" y="6513621"/>
                  <a:pt x="865512" y="6509615"/>
                  <a:pt x="858536" y="6501604"/>
                </a:cubicBezTo>
                <a:cubicBezTo>
                  <a:pt x="851001" y="6492939"/>
                  <a:pt x="847234" y="6482295"/>
                  <a:pt x="847234" y="6469671"/>
                </a:cubicBezTo>
                <a:cubicBezTo>
                  <a:pt x="847234" y="6457931"/>
                  <a:pt x="850536" y="6447823"/>
                  <a:pt x="857140" y="6439345"/>
                </a:cubicBezTo>
                <a:cubicBezTo>
                  <a:pt x="864256" y="6430215"/>
                  <a:pt x="872953" y="6425650"/>
                  <a:pt x="883232" y="6425650"/>
                </a:cubicBezTo>
                <a:close/>
                <a:moveTo>
                  <a:pt x="6208297" y="6421046"/>
                </a:moveTo>
                <a:lnTo>
                  <a:pt x="6198042" y="6428580"/>
                </a:lnTo>
                <a:lnTo>
                  <a:pt x="6198042" y="6446928"/>
                </a:lnTo>
                <a:lnTo>
                  <a:pt x="6190507" y="6446928"/>
                </a:lnTo>
                <a:lnTo>
                  <a:pt x="6190507" y="6456695"/>
                </a:lnTo>
                <a:lnTo>
                  <a:pt x="6198042" y="6456695"/>
                </a:lnTo>
                <a:lnTo>
                  <a:pt x="6198042" y="6499320"/>
                </a:lnTo>
                <a:cubicBezTo>
                  <a:pt x="6198042" y="6506668"/>
                  <a:pt x="6198449" y="6511575"/>
                  <a:pt x="6199263" y="6514040"/>
                </a:cubicBezTo>
                <a:cubicBezTo>
                  <a:pt x="6200077" y="6516505"/>
                  <a:pt x="6201577" y="6518447"/>
                  <a:pt x="6203762" y="6519865"/>
                </a:cubicBezTo>
                <a:cubicBezTo>
                  <a:pt x="6205948" y="6521284"/>
                  <a:pt x="6208832" y="6521993"/>
                  <a:pt x="6212413" y="6521993"/>
                </a:cubicBezTo>
                <a:cubicBezTo>
                  <a:pt x="6214692" y="6521993"/>
                  <a:pt x="6217250" y="6521621"/>
                  <a:pt x="6220087" y="6520877"/>
                </a:cubicBezTo>
                <a:lnTo>
                  <a:pt x="6218692" y="6509784"/>
                </a:lnTo>
                <a:cubicBezTo>
                  <a:pt x="6216831" y="6510110"/>
                  <a:pt x="6215320" y="6510273"/>
                  <a:pt x="6214157" y="6510273"/>
                </a:cubicBezTo>
                <a:cubicBezTo>
                  <a:pt x="6211739" y="6510273"/>
                  <a:pt x="6210088" y="6509436"/>
                  <a:pt x="6209204" y="6507761"/>
                </a:cubicBezTo>
                <a:cubicBezTo>
                  <a:pt x="6208599" y="6506599"/>
                  <a:pt x="6208297" y="6504017"/>
                  <a:pt x="6208297" y="6500018"/>
                </a:cubicBezTo>
                <a:lnTo>
                  <a:pt x="6208297" y="6456695"/>
                </a:lnTo>
                <a:lnTo>
                  <a:pt x="6218692" y="6456695"/>
                </a:lnTo>
                <a:lnTo>
                  <a:pt x="6218692" y="6446928"/>
                </a:lnTo>
                <a:lnTo>
                  <a:pt x="6208297" y="6446928"/>
                </a:lnTo>
                <a:close/>
                <a:moveTo>
                  <a:pt x="2421963" y="6421046"/>
                </a:moveTo>
                <a:lnTo>
                  <a:pt x="2411708" y="6428580"/>
                </a:lnTo>
                <a:lnTo>
                  <a:pt x="2411708" y="6446928"/>
                </a:lnTo>
                <a:lnTo>
                  <a:pt x="2404176" y="6446928"/>
                </a:lnTo>
                <a:lnTo>
                  <a:pt x="2404176" y="6456695"/>
                </a:lnTo>
                <a:lnTo>
                  <a:pt x="2411708" y="6456695"/>
                </a:lnTo>
                <a:lnTo>
                  <a:pt x="2411708" y="6499320"/>
                </a:lnTo>
                <a:cubicBezTo>
                  <a:pt x="2411708" y="6506668"/>
                  <a:pt x="2412117" y="6511575"/>
                  <a:pt x="2412932" y="6514040"/>
                </a:cubicBezTo>
                <a:cubicBezTo>
                  <a:pt x="2413745" y="6516505"/>
                  <a:pt x="2415246" y="6518447"/>
                  <a:pt x="2417431" y="6519865"/>
                </a:cubicBezTo>
                <a:cubicBezTo>
                  <a:pt x="2419616" y="6521284"/>
                  <a:pt x="2422501" y="6521993"/>
                  <a:pt x="2426082" y="6521993"/>
                </a:cubicBezTo>
                <a:lnTo>
                  <a:pt x="2432793" y="6521016"/>
                </a:lnTo>
                <a:lnTo>
                  <a:pt x="2486537" y="6521016"/>
                </a:lnTo>
                <a:lnTo>
                  <a:pt x="2486537" y="6510203"/>
                </a:lnTo>
                <a:lnTo>
                  <a:pt x="2458413" y="6510203"/>
                </a:lnTo>
                <a:cubicBezTo>
                  <a:pt x="2454366" y="6510203"/>
                  <a:pt x="2450037" y="6510412"/>
                  <a:pt x="2445434" y="6510831"/>
                </a:cubicBezTo>
                <a:lnTo>
                  <a:pt x="2451797" y="6502250"/>
                </a:lnTo>
                <a:lnTo>
                  <a:pt x="2484792" y="6455230"/>
                </a:lnTo>
                <a:lnTo>
                  <a:pt x="2484792" y="6446928"/>
                </a:lnTo>
                <a:lnTo>
                  <a:pt x="2435051" y="6446928"/>
                </a:lnTo>
                <a:lnTo>
                  <a:pt x="2435051" y="6457113"/>
                </a:lnTo>
                <a:lnTo>
                  <a:pt x="2459836" y="6457113"/>
                </a:lnTo>
                <a:cubicBezTo>
                  <a:pt x="2463190" y="6457113"/>
                  <a:pt x="2467073" y="6456974"/>
                  <a:pt x="2471498" y="6456695"/>
                </a:cubicBezTo>
                <a:lnTo>
                  <a:pt x="2432747" y="6510831"/>
                </a:lnTo>
                <a:lnTo>
                  <a:pt x="2432747" y="6512890"/>
                </a:lnTo>
                <a:lnTo>
                  <a:pt x="2432359" y="6509784"/>
                </a:lnTo>
                <a:cubicBezTo>
                  <a:pt x="2430497" y="6510110"/>
                  <a:pt x="2428986" y="6510273"/>
                  <a:pt x="2427824" y="6510273"/>
                </a:cubicBezTo>
                <a:cubicBezTo>
                  <a:pt x="2425405" y="6510273"/>
                  <a:pt x="2423753" y="6509436"/>
                  <a:pt x="2422869" y="6507761"/>
                </a:cubicBezTo>
                <a:cubicBezTo>
                  <a:pt x="2422267" y="6506599"/>
                  <a:pt x="2421963" y="6504017"/>
                  <a:pt x="2421963" y="6500018"/>
                </a:cubicBezTo>
                <a:lnTo>
                  <a:pt x="2421963" y="6456695"/>
                </a:lnTo>
                <a:lnTo>
                  <a:pt x="2432359" y="6456695"/>
                </a:lnTo>
                <a:lnTo>
                  <a:pt x="2432359" y="6446928"/>
                </a:lnTo>
                <a:lnTo>
                  <a:pt x="2421963" y="6446928"/>
                </a:lnTo>
                <a:close/>
                <a:moveTo>
                  <a:pt x="1440886" y="6421046"/>
                </a:moveTo>
                <a:lnTo>
                  <a:pt x="1430631" y="6428580"/>
                </a:lnTo>
                <a:lnTo>
                  <a:pt x="1430631" y="6446928"/>
                </a:lnTo>
                <a:lnTo>
                  <a:pt x="1423097" y="6446928"/>
                </a:lnTo>
                <a:lnTo>
                  <a:pt x="1423097" y="6456695"/>
                </a:lnTo>
                <a:lnTo>
                  <a:pt x="1430631" y="6456695"/>
                </a:lnTo>
                <a:lnTo>
                  <a:pt x="1430631" y="6499320"/>
                </a:lnTo>
                <a:cubicBezTo>
                  <a:pt x="1430631" y="6506668"/>
                  <a:pt x="1431038" y="6511575"/>
                  <a:pt x="1431852" y="6514040"/>
                </a:cubicBezTo>
                <a:cubicBezTo>
                  <a:pt x="1432666" y="6516505"/>
                  <a:pt x="1434165" y="6518447"/>
                  <a:pt x="1436352" y="6519865"/>
                </a:cubicBezTo>
                <a:cubicBezTo>
                  <a:pt x="1438537" y="6521284"/>
                  <a:pt x="1441421" y="6521993"/>
                  <a:pt x="1445002" y="6521993"/>
                </a:cubicBezTo>
                <a:cubicBezTo>
                  <a:pt x="1447281" y="6521993"/>
                  <a:pt x="1449839" y="6521621"/>
                  <a:pt x="1452676" y="6520877"/>
                </a:cubicBezTo>
                <a:lnTo>
                  <a:pt x="1451281" y="6509784"/>
                </a:lnTo>
                <a:cubicBezTo>
                  <a:pt x="1449420" y="6510110"/>
                  <a:pt x="1447909" y="6510273"/>
                  <a:pt x="1446746" y="6510273"/>
                </a:cubicBezTo>
                <a:cubicBezTo>
                  <a:pt x="1444328" y="6510273"/>
                  <a:pt x="1442677" y="6509436"/>
                  <a:pt x="1441793" y="6507761"/>
                </a:cubicBezTo>
                <a:cubicBezTo>
                  <a:pt x="1441188" y="6506599"/>
                  <a:pt x="1440886" y="6504017"/>
                  <a:pt x="1440886" y="6500018"/>
                </a:cubicBezTo>
                <a:lnTo>
                  <a:pt x="1440886" y="6456695"/>
                </a:lnTo>
                <a:lnTo>
                  <a:pt x="1451281" y="6456695"/>
                </a:lnTo>
                <a:lnTo>
                  <a:pt x="1451281" y="6446928"/>
                </a:lnTo>
                <a:lnTo>
                  <a:pt x="1440886" y="6446928"/>
                </a:lnTo>
                <a:close/>
                <a:moveTo>
                  <a:pt x="6319286" y="6418743"/>
                </a:moveTo>
                <a:lnTo>
                  <a:pt x="6319286" y="6521016"/>
                </a:lnTo>
                <a:lnTo>
                  <a:pt x="6329541" y="6521016"/>
                </a:lnTo>
                <a:lnTo>
                  <a:pt x="6329541" y="6418743"/>
                </a:lnTo>
                <a:close/>
                <a:moveTo>
                  <a:pt x="6224384" y="6418743"/>
                </a:moveTo>
                <a:lnTo>
                  <a:pt x="6224384" y="6433184"/>
                </a:lnTo>
                <a:lnTo>
                  <a:pt x="6234640" y="6433184"/>
                </a:lnTo>
                <a:lnTo>
                  <a:pt x="6234640" y="6418743"/>
                </a:lnTo>
                <a:close/>
                <a:moveTo>
                  <a:pt x="6034363" y="6418743"/>
                </a:moveTo>
                <a:lnTo>
                  <a:pt x="6034363" y="6455439"/>
                </a:lnTo>
                <a:cubicBezTo>
                  <a:pt x="6032461" y="6452230"/>
                  <a:pt x="6030058" y="6449730"/>
                  <a:pt x="6027156" y="6447939"/>
                </a:cubicBezTo>
                <a:cubicBezTo>
                  <a:pt x="6024254" y="6446149"/>
                  <a:pt x="6021108" y="6445253"/>
                  <a:pt x="6017719" y="6445253"/>
                </a:cubicBezTo>
                <a:cubicBezTo>
                  <a:pt x="6012983" y="6445253"/>
                  <a:pt x="6008677" y="6446672"/>
                  <a:pt x="6004799" y="6449509"/>
                </a:cubicBezTo>
                <a:cubicBezTo>
                  <a:pt x="6000921" y="6452346"/>
                  <a:pt x="5997822" y="6456695"/>
                  <a:pt x="5995500" y="6462555"/>
                </a:cubicBezTo>
                <a:cubicBezTo>
                  <a:pt x="5993178" y="6468415"/>
                  <a:pt x="5992018" y="6475554"/>
                  <a:pt x="5992018" y="6483972"/>
                </a:cubicBezTo>
                <a:cubicBezTo>
                  <a:pt x="5992018" y="6496250"/>
                  <a:pt x="5994634" y="6505773"/>
                  <a:pt x="5999866" y="6512540"/>
                </a:cubicBezTo>
                <a:cubicBezTo>
                  <a:pt x="6005100" y="6519307"/>
                  <a:pt x="6011295" y="6522691"/>
                  <a:pt x="6018459" y="6522691"/>
                </a:cubicBezTo>
                <a:cubicBezTo>
                  <a:pt x="6021854" y="6522691"/>
                  <a:pt x="6025016" y="6521749"/>
                  <a:pt x="6027948" y="6519865"/>
                </a:cubicBezTo>
                <a:cubicBezTo>
                  <a:pt x="6030877" y="6517982"/>
                  <a:pt x="6033272" y="6515249"/>
                  <a:pt x="6035132" y="6511668"/>
                </a:cubicBezTo>
                <a:lnTo>
                  <a:pt x="6035132" y="6521016"/>
                </a:lnTo>
                <a:lnTo>
                  <a:pt x="6044761" y="6521016"/>
                </a:lnTo>
                <a:lnTo>
                  <a:pt x="6044761" y="6418743"/>
                </a:lnTo>
                <a:close/>
                <a:moveTo>
                  <a:pt x="2790954" y="6418743"/>
                </a:moveTo>
                <a:lnTo>
                  <a:pt x="2790954" y="6455439"/>
                </a:lnTo>
                <a:cubicBezTo>
                  <a:pt x="2789051" y="6452230"/>
                  <a:pt x="2786647" y="6449730"/>
                  <a:pt x="2783745" y="6447939"/>
                </a:cubicBezTo>
                <a:cubicBezTo>
                  <a:pt x="2780842" y="6446149"/>
                  <a:pt x="2777697" y="6445253"/>
                  <a:pt x="2774311" y="6445253"/>
                </a:cubicBezTo>
                <a:cubicBezTo>
                  <a:pt x="2769573" y="6445253"/>
                  <a:pt x="2765268" y="6446672"/>
                  <a:pt x="2761389" y="6449509"/>
                </a:cubicBezTo>
                <a:cubicBezTo>
                  <a:pt x="2757512" y="6452346"/>
                  <a:pt x="2754414" y="6456695"/>
                  <a:pt x="2752089" y="6462555"/>
                </a:cubicBezTo>
                <a:cubicBezTo>
                  <a:pt x="2749769" y="6468415"/>
                  <a:pt x="2748607" y="6475554"/>
                  <a:pt x="2748607" y="6483972"/>
                </a:cubicBezTo>
                <a:cubicBezTo>
                  <a:pt x="2748607" y="6496250"/>
                  <a:pt x="2751223" y="6505773"/>
                  <a:pt x="2756457" y="6512540"/>
                </a:cubicBezTo>
                <a:cubicBezTo>
                  <a:pt x="2761691" y="6519307"/>
                  <a:pt x="2767884" y="6522691"/>
                  <a:pt x="2775051" y="6522691"/>
                </a:cubicBezTo>
                <a:cubicBezTo>
                  <a:pt x="2778443" y="6522691"/>
                  <a:pt x="2781605" y="6521749"/>
                  <a:pt x="2784536" y="6519865"/>
                </a:cubicBezTo>
                <a:cubicBezTo>
                  <a:pt x="2787466" y="6517982"/>
                  <a:pt x="2789863" y="6515249"/>
                  <a:pt x="2791721" y="6511668"/>
                </a:cubicBezTo>
                <a:lnTo>
                  <a:pt x="2791721" y="6521016"/>
                </a:lnTo>
                <a:lnTo>
                  <a:pt x="2801352" y="6521016"/>
                </a:lnTo>
                <a:lnTo>
                  <a:pt x="2801352" y="6418743"/>
                </a:lnTo>
                <a:close/>
                <a:moveTo>
                  <a:pt x="2590102" y="6418743"/>
                </a:moveTo>
                <a:lnTo>
                  <a:pt x="2590102" y="6521016"/>
                </a:lnTo>
                <a:lnTo>
                  <a:pt x="2600357" y="6521016"/>
                </a:lnTo>
                <a:lnTo>
                  <a:pt x="2600357" y="6418743"/>
                </a:lnTo>
                <a:close/>
                <a:moveTo>
                  <a:pt x="2380902" y="6418743"/>
                </a:moveTo>
                <a:lnTo>
                  <a:pt x="2380902" y="6433184"/>
                </a:lnTo>
                <a:lnTo>
                  <a:pt x="2391160" y="6433184"/>
                </a:lnTo>
                <a:lnTo>
                  <a:pt x="2391160" y="6418743"/>
                </a:lnTo>
                <a:close/>
                <a:moveTo>
                  <a:pt x="2024499" y="6418743"/>
                </a:moveTo>
                <a:lnTo>
                  <a:pt x="1992155" y="6521016"/>
                </a:lnTo>
                <a:lnTo>
                  <a:pt x="2003857" y="6521016"/>
                </a:lnTo>
                <a:lnTo>
                  <a:pt x="2012973" y="6490041"/>
                </a:lnTo>
                <a:lnTo>
                  <a:pt x="2048255" y="6490041"/>
                </a:lnTo>
                <a:lnTo>
                  <a:pt x="2058010" y="6521016"/>
                </a:lnTo>
                <a:lnTo>
                  <a:pt x="2070709" y="6521016"/>
                </a:lnTo>
                <a:lnTo>
                  <a:pt x="2036363" y="6418743"/>
                </a:lnTo>
                <a:close/>
                <a:moveTo>
                  <a:pt x="1818925" y="6418743"/>
                </a:moveTo>
                <a:lnTo>
                  <a:pt x="1818925" y="6433184"/>
                </a:lnTo>
                <a:lnTo>
                  <a:pt x="1829180" y="6433184"/>
                </a:lnTo>
                <a:lnTo>
                  <a:pt x="1829180" y="6418743"/>
                </a:lnTo>
                <a:close/>
                <a:moveTo>
                  <a:pt x="1752248" y="6418743"/>
                </a:moveTo>
                <a:lnTo>
                  <a:pt x="1752248" y="6433184"/>
                </a:lnTo>
                <a:lnTo>
                  <a:pt x="1762504" y="6433184"/>
                </a:lnTo>
                <a:lnTo>
                  <a:pt x="1762504" y="6418743"/>
                </a:lnTo>
                <a:close/>
                <a:moveTo>
                  <a:pt x="1361723" y="6418743"/>
                </a:moveTo>
                <a:lnTo>
                  <a:pt x="1361723" y="6521016"/>
                </a:lnTo>
                <a:lnTo>
                  <a:pt x="1371979" y="6521016"/>
                </a:lnTo>
                <a:lnTo>
                  <a:pt x="1371979" y="6480484"/>
                </a:lnTo>
                <a:cubicBezTo>
                  <a:pt x="1371979" y="6471368"/>
                  <a:pt x="1373548" y="6465020"/>
                  <a:pt x="1376688" y="6461438"/>
                </a:cubicBezTo>
                <a:cubicBezTo>
                  <a:pt x="1379827" y="6457857"/>
                  <a:pt x="1383629" y="6456067"/>
                  <a:pt x="1388094" y="6456067"/>
                </a:cubicBezTo>
                <a:cubicBezTo>
                  <a:pt x="1392094" y="6456067"/>
                  <a:pt x="1395233" y="6457462"/>
                  <a:pt x="1397512" y="6460253"/>
                </a:cubicBezTo>
                <a:cubicBezTo>
                  <a:pt x="1399791" y="6463043"/>
                  <a:pt x="1400930" y="6467647"/>
                  <a:pt x="1400930" y="6474066"/>
                </a:cubicBezTo>
                <a:lnTo>
                  <a:pt x="1400930" y="6521016"/>
                </a:lnTo>
                <a:lnTo>
                  <a:pt x="1411186" y="6521016"/>
                </a:lnTo>
                <a:lnTo>
                  <a:pt x="1411186" y="6474066"/>
                </a:lnTo>
                <a:cubicBezTo>
                  <a:pt x="1411186" y="6463090"/>
                  <a:pt x="1409314" y="6455543"/>
                  <a:pt x="1405570" y="6451427"/>
                </a:cubicBezTo>
                <a:cubicBezTo>
                  <a:pt x="1401826" y="6447311"/>
                  <a:pt x="1396721" y="6445253"/>
                  <a:pt x="1390256" y="6445253"/>
                </a:cubicBezTo>
                <a:cubicBezTo>
                  <a:pt x="1386582" y="6445253"/>
                  <a:pt x="1383222" y="6446102"/>
                  <a:pt x="1380176" y="6447800"/>
                </a:cubicBezTo>
                <a:cubicBezTo>
                  <a:pt x="1377129" y="6449497"/>
                  <a:pt x="1374397" y="6452044"/>
                  <a:pt x="1371979" y="6455439"/>
                </a:cubicBezTo>
                <a:lnTo>
                  <a:pt x="1371979" y="6418743"/>
                </a:lnTo>
                <a:close/>
                <a:moveTo>
                  <a:pt x="1266473" y="6418743"/>
                </a:moveTo>
                <a:lnTo>
                  <a:pt x="1266473" y="6433184"/>
                </a:lnTo>
                <a:lnTo>
                  <a:pt x="1276729" y="6433184"/>
                </a:lnTo>
                <a:lnTo>
                  <a:pt x="1276729" y="6418743"/>
                </a:lnTo>
                <a:close/>
                <a:moveTo>
                  <a:pt x="10863258" y="6418259"/>
                </a:moveTo>
                <a:lnTo>
                  <a:pt x="10904541" y="6418259"/>
                </a:lnTo>
                <a:cubicBezTo>
                  <a:pt x="10924644" y="6418259"/>
                  <a:pt x="10934695" y="6421247"/>
                  <a:pt x="10934695" y="6433947"/>
                </a:cubicBezTo>
                <a:cubicBezTo>
                  <a:pt x="10934695" y="6446647"/>
                  <a:pt x="10924644" y="6450009"/>
                  <a:pt x="10904541" y="6450009"/>
                </a:cubicBezTo>
                <a:lnTo>
                  <a:pt x="10863258" y="6450009"/>
                </a:lnTo>
                <a:close/>
                <a:moveTo>
                  <a:pt x="5958284" y="6416999"/>
                </a:moveTo>
                <a:cubicBezTo>
                  <a:pt x="5954507" y="6416999"/>
                  <a:pt x="5951372" y="6417767"/>
                  <a:pt x="5948876" y="6419302"/>
                </a:cubicBezTo>
                <a:cubicBezTo>
                  <a:pt x="5946380" y="6420836"/>
                  <a:pt x="5944526" y="6423057"/>
                  <a:pt x="5943316" y="6425964"/>
                </a:cubicBezTo>
                <a:cubicBezTo>
                  <a:pt x="5942101" y="6428871"/>
                  <a:pt x="5941497" y="6433231"/>
                  <a:pt x="5941497" y="6439045"/>
                </a:cubicBezTo>
                <a:lnTo>
                  <a:pt x="5941497" y="6446928"/>
                </a:lnTo>
                <a:lnTo>
                  <a:pt x="5932359" y="6446928"/>
                </a:lnTo>
                <a:lnTo>
                  <a:pt x="5932359" y="6456695"/>
                </a:lnTo>
                <a:lnTo>
                  <a:pt x="5941497" y="6456695"/>
                </a:lnTo>
                <a:lnTo>
                  <a:pt x="5941497" y="6521016"/>
                </a:lnTo>
                <a:lnTo>
                  <a:pt x="5951752" y="6521016"/>
                </a:lnTo>
                <a:lnTo>
                  <a:pt x="5951752" y="6456695"/>
                </a:lnTo>
                <a:lnTo>
                  <a:pt x="5963612" y="6456695"/>
                </a:lnTo>
                <a:lnTo>
                  <a:pt x="5963612" y="6446928"/>
                </a:lnTo>
                <a:lnTo>
                  <a:pt x="5951752" y="6446928"/>
                </a:lnTo>
                <a:lnTo>
                  <a:pt x="5951752" y="6440091"/>
                </a:lnTo>
                <a:cubicBezTo>
                  <a:pt x="5951752" y="6435580"/>
                  <a:pt x="5952415" y="6432522"/>
                  <a:pt x="5953740" y="6430917"/>
                </a:cubicBezTo>
                <a:cubicBezTo>
                  <a:pt x="5955066" y="6429313"/>
                  <a:pt x="5957263" y="6428510"/>
                  <a:pt x="5960331" y="6428510"/>
                </a:cubicBezTo>
                <a:cubicBezTo>
                  <a:pt x="5962240" y="6428510"/>
                  <a:pt x="5964261" y="6428743"/>
                  <a:pt x="5966402" y="6429208"/>
                </a:cubicBezTo>
                <a:lnTo>
                  <a:pt x="5967211" y="6423470"/>
                </a:lnTo>
                <a:lnTo>
                  <a:pt x="5967211" y="6433184"/>
                </a:lnTo>
                <a:lnTo>
                  <a:pt x="5977467" y="6433184"/>
                </a:lnTo>
                <a:lnTo>
                  <a:pt x="5977467" y="6418743"/>
                </a:lnTo>
                <a:lnTo>
                  <a:pt x="5967879" y="6418743"/>
                </a:lnTo>
                <a:lnTo>
                  <a:pt x="5967935" y="6418325"/>
                </a:lnTo>
                <a:cubicBezTo>
                  <a:pt x="5964439" y="6417441"/>
                  <a:pt x="5961221" y="6416999"/>
                  <a:pt x="5958284" y="6416999"/>
                </a:cubicBezTo>
                <a:close/>
                <a:moveTo>
                  <a:pt x="883232" y="6416999"/>
                </a:moveTo>
                <a:cubicBezTo>
                  <a:pt x="875883" y="6416999"/>
                  <a:pt x="868895" y="6419197"/>
                  <a:pt x="862268" y="6423592"/>
                </a:cubicBezTo>
                <a:cubicBezTo>
                  <a:pt x="855640" y="6427987"/>
                  <a:pt x="850280" y="6434301"/>
                  <a:pt x="846187" y="6442533"/>
                </a:cubicBezTo>
                <a:cubicBezTo>
                  <a:pt x="842095" y="6450765"/>
                  <a:pt x="840048" y="6459811"/>
                  <a:pt x="840048" y="6469671"/>
                </a:cubicBezTo>
                <a:cubicBezTo>
                  <a:pt x="840048" y="6483763"/>
                  <a:pt x="844188" y="6496053"/>
                  <a:pt x="852466" y="6506540"/>
                </a:cubicBezTo>
                <a:cubicBezTo>
                  <a:pt x="860745" y="6517028"/>
                  <a:pt x="871000" y="6522272"/>
                  <a:pt x="883232" y="6522272"/>
                </a:cubicBezTo>
                <a:cubicBezTo>
                  <a:pt x="890580" y="6522272"/>
                  <a:pt x="897568" y="6520074"/>
                  <a:pt x="904196" y="6515679"/>
                </a:cubicBezTo>
                <a:cubicBezTo>
                  <a:pt x="910823" y="6511284"/>
                  <a:pt x="916183" y="6504971"/>
                  <a:pt x="920276" y="6496739"/>
                </a:cubicBezTo>
                <a:cubicBezTo>
                  <a:pt x="924369" y="6488507"/>
                  <a:pt x="926415" y="6479484"/>
                  <a:pt x="926415" y="6469671"/>
                </a:cubicBezTo>
                <a:cubicBezTo>
                  <a:pt x="926415" y="6455578"/>
                  <a:pt x="922276" y="6443277"/>
                  <a:pt x="913997" y="6432766"/>
                </a:cubicBezTo>
                <a:cubicBezTo>
                  <a:pt x="905719" y="6422255"/>
                  <a:pt x="895464" y="6416999"/>
                  <a:pt x="883232" y="6416999"/>
                </a:cubicBezTo>
                <a:close/>
                <a:moveTo>
                  <a:pt x="5757201" y="6416930"/>
                </a:moveTo>
                <a:cubicBezTo>
                  <a:pt x="5749800" y="6416930"/>
                  <a:pt x="5743096" y="6418919"/>
                  <a:pt x="5737090" y="6422898"/>
                </a:cubicBezTo>
                <a:cubicBezTo>
                  <a:pt x="5731085" y="6426877"/>
                  <a:pt x="5726326" y="6432764"/>
                  <a:pt x="5722810" y="6440560"/>
                </a:cubicBezTo>
                <a:cubicBezTo>
                  <a:pt x="5719297" y="6448355"/>
                  <a:pt x="5717538" y="6457884"/>
                  <a:pt x="5717538" y="6469147"/>
                </a:cubicBezTo>
                <a:cubicBezTo>
                  <a:pt x="5717538" y="6480549"/>
                  <a:pt x="5719295" y="6490439"/>
                  <a:pt x="5722804" y="6498816"/>
                </a:cubicBezTo>
                <a:cubicBezTo>
                  <a:pt x="5726318" y="6507193"/>
                  <a:pt x="5730829" y="6513278"/>
                  <a:pt x="5736339" y="6517071"/>
                </a:cubicBezTo>
                <a:cubicBezTo>
                  <a:pt x="5741851" y="6520864"/>
                  <a:pt x="5748490" y="6522760"/>
                  <a:pt x="5756258" y="6522760"/>
                </a:cubicBezTo>
                <a:cubicBezTo>
                  <a:pt x="5765094" y="6522760"/>
                  <a:pt x="5772593" y="6519935"/>
                  <a:pt x="5778755" y="6514284"/>
                </a:cubicBezTo>
                <a:cubicBezTo>
                  <a:pt x="5784918" y="6508633"/>
                  <a:pt x="5789232" y="6500064"/>
                  <a:pt x="5791698" y="6488576"/>
                </a:cubicBezTo>
                <a:lnTo>
                  <a:pt x="5780536" y="6485158"/>
                </a:lnTo>
                <a:cubicBezTo>
                  <a:pt x="5779047" y="6493902"/>
                  <a:pt x="5776104" y="6500424"/>
                  <a:pt x="5771710" y="6504727"/>
                </a:cubicBezTo>
                <a:cubicBezTo>
                  <a:pt x="5767314" y="6509029"/>
                  <a:pt x="5762094" y="6511180"/>
                  <a:pt x="5756048" y="6511180"/>
                </a:cubicBezTo>
                <a:cubicBezTo>
                  <a:pt x="5747861" y="6511180"/>
                  <a:pt x="5741304" y="6507677"/>
                  <a:pt x="5736375" y="6500672"/>
                </a:cubicBezTo>
                <a:cubicBezTo>
                  <a:pt x="5731443" y="6493666"/>
                  <a:pt x="5728981" y="6483158"/>
                  <a:pt x="5728981" y="6469146"/>
                </a:cubicBezTo>
                <a:cubicBezTo>
                  <a:pt x="5728981" y="6459884"/>
                  <a:pt x="5730202" y="6452227"/>
                  <a:pt x="5732647" y="6446176"/>
                </a:cubicBezTo>
                <a:cubicBezTo>
                  <a:pt x="5735094" y="6440124"/>
                  <a:pt x="5738363" y="6435667"/>
                  <a:pt x="5742462" y="6432805"/>
                </a:cubicBezTo>
                <a:cubicBezTo>
                  <a:pt x="5746560" y="6429942"/>
                  <a:pt x="5751404" y="6428510"/>
                  <a:pt x="5756996" y="6428510"/>
                </a:cubicBezTo>
                <a:cubicBezTo>
                  <a:pt x="5768218" y="6428510"/>
                  <a:pt x="5775694" y="6435603"/>
                  <a:pt x="5779417" y="6449788"/>
                </a:cubicBezTo>
                <a:lnTo>
                  <a:pt x="5790300" y="6446649"/>
                </a:lnTo>
                <a:cubicBezTo>
                  <a:pt x="5787973" y="6436904"/>
                  <a:pt x="5783900" y="6429515"/>
                  <a:pt x="5778080" y="6424481"/>
                </a:cubicBezTo>
                <a:cubicBezTo>
                  <a:pt x="5772261" y="6419447"/>
                  <a:pt x="5765304" y="6416930"/>
                  <a:pt x="5757201" y="6416930"/>
                </a:cubicBezTo>
                <a:close/>
                <a:moveTo>
                  <a:pt x="2249532" y="6416930"/>
                </a:moveTo>
                <a:cubicBezTo>
                  <a:pt x="2240467" y="6416930"/>
                  <a:pt x="2233254" y="6419557"/>
                  <a:pt x="2227909" y="6424813"/>
                </a:cubicBezTo>
                <a:cubicBezTo>
                  <a:pt x="2222556" y="6430068"/>
                  <a:pt x="2219883" y="6436835"/>
                  <a:pt x="2219883" y="6445114"/>
                </a:cubicBezTo>
                <a:cubicBezTo>
                  <a:pt x="2219883" y="6449718"/>
                  <a:pt x="2220813" y="6453846"/>
                  <a:pt x="2222671" y="6457497"/>
                </a:cubicBezTo>
                <a:cubicBezTo>
                  <a:pt x="2224536" y="6461148"/>
                  <a:pt x="2227140" y="6464159"/>
                  <a:pt x="2230487" y="6466531"/>
                </a:cubicBezTo>
                <a:cubicBezTo>
                  <a:pt x="2233835" y="6468903"/>
                  <a:pt x="2239465" y="6471263"/>
                  <a:pt x="2247373" y="6473610"/>
                </a:cubicBezTo>
                <a:cubicBezTo>
                  <a:pt x="2256256" y="6476239"/>
                  <a:pt x="2262035" y="6478273"/>
                  <a:pt x="2264706" y="6479712"/>
                </a:cubicBezTo>
                <a:cubicBezTo>
                  <a:pt x="2267380" y="6481151"/>
                  <a:pt x="2269378" y="6482996"/>
                  <a:pt x="2270706" y="6485247"/>
                </a:cubicBezTo>
                <a:cubicBezTo>
                  <a:pt x="2272029" y="6487498"/>
                  <a:pt x="2272693" y="6490132"/>
                  <a:pt x="2272693" y="6493148"/>
                </a:cubicBezTo>
                <a:cubicBezTo>
                  <a:pt x="2272693" y="6498300"/>
                  <a:pt x="2270867" y="6502488"/>
                  <a:pt x="2267221" y="6505714"/>
                </a:cubicBezTo>
                <a:cubicBezTo>
                  <a:pt x="2263568" y="6508939"/>
                  <a:pt x="2258441" y="6510552"/>
                  <a:pt x="2251834" y="6510552"/>
                </a:cubicBezTo>
                <a:cubicBezTo>
                  <a:pt x="2247228" y="6510552"/>
                  <a:pt x="2243090" y="6509598"/>
                  <a:pt x="2239420" y="6507691"/>
                </a:cubicBezTo>
                <a:cubicBezTo>
                  <a:pt x="2235745" y="6505785"/>
                  <a:pt x="2232919" y="6503262"/>
                  <a:pt x="2230941" y="6500122"/>
                </a:cubicBezTo>
                <a:cubicBezTo>
                  <a:pt x="2228964" y="6496983"/>
                  <a:pt x="2227697" y="6492599"/>
                  <a:pt x="2227140" y="6486972"/>
                </a:cubicBezTo>
                <a:lnTo>
                  <a:pt x="2216673" y="6488088"/>
                </a:lnTo>
                <a:cubicBezTo>
                  <a:pt x="2216905" y="6498739"/>
                  <a:pt x="2220105" y="6507180"/>
                  <a:pt x="2226270" y="6513412"/>
                </a:cubicBezTo>
                <a:cubicBezTo>
                  <a:pt x="2232430" y="6519644"/>
                  <a:pt x="2240699" y="6522760"/>
                  <a:pt x="2251071" y="6522760"/>
                </a:cubicBezTo>
                <a:cubicBezTo>
                  <a:pt x="2257717" y="6522760"/>
                  <a:pt x="2263407" y="6521506"/>
                  <a:pt x="2268127" y="6518997"/>
                </a:cubicBezTo>
                <a:cubicBezTo>
                  <a:pt x="2272847" y="6516488"/>
                  <a:pt x="2276579" y="6512829"/>
                  <a:pt x="2279325" y="6508021"/>
                </a:cubicBezTo>
                <a:cubicBezTo>
                  <a:pt x="2282067" y="6503213"/>
                  <a:pt x="2283436" y="6497882"/>
                  <a:pt x="2283436" y="6492029"/>
                </a:cubicBezTo>
                <a:cubicBezTo>
                  <a:pt x="2283436" y="6486128"/>
                  <a:pt x="2282132" y="6481052"/>
                  <a:pt x="2279522" y="6476801"/>
                </a:cubicBezTo>
                <a:cubicBezTo>
                  <a:pt x="2276914" y="6472550"/>
                  <a:pt x="2273050" y="6469117"/>
                  <a:pt x="2267938" y="6466501"/>
                </a:cubicBezTo>
                <a:cubicBezTo>
                  <a:pt x="2264591" y="6464819"/>
                  <a:pt x="2258781" y="6462833"/>
                  <a:pt x="2250508" y="6460544"/>
                </a:cubicBezTo>
                <a:cubicBezTo>
                  <a:pt x="2242041" y="6458208"/>
                  <a:pt x="2236603" y="6455901"/>
                  <a:pt x="2234185" y="6453622"/>
                </a:cubicBezTo>
                <a:cubicBezTo>
                  <a:pt x="2231767" y="6451344"/>
                  <a:pt x="2230560" y="6448135"/>
                  <a:pt x="2230560" y="6443996"/>
                </a:cubicBezTo>
                <a:cubicBezTo>
                  <a:pt x="2230560" y="6439531"/>
                  <a:pt x="2232208" y="6435893"/>
                  <a:pt x="2235513" y="6433079"/>
                </a:cubicBezTo>
                <a:cubicBezTo>
                  <a:pt x="2238811" y="6430266"/>
                  <a:pt x="2243603" y="6428859"/>
                  <a:pt x="2249881" y="6428859"/>
                </a:cubicBezTo>
                <a:cubicBezTo>
                  <a:pt x="2256067" y="6428859"/>
                  <a:pt x="2260872" y="6430464"/>
                  <a:pt x="2264286" y="6433673"/>
                </a:cubicBezTo>
                <a:cubicBezTo>
                  <a:pt x="2267706" y="6436882"/>
                  <a:pt x="2269693" y="6441812"/>
                  <a:pt x="2270252" y="6448463"/>
                </a:cubicBezTo>
                <a:lnTo>
                  <a:pt x="2280928" y="6447486"/>
                </a:lnTo>
                <a:cubicBezTo>
                  <a:pt x="2280741" y="6441254"/>
                  <a:pt x="2279357" y="6435835"/>
                  <a:pt x="2276778" y="6431231"/>
                </a:cubicBezTo>
                <a:cubicBezTo>
                  <a:pt x="2274194" y="6426627"/>
                  <a:pt x="2270569" y="6423092"/>
                  <a:pt x="2265892" y="6420627"/>
                </a:cubicBezTo>
                <a:cubicBezTo>
                  <a:pt x="2261221" y="6418162"/>
                  <a:pt x="2255762" y="6416930"/>
                  <a:pt x="2249532" y="6416930"/>
                </a:cubicBezTo>
                <a:close/>
                <a:moveTo>
                  <a:pt x="2107530" y="6416930"/>
                </a:moveTo>
                <a:cubicBezTo>
                  <a:pt x="2099203" y="6416930"/>
                  <a:pt x="2091990" y="6418896"/>
                  <a:pt x="2085898" y="6422828"/>
                </a:cubicBezTo>
                <a:cubicBezTo>
                  <a:pt x="2079805" y="6426761"/>
                  <a:pt x="2074875" y="6432869"/>
                  <a:pt x="2071108" y="6441153"/>
                </a:cubicBezTo>
                <a:cubicBezTo>
                  <a:pt x="2067341" y="6449437"/>
                  <a:pt x="2065457" y="6459164"/>
                  <a:pt x="2065457" y="6470333"/>
                </a:cubicBezTo>
                <a:cubicBezTo>
                  <a:pt x="2065457" y="6481363"/>
                  <a:pt x="2067329" y="6490811"/>
                  <a:pt x="2071073" y="6498676"/>
                </a:cubicBezTo>
                <a:cubicBezTo>
                  <a:pt x="2074817" y="6506542"/>
                  <a:pt x="2079898" y="6512522"/>
                  <a:pt x="2086316" y="6516617"/>
                </a:cubicBezTo>
                <a:cubicBezTo>
                  <a:pt x="2092736" y="6520713"/>
                  <a:pt x="2100043" y="6522760"/>
                  <a:pt x="2108228" y="6522760"/>
                </a:cubicBezTo>
                <a:cubicBezTo>
                  <a:pt x="2114364" y="6522760"/>
                  <a:pt x="2120344" y="6521423"/>
                  <a:pt x="2126153" y="6518749"/>
                </a:cubicBezTo>
                <a:cubicBezTo>
                  <a:pt x="2131971" y="6516075"/>
                  <a:pt x="2137595" y="6512087"/>
                  <a:pt x="2143038" y="6506785"/>
                </a:cubicBezTo>
                <a:lnTo>
                  <a:pt x="2143038" y="6468764"/>
                </a:lnTo>
                <a:lnTo>
                  <a:pt x="2107530" y="6468833"/>
                </a:lnTo>
                <a:lnTo>
                  <a:pt x="2107530" y="6480902"/>
                </a:lnTo>
                <a:lnTo>
                  <a:pt x="2132151" y="6480902"/>
                </a:lnTo>
                <a:lnTo>
                  <a:pt x="2132151" y="6499948"/>
                </a:lnTo>
                <a:cubicBezTo>
                  <a:pt x="2129458" y="6502831"/>
                  <a:pt x="2125816" y="6505320"/>
                  <a:pt x="2121238" y="6507412"/>
                </a:cubicBezTo>
                <a:cubicBezTo>
                  <a:pt x="2116657" y="6509505"/>
                  <a:pt x="2112179" y="6510552"/>
                  <a:pt x="2107806" y="6510552"/>
                </a:cubicBezTo>
                <a:cubicBezTo>
                  <a:pt x="2098646" y="6510552"/>
                  <a:pt x="2091200" y="6507142"/>
                  <a:pt x="2085479" y="6500323"/>
                </a:cubicBezTo>
                <a:cubicBezTo>
                  <a:pt x="2079759" y="6493503"/>
                  <a:pt x="2076898" y="6483251"/>
                  <a:pt x="2076898" y="6469566"/>
                </a:cubicBezTo>
                <a:cubicBezTo>
                  <a:pt x="2076898" y="6460582"/>
                  <a:pt x="2078235" y="6452972"/>
                  <a:pt x="2080910" y="6446734"/>
                </a:cubicBezTo>
                <a:cubicBezTo>
                  <a:pt x="2083584" y="6440497"/>
                  <a:pt x="2087119" y="6435900"/>
                  <a:pt x="2091514" y="6432944"/>
                </a:cubicBezTo>
                <a:cubicBezTo>
                  <a:pt x="2095909" y="6429988"/>
                  <a:pt x="2101156" y="6428510"/>
                  <a:pt x="2107247" y="6428510"/>
                </a:cubicBezTo>
                <a:cubicBezTo>
                  <a:pt x="2111432" y="6428510"/>
                  <a:pt x="2115200" y="6429324"/>
                  <a:pt x="2118547" y="6430952"/>
                </a:cubicBezTo>
                <a:cubicBezTo>
                  <a:pt x="2121898" y="6432580"/>
                  <a:pt x="2124598" y="6434824"/>
                  <a:pt x="2126643" y="6437684"/>
                </a:cubicBezTo>
                <a:cubicBezTo>
                  <a:pt x="2128689" y="6440544"/>
                  <a:pt x="2130387" y="6444858"/>
                  <a:pt x="2131738" y="6450625"/>
                </a:cubicBezTo>
                <a:lnTo>
                  <a:pt x="2141711" y="6447277"/>
                </a:lnTo>
                <a:cubicBezTo>
                  <a:pt x="2140221" y="6439975"/>
                  <a:pt x="2137990" y="6434231"/>
                  <a:pt x="2135015" y="6430045"/>
                </a:cubicBezTo>
                <a:cubicBezTo>
                  <a:pt x="2132036" y="6425859"/>
                  <a:pt x="2128247" y="6422627"/>
                  <a:pt x="2123643" y="6420348"/>
                </a:cubicBezTo>
                <a:cubicBezTo>
                  <a:pt x="2119038" y="6418069"/>
                  <a:pt x="2113665" y="6416930"/>
                  <a:pt x="2107530" y="6416930"/>
                </a:cubicBezTo>
                <a:close/>
                <a:moveTo>
                  <a:pt x="1516105" y="6416930"/>
                </a:moveTo>
                <a:cubicBezTo>
                  <a:pt x="1507035" y="6416930"/>
                  <a:pt x="1499827" y="6419557"/>
                  <a:pt x="1494478" y="6424813"/>
                </a:cubicBezTo>
                <a:cubicBezTo>
                  <a:pt x="1489130" y="6430068"/>
                  <a:pt x="1486455" y="6436835"/>
                  <a:pt x="1486455" y="6445114"/>
                </a:cubicBezTo>
                <a:cubicBezTo>
                  <a:pt x="1486455" y="6449718"/>
                  <a:pt x="1487385" y="6453846"/>
                  <a:pt x="1489246" y="6457497"/>
                </a:cubicBezTo>
                <a:cubicBezTo>
                  <a:pt x="1491106" y="6461148"/>
                  <a:pt x="1493711" y="6464159"/>
                  <a:pt x="1497059" y="6466531"/>
                </a:cubicBezTo>
                <a:cubicBezTo>
                  <a:pt x="1500408" y="6468903"/>
                  <a:pt x="1506035" y="6471263"/>
                  <a:pt x="1513942" y="6473610"/>
                </a:cubicBezTo>
                <a:cubicBezTo>
                  <a:pt x="1522825" y="6476239"/>
                  <a:pt x="1528604" y="6478273"/>
                  <a:pt x="1531278" y="6479712"/>
                </a:cubicBezTo>
                <a:cubicBezTo>
                  <a:pt x="1533953" y="6481151"/>
                  <a:pt x="1535952" y="6482996"/>
                  <a:pt x="1537278" y="6485247"/>
                </a:cubicBezTo>
                <a:cubicBezTo>
                  <a:pt x="1538603" y="6487498"/>
                  <a:pt x="1539266" y="6490132"/>
                  <a:pt x="1539266" y="6493148"/>
                </a:cubicBezTo>
                <a:cubicBezTo>
                  <a:pt x="1539266" y="6498300"/>
                  <a:pt x="1537441" y="6502488"/>
                  <a:pt x="1533790" y="6505714"/>
                </a:cubicBezTo>
                <a:cubicBezTo>
                  <a:pt x="1530139" y="6508939"/>
                  <a:pt x="1525011" y="6510552"/>
                  <a:pt x="1518407" y="6510552"/>
                </a:cubicBezTo>
                <a:cubicBezTo>
                  <a:pt x="1513802" y="6510552"/>
                  <a:pt x="1509663" y="6509598"/>
                  <a:pt x="1505989" y="6507691"/>
                </a:cubicBezTo>
                <a:cubicBezTo>
                  <a:pt x="1502315" y="6505785"/>
                  <a:pt x="1499490" y="6503262"/>
                  <a:pt x="1497513" y="6500122"/>
                </a:cubicBezTo>
                <a:cubicBezTo>
                  <a:pt x="1495536" y="6496983"/>
                  <a:pt x="1494269" y="6492599"/>
                  <a:pt x="1493711" y="6486972"/>
                </a:cubicBezTo>
                <a:lnTo>
                  <a:pt x="1483246" y="6488088"/>
                </a:lnTo>
                <a:cubicBezTo>
                  <a:pt x="1483479" y="6498739"/>
                  <a:pt x="1486676" y="6507180"/>
                  <a:pt x="1492839" y="6513412"/>
                </a:cubicBezTo>
                <a:cubicBezTo>
                  <a:pt x="1499001" y="6519644"/>
                  <a:pt x="1507268" y="6522760"/>
                  <a:pt x="1517639" y="6522760"/>
                </a:cubicBezTo>
                <a:cubicBezTo>
                  <a:pt x="1524290" y="6522760"/>
                  <a:pt x="1529976" y="6521506"/>
                  <a:pt x="1534697" y="6518997"/>
                </a:cubicBezTo>
                <a:cubicBezTo>
                  <a:pt x="1539417" y="6516488"/>
                  <a:pt x="1543151" y="6512829"/>
                  <a:pt x="1545894" y="6508021"/>
                </a:cubicBezTo>
                <a:cubicBezTo>
                  <a:pt x="1548638" y="6503213"/>
                  <a:pt x="1550010" y="6497882"/>
                  <a:pt x="1550010" y="6492029"/>
                </a:cubicBezTo>
                <a:cubicBezTo>
                  <a:pt x="1550010" y="6486128"/>
                  <a:pt x="1548705" y="6481052"/>
                  <a:pt x="1546095" y="6476801"/>
                </a:cubicBezTo>
                <a:cubicBezTo>
                  <a:pt x="1543485" y="6472550"/>
                  <a:pt x="1539623" y="6469117"/>
                  <a:pt x="1534510" y="6466501"/>
                </a:cubicBezTo>
                <a:cubicBezTo>
                  <a:pt x="1531163" y="6464819"/>
                  <a:pt x="1525351" y="6462833"/>
                  <a:pt x="1517077" y="6460544"/>
                </a:cubicBezTo>
                <a:cubicBezTo>
                  <a:pt x="1508616" y="6458208"/>
                  <a:pt x="1503176" y="6455901"/>
                  <a:pt x="1500758" y="6453622"/>
                </a:cubicBezTo>
                <a:cubicBezTo>
                  <a:pt x="1498339" y="6451344"/>
                  <a:pt x="1497129" y="6448135"/>
                  <a:pt x="1497129" y="6443996"/>
                </a:cubicBezTo>
                <a:cubicBezTo>
                  <a:pt x="1497129" y="6439531"/>
                  <a:pt x="1498780" y="6435893"/>
                  <a:pt x="1502082" y="6433079"/>
                </a:cubicBezTo>
                <a:cubicBezTo>
                  <a:pt x="1505385" y="6430266"/>
                  <a:pt x="1510175" y="6428859"/>
                  <a:pt x="1516453" y="6428859"/>
                </a:cubicBezTo>
                <a:cubicBezTo>
                  <a:pt x="1522639" y="6428859"/>
                  <a:pt x="1527441" y="6430464"/>
                  <a:pt x="1530860" y="6433673"/>
                </a:cubicBezTo>
                <a:cubicBezTo>
                  <a:pt x="1534278" y="6436882"/>
                  <a:pt x="1536266" y="6441812"/>
                  <a:pt x="1536824" y="6448463"/>
                </a:cubicBezTo>
                <a:lnTo>
                  <a:pt x="1547498" y="6447486"/>
                </a:lnTo>
                <a:cubicBezTo>
                  <a:pt x="1547312" y="6441254"/>
                  <a:pt x="1545928" y="6435835"/>
                  <a:pt x="1543347" y="6431231"/>
                </a:cubicBezTo>
                <a:cubicBezTo>
                  <a:pt x="1540766" y="6426627"/>
                  <a:pt x="1537138" y="6423092"/>
                  <a:pt x="1532464" y="6420627"/>
                </a:cubicBezTo>
                <a:cubicBezTo>
                  <a:pt x="1527790" y="6418162"/>
                  <a:pt x="1522337" y="6416930"/>
                  <a:pt x="1516105" y="6416930"/>
                </a:cubicBezTo>
                <a:close/>
                <a:moveTo>
                  <a:pt x="999314" y="6416930"/>
                </a:moveTo>
                <a:cubicBezTo>
                  <a:pt x="991912" y="6416930"/>
                  <a:pt x="985208" y="6418919"/>
                  <a:pt x="979202" y="6422898"/>
                </a:cubicBezTo>
                <a:cubicBezTo>
                  <a:pt x="973197" y="6426877"/>
                  <a:pt x="968437" y="6432764"/>
                  <a:pt x="964922" y="6440560"/>
                </a:cubicBezTo>
                <a:cubicBezTo>
                  <a:pt x="961408" y="6448355"/>
                  <a:pt x="959650" y="6457884"/>
                  <a:pt x="959650" y="6469147"/>
                </a:cubicBezTo>
                <a:cubicBezTo>
                  <a:pt x="959650" y="6480549"/>
                  <a:pt x="961406" y="6490439"/>
                  <a:pt x="964918" y="6498816"/>
                </a:cubicBezTo>
                <a:cubicBezTo>
                  <a:pt x="968429" y="6507193"/>
                  <a:pt x="972940" y="6513278"/>
                  <a:pt x="978452" y="6517071"/>
                </a:cubicBezTo>
                <a:cubicBezTo>
                  <a:pt x="983963" y="6520864"/>
                  <a:pt x="990602" y="6522760"/>
                  <a:pt x="998369" y="6522760"/>
                </a:cubicBezTo>
                <a:cubicBezTo>
                  <a:pt x="1007205" y="6522760"/>
                  <a:pt x="1014705" y="6519935"/>
                  <a:pt x="1020867" y="6514284"/>
                </a:cubicBezTo>
                <a:cubicBezTo>
                  <a:pt x="1027030" y="6508633"/>
                  <a:pt x="1031344" y="6500064"/>
                  <a:pt x="1033809" y="6488576"/>
                </a:cubicBezTo>
                <a:lnTo>
                  <a:pt x="1022646" y="6485158"/>
                </a:lnTo>
                <a:cubicBezTo>
                  <a:pt x="1021158" y="6493902"/>
                  <a:pt x="1018216" y="6500424"/>
                  <a:pt x="1013821" y="6504727"/>
                </a:cubicBezTo>
                <a:cubicBezTo>
                  <a:pt x="1009426" y="6509029"/>
                  <a:pt x="1004206" y="6511180"/>
                  <a:pt x="998160" y="6511180"/>
                </a:cubicBezTo>
                <a:cubicBezTo>
                  <a:pt x="989974" y="6511180"/>
                  <a:pt x="983416" y="6507677"/>
                  <a:pt x="978486" y="6500672"/>
                </a:cubicBezTo>
                <a:cubicBezTo>
                  <a:pt x="973556" y="6493666"/>
                  <a:pt x="971092" y="6483158"/>
                  <a:pt x="971092" y="6469146"/>
                </a:cubicBezTo>
                <a:cubicBezTo>
                  <a:pt x="971092" y="6459884"/>
                  <a:pt x="972314" y="6452227"/>
                  <a:pt x="974759" y="6446176"/>
                </a:cubicBezTo>
                <a:cubicBezTo>
                  <a:pt x="977204" y="6440124"/>
                  <a:pt x="980476" y="6435667"/>
                  <a:pt x="984574" y="6432805"/>
                </a:cubicBezTo>
                <a:cubicBezTo>
                  <a:pt x="988673" y="6429942"/>
                  <a:pt x="993517" y="6428510"/>
                  <a:pt x="999106" y="6428510"/>
                </a:cubicBezTo>
                <a:cubicBezTo>
                  <a:pt x="1010330" y="6428510"/>
                  <a:pt x="1017805" y="6435603"/>
                  <a:pt x="1021530" y="6449788"/>
                </a:cubicBezTo>
                <a:lnTo>
                  <a:pt x="1032413" y="6446649"/>
                </a:lnTo>
                <a:cubicBezTo>
                  <a:pt x="1030086" y="6436904"/>
                  <a:pt x="1026012" y="6429515"/>
                  <a:pt x="1020193" y="6424481"/>
                </a:cubicBezTo>
                <a:cubicBezTo>
                  <a:pt x="1014374" y="6419447"/>
                  <a:pt x="1007414" y="6416930"/>
                  <a:pt x="999314" y="6416930"/>
                </a:cubicBezTo>
                <a:close/>
                <a:moveTo>
                  <a:pt x="11136920" y="6415084"/>
                </a:moveTo>
                <a:cubicBezTo>
                  <a:pt x="11166990" y="6415084"/>
                  <a:pt x="11180757" y="6429263"/>
                  <a:pt x="11180757" y="6458741"/>
                </a:cubicBezTo>
                <a:cubicBezTo>
                  <a:pt x="11180757" y="6488218"/>
                  <a:pt x="11166990" y="6502397"/>
                  <a:pt x="11136920" y="6502397"/>
                </a:cubicBezTo>
                <a:cubicBezTo>
                  <a:pt x="11106487" y="6502397"/>
                  <a:pt x="11093445" y="6488218"/>
                  <a:pt x="11093445" y="6457621"/>
                </a:cubicBezTo>
                <a:cubicBezTo>
                  <a:pt x="11093445" y="6429263"/>
                  <a:pt x="11107574" y="6415084"/>
                  <a:pt x="11136920" y="6415084"/>
                </a:cubicBezTo>
                <a:close/>
                <a:moveTo>
                  <a:pt x="11241084" y="6397622"/>
                </a:moveTo>
                <a:lnTo>
                  <a:pt x="11241084" y="6521447"/>
                </a:lnTo>
                <a:lnTo>
                  <a:pt x="11276259" y="6521447"/>
                </a:lnTo>
                <a:lnTo>
                  <a:pt x="11274446" y="6427562"/>
                </a:lnTo>
                <a:lnTo>
                  <a:pt x="11344433" y="6521447"/>
                </a:lnTo>
                <a:lnTo>
                  <a:pt x="11383959" y="6521447"/>
                </a:lnTo>
                <a:lnTo>
                  <a:pt x="11383959" y="6397622"/>
                </a:lnTo>
                <a:lnTo>
                  <a:pt x="11349147" y="6397622"/>
                </a:lnTo>
                <a:lnTo>
                  <a:pt x="11350597" y="6486702"/>
                </a:lnTo>
                <a:lnTo>
                  <a:pt x="11284237" y="6397622"/>
                </a:lnTo>
                <a:close/>
                <a:moveTo>
                  <a:pt x="10998196" y="6397622"/>
                </a:moveTo>
                <a:lnTo>
                  <a:pt x="10998196" y="6521447"/>
                </a:lnTo>
                <a:lnTo>
                  <a:pt x="11033121" y="6521447"/>
                </a:lnTo>
                <a:lnTo>
                  <a:pt x="11033121" y="6397622"/>
                </a:lnTo>
                <a:close/>
                <a:moveTo>
                  <a:pt x="10760071" y="6397622"/>
                </a:moveTo>
                <a:lnTo>
                  <a:pt x="10760071" y="6521447"/>
                </a:lnTo>
                <a:lnTo>
                  <a:pt x="10794996" y="6521447"/>
                </a:lnTo>
                <a:lnTo>
                  <a:pt x="10794996" y="6397622"/>
                </a:lnTo>
                <a:close/>
                <a:moveTo>
                  <a:pt x="10637569" y="6397622"/>
                </a:moveTo>
                <a:cubicBezTo>
                  <a:pt x="10599162" y="6397622"/>
                  <a:pt x="10580684" y="6408341"/>
                  <a:pt x="10580684" y="6435324"/>
                </a:cubicBezTo>
                <a:cubicBezTo>
                  <a:pt x="10580684" y="6460459"/>
                  <a:pt x="10597713" y="6471178"/>
                  <a:pt x="10634670" y="6471178"/>
                </a:cubicBezTo>
                <a:lnTo>
                  <a:pt x="10674888" y="6471178"/>
                </a:lnTo>
                <a:cubicBezTo>
                  <a:pt x="10691555" y="6471178"/>
                  <a:pt x="10699163" y="6474135"/>
                  <a:pt x="10699163" y="6485224"/>
                </a:cubicBezTo>
                <a:cubicBezTo>
                  <a:pt x="10699163" y="6495943"/>
                  <a:pt x="10690830" y="6499270"/>
                  <a:pt x="10672714" y="6499270"/>
                </a:cubicBezTo>
                <a:lnTo>
                  <a:pt x="10587206" y="6499270"/>
                </a:lnTo>
                <a:lnTo>
                  <a:pt x="10587206" y="6521447"/>
                </a:lnTo>
                <a:lnTo>
                  <a:pt x="10678149" y="6521447"/>
                </a:lnTo>
                <a:cubicBezTo>
                  <a:pt x="10716555" y="6521447"/>
                  <a:pt x="10734671" y="6510358"/>
                  <a:pt x="10734671" y="6484115"/>
                </a:cubicBezTo>
                <a:cubicBezTo>
                  <a:pt x="10734671" y="6458241"/>
                  <a:pt x="10719091" y="6449370"/>
                  <a:pt x="10683221" y="6449370"/>
                </a:cubicBezTo>
                <a:lnTo>
                  <a:pt x="10637931" y="6449370"/>
                </a:lnTo>
                <a:cubicBezTo>
                  <a:pt x="10623800" y="6449370"/>
                  <a:pt x="10616554" y="6444934"/>
                  <a:pt x="10616554" y="6435694"/>
                </a:cubicBezTo>
                <a:cubicBezTo>
                  <a:pt x="10616554" y="6424235"/>
                  <a:pt x="10624887" y="6419430"/>
                  <a:pt x="10642641" y="6419430"/>
                </a:cubicBezTo>
                <a:lnTo>
                  <a:pt x="10726700" y="6419430"/>
                </a:lnTo>
                <a:lnTo>
                  <a:pt x="10726700" y="6397622"/>
                </a:lnTo>
                <a:close/>
                <a:moveTo>
                  <a:pt x="10413996" y="6397622"/>
                </a:moveTo>
                <a:lnTo>
                  <a:pt x="10413996" y="6521447"/>
                </a:lnTo>
                <a:lnTo>
                  <a:pt x="10448897" y="6521447"/>
                </a:lnTo>
                <a:lnTo>
                  <a:pt x="10447443" y="6427562"/>
                </a:lnTo>
                <a:lnTo>
                  <a:pt x="10517608" y="6521447"/>
                </a:lnTo>
                <a:lnTo>
                  <a:pt x="10556871" y="6521447"/>
                </a:lnTo>
                <a:lnTo>
                  <a:pt x="10556871" y="6397622"/>
                </a:lnTo>
                <a:lnTo>
                  <a:pt x="10522334" y="6397622"/>
                </a:lnTo>
                <a:lnTo>
                  <a:pt x="10523788" y="6486702"/>
                </a:lnTo>
                <a:lnTo>
                  <a:pt x="10457258" y="6397622"/>
                </a:lnTo>
                <a:close/>
                <a:moveTo>
                  <a:pt x="10327466" y="6397622"/>
                </a:moveTo>
                <a:cubicBezTo>
                  <a:pt x="10276126" y="6397622"/>
                  <a:pt x="10252071" y="6417952"/>
                  <a:pt x="10252071" y="6461568"/>
                </a:cubicBezTo>
                <a:cubicBezTo>
                  <a:pt x="10252071" y="6484115"/>
                  <a:pt x="10259970" y="6500379"/>
                  <a:pt x="10276844" y="6510358"/>
                </a:cubicBezTo>
                <a:cubicBezTo>
                  <a:pt x="10292282" y="6520338"/>
                  <a:pt x="10307361" y="6521447"/>
                  <a:pt x="10326748" y="6521447"/>
                </a:cubicBezTo>
                <a:lnTo>
                  <a:pt x="10383833" y="6521447"/>
                </a:lnTo>
                <a:lnTo>
                  <a:pt x="10383833" y="6499639"/>
                </a:lnTo>
                <a:lnTo>
                  <a:pt x="10328184" y="6499639"/>
                </a:lnTo>
                <a:cubicBezTo>
                  <a:pt x="10301616" y="6499639"/>
                  <a:pt x="10290128" y="6491877"/>
                  <a:pt x="10290128" y="6469330"/>
                </a:cubicBezTo>
                <a:lnTo>
                  <a:pt x="10383833" y="6469330"/>
                </a:lnTo>
                <a:lnTo>
                  <a:pt x="10383833" y="6447892"/>
                </a:lnTo>
                <a:lnTo>
                  <a:pt x="10290128" y="6447892"/>
                </a:lnTo>
                <a:cubicBezTo>
                  <a:pt x="10291564" y="6428301"/>
                  <a:pt x="10303771" y="6419061"/>
                  <a:pt x="10328184" y="6419061"/>
                </a:cubicBezTo>
                <a:lnTo>
                  <a:pt x="10383833" y="6419061"/>
                </a:lnTo>
                <a:lnTo>
                  <a:pt x="10383833" y="6397622"/>
                </a:lnTo>
                <a:close/>
                <a:moveTo>
                  <a:pt x="10139094" y="6397622"/>
                </a:moveTo>
                <a:cubicBezTo>
                  <a:pt x="10100325" y="6397622"/>
                  <a:pt x="10082209" y="6408341"/>
                  <a:pt x="10082209" y="6435324"/>
                </a:cubicBezTo>
                <a:cubicBezTo>
                  <a:pt x="10082209" y="6460459"/>
                  <a:pt x="10099238" y="6471178"/>
                  <a:pt x="10136195" y="6471178"/>
                </a:cubicBezTo>
                <a:lnTo>
                  <a:pt x="10176413" y="6471178"/>
                </a:lnTo>
                <a:cubicBezTo>
                  <a:pt x="10192717" y="6471178"/>
                  <a:pt x="10200326" y="6474135"/>
                  <a:pt x="10200326" y="6485224"/>
                </a:cubicBezTo>
                <a:cubicBezTo>
                  <a:pt x="10200326" y="6495943"/>
                  <a:pt x="10191993" y="6499270"/>
                  <a:pt x="10173877" y="6499270"/>
                </a:cubicBezTo>
                <a:lnTo>
                  <a:pt x="10088731" y="6499270"/>
                </a:lnTo>
                <a:lnTo>
                  <a:pt x="10088731" y="6521447"/>
                </a:lnTo>
                <a:lnTo>
                  <a:pt x="10179311" y="6521447"/>
                </a:lnTo>
                <a:cubicBezTo>
                  <a:pt x="10217718" y="6521447"/>
                  <a:pt x="10236196" y="6510358"/>
                  <a:pt x="10236196" y="6484115"/>
                </a:cubicBezTo>
                <a:cubicBezTo>
                  <a:pt x="10236196" y="6458241"/>
                  <a:pt x="10220616" y="6449370"/>
                  <a:pt x="10184384" y="6449370"/>
                </a:cubicBezTo>
                <a:lnTo>
                  <a:pt x="10139456" y="6449370"/>
                </a:lnTo>
                <a:cubicBezTo>
                  <a:pt x="10124963" y="6449370"/>
                  <a:pt x="10117717" y="6444934"/>
                  <a:pt x="10117717" y="6435694"/>
                </a:cubicBezTo>
                <a:cubicBezTo>
                  <a:pt x="10117717" y="6424235"/>
                  <a:pt x="10126050" y="6419430"/>
                  <a:pt x="10144166" y="6419430"/>
                </a:cubicBezTo>
                <a:lnTo>
                  <a:pt x="10228225" y="6419430"/>
                </a:lnTo>
                <a:lnTo>
                  <a:pt x="10228225" y="6397622"/>
                </a:lnTo>
                <a:close/>
                <a:moveTo>
                  <a:pt x="10828333" y="6397621"/>
                </a:moveTo>
                <a:lnTo>
                  <a:pt x="10828333" y="6521446"/>
                </a:lnTo>
                <a:lnTo>
                  <a:pt x="10862629" y="6521446"/>
                </a:lnTo>
                <a:lnTo>
                  <a:pt x="10862629" y="6472655"/>
                </a:lnTo>
                <a:lnTo>
                  <a:pt x="10903128" y="6472655"/>
                </a:lnTo>
                <a:lnTo>
                  <a:pt x="10938884" y="6521446"/>
                </a:lnTo>
                <a:lnTo>
                  <a:pt x="10977558" y="6521446"/>
                </a:lnTo>
                <a:lnTo>
                  <a:pt x="10937059" y="6469698"/>
                </a:lnTo>
                <a:cubicBezTo>
                  <a:pt x="10958221" y="6466002"/>
                  <a:pt x="10969896" y="6453805"/>
                  <a:pt x="10969896" y="6434584"/>
                </a:cubicBezTo>
                <a:cubicBezTo>
                  <a:pt x="10969896" y="6408710"/>
                  <a:pt x="10951653" y="6397621"/>
                  <a:pt x="10912979" y="6397621"/>
                </a:cubicBezTo>
                <a:close/>
                <a:moveTo>
                  <a:pt x="11137895" y="6394446"/>
                </a:moveTo>
                <a:cubicBezTo>
                  <a:pt x="11083436" y="6394446"/>
                  <a:pt x="11056933" y="6415079"/>
                  <a:pt x="11056933" y="6457451"/>
                </a:cubicBezTo>
                <a:cubicBezTo>
                  <a:pt x="11056933" y="6502401"/>
                  <a:pt x="11081984" y="6523034"/>
                  <a:pt x="11137895" y="6523034"/>
                </a:cubicBezTo>
                <a:cubicBezTo>
                  <a:pt x="11193081" y="6523034"/>
                  <a:pt x="11218858" y="6502401"/>
                  <a:pt x="11218858" y="6458556"/>
                </a:cubicBezTo>
                <a:cubicBezTo>
                  <a:pt x="11218858" y="6415079"/>
                  <a:pt x="11193081" y="6394446"/>
                  <a:pt x="11137895" y="6394446"/>
                </a:cubicBezTo>
                <a:close/>
                <a:moveTo>
                  <a:pt x="0" y="0"/>
                </a:moveTo>
                <a:lnTo>
                  <a:pt x="12191996" y="0"/>
                </a:lnTo>
                <a:lnTo>
                  <a:pt x="12191996" y="6857997"/>
                </a:lnTo>
                <a:lnTo>
                  <a:pt x="0" y="6857997"/>
                </a:lnTo>
                <a:lnTo>
                  <a:pt x="0" y="6237283"/>
                </a:lnTo>
                <a:lnTo>
                  <a:pt x="6095995" y="6237283"/>
                </a:lnTo>
                <a:lnTo>
                  <a:pt x="6095995" y="3138970"/>
                </a:lnTo>
                <a:lnTo>
                  <a:pt x="0" y="3138970"/>
                </a:lnTo>
                <a:close/>
              </a:path>
            </a:pathLst>
          </a:custGeom>
          <a:noFill/>
        </p:spPr>
        <p:txBody>
          <a:bodyPr wrap="square">
            <a:noAutofit/>
          </a:bodyPr>
          <a:lstStyle>
            <a:lvl1pPr algn="ctr">
              <a:defRPr/>
            </a:lvl1pPr>
          </a:lstStyle>
          <a:p>
            <a:r>
              <a:rPr lang="en-US"/>
              <a:t>Click icon to add picture</a:t>
            </a:r>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a:t>Add </a:t>
            </a:r>
            <a:r>
              <a:rPr lang="en-US" noProof="0"/>
              <a:t>Title</a:t>
            </a:r>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a:t>Add Title </a:t>
            </a:r>
          </a:p>
        </p:txBody>
      </p:sp>
    </p:spTree>
    <p:extLst>
      <p:ext uri="{BB962C8B-B14F-4D97-AF65-F5344CB8AC3E}">
        <p14:creationId xmlns:p14="http://schemas.microsoft.com/office/powerpoint/2010/main" val="33756412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8BFFA3EC-C47B-497D-85D5-07C3889E9073}"/>
              </a:ext>
            </a:extLst>
          </p:cNvPr>
          <p:cNvGrpSpPr/>
          <p:nvPr userDrawn="1"/>
        </p:nvGrpSpPr>
        <p:grpSpPr>
          <a:xfrm>
            <a:off x="731952" y="3141662"/>
            <a:ext cx="11460049" cy="3555700"/>
            <a:chOff x="731952" y="3141662"/>
            <a:chExt cx="11460049" cy="3555700"/>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96000" y="3141662"/>
              <a:ext cx="6096001" cy="3095625"/>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9" name="Bildplatzhalter 58">
            <a:extLst>
              <a:ext uri="{FF2B5EF4-FFF2-40B4-BE49-F238E27FC236}">
                <a16:creationId xmlns:a16="http://schemas.microsoft.com/office/drawing/2014/main" id="{A620675F-9407-4B72-9C29-9BA6F96CCDF1}"/>
              </a:ext>
            </a:extLst>
          </p:cNvPr>
          <p:cNvSpPr>
            <a:spLocks noGrp="1"/>
          </p:cNvSpPr>
          <p:nvPr userDrawn="1">
            <p:ph type="pic" sz="quarter" idx="14"/>
          </p:nvPr>
        </p:nvSpPr>
        <p:spPr>
          <a:xfrm>
            <a:off x="5" y="5"/>
            <a:ext cx="12191996" cy="6857997"/>
          </a:xfrm>
          <a:custGeom>
            <a:avLst/>
            <a:gdLst>
              <a:gd name="connsiteX0" fmla="*/ 11197257 w 12191996"/>
              <a:gd name="connsiteY0" fmla="*/ 6583359 h 6857997"/>
              <a:gd name="connsiteX1" fmla="*/ 11207745 w 12191996"/>
              <a:gd name="connsiteY1" fmla="*/ 6602409 h 6857997"/>
              <a:gd name="connsiteX2" fmla="*/ 11187108 w 12191996"/>
              <a:gd name="connsiteY2" fmla="*/ 6602409 h 6857997"/>
              <a:gd name="connsiteX3" fmla="*/ 11114083 w 12191996"/>
              <a:gd name="connsiteY3" fmla="*/ 6583359 h 6857997"/>
              <a:gd name="connsiteX4" fmla="*/ 11131338 w 12191996"/>
              <a:gd name="connsiteY4" fmla="*/ 6583359 h 6857997"/>
              <a:gd name="connsiteX5" fmla="*/ 11145833 w 12191996"/>
              <a:gd name="connsiteY5" fmla="*/ 6589709 h 6857997"/>
              <a:gd name="connsiteX6" fmla="*/ 11132374 w 12191996"/>
              <a:gd name="connsiteY6" fmla="*/ 6596059 h 6857997"/>
              <a:gd name="connsiteX7" fmla="*/ 11114083 w 12191996"/>
              <a:gd name="connsiteY7" fmla="*/ 6596059 h 6857997"/>
              <a:gd name="connsiteX8" fmla="*/ 10745783 w 12191996"/>
              <a:gd name="connsiteY8" fmla="*/ 6583359 h 6857997"/>
              <a:gd name="connsiteX9" fmla="*/ 10765350 w 12191996"/>
              <a:gd name="connsiteY9" fmla="*/ 6583359 h 6857997"/>
              <a:gd name="connsiteX10" fmla="*/ 10779120 w 12191996"/>
              <a:gd name="connsiteY10" fmla="*/ 6588747 h 6857997"/>
              <a:gd name="connsiteX11" fmla="*/ 10765350 w 12191996"/>
              <a:gd name="connsiteY11" fmla="*/ 6594472 h 6857997"/>
              <a:gd name="connsiteX12" fmla="*/ 10745783 w 12191996"/>
              <a:gd name="connsiteY12" fmla="*/ 6594472 h 6857997"/>
              <a:gd name="connsiteX13" fmla="*/ 10949955 w 12191996"/>
              <a:gd name="connsiteY13" fmla="*/ 6581771 h 6857997"/>
              <a:gd name="connsiteX14" fmla="*/ 10969620 w 12191996"/>
              <a:gd name="connsiteY14" fmla="*/ 6598623 h 6857997"/>
              <a:gd name="connsiteX15" fmla="*/ 10949955 w 12191996"/>
              <a:gd name="connsiteY15" fmla="*/ 6615109 h 6857997"/>
              <a:gd name="connsiteX16" fmla="*/ 10929933 w 12191996"/>
              <a:gd name="connsiteY16" fmla="*/ 6598257 h 6857997"/>
              <a:gd name="connsiteX17" fmla="*/ 10949955 w 12191996"/>
              <a:gd name="connsiteY17" fmla="*/ 6581771 h 6857997"/>
              <a:gd name="connsiteX18" fmla="*/ 10682898 w 12191996"/>
              <a:gd name="connsiteY18" fmla="*/ 6581771 h 6857997"/>
              <a:gd name="connsiteX19" fmla="*/ 10702920 w 12191996"/>
              <a:gd name="connsiteY19" fmla="*/ 6598623 h 6857997"/>
              <a:gd name="connsiteX20" fmla="*/ 10682898 w 12191996"/>
              <a:gd name="connsiteY20" fmla="*/ 6615109 h 6857997"/>
              <a:gd name="connsiteX21" fmla="*/ 10663233 w 12191996"/>
              <a:gd name="connsiteY21" fmla="*/ 6598257 h 6857997"/>
              <a:gd name="connsiteX22" fmla="*/ 10682898 w 12191996"/>
              <a:gd name="connsiteY22" fmla="*/ 6581771 h 6857997"/>
              <a:gd name="connsiteX23" fmla="*/ 11312520 w 12191996"/>
              <a:gd name="connsiteY23" fmla="*/ 6573834 h 6857997"/>
              <a:gd name="connsiteX24" fmla="*/ 11341079 w 12191996"/>
              <a:gd name="connsiteY24" fmla="*/ 6601258 h 6857997"/>
              <a:gd name="connsiteX25" fmla="*/ 11341079 w 12191996"/>
              <a:gd name="connsiteY25" fmla="*/ 6623047 h 6857997"/>
              <a:gd name="connsiteX26" fmla="*/ 11356624 w 12191996"/>
              <a:gd name="connsiteY26" fmla="*/ 6623047 h 6857997"/>
              <a:gd name="connsiteX27" fmla="*/ 11356624 w 12191996"/>
              <a:gd name="connsiteY27" fmla="*/ 6601258 h 6857997"/>
              <a:gd name="connsiteX28" fmla="*/ 11385545 w 12191996"/>
              <a:gd name="connsiteY28" fmla="*/ 6573834 h 6857997"/>
              <a:gd name="connsiteX29" fmla="*/ 11367470 w 12191996"/>
              <a:gd name="connsiteY29" fmla="*/ 6573834 h 6857997"/>
              <a:gd name="connsiteX30" fmla="*/ 11348671 w 12191996"/>
              <a:gd name="connsiteY30" fmla="*/ 6592618 h 6857997"/>
              <a:gd name="connsiteX31" fmla="*/ 11330234 w 12191996"/>
              <a:gd name="connsiteY31" fmla="*/ 6573834 h 6857997"/>
              <a:gd name="connsiteX32" fmla="*/ 11242670 w 12191996"/>
              <a:gd name="connsiteY32" fmla="*/ 6573834 h 6857997"/>
              <a:gd name="connsiteX33" fmla="*/ 11242670 w 12191996"/>
              <a:gd name="connsiteY33" fmla="*/ 6623047 h 6857997"/>
              <a:gd name="connsiteX34" fmla="*/ 11259156 w 12191996"/>
              <a:gd name="connsiteY34" fmla="*/ 6623047 h 6857997"/>
              <a:gd name="connsiteX35" fmla="*/ 11258423 w 12191996"/>
              <a:gd name="connsiteY35" fmla="*/ 6585856 h 6857997"/>
              <a:gd name="connsiteX36" fmla="*/ 11291028 w 12191996"/>
              <a:gd name="connsiteY36" fmla="*/ 6623047 h 6857997"/>
              <a:gd name="connsiteX37" fmla="*/ 11309345 w 12191996"/>
              <a:gd name="connsiteY37" fmla="*/ 6623047 h 6857997"/>
              <a:gd name="connsiteX38" fmla="*/ 11309345 w 12191996"/>
              <a:gd name="connsiteY38" fmla="*/ 6573834 h 6857997"/>
              <a:gd name="connsiteX39" fmla="*/ 11293226 w 12191996"/>
              <a:gd name="connsiteY39" fmla="*/ 6573834 h 6857997"/>
              <a:gd name="connsiteX40" fmla="*/ 11293958 w 12191996"/>
              <a:gd name="connsiteY40" fmla="*/ 6609147 h 6857997"/>
              <a:gd name="connsiteX41" fmla="*/ 11262819 w 12191996"/>
              <a:gd name="connsiteY41" fmla="*/ 6573834 h 6857997"/>
              <a:gd name="connsiteX42" fmla="*/ 11189997 w 12191996"/>
              <a:gd name="connsiteY42" fmla="*/ 6573834 h 6857997"/>
              <a:gd name="connsiteX43" fmla="*/ 11158533 w 12191996"/>
              <a:gd name="connsiteY43" fmla="*/ 6623047 h 6857997"/>
              <a:gd name="connsiteX44" fmla="*/ 11174980 w 12191996"/>
              <a:gd name="connsiteY44" fmla="*/ 6623047 h 6857997"/>
              <a:gd name="connsiteX45" fmla="*/ 11181773 w 12191996"/>
              <a:gd name="connsiteY45" fmla="*/ 6611401 h 6857997"/>
              <a:gd name="connsiteX46" fmla="*/ 11213595 w 12191996"/>
              <a:gd name="connsiteY46" fmla="*/ 6611401 h 6857997"/>
              <a:gd name="connsiteX47" fmla="*/ 11220388 w 12191996"/>
              <a:gd name="connsiteY47" fmla="*/ 6623047 h 6857997"/>
              <a:gd name="connsiteX48" fmla="*/ 11237908 w 12191996"/>
              <a:gd name="connsiteY48" fmla="*/ 6623047 h 6857997"/>
              <a:gd name="connsiteX49" fmla="*/ 11206444 w 12191996"/>
              <a:gd name="connsiteY49" fmla="*/ 6573834 h 6857997"/>
              <a:gd name="connsiteX50" fmla="*/ 11098208 w 12191996"/>
              <a:gd name="connsiteY50" fmla="*/ 6573834 h 6857997"/>
              <a:gd name="connsiteX51" fmla="*/ 11098208 w 12191996"/>
              <a:gd name="connsiteY51" fmla="*/ 6623047 h 6857997"/>
              <a:gd name="connsiteX52" fmla="*/ 11113502 w 12191996"/>
              <a:gd name="connsiteY52" fmla="*/ 6623047 h 6857997"/>
              <a:gd name="connsiteX53" fmla="*/ 11113502 w 12191996"/>
              <a:gd name="connsiteY53" fmla="*/ 6605766 h 6857997"/>
              <a:gd name="connsiteX54" fmla="*/ 11132352 w 12191996"/>
              <a:gd name="connsiteY54" fmla="*/ 6605766 h 6857997"/>
              <a:gd name="connsiteX55" fmla="*/ 11154759 w 12191996"/>
              <a:gd name="connsiteY55" fmla="*/ 6602761 h 6857997"/>
              <a:gd name="connsiteX56" fmla="*/ 11163295 w 12191996"/>
              <a:gd name="connsiteY56" fmla="*/ 6589988 h 6857997"/>
              <a:gd name="connsiteX57" fmla="*/ 11153336 w 12191996"/>
              <a:gd name="connsiteY57" fmla="*/ 6576464 h 6857997"/>
              <a:gd name="connsiteX58" fmla="*/ 11131641 w 12191996"/>
              <a:gd name="connsiteY58" fmla="*/ 6573834 h 6857997"/>
              <a:gd name="connsiteX59" fmla="*/ 10998195 w 12191996"/>
              <a:gd name="connsiteY59" fmla="*/ 6573834 h 6857997"/>
              <a:gd name="connsiteX60" fmla="*/ 10998195 w 12191996"/>
              <a:gd name="connsiteY60" fmla="*/ 6623047 h 6857997"/>
              <a:gd name="connsiteX61" fmla="*/ 11014084 w 12191996"/>
              <a:gd name="connsiteY61" fmla="*/ 6623047 h 6857997"/>
              <a:gd name="connsiteX62" fmla="*/ 11012639 w 12191996"/>
              <a:gd name="connsiteY62" fmla="*/ 6584353 h 6857997"/>
              <a:gd name="connsiteX63" fmla="*/ 11032500 w 12191996"/>
              <a:gd name="connsiteY63" fmla="*/ 6623047 h 6857997"/>
              <a:gd name="connsiteX64" fmla="*/ 11049111 w 12191996"/>
              <a:gd name="connsiteY64" fmla="*/ 6623047 h 6857997"/>
              <a:gd name="connsiteX65" fmla="*/ 11068249 w 12191996"/>
              <a:gd name="connsiteY65" fmla="*/ 6584729 h 6857997"/>
              <a:gd name="connsiteX66" fmla="*/ 11066805 w 12191996"/>
              <a:gd name="connsiteY66" fmla="*/ 6623047 h 6857997"/>
              <a:gd name="connsiteX67" fmla="*/ 11082332 w 12191996"/>
              <a:gd name="connsiteY67" fmla="*/ 6623047 h 6857997"/>
              <a:gd name="connsiteX68" fmla="*/ 11082332 w 12191996"/>
              <a:gd name="connsiteY68" fmla="*/ 6573834 h 6857997"/>
              <a:gd name="connsiteX69" fmla="*/ 11059221 w 12191996"/>
              <a:gd name="connsiteY69" fmla="*/ 6573834 h 6857997"/>
              <a:gd name="connsiteX70" fmla="*/ 11040444 w 12191996"/>
              <a:gd name="connsiteY70" fmla="*/ 6611401 h 6857997"/>
              <a:gd name="connsiteX71" fmla="*/ 11021306 w 12191996"/>
              <a:gd name="connsiteY71" fmla="*/ 6573834 h 6857997"/>
              <a:gd name="connsiteX72" fmla="*/ 10949776 w 12191996"/>
              <a:gd name="connsiteY72" fmla="*/ 6573834 h 6857997"/>
              <a:gd name="connsiteX73" fmla="*/ 10912470 w 12191996"/>
              <a:gd name="connsiteY73" fmla="*/ 6597717 h 6857997"/>
              <a:gd name="connsiteX74" fmla="*/ 10949776 w 12191996"/>
              <a:gd name="connsiteY74" fmla="*/ 6623047 h 6857997"/>
              <a:gd name="connsiteX75" fmla="*/ 10987082 w 12191996"/>
              <a:gd name="connsiteY75" fmla="*/ 6598441 h 6857997"/>
              <a:gd name="connsiteX76" fmla="*/ 10949776 w 12191996"/>
              <a:gd name="connsiteY76" fmla="*/ 6573834 h 6857997"/>
              <a:gd name="connsiteX77" fmla="*/ 10879898 w 12191996"/>
              <a:gd name="connsiteY77" fmla="*/ 6573834 h 6857997"/>
              <a:gd name="connsiteX78" fmla="*/ 10844208 w 12191996"/>
              <a:gd name="connsiteY78" fmla="*/ 6599380 h 6857997"/>
              <a:gd name="connsiteX79" fmla="*/ 10855862 w 12191996"/>
              <a:gd name="connsiteY79" fmla="*/ 6618539 h 6857997"/>
              <a:gd name="connsiteX80" fmla="*/ 10879170 w 12191996"/>
              <a:gd name="connsiteY80" fmla="*/ 6623047 h 6857997"/>
              <a:gd name="connsiteX81" fmla="*/ 10906120 w 12191996"/>
              <a:gd name="connsiteY81" fmla="*/ 6623047 h 6857997"/>
              <a:gd name="connsiteX82" fmla="*/ 10906120 w 12191996"/>
              <a:gd name="connsiteY82" fmla="*/ 6614407 h 6857997"/>
              <a:gd name="connsiteX83" fmla="*/ 10879898 w 12191996"/>
              <a:gd name="connsiteY83" fmla="*/ 6614407 h 6857997"/>
              <a:gd name="connsiteX84" fmla="*/ 10861689 w 12191996"/>
              <a:gd name="connsiteY84" fmla="*/ 6599756 h 6857997"/>
              <a:gd name="connsiteX85" fmla="*/ 10879898 w 12191996"/>
              <a:gd name="connsiteY85" fmla="*/ 6582475 h 6857997"/>
              <a:gd name="connsiteX86" fmla="*/ 10906120 w 12191996"/>
              <a:gd name="connsiteY86" fmla="*/ 6582475 h 6857997"/>
              <a:gd name="connsiteX87" fmla="*/ 10906120 w 12191996"/>
              <a:gd name="connsiteY87" fmla="*/ 6573834 h 6857997"/>
              <a:gd name="connsiteX88" fmla="*/ 10729908 w 12191996"/>
              <a:gd name="connsiteY88" fmla="*/ 6573834 h 6857997"/>
              <a:gd name="connsiteX89" fmla="*/ 10729908 w 12191996"/>
              <a:gd name="connsiteY89" fmla="*/ 6623047 h 6857997"/>
              <a:gd name="connsiteX90" fmla="*/ 10745800 w 12191996"/>
              <a:gd name="connsiteY90" fmla="*/ 6623047 h 6857997"/>
              <a:gd name="connsiteX91" fmla="*/ 10745800 w 12191996"/>
              <a:gd name="connsiteY91" fmla="*/ 6603888 h 6857997"/>
              <a:gd name="connsiteX92" fmla="*/ 10765018 w 12191996"/>
              <a:gd name="connsiteY92" fmla="*/ 6603888 h 6857997"/>
              <a:gd name="connsiteX93" fmla="*/ 10781649 w 12191996"/>
              <a:gd name="connsiteY93" fmla="*/ 6623047 h 6857997"/>
              <a:gd name="connsiteX94" fmla="*/ 10799758 w 12191996"/>
              <a:gd name="connsiteY94" fmla="*/ 6623047 h 6857997"/>
              <a:gd name="connsiteX95" fmla="*/ 10780910 w 12191996"/>
              <a:gd name="connsiteY95" fmla="*/ 6602385 h 6857997"/>
              <a:gd name="connsiteX96" fmla="*/ 10796062 w 12191996"/>
              <a:gd name="connsiteY96" fmla="*/ 6588861 h 6857997"/>
              <a:gd name="connsiteX97" fmla="*/ 10769453 w 12191996"/>
              <a:gd name="connsiteY97" fmla="*/ 6573834 h 6857997"/>
              <a:gd name="connsiteX98" fmla="*/ 10683076 w 12191996"/>
              <a:gd name="connsiteY98" fmla="*/ 6573834 h 6857997"/>
              <a:gd name="connsiteX99" fmla="*/ 10645770 w 12191996"/>
              <a:gd name="connsiteY99" fmla="*/ 6597717 h 6857997"/>
              <a:gd name="connsiteX100" fmla="*/ 10683076 w 12191996"/>
              <a:gd name="connsiteY100" fmla="*/ 6623047 h 6857997"/>
              <a:gd name="connsiteX101" fmla="*/ 10720382 w 12191996"/>
              <a:gd name="connsiteY101" fmla="*/ 6598441 h 6857997"/>
              <a:gd name="connsiteX102" fmla="*/ 10683076 w 12191996"/>
              <a:gd name="connsiteY102" fmla="*/ 6573834 h 6857997"/>
              <a:gd name="connsiteX103" fmla="*/ 10593642 w 12191996"/>
              <a:gd name="connsiteY103" fmla="*/ 6573834 h 6857997"/>
              <a:gd name="connsiteX104" fmla="*/ 10567983 w 12191996"/>
              <a:gd name="connsiteY104" fmla="*/ 6588861 h 6857997"/>
              <a:gd name="connsiteX105" fmla="*/ 10592573 w 12191996"/>
              <a:gd name="connsiteY105" fmla="*/ 6603137 h 6857997"/>
              <a:gd name="connsiteX106" fmla="*/ 10610748 w 12191996"/>
              <a:gd name="connsiteY106" fmla="*/ 6603137 h 6857997"/>
              <a:gd name="connsiteX107" fmla="*/ 10621796 w 12191996"/>
              <a:gd name="connsiteY107" fmla="*/ 6608772 h 6857997"/>
              <a:gd name="connsiteX108" fmla="*/ 10609679 w 12191996"/>
              <a:gd name="connsiteY108" fmla="*/ 6614407 h 6857997"/>
              <a:gd name="connsiteX109" fmla="*/ 10570834 w 12191996"/>
              <a:gd name="connsiteY109" fmla="*/ 6614407 h 6857997"/>
              <a:gd name="connsiteX110" fmla="*/ 10570834 w 12191996"/>
              <a:gd name="connsiteY110" fmla="*/ 6623047 h 6857997"/>
              <a:gd name="connsiteX111" fmla="*/ 10612174 w 12191996"/>
              <a:gd name="connsiteY111" fmla="*/ 6623047 h 6857997"/>
              <a:gd name="connsiteX112" fmla="*/ 10637833 w 12191996"/>
              <a:gd name="connsiteY112" fmla="*/ 6608396 h 6857997"/>
              <a:gd name="connsiteX113" fmla="*/ 10614312 w 12191996"/>
              <a:gd name="connsiteY113" fmla="*/ 6594496 h 6857997"/>
              <a:gd name="connsiteX114" fmla="*/ 10593999 w 12191996"/>
              <a:gd name="connsiteY114" fmla="*/ 6594496 h 6857997"/>
              <a:gd name="connsiteX115" fmla="*/ 10584020 w 12191996"/>
              <a:gd name="connsiteY115" fmla="*/ 6589237 h 6857997"/>
              <a:gd name="connsiteX116" fmla="*/ 10596137 w 12191996"/>
              <a:gd name="connsiteY116" fmla="*/ 6582850 h 6857997"/>
              <a:gd name="connsiteX117" fmla="*/ 10634269 w 12191996"/>
              <a:gd name="connsiteY117" fmla="*/ 6582850 h 6857997"/>
              <a:gd name="connsiteX118" fmla="*/ 10634269 w 12191996"/>
              <a:gd name="connsiteY118" fmla="*/ 6573834 h 6857997"/>
              <a:gd name="connsiteX119" fmla="*/ 10490195 w 12191996"/>
              <a:gd name="connsiteY119" fmla="*/ 6573834 h 6857997"/>
              <a:gd name="connsiteX120" fmla="*/ 10490195 w 12191996"/>
              <a:gd name="connsiteY120" fmla="*/ 6623047 h 6857997"/>
              <a:gd name="connsiteX121" fmla="*/ 10506681 w 12191996"/>
              <a:gd name="connsiteY121" fmla="*/ 6623047 h 6857997"/>
              <a:gd name="connsiteX122" fmla="*/ 10505948 w 12191996"/>
              <a:gd name="connsiteY122" fmla="*/ 6585856 h 6857997"/>
              <a:gd name="connsiteX123" fmla="*/ 10538553 w 12191996"/>
              <a:gd name="connsiteY123" fmla="*/ 6623047 h 6857997"/>
              <a:gd name="connsiteX124" fmla="*/ 10556870 w 12191996"/>
              <a:gd name="connsiteY124" fmla="*/ 6623047 h 6857997"/>
              <a:gd name="connsiteX125" fmla="*/ 10556870 w 12191996"/>
              <a:gd name="connsiteY125" fmla="*/ 6573834 h 6857997"/>
              <a:gd name="connsiteX126" fmla="*/ 10540751 w 12191996"/>
              <a:gd name="connsiteY126" fmla="*/ 6573834 h 6857997"/>
              <a:gd name="connsiteX127" fmla="*/ 10541483 w 12191996"/>
              <a:gd name="connsiteY127" fmla="*/ 6609147 h 6857997"/>
              <a:gd name="connsiteX128" fmla="*/ 10510344 w 12191996"/>
              <a:gd name="connsiteY128" fmla="*/ 6573834 h 6857997"/>
              <a:gd name="connsiteX129" fmla="*/ 10450207 w 12191996"/>
              <a:gd name="connsiteY129" fmla="*/ 6573834 h 6857997"/>
              <a:gd name="connsiteX130" fmla="*/ 10415583 w 12191996"/>
              <a:gd name="connsiteY130" fmla="*/ 6599380 h 6857997"/>
              <a:gd name="connsiteX131" fmla="*/ 10427005 w 12191996"/>
              <a:gd name="connsiteY131" fmla="*/ 6618539 h 6857997"/>
              <a:gd name="connsiteX132" fmla="*/ 10449850 w 12191996"/>
              <a:gd name="connsiteY132" fmla="*/ 6623047 h 6857997"/>
              <a:gd name="connsiteX133" fmla="*/ 10475908 w 12191996"/>
              <a:gd name="connsiteY133" fmla="*/ 6623047 h 6857997"/>
              <a:gd name="connsiteX134" fmla="*/ 10475908 w 12191996"/>
              <a:gd name="connsiteY134" fmla="*/ 6614407 h 6857997"/>
              <a:gd name="connsiteX135" fmla="*/ 10450564 w 12191996"/>
              <a:gd name="connsiteY135" fmla="*/ 6614407 h 6857997"/>
              <a:gd name="connsiteX136" fmla="*/ 10433074 w 12191996"/>
              <a:gd name="connsiteY136" fmla="*/ 6602385 h 6857997"/>
              <a:gd name="connsiteX137" fmla="*/ 10475908 w 12191996"/>
              <a:gd name="connsiteY137" fmla="*/ 6602385 h 6857997"/>
              <a:gd name="connsiteX138" fmla="*/ 10475908 w 12191996"/>
              <a:gd name="connsiteY138" fmla="*/ 6593745 h 6857997"/>
              <a:gd name="connsiteX139" fmla="*/ 10433074 w 12191996"/>
              <a:gd name="connsiteY139" fmla="*/ 6593745 h 6857997"/>
              <a:gd name="connsiteX140" fmla="*/ 10450564 w 12191996"/>
              <a:gd name="connsiteY140" fmla="*/ 6582475 h 6857997"/>
              <a:gd name="connsiteX141" fmla="*/ 10475908 w 12191996"/>
              <a:gd name="connsiteY141" fmla="*/ 6582475 h 6857997"/>
              <a:gd name="connsiteX142" fmla="*/ 10475908 w 12191996"/>
              <a:gd name="connsiteY142" fmla="*/ 6573834 h 6857997"/>
              <a:gd name="connsiteX143" fmla="*/ 10363811 w 12191996"/>
              <a:gd name="connsiteY143" fmla="*/ 6573834 h 6857997"/>
              <a:gd name="connsiteX144" fmla="*/ 10337795 w 12191996"/>
              <a:gd name="connsiteY144" fmla="*/ 6588861 h 6857997"/>
              <a:gd name="connsiteX145" fmla="*/ 10362385 w 12191996"/>
              <a:gd name="connsiteY145" fmla="*/ 6603137 h 6857997"/>
              <a:gd name="connsiteX146" fmla="*/ 10380560 w 12191996"/>
              <a:gd name="connsiteY146" fmla="*/ 6603137 h 6857997"/>
              <a:gd name="connsiteX147" fmla="*/ 10391608 w 12191996"/>
              <a:gd name="connsiteY147" fmla="*/ 6608772 h 6857997"/>
              <a:gd name="connsiteX148" fmla="*/ 10379491 w 12191996"/>
              <a:gd name="connsiteY148" fmla="*/ 6614407 h 6857997"/>
              <a:gd name="connsiteX149" fmla="*/ 10340646 w 12191996"/>
              <a:gd name="connsiteY149" fmla="*/ 6614407 h 6857997"/>
              <a:gd name="connsiteX150" fmla="*/ 10340646 w 12191996"/>
              <a:gd name="connsiteY150" fmla="*/ 6623047 h 6857997"/>
              <a:gd name="connsiteX151" fmla="*/ 10381986 w 12191996"/>
              <a:gd name="connsiteY151" fmla="*/ 6623047 h 6857997"/>
              <a:gd name="connsiteX152" fmla="*/ 10407645 w 12191996"/>
              <a:gd name="connsiteY152" fmla="*/ 6608396 h 6857997"/>
              <a:gd name="connsiteX153" fmla="*/ 10384124 w 12191996"/>
              <a:gd name="connsiteY153" fmla="*/ 6594496 h 6857997"/>
              <a:gd name="connsiteX154" fmla="*/ 10363811 w 12191996"/>
              <a:gd name="connsiteY154" fmla="*/ 6594496 h 6857997"/>
              <a:gd name="connsiteX155" fmla="*/ 10354188 w 12191996"/>
              <a:gd name="connsiteY155" fmla="*/ 6589237 h 6857997"/>
              <a:gd name="connsiteX156" fmla="*/ 10365949 w 12191996"/>
              <a:gd name="connsiteY156" fmla="*/ 6582850 h 6857997"/>
              <a:gd name="connsiteX157" fmla="*/ 10404081 w 12191996"/>
              <a:gd name="connsiteY157" fmla="*/ 6582850 h 6857997"/>
              <a:gd name="connsiteX158" fmla="*/ 10404081 w 12191996"/>
              <a:gd name="connsiteY158" fmla="*/ 6573834 h 6857997"/>
              <a:gd name="connsiteX159" fmla="*/ 10261294 w 12191996"/>
              <a:gd name="connsiteY159" fmla="*/ 6573834 h 6857997"/>
              <a:gd name="connsiteX160" fmla="*/ 10226670 w 12191996"/>
              <a:gd name="connsiteY160" fmla="*/ 6599380 h 6857997"/>
              <a:gd name="connsiteX161" fmla="*/ 10237736 w 12191996"/>
              <a:gd name="connsiteY161" fmla="*/ 6618539 h 6857997"/>
              <a:gd name="connsiteX162" fmla="*/ 10260937 w 12191996"/>
              <a:gd name="connsiteY162" fmla="*/ 6623047 h 6857997"/>
              <a:gd name="connsiteX163" fmla="*/ 10286995 w 12191996"/>
              <a:gd name="connsiteY163" fmla="*/ 6623047 h 6857997"/>
              <a:gd name="connsiteX164" fmla="*/ 10286995 w 12191996"/>
              <a:gd name="connsiteY164" fmla="*/ 6614407 h 6857997"/>
              <a:gd name="connsiteX165" fmla="*/ 10261651 w 12191996"/>
              <a:gd name="connsiteY165" fmla="*/ 6614407 h 6857997"/>
              <a:gd name="connsiteX166" fmla="*/ 10244161 w 12191996"/>
              <a:gd name="connsiteY166" fmla="*/ 6602385 h 6857997"/>
              <a:gd name="connsiteX167" fmla="*/ 10286995 w 12191996"/>
              <a:gd name="connsiteY167" fmla="*/ 6602385 h 6857997"/>
              <a:gd name="connsiteX168" fmla="*/ 10286995 w 12191996"/>
              <a:gd name="connsiteY168" fmla="*/ 6593745 h 6857997"/>
              <a:gd name="connsiteX169" fmla="*/ 10244161 w 12191996"/>
              <a:gd name="connsiteY169" fmla="*/ 6593745 h 6857997"/>
              <a:gd name="connsiteX170" fmla="*/ 10261651 w 12191996"/>
              <a:gd name="connsiteY170" fmla="*/ 6582475 h 6857997"/>
              <a:gd name="connsiteX171" fmla="*/ 10286995 w 12191996"/>
              <a:gd name="connsiteY171" fmla="*/ 6582475 h 6857997"/>
              <a:gd name="connsiteX172" fmla="*/ 10286995 w 12191996"/>
              <a:gd name="connsiteY172" fmla="*/ 6573834 h 6857997"/>
              <a:gd name="connsiteX173" fmla="*/ 10155233 w 12191996"/>
              <a:gd name="connsiteY173" fmla="*/ 6573834 h 6857997"/>
              <a:gd name="connsiteX174" fmla="*/ 10155233 w 12191996"/>
              <a:gd name="connsiteY174" fmla="*/ 6623047 h 6857997"/>
              <a:gd name="connsiteX175" fmla="*/ 10170859 w 12191996"/>
              <a:gd name="connsiteY175" fmla="*/ 6623047 h 6857997"/>
              <a:gd name="connsiteX176" fmla="*/ 10170859 w 12191996"/>
              <a:gd name="connsiteY176" fmla="*/ 6602385 h 6857997"/>
              <a:gd name="connsiteX177" fmla="*/ 10199932 w 12191996"/>
              <a:gd name="connsiteY177" fmla="*/ 6602385 h 6857997"/>
              <a:gd name="connsiteX178" fmla="*/ 10199932 w 12191996"/>
              <a:gd name="connsiteY178" fmla="*/ 6623047 h 6857997"/>
              <a:gd name="connsiteX179" fmla="*/ 10215558 w 12191996"/>
              <a:gd name="connsiteY179" fmla="*/ 6623047 h 6857997"/>
              <a:gd name="connsiteX180" fmla="*/ 10215558 w 12191996"/>
              <a:gd name="connsiteY180" fmla="*/ 6573834 h 6857997"/>
              <a:gd name="connsiteX181" fmla="*/ 10199932 w 12191996"/>
              <a:gd name="connsiteY181" fmla="*/ 6573834 h 6857997"/>
              <a:gd name="connsiteX182" fmla="*/ 10199932 w 12191996"/>
              <a:gd name="connsiteY182" fmla="*/ 6593745 h 6857997"/>
              <a:gd name="connsiteX183" fmla="*/ 10170859 w 12191996"/>
              <a:gd name="connsiteY183" fmla="*/ 6593745 h 6857997"/>
              <a:gd name="connsiteX184" fmla="*/ 10170859 w 12191996"/>
              <a:gd name="connsiteY184" fmla="*/ 6573834 h 6857997"/>
              <a:gd name="connsiteX185" fmla="*/ 10082208 w 12191996"/>
              <a:gd name="connsiteY185" fmla="*/ 6573834 h 6857997"/>
              <a:gd name="connsiteX186" fmla="*/ 10082208 w 12191996"/>
              <a:gd name="connsiteY186" fmla="*/ 6582163 h 6857997"/>
              <a:gd name="connsiteX187" fmla="*/ 10106570 w 12191996"/>
              <a:gd name="connsiteY187" fmla="*/ 6582163 h 6857997"/>
              <a:gd name="connsiteX188" fmla="*/ 10106570 w 12191996"/>
              <a:gd name="connsiteY188" fmla="*/ 6623047 h 6857997"/>
              <a:gd name="connsiteX189" fmla="*/ 10122569 w 12191996"/>
              <a:gd name="connsiteY189" fmla="*/ 6623047 h 6857997"/>
              <a:gd name="connsiteX190" fmla="*/ 10122569 w 12191996"/>
              <a:gd name="connsiteY190" fmla="*/ 6582163 h 6857997"/>
              <a:gd name="connsiteX191" fmla="*/ 10147295 w 12191996"/>
              <a:gd name="connsiteY191" fmla="*/ 6582163 h 6857997"/>
              <a:gd name="connsiteX192" fmla="*/ 10147295 w 12191996"/>
              <a:gd name="connsiteY192" fmla="*/ 6573834 h 6857997"/>
              <a:gd name="connsiteX193" fmla="*/ 2164828 w 12191996"/>
              <a:gd name="connsiteY193" fmla="*/ 6506715 h 6857997"/>
              <a:gd name="connsiteX194" fmla="*/ 2164828 w 12191996"/>
              <a:gd name="connsiteY194" fmla="*/ 6521016 h 6857997"/>
              <a:gd name="connsiteX195" fmla="*/ 2170617 w 12191996"/>
              <a:gd name="connsiteY195" fmla="*/ 6521016 h 6857997"/>
              <a:gd name="connsiteX196" fmla="*/ 2168875 w 12191996"/>
              <a:gd name="connsiteY196" fmla="*/ 6530888 h 6857997"/>
              <a:gd name="connsiteX197" fmla="*/ 2164132 w 12191996"/>
              <a:gd name="connsiteY197" fmla="*/ 6535876 h 6857997"/>
              <a:gd name="connsiteX198" fmla="*/ 2166989 w 12191996"/>
              <a:gd name="connsiteY198" fmla="*/ 6541248 h 6857997"/>
              <a:gd name="connsiteX199" fmla="*/ 2174106 w 12191996"/>
              <a:gd name="connsiteY199" fmla="*/ 6534027 h 6857997"/>
              <a:gd name="connsiteX200" fmla="*/ 2176545 w 12191996"/>
              <a:gd name="connsiteY200" fmla="*/ 6521016 h 6857997"/>
              <a:gd name="connsiteX201" fmla="*/ 2176545 w 12191996"/>
              <a:gd name="connsiteY201" fmla="*/ 6506715 h 6857997"/>
              <a:gd name="connsiteX202" fmla="*/ 6291678 w 12191996"/>
              <a:gd name="connsiteY202" fmla="*/ 6483832 h 6857997"/>
              <a:gd name="connsiteX203" fmla="*/ 6291678 w 12191996"/>
              <a:gd name="connsiteY203" fmla="*/ 6488437 h 6857997"/>
              <a:gd name="connsiteX204" fmla="*/ 6289446 w 12191996"/>
              <a:gd name="connsiteY204" fmla="*/ 6502355 h 6857997"/>
              <a:gd name="connsiteX205" fmla="*/ 6282713 w 12191996"/>
              <a:gd name="connsiteY205" fmla="*/ 6509994 h 6857997"/>
              <a:gd name="connsiteX206" fmla="*/ 6272702 w 12191996"/>
              <a:gd name="connsiteY206" fmla="*/ 6512854 h 6857997"/>
              <a:gd name="connsiteX207" fmla="*/ 6263633 w 12191996"/>
              <a:gd name="connsiteY207" fmla="*/ 6509680 h 6857997"/>
              <a:gd name="connsiteX208" fmla="*/ 6260354 w 12191996"/>
              <a:gd name="connsiteY208" fmla="*/ 6501204 h 6857997"/>
              <a:gd name="connsiteX209" fmla="*/ 6261784 w 12191996"/>
              <a:gd name="connsiteY209" fmla="*/ 6495169 h 6857997"/>
              <a:gd name="connsiteX210" fmla="*/ 6265796 w 12191996"/>
              <a:gd name="connsiteY210" fmla="*/ 6491123 h 6857997"/>
              <a:gd name="connsiteX211" fmla="*/ 6274865 w 12191996"/>
              <a:gd name="connsiteY211" fmla="*/ 6488576 h 6857997"/>
              <a:gd name="connsiteX212" fmla="*/ 6291678 w 12191996"/>
              <a:gd name="connsiteY212" fmla="*/ 6483832 h 6857997"/>
              <a:gd name="connsiteX213" fmla="*/ 2657744 w 12191996"/>
              <a:gd name="connsiteY213" fmla="*/ 6483832 h 6857997"/>
              <a:gd name="connsiteX214" fmla="*/ 2657744 w 12191996"/>
              <a:gd name="connsiteY214" fmla="*/ 6488437 h 6857997"/>
              <a:gd name="connsiteX215" fmla="*/ 2655513 w 12191996"/>
              <a:gd name="connsiteY215" fmla="*/ 6502355 h 6857997"/>
              <a:gd name="connsiteX216" fmla="*/ 2648779 w 12191996"/>
              <a:gd name="connsiteY216" fmla="*/ 6509994 h 6857997"/>
              <a:gd name="connsiteX217" fmla="*/ 2638768 w 12191996"/>
              <a:gd name="connsiteY217" fmla="*/ 6512854 h 6857997"/>
              <a:gd name="connsiteX218" fmla="*/ 2629699 w 12191996"/>
              <a:gd name="connsiteY218" fmla="*/ 6509680 h 6857997"/>
              <a:gd name="connsiteX219" fmla="*/ 2626419 w 12191996"/>
              <a:gd name="connsiteY219" fmla="*/ 6501204 h 6857997"/>
              <a:gd name="connsiteX220" fmla="*/ 2627851 w 12191996"/>
              <a:gd name="connsiteY220" fmla="*/ 6495169 h 6857997"/>
              <a:gd name="connsiteX221" fmla="*/ 2631864 w 12191996"/>
              <a:gd name="connsiteY221" fmla="*/ 6491123 h 6857997"/>
              <a:gd name="connsiteX222" fmla="*/ 2640931 w 12191996"/>
              <a:gd name="connsiteY222" fmla="*/ 6488576 h 6857997"/>
              <a:gd name="connsiteX223" fmla="*/ 2657744 w 12191996"/>
              <a:gd name="connsiteY223" fmla="*/ 6483832 h 6857997"/>
              <a:gd name="connsiteX224" fmla="*/ 6087297 w 12191996"/>
              <a:gd name="connsiteY224" fmla="*/ 6455578 h 6857997"/>
              <a:gd name="connsiteX225" fmla="*/ 6099922 w 12191996"/>
              <a:gd name="connsiteY225" fmla="*/ 6462485 h 6857997"/>
              <a:gd name="connsiteX226" fmla="*/ 6104038 w 12191996"/>
              <a:gd name="connsiteY226" fmla="*/ 6476856 h 6857997"/>
              <a:gd name="connsiteX227" fmla="*/ 6070136 w 12191996"/>
              <a:gd name="connsiteY227" fmla="*/ 6476856 h 6857997"/>
              <a:gd name="connsiteX228" fmla="*/ 6075505 w 12191996"/>
              <a:gd name="connsiteY228" fmla="*/ 6461334 h 6857997"/>
              <a:gd name="connsiteX229" fmla="*/ 6087297 w 12191996"/>
              <a:gd name="connsiteY229" fmla="*/ 6455578 h 6857997"/>
              <a:gd name="connsiteX230" fmla="*/ 6018399 w 12191996"/>
              <a:gd name="connsiteY230" fmla="*/ 6455578 h 6857997"/>
              <a:gd name="connsiteX231" fmla="*/ 6030545 w 12191996"/>
              <a:gd name="connsiteY231" fmla="*/ 6462729 h 6857997"/>
              <a:gd name="connsiteX232" fmla="*/ 6035362 w 12191996"/>
              <a:gd name="connsiteY232" fmla="*/ 6485437 h 6857997"/>
              <a:gd name="connsiteX233" fmla="*/ 6030545 w 12191996"/>
              <a:gd name="connsiteY233" fmla="*/ 6505668 h 6857997"/>
              <a:gd name="connsiteX234" fmla="*/ 6019168 w 12191996"/>
              <a:gd name="connsiteY234" fmla="*/ 6512366 h 6857997"/>
              <a:gd name="connsiteX235" fmla="*/ 6007544 w 12191996"/>
              <a:gd name="connsiteY235" fmla="*/ 6505389 h 6857997"/>
              <a:gd name="connsiteX236" fmla="*/ 6002552 w 12191996"/>
              <a:gd name="connsiteY236" fmla="*/ 6484042 h 6857997"/>
              <a:gd name="connsiteX237" fmla="*/ 6007230 w 12191996"/>
              <a:gd name="connsiteY237" fmla="*/ 6462450 h 6857997"/>
              <a:gd name="connsiteX238" fmla="*/ 6018399 w 12191996"/>
              <a:gd name="connsiteY238" fmla="*/ 6455578 h 6857997"/>
              <a:gd name="connsiteX239" fmla="*/ 5829564 w 12191996"/>
              <a:gd name="connsiteY239" fmla="*/ 6455578 h 6857997"/>
              <a:gd name="connsiteX240" fmla="*/ 5842540 w 12191996"/>
              <a:gd name="connsiteY240" fmla="*/ 6462598 h 6857997"/>
              <a:gd name="connsiteX241" fmla="*/ 5847772 w 12191996"/>
              <a:gd name="connsiteY241" fmla="*/ 6483937 h 6857997"/>
              <a:gd name="connsiteX242" fmla="*/ 5842575 w 12191996"/>
              <a:gd name="connsiteY242" fmla="*/ 6505276 h 6857997"/>
              <a:gd name="connsiteX243" fmla="*/ 5830122 w 12191996"/>
              <a:gd name="connsiteY243" fmla="*/ 6512366 h 6857997"/>
              <a:gd name="connsiteX244" fmla="*/ 5817145 w 12191996"/>
              <a:gd name="connsiteY244" fmla="*/ 6505346 h 6857997"/>
              <a:gd name="connsiteX245" fmla="*/ 5811914 w 12191996"/>
              <a:gd name="connsiteY245" fmla="*/ 6483937 h 6857997"/>
              <a:gd name="connsiteX246" fmla="*/ 5817079 w 12191996"/>
              <a:gd name="connsiteY246" fmla="*/ 6462633 h 6857997"/>
              <a:gd name="connsiteX247" fmla="*/ 5829564 w 12191996"/>
              <a:gd name="connsiteY247" fmla="*/ 6455578 h 6857997"/>
              <a:gd name="connsiteX248" fmla="*/ 2774990 w 12191996"/>
              <a:gd name="connsiteY248" fmla="*/ 6455578 h 6857997"/>
              <a:gd name="connsiteX249" fmla="*/ 2787135 w 12191996"/>
              <a:gd name="connsiteY249" fmla="*/ 6462729 h 6857997"/>
              <a:gd name="connsiteX250" fmla="*/ 2791951 w 12191996"/>
              <a:gd name="connsiteY250" fmla="*/ 6485437 h 6857997"/>
              <a:gd name="connsiteX251" fmla="*/ 2787135 w 12191996"/>
              <a:gd name="connsiteY251" fmla="*/ 6505668 h 6857997"/>
              <a:gd name="connsiteX252" fmla="*/ 2775759 w 12191996"/>
              <a:gd name="connsiteY252" fmla="*/ 6512366 h 6857997"/>
              <a:gd name="connsiteX253" fmla="*/ 2764133 w 12191996"/>
              <a:gd name="connsiteY253" fmla="*/ 6505389 h 6857997"/>
              <a:gd name="connsiteX254" fmla="*/ 2759145 w 12191996"/>
              <a:gd name="connsiteY254" fmla="*/ 6484042 h 6857997"/>
              <a:gd name="connsiteX255" fmla="*/ 2763822 w 12191996"/>
              <a:gd name="connsiteY255" fmla="*/ 6462450 h 6857997"/>
              <a:gd name="connsiteX256" fmla="*/ 2774990 w 12191996"/>
              <a:gd name="connsiteY256" fmla="*/ 6455578 h 6857997"/>
              <a:gd name="connsiteX257" fmla="*/ 2510511 w 12191996"/>
              <a:gd name="connsiteY257" fmla="*/ 6455578 h 6857997"/>
              <a:gd name="connsiteX258" fmla="*/ 2523140 w 12191996"/>
              <a:gd name="connsiteY258" fmla="*/ 6462485 h 6857997"/>
              <a:gd name="connsiteX259" fmla="*/ 2527255 w 12191996"/>
              <a:gd name="connsiteY259" fmla="*/ 6476856 h 6857997"/>
              <a:gd name="connsiteX260" fmla="*/ 2493349 w 12191996"/>
              <a:gd name="connsiteY260" fmla="*/ 6476856 h 6857997"/>
              <a:gd name="connsiteX261" fmla="*/ 2498723 w 12191996"/>
              <a:gd name="connsiteY261" fmla="*/ 6461334 h 6857997"/>
              <a:gd name="connsiteX262" fmla="*/ 2510511 w 12191996"/>
              <a:gd name="connsiteY262" fmla="*/ 6455578 h 6857997"/>
              <a:gd name="connsiteX263" fmla="*/ 1871776 w 12191996"/>
              <a:gd name="connsiteY263" fmla="*/ 6455578 h 6857997"/>
              <a:gd name="connsiteX264" fmla="*/ 1884752 w 12191996"/>
              <a:gd name="connsiteY264" fmla="*/ 6462598 h 6857997"/>
              <a:gd name="connsiteX265" fmla="*/ 1889984 w 12191996"/>
              <a:gd name="connsiteY265" fmla="*/ 6483937 h 6857997"/>
              <a:gd name="connsiteX266" fmla="*/ 1884787 w 12191996"/>
              <a:gd name="connsiteY266" fmla="*/ 6505276 h 6857997"/>
              <a:gd name="connsiteX267" fmla="*/ 1872334 w 12191996"/>
              <a:gd name="connsiteY267" fmla="*/ 6512366 h 6857997"/>
              <a:gd name="connsiteX268" fmla="*/ 1859358 w 12191996"/>
              <a:gd name="connsiteY268" fmla="*/ 6505346 h 6857997"/>
              <a:gd name="connsiteX269" fmla="*/ 1854126 w 12191996"/>
              <a:gd name="connsiteY269" fmla="*/ 6483937 h 6857997"/>
              <a:gd name="connsiteX270" fmla="*/ 1859288 w 12191996"/>
              <a:gd name="connsiteY270" fmla="*/ 6462633 h 6857997"/>
              <a:gd name="connsiteX271" fmla="*/ 1871776 w 12191996"/>
              <a:gd name="connsiteY271" fmla="*/ 6455578 h 6857997"/>
              <a:gd name="connsiteX272" fmla="*/ 1586584 w 12191996"/>
              <a:gd name="connsiteY272" fmla="*/ 6455578 h 6857997"/>
              <a:gd name="connsiteX273" fmla="*/ 1599211 w 12191996"/>
              <a:gd name="connsiteY273" fmla="*/ 6462485 h 6857997"/>
              <a:gd name="connsiteX274" fmla="*/ 1603327 w 12191996"/>
              <a:gd name="connsiteY274" fmla="*/ 6476856 h 6857997"/>
              <a:gd name="connsiteX275" fmla="*/ 1569422 w 12191996"/>
              <a:gd name="connsiteY275" fmla="*/ 6476856 h 6857997"/>
              <a:gd name="connsiteX276" fmla="*/ 1574794 w 12191996"/>
              <a:gd name="connsiteY276" fmla="*/ 6461334 h 6857997"/>
              <a:gd name="connsiteX277" fmla="*/ 1586584 w 12191996"/>
              <a:gd name="connsiteY277" fmla="*/ 6455578 h 6857997"/>
              <a:gd name="connsiteX278" fmla="*/ 1317685 w 12191996"/>
              <a:gd name="connsiteY278" fmla="*/ 6455578 h 6857997"/>
              <a:gd name="connsiteX279" fmla="*/ 1329920 w 12191996"/>
              <a:gd name="connsiteY279" fmla="*/ 6462398 h 6857997"/>
              <a:gd name="connsiteX280" fmla="*/ 1334953 w 12191996"/>
              <a:gd name="connsiteY280" fmla="*/ 6483205 h 6857997"/>
              <a:gd name="connsiteX281" fmla="*/ 1330059 w 12191996"/>
              <a:gd name="connsiteY281" fmla="*/ 6504117 h 6857997"/>
              <a:gd name="connsiteX282" fmla="*/ 1318175 w 12191996"/>
              <a:gd name="connsiteY282" fmla="*/ 6510691 h 6857997"/>
              <a:gd name="connsiteX283" fmla="*/ 1306360 w 12191996"/>
              <a:gd name="connsiteY283" fmla="*/ 6503977 h 6857997"/>
              <a:gd name="connsiteX284" fmla="*/ 1301536 w 12191996"/>
              <a:gd name="connsiteY284" fmla="*/ 6482645 h 6857997"/>
              <a:gd name="connsiteX285" fmla="*/ 1306395 w 12191996"/>
              <a:gd name="connsiteY285" fmla="*/ 6462398 h 6857997"/>
              <a:gd name="connsiteX286" fmla="*/ 1317685 w 12191996"/>
              <a:gd name="connsiteY286" fmla="*/ 6455578 h 6857997"/>
              <a:gd name="connsiteX287" fmla="*/ 1071676 w 12191996"/>
              <a:gd name="connsiteY287" fmla="*/ 6455578 h 6857997"/>
              <a:gd name="connsiteX288" fmla="*/ 1084652 w 12191996"/>
              <a:gd name="connsiteY288" fmla="*/ 6462598 h 6857997"/>
              <a:gd name="connsiteX289" fmla="*/ 1089884 w 12191996"/>
              <a:gd name="connsiteY289" fmla="*/ 6483937 h 6857997"/>
              <a:gd name="connsiteX290" fmla="*/ 1084687 w 12191996"/>
              <a:gd name="connsiteY290" fmla="*/ 6505276 h 6857997"/>
              <a:gd name="connsiteX291" fmla="*/ 1072234 w 12191996"/>
              <a:gd name="connsiteY291" fmla="*/ 6512366 h 6857997"/>
              <a:gd name="connsiteX292" fmla="*/ 1059258 w 12191996"/>
              <a:gd name="connsiteY292" fmla="*/ 6505346 h 6857997"/>
              <a:gd name="connsiteX293" fmla="*/ 1054026 w 12191996"/>
              <a:gd name="connsiteY293" fmla="*/ 6483937 h 6857997"/>
              <a:gd name="connsiteX294" fmla="*/ 1059188 w 12191996"/>
              <a:gd name="connsiteY294" fmla="*/ 6462633 h 6857997"/>
              <a:gd name="connsiteX295" fmla="*/ 1071676 w 12191996"/>
              <a:gd name="connsiteY295" fmla="*/ 6455578 h 6857997"/>
              <a:gd name="connsiteX296" fmla="*/ 1139788 w 12191996"/>
              <a:gd name="connsiteY296" fmla="*/ 6455090 h 6857997"/>
              <a:gd name="connsiteX297" fmla="*/ 1151478 w 12191996"/>
              <a:gd name="connsiteY297" fmla="*/ 6462066 h 6857997"/>
              <a:gd name="connsiteX298" fmla="*/ 1156280 w 12191996"/>
              <a:gd name="connsiteY298" fmla="*/ 6483553 h 6857997"/>
              <a:gd name="connsiteX299" fmla="*/ 1151339 w 12191996"/>
              <a:gd name="connsiteY299" fmla="*/ 6505320 h 6857997"/>
              <a:gd name="connsiteX300" fmla="*/ 1139857 w 12191996"/>
              <a:gd name="connsiteY300" fmla="*/ 6512366 h 6857997"/>
              <a:gd name="connsiteX301" fmla="*/ 1128235 w 12191996"/>
              <a:gd name="connsiteY301" fmla="*/ 6505564 h 6857997"/>
              <a:gd name="connsiteX302" fmla="*/ 1123434 w 12191996"/>
              <a:gd name="connsiteY302" fmla="*/ 6484391 h 6857997"/>
              <a:gd name="connsiteX303" fmla="*/ 1128514 w 12191996"/>
              <a:gd name="connsiteY303" fmla="*/ 6462590 h 6857997"/>
              <a:gd name="connsiteX304" fmla="*/ 1139788 w 12191996"/>
              <a:gd name="connsiteY304" fmla="*/ 6455090 h 6857997"/>
              <a:gd name="connsiteX305" fmla="*/ 6224384 w 12191996"/>
              <a:gd name="connsiteY305" fmla="*/ 6446928 h 6857997"/>
              <a:gd name="connsiteX306" fmla="*/ 6224384 w 12191996"/>
              <a:gd name="connsiteY306" fmla="*/ 6521016 h 6857997"/>
              <a:gd name="connsiteX307" fmla="*/ 6234640 w 12191996"/>
              <a:gd name="connsiteY307" fmla="*/ 6521016 h 6857997"/>
              <a:gd name="connsiteX308" fmla="*/ 6234640 w 12191996"/>
              <a:gd name="connsiteY308" fmla="*/ 6446928 h 6857997"/>
              <a:gd name="connsiteX309" fmla="*/ 5967211 w 12191996"/>
              <a:gd name="connsiteY309" fmla="*/ 6446928 h 6857997"/>
              <a:gd name="connsiteX310" fmla="*/ 5967211 w 12191996"/>
              <a:gd name="connsiteY310" fmla="*/ 6521016 h 6857997"/>
              <a:gd name="connsiteX311" fmla="*/ 5977467 w 12191996"/>
              <a:gd name="connsiteY311" fmla="*/ 6521016 h 6857997"/>
              <a:gd name="connsiteX312" fmla="*/ 5977467 w 12191996"/>
              <a:gd name="connsiteY312" fmla="*/ 6446928 h 6857997"/>
              <a:gd name="connsiteX313" fmla="*/ 2380902 w 12191996"/>
              <a:gd name="connsiteY313" fmla="*/ 6446928 h 6857997"/>
              <a:gd name="connsiteX314" fmla="*/ 2380902 w 12191996"/>
              <a:gd name="connsiteY314" fmla="*/ 6521016 h 6857997"/>
              <a:gd name="connsiteX315" fmla="*/ 2391160 w 12191996"/>
              <a:gd name="connsiteY315" fmla="*/ 6521016 h 6857997"/>
              <a:gd name="connsiteX316" fmla="*/ 2391160 w 12191996"/>
              <a:gd name="connsiteY316" fmla="*/ 6446928 h 6857997"/>
              <a:gd name="connsiteX317" fmla="*/ 2287711 w 12191996"/>
              <a:gd name="connsiteY317" fmla="*/ 6446928 h 6857997"/>
              <a:gd name="connsiteX318" fmla="*/ 2306375 w 12191996"/>
              <a:gd name="connsiteY318" fmla="*/ 6521016 h 6857997"/>
              <a:gd name="connsiteX319" fmla="*/ 2317119 w 12191996"/>
              <a:gd name="connsiteY319" fmla="*/ 6521016 h 6857997"/>
              <a:gd name="connsiteX320" fmla="*/ 2329394 w 12191996"/>
              <a:gd name="connsiteY320" fmla="*/ 6464020 h 6857997"/>
              <a:gd name="connsiteX321" fmla="*/ 2331698 w 12191996"/>
              <a:gd name="connsiteY321" fmla="*/ 6476647 h 6857997"/>
              <a:gd name="connsiteX322" fmla="*/ 2341394 w 12191996"/>
              <a:gd name="connsiteY322" fmla="*/ 6521016 h 6857997"/>
              <a:gd name="connsiteX323" fmla="*/ 2352113 w 12191996"/>
              <a:gd name="connsiteY323" fmla="*/ 6521016 h 6857997"/>
              <a:gd name="connsiteX324" fmla="*/ 2371081 w 12191996"/>
              <a:gd name="connsiteY324" fmla="*/ 6446928 h 6857997"/>
              <a:gd name="connsiteX325" fmla="*/ 2361033 w 12191996"/>
              <a:gd name="connsiteY325" fmla="*/ 6446928 h 6857997"/>
              <a:gd name="connsiteX326" fmla="*/ 2350666 w 12191996"/>
              <a:gd name="connsiteY326" fmla="*/ 6489762 h 6857997"/>
              <a:gd name="connsiteX327" fmla="*/ 2347183 w 12191996"/>
              <a:gd name="connsiteY327" fmla="*/ 6504064 h 6857997"/>
              <a:gd name="connsiteX328" fmla="*/ 2344125 w 12191996"/>
              <a:gd name="connsiteY328" fmla="*/ 6489902 h 6857997"/>
              <a:gd name="connsiteX329" fmla="*/ 2335086 w 12191996"/>
              <a:gd name="connsiteY329" fmla="*/ 6446928 h 6857997"/>
              <a:gd name="connsiteX330" fmla="*/ 2324456 w 12191996"/>
              <a:gd name="connsiteY330" fmla="*/ 6446928 h 6857997"/>
              <a:gd name="connsiteX331" fmla="*/ 2314822 w 12191996"/>
              <a:gd name="connsiteY331" fmla="*/ 6490320 h 6857997"/>
              <a:gd name="connsiteX332" fmla="*/ 2311609 w 12191996"/>
              <a:gd name="connsiteY332" fmla="*/ 6505599 h 6857997"/>
              <a:gd name="connsiteX333" fmla="*/ 2308033 w 12191996"/>
              <a:gd name="connsiteY333" fmla="*/ 6489693 h 6857997"/>
              <a:gd name="connsiteX334" fmla="*/ 2298356 w 12191996"/>
              <a:gd name="connsiteY334" fmla="*/ 6446928 h 6857997"/>
              <a:gd name="connsiteX335" fmla="*/ 1818925 w 12191996"/>
              <a:gd name="connsiteY335" fmla="*/ 6446928 h 6857997"/>
              <a:gd name="connsiteX336" fmla="*/ 1818925 w 12191996"/>
              <a:gd name="connsiteY336" fmla="*/ 6521016 h 6857997"/>
              <a:gd name="connsiteX337" fmla="*/ 1829180 w 12191996"/>
              <a:gd name="connsiteY337" fmla="*/ 6521016 h 6857997"/>
              <a:gd name="connsiteX338" fmla="*/ 1829180 w 12191996"/>
              <a:gd name="connsiteY338" fmla="*/ 6446928 h 6857997"/>
              <a:gd name="connsiteX339" fmla="*/ 1752248 w 12191996"/>
              <a:gd name="connsiteY339" fmla="*/ 6446928 h 6857997"/>
              <a:gd name="connsiteX340" fmla="*/ 1752248 w 12191996"/>
              <a:gd name="connsiteY340" fmla="*/ 6521016 h 6857997"/>
              <a:gd name="connsiteX341" fmla="*/ 1762504 w 12191996"/>
              <a:gd name="connsiteY341" fmla="*/ 6521016 h 6857997"/>
              <a:gd name="connsiteX342" fmla="*/ 1762504 w 12191996"/>
              <a:gd name="connsiteY342" fmla="*/ 6446928 h 6857997"/>
              <a:gd name="connsiteX343" fmla="*/ 1266473 w 12191996"/>
              <a:gd name="connsiteY343" fmla="*/ 6446928 h 6857997"/>
              <a:gd name="connsiteX344" fmla="*/ 1266473 w 12191996"/>
              <a:gd name="connsiteY344" fmla="*/ 6521016 h 6857997"/>
              <a:gd name="connsiteX345" fmla="*/ 1276729 w 12191996"/>
              <a:gd name="connsiteY345" fmla="*/ 6521016 h 6857997"/>
              <a:gd name="connsiteX346" fmla="*/ 1276729 w 12191996"/>
              <a:gd name="connsiteY346" fmla="*/ 6446928 h 6857997"/>
              <a:gd name="connsiteX347" fmla="*/ 6278772 w 12191996"/>
              <a:gd name="connsiteY347" fmla="*/ 6445253 h 6857997"/>
              <a:gd name="connsiteX348" fmla="*/ 6259901 w 12191996"/>
              <a:gd name="connsiteY348" fmla="*/ 6450695 h 6857997"/>
              <a:gd name="connsiteX349" fmla="*/ 6251146 w 12191996"/>
              <a:gd name="connsiteY349" fmla="*/ 6468066 h 6857997"/>
              <a:gd name="connsiteX350" fmla="*/ 6261261 w 12191996"/>
              <a:gd name="connsiteY350" fmla="*/ 6469740 h 6857997"/>
              <a:gd name="connsiteX351" fmla="*/ 6266493 w 12191996"/>
              <a:gd name="connsiteY351" fmla="*/ 6458558 h 6857997"/>
              <a:gd name="connsiteX352" fmla="*/ 6277237 w 12191996"/>
              <a:gd name="connsiteY352" fmla="*/ 6455578 h 6857997"/>
              <a:gd name="connsiteX353" fmla="*/ 6289027 w 12191996"/>
              <a:gd name="connsiteY353" fmla="*/ 6460043 h 6857997"/>
              <a:gd name="connsiteX354" fmla="*/ 6291748 w 12191996"/>
              <a:gd name="connsiteY354" fmla="*/ 6470717 h 6857997"/>
              <a:gd name="connsiteX355" fmla="*/ 6291678 w 12191996"/>
              <a:gd name="connsiteY355" fmla="*/ 6473926 h 6857997"/>
              <a:gd name="connsiteX356" fmla="*/ 6273260 w 12191996"/>
              <a:gd name="connsiteY356" fmla="*/ 6478321 h 6857997"/>
              <a:gd name="connsiteX357" fmla="*/ 6259308 w 12191996"/>
              <a:gd name="connsiteY357" fmla="*/ 6482437 h 6857997"/>
              <a:gd name="connsiteX358" fmla="*/ 6252052 w 12191996"/>
              <a:gd name="connsiteY358" fmla="*/ 6490181 h 6857997"/>
              <a:gd name="connsiteX359" fmla="*/ 6249401 w 12191996"/>
              <a:gd name="connsiteY359" fmla="*/ 6501552 h 6857997"/>
              <a:gd name="connsiteX360" fmla="*/ 6255052 w 12191996"/>
              <a:gd name="connsiteY360" fmla="*/ 6516970 h 6857997"/>
              <a:gd name="connsiteX361" fmla="*/ 6270191 w 12191996"/>
              <a:gd name="connsiteY361" fmla="*/ 6522691 h 6857997"/>
              <a:gd name="connsiteX362" fmla="*/ 6281772 w 12191996"/>
              <a:gd name="connsiteY362" fmla="*/ 6519969 h 6857997"/>
              <a:gd name="connsiteX363" fmla="*/ 6292515 w 12191996"/>
              <a:gd name="connsiteY363" fmla="*/ 6511876 h 6857997"/>
              <a:gd name="connsiteX364" fmla="*/ 6294608 w 12191996"/>
              <a:gd name="connsiteY364" fmla="*/ 6521016 h 6857997"/>
              <a:gd name="connsiteX365" fmla="*/ 6305352 w 12191996"/>
              <a:gd name="connsiteY365" fmla="*/ 6521016 h 6857997"/>
              <a:gd name="connsiteX366" fmla="*/ 6302735 w 12191996"/>
              <a:gd name="connsiteY366" fmla="*/ 6512121 h 6857997"/>
              <a:gd name="connsiteX367" fmla="*/ 6302073 w 12191996"/>
              <a:gd name="connsiteY367" fmla="*/ 6489972 h 6857997"/>
              <a:gd name="connsiteX368" fmla="*/ 6302073 w 12191996"/>
              <a:gd name="connsiteY368" fmla="*/ 6473228 h 6857997"/>
              <a:gd name="connsiteX369" fmla="*/ 6300643 w 12191996"/>
              <a:gd name="connsiteY369" fmla="*/ 6457741 h 6857997"/>
              <a:gd name="connsiteX370" fmla="*/ 6293771 w 12191996"/>
              <a:gd name="connsiteY370" fmla="*/ 6448846 h 6857997"/>
              <a:gd name="connsiteX371" fmla="*/ 6278772 w 12191996"/>
              <a:gd name="connsiteY371" fmla="*/ 6445253 h 6857997"/>
              <a:gd name="connsiteX372" fmla="*/ 6157704 w 12191996"/>
              <a:gd name="connsiteY372" fmla="*/ 6445253 h 6857997"/>
              <a:gd name="connsiteX373" fmla="*/ 6146596 w 12191996"/>
              <a:gd name="connsiteY373" fmla="*/ 6448271 h 6857997"/>
              <a:gd name="connsiteX374" fmla="*/ 6138413 w 12191996"/>
              <a:gd name="connsiteY374" fmla="*/ 6457393 h 6857997"/>
              <a:gd name="connsiteX375" fmla="*/ 6138413 w 12191996"/>
              <a:gd name="connsiteY375" fmla="*/ 6446928 h 6857997"/>
              <a:gd name="connsiteX376" fmla="*/ 6129134 w 12191996"/>
              <a:gd name="connsiteY376" fmla="*/ 6446928 h 6857997"/>
              <a:gd name="connsiteX377" fmla="*/ 6129134 w 12191996"/>
              <a:gd name="connsiteY377" fmla="*/ 6521016 h 6857997"/>
              <a:gd name="connsiteX378" fmla="*/ 6139390 w 12191996"/>
              <a:gd name="connsiteY378" fmla="*/ 6521016 h 6857997"/>
              <a:gd name="connsiteX379" fmla="*/ 6139390 w 12191996"/>
              <a:gd name="connsiteY379" fmla="*/ 6480510 h 6857997"/>
              <a:gd name="connsiteX380" fmla="*/ 6143785 w 12191996"/>
              <a:gd name="connsiteY380" fmla="*/ 6461584 h 6857997"/>
              <a:gd name="connsiteX381" fmla="*/ 6155575 w 12191996"/>
              <a:gd name="connsiteY381" fmla="*/ 6456067 h 6857997"/>
              <a:gd name="connsiteX382" fmla="*/ 6162446 w 12191996"/>
              <a:gd name="connsiteY382" fmla="*/ 6458127 h 6857997"/>
              <a:gd name="connsiteX383" fmla="*/ 6166807 w 12191996"/>
              <a:gd name="connsiteY383" fmla="*/ 6463958 h 6857997"/>
              <a:gd name="connsiteX384" fmla="*/ 6168202 w 12191996"/>
              <a:gd name="connsiteY384" fmla="*/ 6475901 h 6857997"/>
              <a:gd name="connsiteX385" fmla="*/ 6168202 w 12191996"/>
              <a:gd name="connsiteY385" fmla="*/ 6521016 h 6857997"/>
              <a:gd name="connsiteX386" fmla="*/ 6178457 w 12191996"/>
              <a:gd name="connsiteY386" fmla="*/ 6521016 h 6857997"/>
              <a:gd name="connsiteX387" fmla="*/ 6178457 w 12191996"/>
              <a:gd name="connsiteY387" fmla="*/ 6475461 h 6857997"/>
              <a:gd name="connsiteX388" fmla="*/ 6177203 w 12191996"/>
              <a:gd name="connsiteY388" fmla="*/ 6460253 h 6857997"/>
              <a:gd name="connsiteX389" fmla="*/ 6173408 w 12191996"/>
              <a:gd name="connsiteY389" fmla="*/ 6452195 h 6857997"/>
              <a:gd name="connsiteX390" fmla="*/ 6166722 w 12191996"/>
              <a:gd name="connsiteY390" fmla="*/ 6447172 h 6857997"/>
              <a:gd name="connsiteX391" fmla="*/ 6157704 w 12191996"/>
              <a:gd name="connsiteY391" fmla="*/ 6445253 h 6857997"/>
              <a:gd name="connsiteX392" fmla="*/ 6087368 w 12191996"/>
              <a:gd name="connsiteY392" fmla="*/ 6445253 h 6857997"/>
              <a:gd name="connsiteX393" fmla="*/ 6066963 w 12191996"/>
              <a:gd name="connsiteY393" fmla="*/ 6455334 h 6857997"/>
              <a:gd name="connsiteX394" fmla="*/ 6058901 w 12191996"/>
              <a:gd name="connsiteY394" fmla="*/ 6484600 h 6857997"/>
              <a:gd name="connsiteX395" fmla="*/ 6066892 w 12191996"/>
              <a:gd name="connsiteY395" fmla="*/ 6512889 h 6857997"/>
              <a:gd name="connsiteX396" fmla="*/ 6087783 w 12191996"/>
              <a:gd name="connsiteY396" fmla="*/ 6522691 h 6857997"/>
              <a:gd name="connsiteX397" fmla="*/ 6104980 w 12191996"/>
              <a:gd name="connsiteY397" fmla="*/ 6516656 h 6857997"/>
              <a:gd name="connsiteX398" fmla="*/ 6114573 w 12191996"/>
              <a:gd name="connsiteY398" fmla="*/ 6498762 h 6857997"/>
              <a:gd name="connsiteX399" fmla="*/ 6103969 w 12191996"/>
              <a:gd name="connsiteY399" fmla="*/ 6497157 h 6857997"/>
              <a:gd name="connsiteX400" fmla="*/ 6087853 w 12191996"/>
              <a:gd name="connsiteY400" fmla="*/ 6512366 h 6857997"/>
              <a:gd name="connsiteX401" fmla="*/ 6075296 w 12191996"/>
              <a:gd name="connsiteY401" fmla="*/ 6506017 h 6857997"/>
              <a:gd name="connsiteX402" fmla="*/ 6069507 w 12191996"/>
              <a:gd name="connsiteY402" fmla="*/ 6487181 h 6857997"/>
              <a:gd name="connsiteX403" fmla="*/ 6114852 w 12191996"/>
              <a:gd name="connsiteY403" fmla="*/ 6487181 h 6857997"/>
              <a:gd name="connsiteX404" fmla="*/ 6114921 w 12191996"/>
              <a:gd name="connsiteY404" fmla="*/ 6483832 h 6857997"/>
              <a:gd name="connsiteX405" fmla="*/ 6107038 w 12191996"/>
              <a:gd name="connsiteY405" fmla="*/ 6455160 h 6857997"/>
              <a:gd name="connsiteX406" fmla="*/ 6087368 w 12191996"/>
              <a:gd name="connsiteY406" fmla="*/ 6445253 h 6857997"/>
              <a:gd name="connsiteX407" fmla="*/ 5900531 w 12191996"/>
              <a:gd name="connsiteY407" fmla="*/ 6445253 h 6857997"/>
              <a:gd name="connsiteX408" fmla="*/ 5889422 w 12191996"/>
              <a:gd name="connsiteY408" fmla="*/ 6448271 h 6857997"/>
              <a:gd name="connsiteX409" fmla="*/ 5881238 w 12191996"/>
              <a:gd name="connsiteY409" fmla="*/ 6457393 h 6857997"/>
              <a:gd name="connsiteX410" fmla="*/ 5881238 w 12191996"/>
              <a:gd name="connsiteY410" fmla="*/ 6446928 h 6857997"/>
              <a:gd name="connsiteX411" fmla="*/ 5871961 w 12191996"/>
              <a:gd name="connsiteY411" fmla="*/ 6446928 h 6857997"/>
              <a:gd name="connsiteX412" fmla="*/ 5871961 w 12191996"/>
              <a:gd name="connsiteY412" fmla="*/ 6521016 h 6857997"/>
              <a:gd name="connsiteX413" fmla="*/ 5882218 w 12191996"/>
              <a:gd name="connsiteY413" fmla="*/ 6521016 h 6857997"/>
              <a:gd name="connsiteX414" fmla="*/ 5882218 w 12191996"/>
              <a:gd name="connsiteY414" fmla="*/ 6480510 h 6857997"/>
              <a:gd name="connsiteX415" fmla="*/ 5886612 w 12191996"/>
              <a:gd name="connsiteY415" fmla="*/ 6461584 h 6857997"/>
              <a:gd name="connsiteX416" fmla="*/ 5898401 w 12191996"/>
              <a:gd name="connsiteY416" fmla="*/ 6456067 h 6857997"/>
              <a:gd name="connsiteX417" fmla="*/ 5905276 w 12191996"/>
              <a:gd name="connsiteY417" fmla="*/ 6458127 h 6857997"/>
              <a:gd name="connsiteX418" fmla="*/ 5909634 w 12191996"/>
              <a:gd name="connsiteY418" fmla="*/ 6463958 h 6857997"/>
              <a:gd name="connsiteX419" fmla="*/ 5911030 w 12191996"/>
              <a:gd name="connsiteY419" fmla="*/ 6475901 h 6857997"/>
              <a:gd name="connsiteX420" fmla="*/ 5911030 w 12191996"/>
              <a:gd name="connsiteY420" fmla="*/ 6521016 h 6857997"/>
              <a:gd name="connsiteX421" fmla="*/ 5921285 w 12191996"/>
              <a:gd name="connsiteY421" fmla="*/ 6521016 h 6857997"/>
              <a:gd name="connsiteX422" fmla="*/ 5921285 w 12191996"/>
              <a:gd name="connsiteY422" fmla="*/ 6475461 h 6857997"/>
              <a:gd name="connsiteX423" fmla="*/ 5920030 w 12191996"/>
              <a:gd name="connsiteY423" fmla="*/ 6460253 h 6857997"/>
              <a:gd name="connsiteX424" fmla="*/ 5916235 w 12191996"/>
              <a:gd name="connsiteY424" fmla="*/ 6452195 h 6857997"/>
              <a:gd name="connsiteX425" fmla="*/ 5909549 w 12191996"/>
              <a:gd name="connsiteY425" fmla="*/ 6447172 h 6857997"/>
              <a:gd name="connsiteX426" fmla="*/ 5900531 w 12191996"/>
              <a:gd name="connsiteY426" fmla="*/ 6445253 h 6857997"/>
              <a:gd name="connsiteX427" fmla="*/ 5829842 w 12191996"/>
              <a:gd name="connsiteY427" fmla="*/ 6445253 h 6857997"/>
              <a:gd name="connsiteX428" fmla="*/ 5809436 w 12191996"/>
              <a:gd name="connsiteY428" fmla="*/ 6455020 h 6857997"/>
              <a:gd name="connsiteX429" fmla="*/ 5801381 w 12191996"/>
              <a:gd name="connsiteY429" fmla="*/ 6483972 h 6857997"/>
              <a:gd name="connsiteX430" fmla="*/ 5809506 w 12191996"/>
              <a:gd name="connsiteY430" fmla="*/ 6512889 h 6857997"/>
              <a:gd name="connsiteX431" fmla="*/ 5829842 w 12191996"/>
              <a:gd name="connsiteY431" fmla="*/ 6522691 h 6857997"/>
              <a:gd name="connsiteX432" fmla="*/ 5850285 w 12191996"/>
              <a:gd name="connsiteY432" fmla="*/ 6512924 h 6857997"/>
              <a:gd name="connsiteX433" fmla="*/ 5858305 w 12191996"/>
              <a:gd name="connsiteY433" fmla="*/ 6483205 h 6857997"/>
              <a:gd name="connsiteX434" fmla="*/ 5850144 w 12191996"/>
              <a:gd name="connsiteY434" fmla="*/ 6455020 h 6857997"/>
              <a:gd name="connsiteX435" fmla="*/ 5829842 w 12191996"/>
              <a:gd name="connsiteY435" fmla="*/ 6445253 h 6857997"/>
              <a:gd name="connsiteX436" fmla="*/ 2714271 w 12191996"/>
              <a:gd name="connsiteY436" fmla="*/ 6445253 h 6857997"/>
              <a:gd name="connsiteX437" fmla="*/ 2703162 w 12191996"/>
              <a:gd name="connsiteY437" fmla="*/ 6448271 h 6857997"/>
              <a:gd name="connsiteX438" fmla="*/ 2694979 w 12191996"/>
              <a:gd name="connsiteY438" fmla="*/ 6457393 h 6857997"/>
              <a:gd name="connsiteX439" fmla="*/ 2694979 w 12191996"/>
              <a:gd name="connsiteY439" fmla="*/ 6446928 h 6857997"/>
              <a:gd name="connsiteX440" fmla="*/ 2685702 w 12191996"/>
              <a:gd name="connsiteY440" fmla="*/ 6446928 h 6857997"/>
              <a:gd name="connsiteX441" fmla="*/ 2685702 w 12191996"/>
              <a:gd name="connsiteY441" fmla="*/ 6521016 h 6857997"/>
              <a:gd name="connsiteX442" fmla="*/ 2695956 w 12191996"/>
              <a:gd name="connsiteY442" fmla="*/ 6521016 h 6857997"/>
              <a:gd name="connsiteX443" fmla="*/ 2695956 w 12191996"/>
              <a:gd name="connsiteY443" fmla="*/ 6480510 h 6857997"/>
              <a:gd name="connsiteX444" fmla="*/ 2700353 w 12191996"/>
              <a:gd name="connsiteY444" fmla="*/ 6461584 h 6857997"/>
              <a:gd name="connsiteX445" fmla="*/ 2712140 w 12191996"/>
              <a:gd name="connsiteY445" fmla="*/ 6456067 h 6857997"/>
              <a:gd name="connsiteX446" fmla="*/ 2719012 w 12191996"/>
              <a:gd name="connsiteY446" fmla="*/ 6458127 h 6857997"/>
              <a:gd name="connsiteX447" fmla="*/ 2723374 w 12191996"/>
              <a:gd name="connsiteY447" fmla="*/ 6463958 h 6857997"/>
              <a:gd name="connsiteX448" fmla="*/ 2724768 w 12191996"/>
              <a:gd name="connsiteY448" fmla="*/ 6475901 h 6857997"/>
              <a:gd name="connsiteX449" fmla="*/ 2724768 w 12191996"/>
              <a:gd name="connsiteY449" fmla="*/ 6521016 h 6857997"/>
              <a:gd name="connsiteX450" fmla="*/ 2735023 w 12191996"/>
              <a:gd name="connsiteY450" fmla="*/ 6521016 h 6857997"/>
              <a:gd name="connsiteX451" fmla="*/ 2735023 w 12191996"/>
              <a:gd name="connsiteY451" fmla="*/ 6475461 h 6857997"/>
              <a:gd name="connsiteX452" fmla="*/ 2733768 w 12191996"/>
              <a:gd name="connsiteY452" fmla="*/ 6460253 h 6857997"/>
              <a:gd name="connsiteX453" fmla="*/ 2729976 w 12191996"/>
              <a:gd name="connsiteY453" fmla="*/ 6452195 h 6857997"/>
              <a:gd name="connsiteX454" fmla="*/ 2723290 w 12191996"/>
              <a:gd name="connsiteY454" fmla="*/ 6447172 h 6857997"/>
              <a:gd name="connsiteX455" fmla="*/ 2714271 w 12191996"/>
              <a:gd name="connsiteY455" fmla="*/ 6445253 h 6857997"/>
              <a:gd name="connsiteX456" fmla="*/ 2644839 w 12191996"/>
              <a:gd name="connsiteY456" fmla="*/ 6445253 h 6857997"/>
              <a:gd name="connsiteX457" fmla="*/ 2625967 w 12191996"/>
              <a:gd name="connsiteY457" fmla="*/ 6450695 h 6857997"/>
              <a:gd name="connsiteX458" fmla="*/ 2617211 w 12191996"/>
              <a:gd name="connsiteY458" fmla="*/ 6468066 h 6857997"/>
              <a:gd name="connsiteX459" fmla="*/ 2627327 w 12191996"/>
              <a:gd name="connsiteY459" fmla="*/ 6469740 h 6857997"/>
              <a:gd name="connsiteX460" fmla="*/ 2632562 w 12191996"/>
              <a:gd name="connsiteY460" fmla="*/ 6458558 h 6857997"/>
              <a:gd name="connsiteX461" fmla="*/ 2643303 w 12191996"/>
              <a:gd name="connsiteY461" fmla="*/ 6455578 h 6857997"/>
              <a:gd name="connsiteX462" fmla="*/ 2655093 w 12191996"/>
              <a:gd name="connsiteY462" fmla="*/ 6460043 h 6857997"/>
              <a:gd name="connsiteX463" fmla="*/ 2657815 w 12191996"/>
              <a:gd name="connsiteY463" fmla="*/ 6470717 h 6857997"/>
              <a:gd name="connsiteX464" fmla="*/ 2657744 w 12191996"/>
              <a:gd name="connsiteY464" fmla="*/ 6473926 h 6857997"/>
              <a:gd name="connsiteX465" fmla="*/ 2639327 w 12191996"/>
              <a:gd name="connsiteY465" fmla="*/ 6478321 h 6857997"/>
              <a:gd name="connsiteX466" fmla="*/ 2625374 w 12191996"/>
              <a:gd name="connsiteY466" fmla="*/ 6482437 h 6857997"/>
              <a:gd name="connsiteX467" fmla="*/ 2618117 w 12191996"/>
              <a:gd name="connsiteY467" fmla="*/ 6490181 h 6857997"/>
              <a:gd name="connsiteX468" fmla="*/ 2615466 w 12191996"/>
              <a:gd name="connsiteY468" fmla="*/ 6501552 h 6857997"/>
              <a:gd name="connsiteX469" fmla="*/ 2621117 w 12191996"/>
              <a:gd name="connsiteY469" fmla="*/ 6516970 h 6857997"/>
              <a:gd name="connsiteX470" fmla="*/ 2636258 w 12191996"/>
              <a:gd name="connsiteY470" fmla="*/ 6522691 h 6857997"/>
              <a:gd name="connsiteX471" fmla="*/ 2647837 w 12191996"/>
              <a:gd name="connsiteY471" fmla="*/ 6519969 h 6857997"/>
              <a:gd name="connsiteX472" fmla="*/ 2658582 w 12191996"/>
              <a:gd name="connsiteY472" fmla="*/ 6511876 h 6857997"/>
              <a:gd name="connsiteX473" fmla="*/ 2660674 w 12191996"/>
              <a:gd name="connsiteY473" fmla="*/ 6521016 h 6857997"/>
              <a:gd name="connsiteX474" fmla="*/ 2671419 w 12191996"/>
              <a:gd name="connsiteY474" fmla="*/ 6521016 h 6857997"/>
              <a:gd name="connsiteX475" fmla="*/ 2668802 w 12191996"/>
              <a:gd name="connsiteY475" fmla="*/ 6512121 h 6857997"/>
              <a:gd name="connsiteX476" fmla="*/ 2668139 w 12191996"/>
              <a:gd name="connsiteY476" fmla="*/ 6489972 h 6857997"/>
              <a:gd name="connsiteX477" fmla="*/ 2668139 w 12191996"/>
              <a:gd name="connsiteY477" fmla="*/ 6473228 h 6857997"/>
              <a:gd name="connsiteX478" fmla="*/ 2666708 w 12191996"/>
              <a:gd name="connsiteY478" fmla="*/ 6457741 h 6857997"/>
              <a:gd name="connsiteX479" fmla="*/ 2659837 w 12191996"/>
              <a:gd name="connsiteY479" fmla="*/ 6448846 h 6857997"/>
              <a:gd name="connsiteX480" fmla="*/ 2644839 w 12191996"/>
              <a:gd name="connsiteY480" fmla="*/ 6445253 h 6857997"/>
              <a:gd name="connsiteX481" fmla="*/ 2574815 w 12191996"/>
              <a:gd name="connsiteY481" fmla="*/ 6445253 h 6857997"/>
              <a:gd name="connsiteX482" fmla="*/ 2568151 w 12191996"/>
              <a:gd name="connsiteY482" fmla="*/ 6447800 h 6857997"/>
              <a:gd name="connsiteX483" fmla="*/ 2561629 w 12191996"/>
              <a:gd name="connsiteY483" fmla="*/ 6458160 h 6857997"/>
              <a:gd name="connsiteX484" fmla="*/ 2561629 w 12191996"/>
              <a:gd name="connsiteY484" fmla="*/ 6446928 h 6857997"/>
              <a:gd name="connsiteX485" fmla="*/ 2552350 w 12191996"/>
              <a:gd name="connsiteY485" fmla="*/ 6446928 h 6857997"/>
              <a:gd name="connsiteX486" fmla="*/ 2552350 w 12191996"/>
              <a:gd name="connsiteY486" fmla="*/ 6521016 h 6857997"/>
              <a:gd name="connsiteX487" fmla="*/ 2562605 w 12191996"/>
              <a:gd name="connsiteY487" fmla="*/ 6521016 h 6857997"/>
              <a:gd name="connsiteX488" fmla="*/ 2562605 w 12191996"/>
              <a:gd name="connsiteY488" fmla="*/ 6482228 h 6857997"/>
              <a:gd name="connsiteX489" fmla="*/ 2564558 w 12191996"/>
              <a:gd name="connsiteY489" fmla="*/ 6466950 h 6857997"/>
              <a:gd name="connsiteX490" fmla="*/ 2568395 w 12191996"/>
              <a:gd name="connsiteY490" fmla="*/ 6460532 h 6857997"/>
              <a:gd name="connsiteX491" fmla="*/ 2574395 w 12191996"/>
              <a:gd name="connsiteY491" fmla="*/ 6458229 h 6857997"/>
              <a:gd name="connsiteX492" fmla="*/ 2581860 w 12191996"/>
              <a:gd name="connsiteY492" fmla="*/ 6460950 h 6857997"/>
              <a:gd name="connsiteX493" fmla="*/ 2585348 w 12191996"/>
              <a:gd name="connsiteY493" fmla="*/ 6449300 h 6857997"/>
              <a:gd name="connsiteX494" fmla="*/ 2574815 w 12191996"/>
              <a:gd name="connsiteY494" fmla="*/ 6445253 h 6857997"/>
              <a:gd name="connsiteX495" fmla="*/ 2510583 w 12191996"/>
              <a:gd name="connsiteY495" fmla="*/ 6445253 h 6857997"/>
              <a:gd name="connsiteX496" fmla="*/ 2490178 w 12191996"/>
              <a:gd name="connsiteY496" fmla="*/ 6455334 h 6857997"/>
              <a:gd name="connsiteX497" fmla="*/ 2482119 w 12191996"/>
              <a:gd name="connsiteY497" fmla="*/ 6484600 h 6857997"/>
              <a:gd name="connsiteX498" fmla="*/ 2490104 w 12191996"/>
              <a:gd name="connsiteY498" fmla="*/ 6512889 h 6857997"/>
              <a:gd name="connsiteX499" fmla="*/ 2511000 w 12191996"/>
              <a:gd name="connsiteY499" fmla="*/ 6522691 h 6857997"/>
              <a:gd name="connsiteX500" fmla="*/ 2528195 w 12191996"/>
              <a:gd name="connsiteY500" fmla="*/ 6516656 h 6857997"/>
              <a:gd name="connsiteX501" fmla="*/ 2537790 w 12191996"/>
              <a:gd name="connsiteY501" fmla="*/ 6498762 h 6857997"/>
              <a:gd name="connsiteX502" fmla="*/ 2527186 w 12191996"/>
              <a:gd name="connsiteY502" fmla="*/ 6497157 h 6857997"/>
              <a:gd name="connsiteX503" fmla="*/ 2511068 w 12191996"/>
              <a:gd name="connsiteY503" fmla="*/ 6512366 h 6857997"/>
              <a:gd name="connsiteX504" fmla="*/ 2498511 w 12191996"/>
              <a:gd name="connsiteY504" fmla="*/ 6506017 h 6857997"/>
              <a:gd name="connsiteX505" fmla="*/ 2492723 w 12191996"/>
              <a:gd name="connsiteY505" fmla="*/ 6487181 h 6857997"/>
              <a:gd name="connsiteX506" fmla="*/ 2538068 w 12191996"/>
              <a:gd name="connsiteY506" fmla="*/ 6487181 h 6857997"/>
              <a:gd name="connsiteX507" fmla="*/ 2538139 w 12191996"/>
              <a:gd name="connsiteY507" fmla="*/ 6483832 h 6857997"/>
              <a:gd name="connsiteX508" fmla="*/ 2530255 w 12191996"/>
              <a:gd name="connsiteY508" fmla="*/ 6455160 h 6857997"/>
              <a:gd name="connsiteX509" fmla="*/ 2510583 w 12191996"/>
              <a:gd name="connsiteY509" fmla="*/ 6445253 h 6857997"/>
              <a:gd name="connsiteX510" fmla="*/ 1942743 w 12191996"/>
              <a:gd name="connsiteY510" fmla="*/ 6445253 h 6857997"/>
              <a:gd name="connsiteX511" fmla="*/ 1931635 w 12191996"/>
              <a:gd name="connsiteY511" fmla="*/ 6448271 h 6857997"/>
              <a:gd name="connsiteX512" fmla="*/ 1923452 w 12191996"/>
              <a:gd name="connsiteY512" fmla="*/ 6457393 h 6857997"/>
              <a:gd name="connsiteX513" fmla="*/ 1923452 w 12191996"/>
              <a:gd name="connsiteY513" fmla="*/ 6446928 h 6857997"/>
              <a:gd name="connsiteX514" fmla="*/ 1914173 w 12191996"/>
              <a:gd name="connsiteY514" fmla="*/ 6446928 h 6857997"/>
              <a:gd name="connsiteX515" fmla="*/ 1914173 w 12191996"/>
              <a:gd name="connsiteY515" fmla="*/ 6521016 h 6857997"/>
              <a:gd name="connsiteX516" fmla="*/ 1924429 w 12191996"/>
              <a:gd name="connsiteY516" fmla="*/ 6521016 h 6857997"/>
              <a:gd name="connsiteX517" fmla="*/ 1924429 w 12191996"/>
              <a:gd name="connsiteY517" fmla="*/ 6480510 h 6857997"/>
              <a:gd name="connsiteX518" fmla="*/ 1928824 w 12191996"/>
              <a:gd name="connsiteY518" fmla="*/ 6461584 h 6857997"/>
              <a:gd name="connsiteX519" fmla="*/ 1940614 w 12191996"/>
              <a:gd name="connsiteY519" fmla="*/ 6456067 h 6857997"/>
              <a:gd name="connsiteX520" fmla="*/ 1947485 w 12191996"/>
              <a:gd name="connsiteY520" fmla="*/ 6458127 h 6857997"/>
              <a:gd name="connsiteX521" fmla="*/ 1951846 w 12191996"/>
              <a:gd name="connsiteY521" fmla="*/ 6463958 h 6857997"/>
              <a:gd name="connsiteX522" fmla="*/ 1953242 w 12191996"/>
              <a:gd name="connsiteY522" fmla="*/ 6475901 h 6857997"/>
              <a:gd name="connsiteX523" fmla="*/ 1953242 w 12191996"/>
              <a:gd name="connsiteY523" fmla="*/ 6521016 h 6857997"/>
              <a:gd name="connsiteX524" fmla="*/ 1963497 w 12191996"/>
              <a:gd name="connsiteY524" fmla="*/ 6521016 h 6857997"/>
              <a:gd name="connsiteX525" fmla="*/ 1963497 w 12191996"/>
              <a:gd name="connsiteY525" fmla="*/ 6475461 h 6857997"/>
              <a:gd name="connsiteX526" fmla="*/ 1962243 w 12191996"/>
              <a:gd name="connsiteY526" fmla="*/ 6460253 h 6857997"/>
              <a:gd name="connsiteX527" fmla="*/ 1958447 w 12191996"/>
              <a:gd name="connsiteY527" fmla="*/ 6452195 h 6857997"/>
              <a:gd name="connsiteX528" fmla="*/ 1951761 w 12191996"/>
              <a:gd name="connsiteY528" fmla="*/ 6447172 h 6857997"/>
              <a:gd name="connsiteX529" fmla="*/ 1942743 w 12191996"/>
              <a:gd name="connsiteY529" fmla="*/ 6445253 h 6857997"/>
              <a:gd name="connsiteX530" fmla="*/ 1872055 w 12191996"/>
              <a:gd name="connsiteY530" fmla="*/ 6445253 h 6857997"/>
              <a:gd name="connsiteX531" fmla="*/ 1851649 w 12191996"/>
              <a:gd name="connsiteY531" fmla="*/ 6455020 h 6857997"/>
              <a:gd name="connsiteX532" fmla="*/ 1843593 w 12191996"/>
              <a:gd name="connsiteY532" fmla="*/ 6483972 h 6857997"/>
              <a:gd name="connsiteX533" fmla="*/ 1851719 w 12191996"/>
              <a:gd name="connsiteY533" fmla="*/ 6512889 h 6857997"/>
              <a:gd name="connsiteX534" fmla="*/ 1872055 w 12191996"/>
              <a:gd name="connsiteY534" fmla="*/ 6522691 h 6857997"/>
              <a:gd name="connsiteX535" fmla="*/ 1892496 w 12191996"/>
              <a:gd name="connsiteY535" fmla="*/ 6512924 h 6857997"/>
              <a:gd name="connsiteX536" fmla="*/ 1900519 w 12191996"/>
              <a:gd name="connsiteY536" fmla="*/ 6483205 h 6857997"/>
              <a:gd name="connsiteX537" fmla="*/ 1892356 w 12191996"/>
              <a:gd name="connsiteY537" fmla="*/ 6455020 h 6857997"/>
              <a:gd name="connsiteX538" fmla="*/ 1872055 w 12191996"/>
              <a:gd name="connsiteY538" fmla="*/ 6445253 h 6857997"/>
              <a:gd name="connsiteX539" fmla="*/ 1803287 w 12191996"/>
              <a:gd name="connsiteY539" fmla="*/ 6445253 h 6857997"/>
              <a:gd name="connsiteX540" fmla="*/ 1796625 w 12191996"/>
              <a:gd name="connsiteY540" fmla="*/ 6447800 h 6857997"/>
              <a:gd name="connsiteX541" fmla="*/ 1790103 w 12191996"/>
              <a:gd name="connsiteY541" fmla="*/ 6458160 h 6857997"/>
              <a:gd name="connsiteX542" fmla="*/ 1790103 w 12191996"/>
              <a:gd name="connsiteY542" fmla="*/ 6446928 h 6857997"/>
              <a:gd name="connsiteX543" fmla="*/ 1780823 w 12191996"/>
              <a:gd name="connsiteY543" fmla="*/ 6446928 h 6857997"/>
              <a:gd name="connsiteX544" fmla="*/ 1780823 w 12191996"/>
              <a:gd name="connsiteY544" fmla="*/ 6521016 h 6857997"/>
              <a:gd name="connsiteX545" fmla="*/ 1791079 w 12191996"/>
              <a:gd name="connsiteY545" fmla="*/ 6521016 h 6857997"/>
              <a:gd name="connsiteX546" fmla="*/ 1791079 w 12191996"/>
              <a:gd name="connsiteY546" fmla="*/ 6482228 h 6857997"/>
              <a:gd name="connsiteX547" fmla="*/ 1793032 w 12191996"/>
              <a:gd name="connsiteY547" fmla="*/ 6466950 h 6857997"/>
              <a:gd name="connsiteX548" fmla="*/ 1796869 w 12191996"/>
              <a:gd name="connsiteY548" fmla="*/ 6460532 h 6857997"/>
              <a:gd name="connsiteX549" fmla="*/ 1802869 w 12191996"/>
              <a:gd name="connsiteY549" fmla="*/ 6458229 h 6857997"/>
              <a:gd name="connsiteX550" fmla="*/ 1810333 w 12191996"/>
              <a:gd name="connsiteY550" fmla="*/ 6460950 h 6857997"/>
              <a:gd name="connsiteX551" fmla="*/ 1813822 w 12191996"/>
              <a:gd name="connsiteY551" fmla="*/ 6449300 h 6857997"/>
              <a:gd name="connsiteX552" fmla="*/ 1803287 w 12191996"/>
              <a:gd name="connsiteY552" fmla="*/ 6445253 h 6857997"/>
              <a:gd name="connsiteX553" fmla="*/ 1715748 w 12191996"/>
              <a:gd name="connsiteY553" fmla="*/ 6445253 h 6857997"/>
              <a:gd name="connsiteX554" fmla="*/ 1698935 w 12191996"/>
              <a:gd name="connsiteY554" fmla="*/ 6451183 h 6857997"/>
              <a:gd name="connsiteX555" fmla="*/ 1692866 w 12191996"/>
              <a:gd name="connsiteY555" fmla="*/ 6466601 h 6857997"/>
              <a:gd name="connsiteX556" fmla="*/ 1695099 w 12191996"/>
              <a:gd name="connsiteY556" fmla="*/ 6476438 h 6857997"/>
              <a:gd name="connsiteX557" fmla="*/ 1701377 w 12191996"/>
              <a:gd name="connsiteY557" fmla="*/ 6483344 h 6857997"/>
              <a:gd name="connsiteX558" fmla="*/ 1717423 w 12191996"/>
              <a:gd name="connsiteY558" fmla="*/ 6489623 h 6857997"/>
              <a:gd name="connsiteX559" fmla="*/ 1727887 w 12191996"/>
              <a:gd name="connsiteY559" fmla="*/ 6493809 h 6857997"/>
              <a:gd name="connsiteX560" fmla="*/ 1731026 w 12191996"/>
              <a:gd name="connsiteY560" fmla="*/ 6500645 h 6857997"/>
              <a:gd name="connsiteX561" fmla="*/ 1727373 w 12191996"/>
              <a:gd name="connsiteY561" fmla="*/ 6509052 h 6857997"/>
              <a:gd name="connsiteX562" fmla="*/ 1717037 w 12191996"/>
              <a:gd name="connsiteY562" fmla="*/ 6512366 h 6857997"/>
              <a:gd name="connsiteX563" fmla="*/ 1706319 w 12191996"/>
              <a:gd name="connsiteY563" fmla="*/ 6508546 h 6857997"/>
              <a:gd name="connsiteX564" fmla="*/ 1701377 w 12191996"/>
              <a:gd name="connsiteY564" fmla="*/ 6496878 h 6857997"/>
              <a:gd name="connsiteX565" fmla="*/ 1691122 w 12191996"/>
              <a:gd name="connsiteY565" fmla="*/ 6498832 h 6857997"/>
              <a:gd name="connsiteX566" fmla="*/ 1716446 w 12191996"/>
              <a:gd name="connsiteY566" fmla="*/ 6522691 h 6857997"/>
              <a:gd name="connsiteX567" fmla="*/ 1734829 w 12191996"/>
              <a:gd name="connsiteY567" fmla="*/ 6516121 h 6857997"/>
              <a:gd name="connsiteX568" fmla="*/ 1741562 w 12191996"/>
              <a:gd name="connsiteY568" fmla="*/ 6498930 h 6857997"/>
              <a:gd name="connsiteX569" fmla="*/ 1739475 w 12191996"/>
              <a:gd name="connsiteY569" fmla="*/ 6489041 h 6857997"/>
              <a:gd name="connsiteX570" fmla="*/ 1733637 w 12191996"/>
              <a:gd name="connsiteY570" fmla="*/ 6482472 h 6857997"/>
              <a:gd name="connsiteX571" fmla="*/ 1717100 w 12191996"/>
              <a:gd name="connsiteY571" fmla="*/ 6476005 h 6857997"/>
              <a:gd name="connsiteX572" fmla="*/ 1705917 w 12191996"/>
              <a:gd name="connsiteY572" fmla="*/ 6471559 h 6857997"/>
              <a:gd name="connsiteX573" fmla="*/ 1702772 w 12191996"/>
              <a:gd name="connsiteY573" fmla="*/ 6465097 h 6857997"/>
              <a:gd name="connsiteX574" fmla="*/ 1706052 w 12191996"/>
              <a:gd name="connsiteY574" fmla="*/ 6458253 h 6857997"/>
              <a:gd name="connsiteX575" fmla="*/ 1716027 w 12191996"/>
              <a:gd name="connsiteY575" fmla="*/ 6455578 h 6857997"/>
              <a:gd name="connsiteX576" fmla="*/ 1729213 w 12191996"/>
              <a:gd name="connsiteY576" fmla="*/ 6467717 h 6857997"/>
              <a:gd name="connsiteX577" fmla="*/ 1739260 w 12191996"/>
              <a:gd name="connsiteY577" fmla="*/ 6466043 h 6857997"/>
              <a:gd name="connsiteX578" fmla="*/ 1735491 w 12191996"/>
              <a:gd name="connsiteY578" fmla="*/ 6454253 h 6857997"/>
              <a:gd name="connsiteX579" fmla="*/ 1727643 w 12191996"/>
              <a:gd name="connsiteY579" fmla="*/ 6447695 h 6857997"/>
              <a:gd name="connsiteX580" fmla="*/ 1715748 w 12191996"/>
              <a:gd name="connsiteY580" fmla="*/ 6445253 h 6857997"/>
              <a:gd name="connsiteX581" fmla="*/ 1656992 w 12191996"/>
              <a:gd name="connsiteY581" fmla="*/ 6445253 h 6857997"/>
              <a:gd name="connsiteX582" fmla="*/ 1645885 w 12191996"/>
              <a:gd name="connsiteY582" fmla="*/ 6448271 h 6857997"/>
              <a:gd name="connsiteX583" fmla="*/ 1637702 w 12191996"/>
              <a:gd name="connsiteY583" fmla="*/ 6457393 h 6857997"/>
              <a:gd name="connsiteX584" fmla="*/ 1637702 w 12191996"/>
              <a:gd name="connsiteY584" fmla="*/ 6446928 h 6857997"/>
              <a:gd name="connsiteX585" fmla="*/ 1628424 w 12191996"/>
              <a:gd name="connsiteY585" fmla="*/ 6446928 h 6857997"/>
              <a:gd name="connsiteX586" fmla="*/ 1628424 w 12191996"/>
              <a:gd name="connsiteY586" fmla="*/ 6521016 h 6857997"/>
              <a:gd name="connsiteX587" fmla="*/ 1638679 w 12191996"/>
              <a:gd name="connsiteY587" fmla="*/ 6521016 h 6857997"/>
              <a:gd name="connsiteX588" fmla="*/ 1638679 w 12191996"/>
              <a:gd name="connsiteY588" fmla="*/ 6480510 h 6857997"/>
              <a:gd name="connsiteX589" fmla="*/ 1643074 w 12191996"/>
              <a:gd name="connsiteY589" fmla="*/ 6461584 h 6857997"/>
              <a:gd name="connsiteX590" fmla="*/ 1654864 w 12191996"/>
              <a:gd name="connsiteY590" fmla="*/ 6456067 h 6857997"/>
              <a:gd name="connsiteX591" fmla="*/ 1661735 w 12191996"/>
              <a:gd name="connsiteY591" fmla="*/ 6458127 h 6857997"/>
              <a:gd name="connsiteX592" fmla="*/ 1666095 w 12191996"/>
              <a:gd name="connsiteY592" fmla="*/ 6463958 h 6857997"/>
              <a:gd name="connsiteX593" fmla="*/ 1667491 w 12191996"/>
              <a:gd name="connsiteY593" fmla="*/ 6475901 h 6857997"/>
              <a:gd name="connsiteX594" fmla="*/ 1667491 w 12191996"/>
              <a:gd name="connsiteY594" fmla="*/ 6521016 h 6857997"/>
              <a:gd name="connsiteX595" fmla="*/ 1677746 w 12191996"/>
              <a:gd name="connsiteY595" fmla="*/ 6521016 h 6857997"/>
              <a:gd name="connsiteX596" fmla="*/ 1677746 w 12191996"/>
              <a:gd name="connsiteY596" fmla="*/ 6475461 h 6857997"/>
              <a:gd name="connsiteX597" fmla="*/ 1676493 w 12191996"/>
              <a:gd name="connsiteY597" fmla="*/ 6460253 h 6857997"/>
              <a:gd name="connsiteX598" fmla="*/ 1672697 w 12191996"/>
              <a:gd name="connsiteY598" fmla="*/ 6452195 h 6857997"/>
              <a:gd name="connsiteX599" fmla="*/ 1666011 w 12191996"/>
              <a:gd name="connsiteY599" fmla="*/ 6447172 h 6857997"/>
              <a:gd name="connsiteX600" fmla="*/ 1656992 w 12191996"/>
              <a:gd name="connsiteY600" fmla="*/ 6445253 h 6857997"/>
              <a:gd name="connsiteX601" fmla="*/ 1586654 w 12191996"/>
              <a:gd name="connsiteY601" fmla="*/ 6445253 h 6857997"/>
              <a:gd name="connsiteX602" fmla="*/ 1566248 w 12191996"/>
              <a:gd name="connsiteY602" fmla="*/ 6455334 h 6857997"/>
              <a:gd name="connsiteX603" fmla="*/ 1558191 w 12191996"/>
              <a:gd name="connsiteY603" fmla="*/ 6484600 h 6857997"/>
              <a:gd name="connsiteX604" fmla="*/ 1566178 w 12191996"/>
              <a:gd name="connsiteY604" fmla="*/ 6512889 h 6857997"/>
              <a:gd name="connsiteX605" fmla="*/ 1587073 w 12191996"/>
              <a:gd name="connsiteY605" fmla="*/ 6522691 h 6857997"/>
              <a:gd name="connsiteX606" fmla="*/ 1604269 w 12191996"/>
              <a:gd name="connsiteY606" fmla="*/ 6516656 h 6857997"/>
              <a:gd name="connsiteX607" fmla="*/ 1613862 w 12191996"/>
              <a:gd name="connsiteY607" fmla="*/ 6498762 h 6857997"/>
              <a:gd name="connsiteX608" fmla="*/ 1603258 w 12191996"/>
              <a:gd name="connsiteY608" fmla="*/ 6497157 h 6857997"/>
              <a:gd name="connsiteX609" fmla="*/ 1587142 w 12191996"/>
              <a:gd name="connsiteY609" fmla="*/ 6512366 h 6857997"/>
              <a:gd name="connsiteX610" fmla="*/ 1574585 w 12191996"/>
              <a:gd name="connsiteY610" fmla="*/ 6506017 h 6857997"/>
              <a:gd name="connsiteX611" fmla="*/ 1568795 w 12191996"/>
              <a:gd name="connsiteY611" fmla="*/ 6487181 h 6857997"/>
              <a:gd name="connsiteX612" fmla="*/ 1614140 w 12191996"/>
              <a:gd name="connsiteY612" fmla="*/ 6487181 h 6857997"/>
              <a:gd name="connsiteX613" fmla="*/ 1614210 w 12191996"/>
              <a:gd name="connsiteY613" fmla="*/ 6483832 h 6857997"/>
              <a:gd name="connsiteX614" fmla="*/ 1606327 w 12191996"/>
              <a:gd name="connsiteY614" fmla="*/ 6455160 h 6857997"/>
              <a:gd name="connsiteX615" fmla="*/ 1586654 w 12191996"/>
              <a:gd name="connsiteY615" fmla="*/ 6445253 h 6857997"/>
              <a:gd name="connsiteX616" fmla="*/ 1317373 w 12191996"/>
              <a:gd name="connsiteY616" fmla="*/ 6445253 h 6857997"/>
              <a:gd name="connsiteX617" fmla="*/ 1304152 w 12191996"/>
              <a:gd name="connsiteY617" fmla="*/ 6449439 h 6857997"/>
              <a:gd name="connsiteX618" fmla="*/ 1294630 w 12191996"/>
              <a:gd name="connsiteY618" fmla="*/ 6462555 h 6857997"/>
              <a:gd name="connsiteX619" fmla="*/ 1291002 w 12191996"/>
              <a:gd name="connsiteY619" fmla="*/ 6483414 h 6857997"/>
              <a:gd name="connsiteX620" fmla="*/ 1299234 w 12191996"/>
              <a:gd name="connsiteY620" fmla="*/ 6511808 h 6857997"/>
              <a:gd name="connsiteX621" fmla="*/ 1317303 w 12191996"/>
              <a:gd name="connsiteY621" fmla="*/ 6521016 h 6857997"/>
              <a:gd name="connsiteX622" fmla="*/ 1326581 w 12191996"/>
              <a:gd name="connsiteY622" fmla="*/ 6518591 h 6857997"/>
              <a:gd name="connsiteX623" fmla="*/ 1334116 w 12191996"/>
              <a:gd name="connsiteY623" fmla="*/ 6511385 h 6857997"/>
              <a:gd name="connsiteX624" fmla="*/ 1333209 w 12191996"/>
              <a:gd name="connsiteY624" fmla="*/ 6527851 h 6857997"/>
              <a:gd name="connsiteX625" fmla="*/ 1327732 w 12191996"/>
              <a:gd name="connsiteY625" fmla="*/ 6537515 h 6857997"/>
              <a:gd name="connsiteX626" fmla="*/ 1316954 w 12191996"/>
              <a:gd name="connsiteY626" fmla="*/ 6540759 h 6857997"/>
              <a:gd name="connsiteX627" fmla="*/ 1307257 w 12191996"/>
              <a:gd name="connsiteY627" fmla="*/ 6537847 h 6857997"/>
              <a:gd name="connsiteX628" fmla="*/ 1303071 w 12191996"/>
              <a:gd name="connsiteY628" fmla="*/ 6528969 h 6857997"/>
              <a:gd name="connsiteX629" fmla="*/ 1293025 w 12191996"/>
              <a:gd name="connsiteY629" fmla="*/ 6527155 h 6857997"/>
              <a:gd name="connsiteX630" fmla="*/ 1299164 w 12191996"/>
              <a:gd name="connsiteY630" fmla="*/ 6544736 h 6857997"/>
              <a:gd name="connsiteX631" fmla="*/ 1317303 w 12191996"/>
              <a:gd name="connsiteY631" fmla="*/ 6551084 h 6857997"/>
              <a:gd name="connsiteX632" fmla="*/ 1332581 w 12191996"/>
              <a:gd name="connsiteY632" fmla="*/ 6546864 h 6857997"/>
              <a:gd name="connsiteX633" fmla="*/ 1341720 w 12191996"/>
              <a:gd name="connsiteY633" fmla="*/ 6535353 h 6857997"/>
              <a:gd name="connsiteX634" fmla="*/ 1344510 w 12191996"/>
              <a:gd name="connsiteY634" fmla="*/ 6510970 h 6857997"/>
              <a:gd name="connsiteX635" fmla="*/ 1344510 w 12191996"/>
              <a:gd name="connsiteY635" fmla="*/ 6446928 h 6857997"/>
              <a:gd name="connsiteX636" fmla="*/ 1335023 w 12191996"/>
              <a:gd name="connsiteY636" fmla="*/ 6446928 h 6857997"/>
              <a:gd name="connsiteX637" fmla="*/ 1335023 w 12191996"/>
              <a:gd name="connsiteY637" fmla="*/ 6455788 h 6857997"/>
              <a:gd name="connsiteX638" fmla="*/ 1327174 w 12191996"/>
              <a:gd name="connsiteY638" fmla="*/ 6447887 h 6857997"/>
              <a:gd name="connsiteX639" fmla="*/ 1317373 w 12191996"/>
              <a:gd name="connsiteY639" fmla="*/ 6445253 h 6857997"/>
              <a:gd name="connsiteX640" fmla="*/ 1250837 w 12191996"/>
              <a:gd name="connsiteY640" fmla="*/ 6445253 h 6857997"/>
              <a:gd name="connsiteX641" fmla="*/ 1244175 w 12191996"/>
              <a:gd name="connsiteY641" fmla="*/ 6447800 h 6857997"/>
              <a:gd name="connsiteX642" fmla="*/ 1237652 w 12191996"/>
              <a:gd name="connsiteY642" fmla="*/ 6458160 h 6857997"/>
              <a:gd name="connsiteX643" fmla="*/ 1237652 w 12191996"/>
              <a:gd name="connsiteY643" fmla="*/ 6446928 h 6857997"/>
              <a:gd name="connsiteX644" fmla="*/ 1230699 w 12191996"/>
              <a:gd name="connsiteY644" fmla="*/ 6446928 h 6857997"/>
              <a:gd name="connsiteX645" fmla="*/ 1228373 w 12191996"/>
              <a:gd name="connsiteY645" fmla="*/ 6446928 h 6857997"/>
              <a:gd name="connsiteX646" fmla="*/ 1220375 w 12191996"/>
              <a:gd name="connsiteY646" fmla="*/ 6446928 h 6857997"/>
              <a:gd name="connsiteX647" fmla="*/ 1207398 w 12191996"/>
              <a:gd name="connsiteY647" fmla="*/ 6490087 h 6857997"/>
              <a:gd name="connsiteX648" fmla="*/ 1203212 w 12191996"/>
              <a:gd name="connsiteY648" fmla="*/ 6506961 h 6857997"/>
              <a:gd name="connsiteX649" fmla="*/ 1198817 w 12191996"/>
              <a:gd name="connsiteY649" fmla="*/ 6489809 h 6857997"/>
              <a:gd name="connsiteX650" fmla="*/ 1186120 w 12191996"/>
              <a:gd name="connsiteY650" fmla="*/ 6446928 h 6857997"/>
              <a:gd name="connsiteX651" fmla="*/ 1175028 w 12191996"/>
              <a:gd name="connsiteY651" fmla="*/ 6446928 h 6857997"/>
              <a:gd name="connsiteX652" fmla="*/ 1198138 w 12191996"/>
              <a:gd name="connsiteY652" fmla="*/ 6521126 h 6857997"/>
              <a:gd name="connsiteX653" fmla="*/ 1194086 w 12191996"/>
              <a:gd name="connsiteY653" fmla="*/ 6533432 h 6857997"/>
              <a:gd name="connsiteX654" fmla="*/ 1190560 w 12191996"/>
              <a:gd name="connsiteY654" fmla="*/ 6537550 h 6857997"/>
              <a:gd name="connsiteX655" fmla="*/ 1185149 w 12191996"/>
              <a:gd name="connsiteY655" fmla="*/ 6538876 h 6857997"/>
              <a:gd name="connsiteX656" fmla="*/ 1179283 w 12191996"/>
              <a:gd name="connsiteY656" fmla="*/ 6537759 h 6857997"/>
              <a:gd name="connsiteX657" fmla="*/ 1180400 w 12191996"/>
              <a:gd name="connsiteY657" fmla="*/ 6549549 h 6857997"/>
              <a:gd name="connsiteX658" fmla="*/ 1187038 w 12191996"/>
              <a:gd name="connsiteY658" fmla="*/ 6551084 h 6857997"/>
              <a:gd name="connsiteX659" fmla="*/ 1194549 w 12191996"/>
              <a:gd name="connsiteY659" fmla="*/ 6548922 h 6857997"/>
              <a:gd name="connsiteX660" fmla="*/ 1200489 w 12191996"/>
              <a:gd name="connsiteY660" fmla="*/ 6541841 h 6857997"/>
              <a:gd name="connsiteX661" fmla="*/ 1207651 w 12191996"/>
              <a:gd name="connsiteY661" fmla="*/ 6522272 h 6857997"/>
              <a:gd name="connsiteX662" fmla="*/ 1228373 w 12191996"/>
              <a:gd name="connsiteY662" fmla="*/ 6454530 h 6857997"/>
              <a:gd name="connsiteX663" fmla="*/ 1228373 w 12191996"/>
              <a:gd name="connsiteY663" fmla="*/ 6521016 h 6857997"/>
              <a:gd name="connsiteX664" fmla="*/ 1238629 w 12191996"/>
              <a:gd name="connsiteY664" fmla="*/ 6521016 h 6857997"/>
              <a:gd name="connsiteX665" fmla="*/ 1238629 w 12191996"/>
              <a:gd name="connsiteY665" fmla="*/ 6482228 h 6857997"/>
              <a:gd name="connsiteX666" fmla="*/ 1240582 w 12191996"/>
              <a:gd name="connsiteY666" fmla="*/ 6466950 h 6857997"/>
              <a:gd name="connsiteX667" fmla="*/ 1244419 w 12191996"/>
              <a:gd name="connsiteY667" fmla="*/ 6460532 h 6857997"/>
              <a:gd name="connsiteX668" fmla="*/ 1250419 w 12191996"/>
              <a:gd name="connsiteY668" fmla="*/ 6458229 h 6857997"/>
              <a:gd name="connsiteX669" fmla="*/ 1257883 w 12191996"/>
              <a:gd name="connsiteY669" fmla="*/ 6460950 h 6857997"/>
              <a:gd name="connsiteX670" fmla="*/ 1261371 w 12191996"/>
              <a:gd name="connsiteY670" fmla="*/ 6449300 h 6857997"/>
              <a:gd name="connsiteX671" fmla="*/ 1250837 w 12191996"/>
              <a:gd name="connsiteY671" fmla="*/ 6445253 h 6857997"/>
              <a:gd name="connsiteX672" fmla="*/ 1141043 w 12191996"/>
              <a:gd name="connsiteY672" fmla="*/ 6445253 h 6857997"/>
              <a:gd name="connsiteX673" fmla="*/ 1131292 w 12191996"/>
              <a:gd name="connsiteY673" fmla="*/ 6447904 h 6857997"/>
              <a:gd name="connsiteX674" fmla="*/ 1123561 w 12191996"/>
              <a:gd name="connsiteY674" fmla="*/ 6456555 h 6857997"/>
              <a:gd name="connsiteX675" fmla="*/ 1123561 w 12191996"/>
              <a:gd name="connsiteY675" fmla="*/ 6446928 h 6857997"/>
              <a:gd name="connsiteX676" fmla="*/ 1114073 w 12191996"/>
              <a:gd name="connsiteY676" fmla="*/ 6446928 h 6857997"/>
              <a:gd name="connsiteX677" fmla="*/ 1114073 w 12191996"/>
              <a:gd name="connsiteY677" fmla="*/ 6549410 h 6857997"/>
              <a:gd name="connsiteX678" fmla="*/ 1124329 w 12191996"/>
              <a:gd name="connsiteY678" fmla="*/ 6549410 h 6857997"/>
              <a:gd name="connsiteX679" fmla="*/ 1124329 w 12191996"/>
              <a:gd name="connsiteY679" fmla="*/ 6513342 h 6857997"/>
              <a:gd name="connsiteX680" fmla="*/ 1131444 w 12191996"/>
              <a:gd name="connsiteY680" fmla="*/ 6520249 h 6857997"/>
              <a:gd name="connsiteX681" fmla="*/ 1140304 w 12191996"/>
              <a:gd name="connsiteY681" fmla="*/ 6522691 h 6857997"/>
              <a:gd name="connsiteX682" fmla="*/ 1158896 w 12191996"/>
              <a:gd name="connsiteY682" fmla="*/ 6512470 h 6857997"/>
              <a:gd name="connsiteX683" fmla="*/ 1166814 w 12191996"/>
              <a:gd name="connsiteY683" fmla="*/ 6483344 h 6857997"/>
              <a:gd name="connsiteX684" fmla="*/ 1163297 w 12191996"/>
              <a:gd name="connsiteY684" fmla="*/ 6462450 h 6857997"/>
              <a:gd name="connsiteX685" fmla="*/ 1153999 w 12191996"/>
              <a:gd name="connsiteY685" fmla="*/ 6449509 h 6857997"/>
              <a:gd name="connsiteX686" fmla="*/ 1141043 w 12191996"/>
              <a:gd name="connsiteY686" fmla="*/ 6445253 h 6857997"/>
              <a:gd name="connsiteX687" fmla="*/ 1071955 w 12191996"/>
              <a:gd name="connsiteY687" fmla="*/ 6445253 h 6857997"/>
              <a:gd name="connsiteX688" fmla="*/ 1051549 w 12191996"/>
              <a:gd name="connsiteY688" fmla="*/ 6455020 h 6857997"/>
              <a:gd name="connsiteX689" fmla="*/ 1043492 w 12191996"/>
              <a:gd name="connsiteY689" fmla="*/ 6483972 h 6857997"/>
              <a:gd name="connsiteX690" fmla="*/ 1051619 w 12191996"/>
              <a:gd name="connsiteY690" fmla="*/ 6512889 h 6857997"/>
              <a:gd name="connsiteX691" fmla="*/ 1071955 w 12191996"/>
              <a:gd name="connsiteY691" fmla="*/ 6522691 h 6857997"/>
              <a:gd name="connsiteX692" fmla="*/ 1092396 w 12191996"/>
              <a:gd name="connsiteY692" fmla="*/ 6512924 h 6857997"/>
              <a:gd name="connsiteX693" fmla="*/ 1100419 w 12191996"/>
              <a:gd name="connsiteY693" fmla="*/ 6483205 h 6857997"/>
              <a:gd name="connsiteX694" fmla="*/ 1092256 w 12191996"/>
              <a:gd name="connsiteY694" fmla="*/ 6455020 h 6857997"/>
              <a:gd name="connsiteX695" fmla="*/ 1071955 w 12191996"/>
              <a:gd name="connsiteY695" fmla="*/ 6445253 h 6857997"/>
              <a:gd name="connsiteX696" fmla="*/ 883898 w 12191996"/>
              <a:gd name="connsiteY696" fmla="*/ 6440021 h 6857997"/>
              <a:gd name="connsiteX697" fmla="*/ 867092 w 12191996"/>
              <a:gd name="connsiteY697" fmla="*/ 6447643 h 6857997"/>
              <a:gd name="connsiteX698" fmla="*/ 860698 w 12191996"/>
              <a:gd name="connsiteY698" fmla="*/ 6469810 h 6857997"/>
              <a:gd name="connsiteX699" fmla="*/ 867162 w 12191996"/>
              <a:gd name="connsiteY699" fmla="*/ 6492116 h 6857997"/>
              <a:gd name="connsiteX700" fmla="*/ 883407 w 12191996"/>
              <a:gd name="connsiteY700" fmla="*/ 6499878 h 6857997"/>
              <a:gd name="connsiteX701" fmla="*/ 896719 w 12191996"/>
              <a:gd name="connsiteY701" fmla="*/ 6494820 h 6857997"/>
              <a:gd name="connsiteX702" fmla="*/ 904161 w 12191996"/>
              <a:gd name="connsiteY702" fmla="*/ 6480763 h 6857997"/>
              <a:gd name="connsiteX703" fmla="*/ 897184 w 12191996"/>
              <a:gd name="connsiteY703" fmla="*/ 6478251 h 6857997"/>
              <a:gd name="connsiteX704" fmla="*/ 891869 w 12191996"/>
              <a:gd name="connsiteY704" fmla="*/ 6488193 h 6857997"/>
              <a:gd name="connsiteX705" fmla="*/ 882848 w 12191996"/>
              <a:gd name="connsiteY705" fmla="*/ 6491716 h 6857997"/>
              <a:gd name="connsiteX706" fmla="*/ 872568 w 12191996"/>
              <a:gd name="connsiteY706" fmla="*/ 6486327 h 6857997"/>
              <a:gd name="connsiteX707" fmla="*/ 868442 w 12191996"/>
              <a:gd name="connsiteY707" fmla="*/ 6470301 h 6857997"/>
              <a:gd name="connsiteX708" fmla="*/ 872778 w 12191996"/>
              <a:gd name="connsiteY708" fmla="*/ 6453503 h 6857997"/>
              <a:gd name="connsiteX709" fmla="*/ 883619 w 12191996"/>
              <a:gd name="connsiteY709" fmla="*/ 6447835 h 6857997"/>
              <a:gd name="connsiteX710" fmla="*/ 891347 w 12191996"/>
              <a:gd name="connsiteY710" fmla="*/ 6450521 h 6857997"/>
              <a:gd name="connsiteX711" fmla="*/ 896487 w 12191996"/>
              <a:gd name="connsiteY711" fmla="*/ 6458508 h 6857997"/>
              <a:gd name="connsiteX712" fmla="*/ 903324 w 12191996"/>
              <a:gd name="connsiteY712" fmla="*/ 6456485 h 6857997"/>
              <a:gd name="connsiteX713" fmla="*/ 896266 w 12191996"/>
              <a:gd name="connsiteY713" fmla="*/ 6444347 h 6857997"/>
              <a:gd name="connsiteX714" fmla="*/ 883898 w 12191996"/>
              <a:gd name="connsiteY714" fmla="*/ 6440021 h 6857997"/>
              <a:gd name="connsiteX715" fmla="*/ 2030141 w 12191996"/>
              <a:gd name="connsiteY715" fmla="*/ 6429487 h 6857997"/>
              <a:gd name="connsiteX716" fmla="*/ 2036069 w 12191996"/>
              <a:gd name="connsiteY716" fmla="*/ 6450695 h 6857997"/>
              <a:gd name="connsiteX717" fmla="*/ 2044784 w 12191996"/>
              <a:gd name="connsiteY717" fmla="*/ 6479019 h 6857997"/>
              <a:gd name="connsiteX718" fmla="*/ 2016217 w 12191996"/>
              <a:gd name="connsiteY718" fmla="*/ 6479019 h 6857997"/>
              <a:gd name="connsiteX719" fmla="*/ 2025546 w 12191996"/>
              <a:gd name="connsiteY719" fmla="*/ 6449021 h 6857997"/>
              <a:gd name="connsiteX720" fmla="*/ 2030141 w 12191996"/>
              <a:gd name="connsiteY720" fmla="*/ 6429487 h 6857997"/>
              <a:gd name="connsiteX721" fmla="*/ 883232 w 12191996"/>
              <a:gd name="connsiteY721" fmla="*/ 6425650 h 6857997"/>
              <a:gd name="connsiteX722" fmla="*/ 907928 w 12191996"/>
              <a:gd name="connsiteY722" fmla="*/ 6437739 h 6857997"/>
              <a:gd name="connsiteX723" fmla="*/ 919230 w 12191996"/>
              <a:gd name="connsiteY723" fmla="*/ 6469671 h 6857997"/>
              <a:gd name="connsiteX724" fmla="*/ 909323 w 12191996"/>
              <a:gd name="connsiteY724" fmla="*/ 6499926 h 6857997"/>
              <a:gd name="connsiteX725" fmla="*/ 883232 w 12191996"/>
              <a:gd name="connsiteY725" fmla="*/ 6513621 h 6857997"/>
              <a:gd name="connsiteX726" fmla="*/ 858536 w 12191996"/>
              <a:gd name="connsiteY726" fmla="*/ 6501604 h 6857997"/>
              <a:gd name="connsiteX727" fmla="*/ 847234 w 12191996"/>
              <a:gd name="connsiteY727" fmla="*/ 6469671 h 6857997"/>
              <a:gd name="connsiteX728" fmla="*/ 857140 w 12191996"/>
              <a:gd name="connsiteY728" fmla="*/ 6439345 h 6857997"/>
              <a:gd name="connsiteX729" fmla="*/ 883232 w 12191996"/>
              <a:gd name="connsiteY729" fmla="*/ 6425650 h 6857997"/>
              <a:gd name="connsiteX730" fmla="*/ 6208297 w 12191996"/>
              <a:gd name="connsiteY730" fmla="*/ 6421046 h 6857997"/>
              <a:gd name="connsiteX731" fmla="*/ 6198042 w 12191996"/>
              <a:gd name="connsiteY731" fmla="*/ 6428580 h 6857997"/>
              <a:gd name="connsiteX732" fmla="*/ 6198042 w 12191996"/>
              <a:gd name="connsiteY732" fmla="*/ 6446928 h 6857997"/>
              <a:gd name="connsiteX733" fmla="*/ 6190507 w 12191996"/>
              <a:gd name="connsiteY733" fmla="*/ 6446928 h 6857997"/>
              <a:gd name="connsiteX734" fmla="*/ 6190507 w 12191996"/>
              <a:gd name="connsiteY734" fmla="*/ 6456695 h 6857997"/>
              <a:gd name="connsiteX735" fmla="*/ 6198042 w 12191996"/>
              <a:gd name="connsiteY735" fmla="*/ 6456695 h 6857997"/>
              <a:gd name="connsiteX736" fmla="*/ 6198042 w 12191996"/>
              <a:gd name="connsiteY736" fmla="*/ 6499320 h 6857997"/>
              <a:gd name="connsiteX737" fmla="*/ 6199263 w 12191996"/>
              <a:gd name="connsiteY737" fmla="*/ 6514040 h 6857997"/>
              <a:gd name="connsiteX738" fmla="*/ 6203762 w 12191996"/>
              <a:gd name="connsiteY738" fmla="*/ 6519865 h 6857997"/>
              <a:gd name="connsiteX739" fmla="*/ 6212413 w 12191996"/>
              <a:gd name="connsiteY739" fmla="*/ 6521993 h 6857997"/>
              <a:gd name="connsiteX740" fmla="*/ 6220087 w 12191996"/>
              <a:gd name="connsiteY740" fmla="*/ 6520877 h 6857997"/>
              <a:gd name="connsiteX741" fmla="*/ 6218692 w 12191996"/>
              <a:gd name="connsiteY741" fmla="*/ 6509784 h 6857997"/>
              <a:gd name="connsiteX742" fmla="*/ 6214157 w 12191996"/>
              <a:gd name="connsiteY742" fmla="*/ 6510273 h 6857997"/>
              <a:gd name="connsiteX743" fmla="*/ 6209204 w 12191996"/>
              <a:gd name="connsiteY743" fmla="*/ 6507761 h 6857997"/>
              <a:gd name="connsiteX744" fmla="*/ 6208297 w 12191996"/>
              <a:gd name="connsiteY744" fmla="*/ 6500018 h 6857997"/>
              <a:gd name="connsiteX745" fmla="*/ 6208297 w 12191996"/>
              <a:gd name="connsiteY745" fmla="*/ 6456695 h 6857997"/>
              <a:gd name="connsiteX746" fmla="*/ 6218692 w 12191996"/>
              <a:gd name="connsiteY746" fmla="*/ 6456695 h 6857997"/>
              <a:gd name="connsiteX747" fmla="*/ 6218692 w 12191996"/>
              <a:gd name="connsiteY747" fmla="*/ 6446928 h 6857997"/>
              <a:gd name="connsiteX748" fmla="*/ 6208297 w 12191996"/>
              <a:gd name="connsiteY748" fmla="*/ 6446928 h 6857997"/>
              <a:gd name="connsiteX749" fmla="*/ 2421963 w 12191996"/>
              <a:gd name="connsiteY749" fmla="*/ 6421046 h 6857997"/>
              <a:gd name="connsiteX750" fmla="*/ 2411708 w 12191996"/>
              <a:gd name="connsiteY750" fmla="*/ 6428580 h 6857997"/>
              <a:gd name="connsiteX751" fmla="*/ 2411708 w 12191996"/>
              <a:gd name="connsiteY751" fmla="*/ 6446928 h 6857997"/>
              <a:gd name="connsiteX752" fmla="*/ 2404176 w 12191996"/>
              <a:gd name="connsiteY752" fmla="*/ 6446928 h 6857997"/>
              <a:gd name="connsiteX753" fmla="*/ 2404176 w 12191996"/>
              <a:gd name="connsiteY753" fmla="*/ 6456695 h 6857997"/>
              <a:gd name="connsiteX754" fmla="*/ 2411708 w 12191996"/>
              <a:gd name="connsiteY754" fmla="*/ 6456695 h 6857997"/>
              <a:gd name="connsiteX755" fmla="*/ 2411708 w 12191996"/>
              <a:gd name="connsiteY755" fmla="*/ 6499320 h 6857997"/>
              <a:gd name="connsiteX756" fmla="*/ 2412932 w 12191996"/>
              <a:gd name="connsiteY756" fmla="*/ 6514040 h 6857997"/>
              <a:gd name="connsiteX757" fmla="*/ 2417431 w 12191996"/>
              <a:gd name="connsiteY757" fmla="*/ 6519865 h 6857997"/>
              <a:gd name="connsiteX758" fmla="*/ 2426082 w 12191996"/>
              <a:gd name="connsiteY758" fmla="*/ 6521993 h 6857997"/>
              <a:gd name="connsiteX759" fmla="*/ 2432793 w 12191996"/>
              <a:gd name="connsiteY759" fmla="*/ 6521016 h 6857997"/>
              <a:gd name="connsiteX760" fmla="*/ 2486537 w 12191996"/>
              <a:gd name="connsiteY760" fmla="*/ 6521016 h 6857997"/>
              <a:gd name="connsiteX761" fmla="*/ 2486537 w 12191996"/>
              <a:gd name="connsiteY761" fmla="*/ 6510203 h 6857997"/>
              <a:gd name="connsiteX762" fmla="*/ 2458413 w 12191996"/>
              <a:gd name="connsiteY762" fmla="*/ 6510203 h 6857997"/>
              <a:gd name="connsiteX763" fmla="*/ 2445434 w 12191996"/>
              <a:gd name="connsiteY763" fmla="*/ 6510831 h 6857997"/>
              <a:gd name="connsiteX764" fmla="*/ 2451797 w 12191996"/>
              <a:gd name="connsiteY764" fmla="*/ 6502250 h 6857997"/>
              <a:gd name="connsiteX765" fmla="*/ 2484792 w 12191996"/>
              <a:gd name="connsiteY765" fmla="*/ 6455230 h 6857997"/>
              <a:gd name="connsiteX766" fmla="*/ 2484792 w 12191996"/>
              <a:gd name="connsiteY766" fmla="*/ 6446928 h 6857997"/>
              <a:gd name="connsiteX767" fmla="*/ 2435051 w 12191996"/>
              <a:gd name="connsiteY767" fmla="*/ 6446928 h 6857997"/>
              <a:gd name="connsiteX768" fmla="*/ 2435051 w 12191996"/>
              <a:gd name="connsiteY768" fmla="*/ 6457113 h 6857997"/>
              <a:gd name="connsiteX769" fmla="*/ 2459836 w 12191996"/>
              <a:gd name="connsiteY769" fmla="*/ 6457113 h 6857997"/>
              <a:gd name="connsiteX770" fmla="*/ 2471498 w 12191996"/>
              <a:gd name="connsiteY770" fmla="*/ 6456695 h 6857997"/>
              <a:gd name="connsiteX771" fmla="*/ 2432747 w 12191996"/>
              <a:gd name="connsiteY771" fmla="*/ 6510831 h 6857997"/>
              <a:gd name="connsiteX772" fmla="*/ 2432747 w 12191996"/>
              <a:gd name="connsiteY772" fmla="*/ 6512890 h 6857997"/>
              <a:gd name="connsiteX773" fmla="*/ 2432359 w 12191996"/>
              <a:gd name="connsiteY773" fmla="*/ 6509784 h 6857997"/>
              <a:gd name="connsiteX774" fmla="*/ 2427824 w 12191996"/>
              <a:gd name="connsiteY774" fmla="*/ 6510273 h 6857997"/>
              <a:gd name="connsiteX775" fmla="*/ 2422869 w 12191996"/>
              <a:gd name="connsiteY775" fmla="*/ 6507761 h 6857997"/>
              <a:gd name="connsiteX776" fmla="*/ 2421963 w 12191996"/>
              <a:gd name="connsiteY776" fmla="*/ 6500018 h 6857997"/>
              <a:gd name="connsiteX777" fmla="*/ 2421963 w 12191996"/>
              <a:gd name="connsiteY777" fmla="*/ 6456695 h 6857997"/>
              <a:gd name="connsiteX778" fmla="*/ 2432359 w 12191996"/>
              <a:gd name="connsiteY778" fmla="*/ 6456695 h 6857997"/>
              <a:gd name="connsiteX779" fmla="*/ 2432359 w 12191996"/>
              <a:gd name="connsiteY779" fmla="*/ 6446928 h 6857997"/>
              <a:gd name="connsiteX780" fmla="*/ 2421963 w 12191996"/>
              <a:gd name="connsiteY780" fmla="*/ 6446928 h 6857997"/>
              <a:gd name="connsiteX781" fmla="*/ 1440886 w 12191996"/>
              <a:gd name="connsiteY781" fmla="*/ 6421046 h 6857997"/>
              <a:gd name="connsiteX782" fmla="*/ 1430631 w 12191996"/>
              <a:gd name="connsiteY782" fmla="*/ 6428580 h 6857997"/>
              <a:gd name="connsiteX783" fmla="*/ 1430631 w 12191996"/>
              <a:gd name="connsiteY783" fmla="*/ 6446928 h 6857997"/>
              <a:gd name="connsiteX784" fmla="*/ 1423097 w 12191996"/>
              <a:gd name="connsiteY784" fmla="*/ 6446928 h 6857997"/>
              <a:gd name="connsiteX785" fmla="*/ 1423097 w 12191996"/>
              <a:gd name="connsiteY785" fmla="*/ 6456695 h 6857997"/>
              <a:gd name="connsiteX786" fmla="*/ 1430631 w 12191996"/>
              <a:gd name="connsiteY786" fmla="*/ 6456695 h 6857997"/>
              <a:gd name="connsiteX787" fmla="*/ 1430631 w 12191996"/>
              <a:gd name="connsiteY787" fmla="*/ 6499320 h 6857997"/>
              <a:gd name="connsiteX788" fmla="*/ 1431852 w 12191996"/>
              <a:gd name="connsiteY788" fmla="*/ 6514040 h 6857997"/>
              <a:gd name="connsiteX789" fmla="*/ 1436352 w 12191996"/>
              <a:gd name="connsiteY789" fmla="*/ 6519865 h 6857997"/>
              <a:gd name="connsiteX790" fmla="*/ 1445002 w 12191996"/>
              <a:gd name="connsiteY790" fmla="*/ 6521993 h 6857997"/>
              <a:gd name="connsiteX791" fmla="*/ 1452676 w 12191996"/>
              <a:gd name="connsiteY791" fmla="*/ 6520877 h 6857997"/>
              <a:gd name="connsiteX792" fmla="*/ 1451281 w 12191996"/>
              <a:gd name="connsiteY792" fmla="*/ 6509784 h 6857997"/>
              <a:gd name="connsiteX793" fmla="*/ 1446746 w 12191996"/>
              <a:gd name="connsiteY793" fmla="*/ 6510273 h 6857997"/>
              <a:gd name="connsiteX794" fmla="*/ 1441793 w 12191996"/>
              <a:gd name="connsiteY794" fmla="*/ 6507761 h 6857997"/>
              <a:gd name="connsiteX795" fmla="*/ 1440886 w 12191996"/>
              <a:gd name="connsiteY795" fmla="*/ 6500018 h 6857997"/>
              <a:gd name="connsiteX796" fmla="*/ 1440886 w 12191996"/>
              <a:gd name="connsiteY796" fmla="*/ 6456695 h 6857997"/>
              <a:gd name="connsiteX797" fmla="*/ 1451281 w 12191996"/>
              <a:gd name="connsiteY797" fmla="*/ 6456695 h 6857997"/>
              <a:gd name="connsiteX798" fmla="*/ 1451281 w 12191996"/>
              <a:gd name="connsiteY798" fmla="*/ 6446928 h 6857997"/>
              <a:gd name="connsiteX799" fmla="*/ 1440886 w 12191996"/>
              <a:gd name="connsiteY799" fmla="*/ 6446928 h 6857997"/>
              <a:gd name="connsiteX800" fmla="*/ 6319286 w 12191996"/>
              <a:gd name="connsiteY800" fmla="*/ 6418743 h 6857997"/>
              <a:gd name="connsiteX801" fmla="*/ 6319286 w 12191996"/>
              <a:gd name="connsiteY801" fmla="*/ 6521016 h 6857997"/>
              <a:gd name="connsiteX802" fmla="*/ 6329541 w 12191996"/>
              <a:gd name="connsiteY802" fmla="*/ 6521016 h 6857997"/>
              <a:gd name="connsiteX803" fmla="*/ 6329541 w 12191996"/>
              <a:gd name="connsiteY803" fmla="*/ 6418743 h 6857997"/>
              <a:gd name="connsiteX804" fmla="*/ 6224384 w 12191996"/>
              <a:gd name="connsiteY804" fmla="*/ 6418743 h 6857997"/>
              <a:gd name="connsiteX805" fmla="*/ 6224384 w 12191996"/>
              <a:gd name="connsiteY805" fmla="*/ 6433184 h 6857997"/>
              <a:gd name="connsiteX806" fmla="*/ 6234640 w 12191996"/>
              <a:gd name="connsiteY806" fmla="*/ 6433184 h 6857997"/>
              <a:gd name="connsiteX807" fmla="*/ 6234640 w 12191996"/>
              <a:gd name="connsiteY807" fmla="*/ 6418743 h 6857997"/>
              <a:gd name="connsiteX808" fmla="*/ 6034363 w 12191996"/>
              <a:gd name="connsiteY808" fmla="*/ 6418743 h 6857997"/>
              <a:gd name="connsiteX809" fmla="*/ 6034363 w 12191996"/>
              <a:gd name="connsiteY809" fmla="*/ 6455439 h 6857997"/>
              <a:gd name="connsiteX810" fmla="*/ 6027156 w 12191996"/>
              <a:gd name="connsiteY810" fmla="*/ 6447939 h 6857997"/>
              <a:gd name="connsiteX811" fmla="*/ 6017719 w 12191996"/>
              <a:gd name="connsiteY811" fmla="*/ 6445253 h 6857997"/>
              <a:gd name="connsiteX812" fmla="*/ 6004799 w 12191996"/>
              <a:gd name="connsiteY812" fmla="*/ 6449509 h 6857997"/>
              <a:gd name="connsiteX813" fmla="*/ 5995499 w 12191996"/>
              <a:gd name="connsiteY813" fmla="*/ 6462555 h 6857997"/>
              <a:gd name="connsiteX814" fmla="*/ 5992018 w 12191996"/>
              <a:gd name="connsiteY814" fmla="*/ 6483972 h 6857997"/>
              <a:gd name="connsiteX815" fmla="*/ 5999867 w 12191996"/>
              <a:gd name="connsiteY815" fmla="*/ 6512540 h 6857997"/>
              <a:gd name="connsiteX816" fmla="*/ 6018458 w 12191996"/>
              <a:gd name="connsiteY816" fmla="*/ 6522691 h 6857997"/>
              <a:gd name="connsiteX817" fmla="*/ 6027948 w 12191996"/>
              <a:gd name="connsiteY817" fmla="*/ 6519865 h 6857997"/>
              <a:gd name="connsiteX818" fmla="*/ 6035132 w 12191996"/>
              <a:gd name="connsiteY818" fmla="*/ 6511668 h 6857997"/>
              <a:gd name="connsiteX819" fmla="*/ 6035132 w 12191996"/>
              <a:gd name="connsiteY819" fmla="*/ 6521016 h 6857997"/>
              <a:gd name="connsiteX820" fmla="*/ 6044760 w 12191996"/>
              <a:gd name="connsiteY820" fmla="*/ 6521016 h 6857997"/>
              <a:gd name="connsiteX821" fmla="*/ 6044760 w 12191996"/>
              <a:gd name="connsiteY821" fmla="*/ 6418743 h 6857997"/>
              <a:gd name="connsiteX822" fmla="*/ 2790954 w 12191996"/>
              <a:gd name="connsiteY822" fmla="*/ 6418743 h 6857997"/>
              <a:gd name="connsiteX823" fmla="*/ 2790954 w 12191996"/>
              <a:gd name="connsiteY823" fmla="*/ 6455439 h 6857997"/>
              <a:gd name="connsiteX824" fmla="*/ 2783745 w 12191996"/>
              <a:gd name="connsiteY824" fmla="*/ 6447939 h 6857997"/>
              <a:gd name="connsiteX825" fmla="*/ 2774311 w 12191996"/>
              <a:gd name="connsiteY825" fmla="*/ 6445253 h 6857997"/>
              <a:gd name="connsiteX826" fmla="*/ 2761389 w 12191996"/>
              <a:gd name="connsiteY826" fmla="*/ 6449509 h 6857997"/>
              <a:gd name="connsiteX827" fmla="*/ 2752089 w 12191996"/>
              <a:gd name="connsiteY827" fmla="*/ 6462555 h 6857997"/>
              <a:gd name="connsiteX828" fmla="*/ 2748607 w 12191996"/>
              <a:gd name="connsiteY828" fmla="*/ 6483972 h 6857997"/>
              <a:gd name="connsiteX829" fmla="*/ 2756457 w 12191996"/>
              <a:gd name="connsiteY829" fmla="*/ 6512540 h 6857997"/>
              <a:gd name="connsiteX830" fmla="*/ 2775051 w 12191996"/>
              <a:gd name="connsiteY830" fmla="*/ 6522691 h 6857997"/>
              <a:gd name="connsiteX831" fmla="*/ 2784536 w 12191996"/>
              <a:gd name="connsiteY831" fmla="*/ 6519865 h 6857997"/>
              <a:gd name="connsiteX832" fmla="*/ 2791721 w 12191996"/>
              <a:gd name="connsiteY832" fmla="*/ 6511668 h 6857997"/>
              <a:gd name="connsiteX833" fmla="*/ 2791721 w 12191996"/>
              <a:gd name="connsiteY833" fmla="*/ 6521016 h 6857997"/>
              <a:gd name="connsiteX834" fmla="*/ 2801352 w 12191996"/>
              <a:gd name="connsiteY834" fmla="*/ 6521016 h 6857997"/>
              <a:gd name="connsiteX835" fmla="*/ 2801352 w 12191996"/>
              <a:gd name="connsiteY835" fmla="*/ 6418743 h 6857997"/>
              <a:gd name="connsiteX836" fmla="*/ 2590102 w 12191996"/>
              <a:gd name="connsiteY836" fmla="*/ 6418743 h 6857997"/>
              <a:gd name="connsiteX837" fmla="*/ 2590102 w 12191996"/>
              <a:gd name="connsiteY837" fmla="*/ 6521016 h 6857997"/>
              <a:gd name="connsiteX838" fmla="*/ 2600357 w 12191996"/>
              <a:gd name="connsiteY838" fmla="*/ 6521016 h 6857997"/>
              <a:gd name="connsiteX839" fmla="*/ 2600357 w 12191996"/>
              <a:gd name="connsiteY839" fmla="*/ 6418743 h 6857997"/>
              <a:gd name="connsiteX840" fmla="*/ 2380902 w 12191996"/>
              <a:gd name="connsiteY840" fmla="*/ 6418743 h 6857997"/>
              <a:gd name="connsiteX841" fmla="*/ 2380902 w 12191996"/>
              <a:gd name="connsiteY841" fmla="*/ 6433184 h 6857997"/>
              <a:gd name="connsiteX842" fmla="*/ 2391160 w 12191996"/>
              <a:gd name="connsiteY842" fmla="*/ 6433184 h 6857997"/>
              <a:gd name="connsiteX843" fmla="*/ 2391160 w 12191996"/>
              <a:gd name="connsiteY843" fmla="*/ 6418743 h 6857997"/>
              <a:gd name="connsiteX844" fmla="*/ 2024499 w 12191996"/>
              <a:gd name="connsiteY844" fmla="*/ 6418743 h 6857997"/>
              <a:gd name="connsiteX845" fmla="*/ 1992155 w 12191996"/>
              <a:gd name="connsiteY845" fmla="*/ 6521016 h 6857997"/>
              <a:gd name="connsiteX846" fmla="*/ 2003857 w 12191996"/>
              <a:gd name="connsiteY846" fmla="*/ 6521016 h 6857997"/>
              <a:gd name="connsiteX847" fmla="*/ 2012973 w 12191996"/>
              <a:gd name="connsiteY847" fmla="*/ 6490041 h 6857997"/>
              <a:gd name="connsiteX848" fmla="*/ 2048255 w 12191996"/>
              <a:gd name="connsiteY848" fmla="*/ 6490041 h 6857997"/>
              <a:gd name="connsiteX849" fmla="*/ 2058010 w 12191996"/>
              <a:gd name="connsiteY849" fmla="*/ 6521016 h 6857997"/>
              <a:gd name="connsiteX850" fmla="*/ 2070709 w 12191996"/>
              <a:gd name="connsiteY850" fmla="*/ 6521016 h 6857997"/>
              <a:gd name="connsiteX851" fmla="*/ 2036363 w 12191996"/>
              <a:gd name="connsiteY851" fmla="*/ 6418743 h 6857997"/>
              <a:gd name="connsiteX852" fmla="*/ 1818925 w 12191996"/>
              <a:gd name="connsiteY852" fmla="*/ 6418743 h 6857997"/>
              <a:gd name="connsiteX853" fmla="*/ 1818925 w 12191996"/>
              <a:gd name="connsiteY853" fmla="*/ 6433184 h 6857997"/>
              <a:gd name="connsiteX854" fmla="*/ 1829180 w 12191996"/>
              <a:gd name="connsiteY854" fmla="*/ 6433184 h 6857997"/>
              <a:gd name="connsiteX855" fmla="*/ 1829180 w 12191996"/>
              <a:gd name="connsiteY855" fmla="*/ 6418743 h 6857997"/>
              <a:gd name="connsiteX856" fmla="*/ 1752248 w 12191996"/>
              <a:gd name="connsiteY856" fmla="*/ 6418743 h 6857997"/>
              <a:gd name="connsiteX857" fmla="*/ 1752248 w 12191996"/>
              <a:gd name="connsiteY857" fmla="*/ 6433184 h 6857997"/>
              <a:gd name="connsiteX858" fmla="*/ 1762504 w 12191996"/>
              <a:gd name="connsiteY858" fmla="*/ 6433184 h 6857997"/>
              <a:gd name="connsiteX859" fmla="*/ 1762504 w 12191996"/>
              <a:gd name="connsiteY859" fmla="*/ 6418743 h 6857997"/>
              <a:gd name="connsiteX860" fmla="*/ 1361723 w 12191996"/>
              <a:gd name="connsiteY860" fmla="*/ 6418743 h 6857997"/>
              <a:gd name="connsiteX861" fmla="*/ 1361723 w 12191996"/>
              <a:gd name="connsiteY861" fmla="*/ 6521016 h 6857997"/>
              <a:gd name="connsiteX862" fmla="*/ 1371979 w 12191996"/>
              <a:gd name="connsiteY862" fmla="*/ 6521016 h 6857997"/>
              <a:gd name="connsiteX863" fmla="*/ 1371979 w 12191996"/>
              <a:gd name="connsiteY863" fmla="*/ 6480484 h 6857997"/>
              <a:gd name="connsiteX864" fmla="*/ 1376688 w 12191996"/>
              <a:gd name="connsiteY864" fmla="*/ 6461438 h 6857997"/>
              <a:gd name="connsiteX865" fmla="*/ 1388094 w 12191996"/>
              <a:gd name="connsiteY865" fmla="*/ 6456067 h 6857997"/>
              <a:gd name="connsiteX866" fmla="*/ 1397512 w 12191996"/>
              <a:gd name="connsiteY866" fmla="*/ 6460253 h 6857997"/>
              <a:gd name="connsiteX867" fmla="*/ 1400930 w 12191996"/>
              <a:gd name="connsiteY867" fmla="*/ 6474066 h 6857997"/>
              <a:gd name="connsiteX868" fmla="*/ 1400930 w 12191996"/>
              <a:gd name="connsiteY868" fmla="*/ 6521016 h 6857997"/>
              <a:gd name="connsiteX869" fmla="*/ 1411186 w 12191996"/>
              <a:gd name="connsiteY869" fmla="*/ 6521016 h 6857997"/>
              <a:gd name="connsiteX870" fmla="*/ 1411186 w 12191996"/>
              <a:gd name="connsiteY870" fmla="*/ 6474066 h 6857997"/>
              <a:gd name="connsiteX871" fmla="*/ 1405570 w 12191996"/>
              <a:gd name="connsiteY871" fmla="*/ 6451427 h 6857997"/>
              <a:gd name="connsiteX872" fmla="*/ 1390256 w 12191996"/>
              <a:gd name="connsiteY872" fmla="*/ 6445253 h 6857997"/>
              <a:gd name="connsiteX873" fmla="*/ 1380176 w 12191996"/>
              <a:gd name="connsiteY873" fmla="*/ 6447800 h 6857997"/>
              <a:gd name="connsiteX874" fmla="*/ 1371979 w 12191996"/>
              <a:gd name="connsiteY874" fmla="*/ 6455439 h 6857997"/>
              <a:gd name="connsiteX875" fmla="*/ 1371979 w 12191996"/>
              <a:gd name="connsiteY875" fmla="*/ 6418743 h 6857997"/>
              <a:gd name="connsiteX876" fmla="*/ 1266473 w 12191996"/>
              <a:gd name="connsiteY876" fmla="*/ 6418743 h 6857997"/>
              <a:gd name="connsiteX877" fmla="*/ 1266473 w 12191996"/>
              <a:gd name="connsiteY877" fmla="*/ 6433184 h 6857997"/>
              <a:gd name="connsiteX878" fmla="*/ 1276729 w 12191996"/>
              <a:gd name="connsiteY878" fmla="*/ 6433184 h 6857997"/>
              <a:gd name="connsiteX879" fmla="*/ 1276729 w 12191996"/>
              <a:gd name="connsiteY879" fmla="*/ 6418743 h 6857997"/>
              <a:gd name="connsiteX880" fmla="*/ 10863258 w 12191996"/>
              <a:gd name="connsiteY880" fmla="*/ 6418259 h 6857997"/>
              <a:gd name="connsiteX881" fmla="*/ 10904541 w 12191996"/>
              <a:gd name="connsiteY881" fmla="*/ 6418259 h 6857997"/>
              <a:gd name="connsiteX882" fmla="*/ 10934695 w 12191996"/>
              <a:gd name="connsiteY882" fmla="*/ 6433947 h 6857997"/>
              <a:gd name="connsiteX883" fmla="*/ 10904541 w 12191996"/>
              <a:gd name="connsiteY883" fmla="*/ 6450009 h 6857997"/>
              <a:gd name="connsiteX884" fmla="*/ 10863258 w 12191996"/>
              <a:gd name="connsiteY884" fmla="*/ 6450009 h 6857997"/>
              <a:gd name="connsiteX885" fmla="*/ 5958284 w 12191996"/>
              <a:gd name="connsiteY885" fmla="*/ 6416999 h 6857997"/>
              <a:gd name="connsiteX886" fmla="*/ 5948876 w 12191996"/>
              <a:gd name="connsiteY886" fmla="*/ 6419302 h 6857997"/>
              <a:gd name="connsiteX887" fmla="*/ 5943316 w 12191996"/>
              <a:gd name="connsiteY887" fmla="*/ 6425964 h 6857997"/>
              <a:gd name="connsiteX888" fmla="*/ 5941497 w 12191996"/>
              <a:gd name="connsiteY888" fmla="*/ 6439045 h 6857997"/>
              <a:gd name="connsiteX889" fmla="*/ 5941497 w 12191996"/>
              <a:gd name="connsiteY889" fmla="*/ 6446928 h 6857997"/>
              <a:gd name="connsiteX890" fmla="*/ 5932359 w 12191996"/>
              <a:gd name="connsiteY890" fmla="*/ 6446928 h 6857997"/>
              <a:gd name="connsiteX891" fmla="*/ 5932359 w 12191996"/>
              <a:gd name="connsiteY891" fmla="*/ 6456695 h 6857997"/>
              <a:gd name="connsiteX892" fmla="*/ 5941497 w 12191996"/>
              <a:gd name="connsiteY892" fmla="*/ 6456695 h 6857997"/>
              <a:gd name="connsiteX893" fmla="*/ 5941497 w 12191996"/>
              <a:gd name="connsiteY893" fmla="*/ 6521016 h 6857997"/>
              <a:gd name="connsiteX894" fmla="*/ 5951752 w 12191996"/>
              <a:gd name="connsiteY894" fmla="*/ 6521016 h 6857997"/>
              <a:gd name="connsiteX895" fmla="*/ 5951752 w 12191996"/>
              <a:gd name="connsiteY895" fmla="*/ 6456695 h 6857997"/>
              <a:gd name="connsiteX896" fmla="*/ 5963612 w 12191996"/>
              <a:gd name="connsiteY896" fmla="*/ 6456695 h 6857997"/>
              <a:gd name="connsiteX897" fmla="*/ 5963612 w 12191996"/>
              <a:gd name="connsiteY897" fmla="*/ 6446928 h 6857997"/>
              <a:gd name="connsiteX898" fmla="*/ 5951752 w 12191996"/>
              <a:gd name="connsiteY898" fmla="*/ 6446928 h 6857997"/>
              <a:gd name="connsiteX899" fmla="*/ 5951752 w 12191996"/>
              <a:gd name="connsiteY899" fmla="*/ 6440091 h 6857997"/>
              <a:gd name="connsiteX900" fmla="*/ 5953740 w 12191996"/>
              <a:gd name="connsiteY900" fmla="*/ 6430917 h 6857997"/>
              <a:gd name="connsiteX901" fmla="*/ 5960332 w 12191996"/>
              <a:gd name="connsiteY901" fmla="*/ 6428510 h 6857997"/>
              <a:gd name="connsiteX902" fmla="*/ 5966402 w 12191996"/>
              <a:gd name="connsiteY902" fmla="*/ 6429208 h 6857997"/>
              <a:gd name="connsiteX903" fmla="*/ 5967211 w 12191996"/>
              <a:gd name="connsiteY903" fmla="*/ 6423470 h 6857997"/>
              <a:gd name="connsiteX904" fmla="*/ 5967211 w 12191996"/>
              <a:gd name="connsiteY904" fmla="*/ 6433184 h 6857997"/>
              <a:gd name="connsiteX905" fmla="*/ 5977467 w 12191996"/>
              <a:gd name="connsiteY905" fmla="*/ 6433184 h 6857997"/>
              <a:gd name="connsiteX906" fmla="*/ 5977467 w 12191996"/>
              <a:gd name="connsiteY906" fmla="*/ 6418743 h 6857997"/>
              <a:gd name="connsiteX907" fmla="*/ 5967879 w 12191996"/>
              <a:gd name="connsiteY907" fmla="*/ 6418743 h 6857997"/>
              <a:gd name="connsiteX908" fmla="*/ 5967936 w 12191996"/>
              <a:gd name="connsiteY908" fmla="*/ 6418325 h 6857997"/>
              <a:gd name="connsiteX909" fmla="*/ 5958284 w 12191996"/>
              <a:gd name="connsiteY909" fmla="*/ 6416999 h 6857997"/>
              <a:gd name="connsiteX910" fmla="*/ 883232 w 12191996"/>
              <a:gd name="connsiteY910" fmla="*/ 6416999 h 6857997"/>
              <a:gd name="connsiteX911" fmla="*/ 862268 w 12191996"/>
              <a:gd name="connsiteY911" fmla="*/ 6423592 h 6857997"/>
              <a:gd name="connsiteX912" fmla="*/ 846187 w 12191996"/>
              <a:gd name="connsiteY912" fmla="*/ 6442533 h 6857997"/>
              <a:gd name="connsiteX913" fmla="*/ 840048 w 12191996"/>
              <a:gd name="connsiteY913" fmla="*/ 6469671 h 6857997"/>
              <a:gd name="connsiteX914" fmla="*/ 852466 w 12191996"/>
              <a:gd name="connsiteY914" fmla="*/ 6506540 h 6857997"/>
              <a:gd name="connsiteX915" fmla="*/ 883232 w 12191996"/>
              <a:gd name="connsiteY915" fmla="*/ 6522272 h 6857997"/>
              <a:gd name="connsiteX916" fmla="*/ 904196 w 12191996"/>
              <a:gd name="connsiteY916" fmla="*/ 6515679 h 6857997"/>
              <a:gd name="connsiteX917" fmla="*/ 920276 w 12191996"/>
              <a:gd name="connsiteY917" fmla="*/ 6496739 h 6857997"/>
              <a:gd name="connsiteX918" fmla="*/ 926415 w 12191996"/>
              <a:gd name="connsiteY918" fmla="*/ 6469671 h 6857997"/>
              <a:gd name="connsiteX919" fmla="*/ 913997 w 12191996"/>
              <a:gd name="connsiteY919" fmla="*/ 6432766 h 6857997"/>
              <a:gd name="connsiteX920" fmla="*/ 883232 w 12191996"/>
              <a:gd name="connsiteY920" fmla="*/ 6416999 h 6857997"/>
              <a:gd name="connsiteX921" fmla="*/ 5757201 w 12191996"/>
              <a:gd name="connsiteY921" fmla="*/ 6416930 h 6857997"/>
              <a:gd name="connsiteX922" fmla="*/ 5737090 w 12191996"/>
              <a:gd name="connsiteY922" fmla="*/ 6422898 h 6857997"/>
              <a:gd name="connsiteX923" fmla="*/ 5722810 w 12191996"/>
              <a:gd name="connsiteY923" fmla="*/ 6440560 h 6857997"/>
              <a:gd name="connsiteX924" fmla="*/ 5717538 w 12191996"/>
              <a:gd name="connsiteY924" fmla="*/ 6469147 h 6857997"/>
              <a:gd name="connsiteX925" fmla="*/ 5722804 w 12191996"/>
              <a:gd name="connsiteY925" fmla="*/ 6498816 h 6857997"/>
              <a:gd name="connsiteX926" fmla="*/ 5736339 w 12191996"/>
              <a:gd name="connsiteY926" fmla="*/ 6517071 h 6857997"/>
              <a:gd name="connsiteX927" fmla="*/ 5756258 w 12191996"/>
              <a:gd name="connsiteY927" fmla="*/ 6522760 h 6857997"/>
              <a:gd name="connsiteX928" fmla="*/ 5778755 w 12191996"/>
              <a:gd name="connsiteY928" fmla="*/ 6514284 h 6857997"/>
              <a:gd name="connsiteX929" fmla="*/ 5791699 w 12191996"/>
              <a:gd name="connsiteY929" fmla="*/ 6488576 h 6857997"/>
              <a:gd name="connsiteX930" fmla="*/ 5780536 w 12191996"/>
              <a:gd name="connsiteY930" fmla="*/ 6485158 h 6857997"/>
              <a:gd name="connsiteX931" fmla="*/ 5771710 w 12191996"/>
              <a:gd name="connsiteY931" fmla="*/ 6504727 h 6857997"/>
              <a:gd name="connsiteX932" fmla="*/ 5756048 w 12191996"/>
              <a:gd name="connsiteY932" fmla="*/ 6511180 h 6857997"/>
              <a:gd name="connsiteX933" fmla="*/ 5736375 w 12191996"/>
              <a:gd name="connsiteY933" fmla="*/ 6500672 h 6857997"/>
              <a:gd name="connsiteX934" fmla="*/ 5728980 w 12191996"/>
              <a:gd name="connsiteY934" fmla="*/ 6469146 h 6857997"/>
              <a:gd name="connsiteX935" fmla="*/ 5732647 w 12191996"/>
              <a:gd name="connsiteY935" fmla="*/ 6446176 h 6857997"/>
              <a:gd name="connsiteX936" fmla="*/ 5742462 w 12191996"/>
              <a:gd name="connsiteY936" fmla="*/ 6432805 h 6857997"/>
              <a:gd name="connsiteX937" fmla="*/ 5756996 w 12191996"/>
              <a:gd name="connsiteY937" fmla="*/ 6428510 h 6857997"/>
              <a:gd name="connsiteX938" fmla="*/ 5779417 w 12191996"/>
              <a:gd name="connsiteY938" fmla="*/ 6449788 h 6857997"/>
              <a:gd name="connsiteX939" fmla="*/ 5790300 w 12191996"/>
              <a:gd name="connsiteY939" fmla="*/ 6446649 h 6857997"/>
              <a:gd name="connsiteX940" fmla="*/ 5778080 w 12191996"/>
              <a:gd name="connsiteY940" fmla="*/ 6424481 h 6857997"/>
              <a:gd name="connsiteX941" fmla="*/ 5757201 w 12191996"/>
              <a:gd name="connsiteY941" fmla="*/ 6416930 h 6857997"/>
              <a:gd name="connsiteX942" fmla="*/ 2249532 w 12191996"/>
              <a:gd name="connsiteY942" fmla="*/ 6416930 h 6857997"/>
              <a:gd name="connsiteX943" fmla="*/ 2227909 w 12191996"/>
              <a:gd name="connsiteY943" fmla="*/ 6424813 h 6857997"/>
              <a:gd name="connsiteX944" fmla="*/ 2219883 w 12191996"/>
              <a:gd name="connsiteY944" fmla="*/ 6445114 h 6857997"/>
              <a:gd name="connsiteX945" fmla="*/ 2222671 w 12191996"/>
              <a:gd name="connsiteY945" fmla="*/ 6457497 h 6857997"/>
              <a:gd name="connsiteX946" fmla="*/ 2230487 w 12191996"/>
              <a:gd name="connsiteY946" fmla="*/ 6466531 h 6857997"/>
              <a:gd name="connsiteX947" fmla="*/ 2247373 w 12191996"/>
              <a:gd name="connsiteY947" fmla="*/ 6473610 h 6857997"/>
              <a:gd name="connsiteX948" fmla="*/ 2264706 w 12191996"/>
              <a:gd name="connsiteY948" fmla="*/ 6479712 h 6857997"/>
              <a:gd name="connsiteX949" fmla="*/ 2270706 w 12191996"/>
              <a:gd name="connsiteY949" fmla="*/ 6485247 h 6857997"/>
              <a:gd name="connsiteX950" fmla="*/ 2272693 w 12191996"/>
              <a:gd name="connsiteY950" fmla="*/ 6493148 h 6857997"/>
              <a:gd name="connsiteX951" fmla="*/ 2267221 w 12191996"/>
              <a:gd name="connsiteY951" fmla="*/ 6505714 h 6857997"/>
              <a:gd name="connsiteX952" fmla="*/ 2251834 w 12191996"/>
              <a:gd name="connsiteY952" fmla="*/ 6510552 h 6857997"/>
              <a:gd name="connsiteX953" fmla="*/ 2239420 w 12191996"/>
              <a:gd name="connsiteY953" fmla="*/ 6507691 h 6857997"/>
              <a:gd name="connsiteX954" fmla="*/ 2230941 w 12191996"/>
              <a:gd name="connsiteY954" fmla="*/ 6500122 h 6857997"/>
              <a:gd name="connsiteX955" fmla="*/ 2227140 w 12191996"/>
              <a:gd name="connsiteY955" fmla="*/ 6486972 h 6857997"/>
              <a:gd name="connsiteX956" fmla="*/ 2216673 w 12191996"/>
              <a:gd name="connsiteY956" fmla="*/ 6488088 h 6857997"/>
              <a:gd name="connsiteX957" fmla="*/ 2226270 w 12191996"/>
              <a:gd name="connsiteY957" fmla="*/ 6513412 h 6857997"/>
              <a:gd name="connsiteX958" fmla="*/ 2251071 w 12191996"/>
              <a:gd name="connsiteY958" fmla="*/ 6522760 h 6857997"/>
              <a:gd name="connsiteX959" fmla="*/ 2268127 w 12191996"/>
              <a:gd name="connsiteY959" fmla="*/ 6518997 h 6857997"/>
              <a:gd name="connsiteX960" fmla="*/ 2279325 w 12191996"/>
              <a:gd name="connsiteY960" fmla="*/ 6508021 h 6857997"/>
              <a:gd name="connsiteX961" fmla="*/ 2283436 w 12191996"/>
              <a:gd name="connsiteY961" fmla="*/ 6492029 h 6857997"/>
              <a:gd name="connsiteX962" fmla="*/ 2279522 w 12191996"/>
              <a:gd name="connsiteY962" fmla="*/ 6476801 h 6857997"/>
              <a:gd name="connsiteX963" fmla="*/ 2267938 w 12191996"/>
              <a:gd name="connsiteY963" fmla="*/ 6466501 h 6857997"/>
              <a:gd name="connsiteX964" fmla="*/ 2250508 w 12191996"/>
              <a:gd name="connsiteY964" fmla="*/ 6460544 h 6857997"/>
              <a:gd name="connsiteX965" fmla="*/ 2234185 w 12191996"/>
              <a:gd name="connsiteY965" fmla="*/ 6453622 h 6857997"/>
              <a:gd name="connsiteX966" fmla="*/ 2230560 w 12191996"/>
              <a:gd name="connsiteY966" fmla="*/ 6443996 h 6857997"/>
              <a:gd name="connsiteX967" fmla="*/ 2235513 w 12191996"/>
              <a:gd name="connsiteY967" fmla="*/ 6433079 h 6857997"/>
              <a:gd name="connsiteX968" fmla="*/ 2249881 w 12191996"/>
              <a:gd name="connsiteY968" fmla="*/ 6428859 h 6857997"/>
              <a:gd name="connsiteX969" fmla="*/ 2264286 w 12191996"/>
              <a:gd name="connsiteY969" fmla="*/ 6433673 h 6857997"/>
              <a:gd name="connsiteX970" fmla="*/ 2270252 w 12191996"/>
              <a:gd name="connsiteY970" fmla="*/ 6448463 h 6857997"/>
              <a:gd name="connsiteX971" fmla="*/ 2280928 w 12191996"/>
              <a:gd name="connsiteY971" fmla="*/ 6447486 h 6857997"/>
              <a:gd name="connsiteX972" fmla="*/ 2276778 w 12191996"/>
              <a:gd name="connsiteY972" fmla="*/ 6431231 h 6857997"/>
              <a:gd name="connsiteX973" fmla="*/ 2265892 w 12191996"/>
              <a:gd name="connsiteY973" fmla="*/ 6420627 h 6857997"/>
              <a:gd name="connsiteX974" fmla="*/ 2249532 w 12191996"/>
              <a:gd name="connsiteY974" fmla="*/ 6416930 h 6857997"/>
              <a:gd name="connsiteX975" fmla="*/ 2107530 w 12191996"/>
              <a:gd name="connsiteY975" fmla="*/ 6416930 h 6857997"/>
              <a:gd name="connsiteX976" fmla="*/ 2085898 w 12191996"/>
              <a:gd name="connsiteY976" fmla="*/ 6422828 h 6857997"/>
              <a:gd name="connsiteX977" fmla="*/ 2071108 w 12191996"/>
              <a:gd name="connsiteY977" fmla="*/ 6441153 h 6857997"/>
              <a:gd name="connsiteX978" fmla="*/ 2065457 w 12191996"/>
              <a:gd name="connsiteY978" fmla="*/ 6470333 h 6857997"/>
              <a:gd name="connsiteX979" fmla="*/ 2071073 w 12191996"/>
              <a:gd name="connsiteY979" fmla="*/ 6498676 h 6857997"/>
              <a:gd name="connsiteX980" fmla="*/ 2086316 w 12191996"/>
              <a:gd name="connsiteY980" fmla="*/ 6516617 h 6857997"/>
              <a:gd name="connsiteX981" fmla="*/ 2108228 w 12191996"/>
              <a:gd name="connsiteY981" fmla="*/ 6522760 h 6857997"/>
              <a:gd name="connsiteX982" fmla="*/ 2126153 w 12191996"/>
              <a:gd name="connsiteY982" fmla="*/ 6518749 h 6857997"/>
              <a:gd name="connsiteX983" fmla="*/ 2143038 w 12191996"/>
              <a:gd name="connsiteY983" fmla="*/ 6506785 h 6857997"/>
              <a:gd name="connsiteX984" fmla="*/ 2143038 w 12191996"/>
              <a:gd name="connsiteY984" fmla="*/ 6468764 h 6857997"/>
              <a:gd name="connsiteX985" fmla="*/ 2107530 w 12191996"/>
              <a:gd name="connsiteY985" fmla="*/ 6468833 h 6857997"/>
              <a:gd name="connsiteX986" fmla="*/ 2107530 w 12191996"/>
              <a:gd name="connsiteY986" fmla="*/ 6480902 h 6857997"/>
              <a:gd name="connsiteX987" fmla="*/ 2132151 w 12191996"/>
              <a:gd name="connsiteY987" fmla="*/ 6480902 h 6857997"/>
              <a:gd name="connsiteX988" fmla="*/ 2132151 w 12191996"/>
              <a:gd name="connsiteY988" fmla="*/ 6499948 h 6857997"/>
              <a:gd name="connsiteX989" fmla="*/ 2121238 w 12191996"/>
              <a:gd name="connsiteY989" fmla="*/ 6507412 h 6857997"/>
              <a:gd name="connsiteX990" fmla="*/ 2107806 w 12191996"/>
              <a:gd name="connsiteY990" fmla="*/ 6510552 h 6857997"/>
              <a:gd name="connsiteX991" fmla="*/ 2085479 w 12191996"/>
              <a:gd name="connsiteY991" fmla="*/ 6500323 h 6857997"/>
              <a:gd name="connsiteX992" fmla="*/ 2076898 w 12191996"/>
              <a:gd name="connsiteY992" fmla="*/ 6469566 h 6857997"/>
              <a:gd name="connsiteX993" fmla="*/ 2080910 w 12191996"/>
              <a:gd name="connsiteY993" fmla="*/ 6446734 h 6857997"/>
              <a:gd name="connsiteX994" fmla="*/ 2091514 w 12191996"/>
              <a:gd name="connsiteY994" fmla="*/ 6432944 h 6857997"/>
              <a:gd name="connsiteX995" fmla="*/ 2107247 w 12191996"/>
              <a:gd name="connsiteY995" fmla="*/ 6428510 h 6857997"/>
              <a:gd name="connsiteX996" fmla="*/ 2118547 w 12191996"/>
              <a:gd name="connsiteY996" fmla="*/ 6430952 h 6857997"/>
              <a:gd name="connsiteX997" fmla="*/ 2126643 w 12191996"/>
              <a:gd name="connsiteY997" fmla="*/ 6437684 h 6857997"/>
              <a:gd name="connsiteX998" fmla="*/ 2131738 w 12191996"/>
              <a:gd name="connsiteY998" fmla="*/ 6450625 h 6857997"/>
              <a:gd name="connsiteX999" fmla="*/ 2141711 w 12191996"/>
              <a:gd name="connsiteY999" fmla="*/ 6447277 h 6857997"/>
              <a:gd name="connsiteX1000" fmla="*/ 2135015 w 12191996"/>
              <a:gd name="connsiteY1000" fmla="*/ 6430045 h 6857997"/>
              <a:gd name="connsiteX1001" fmla="*/ 2123643 w 12191996"/>
              <a:gd name="connsiteY1001" fmla="*/ 6420348 h 6857997"/>
              <a:gd name="connsiteX1002" fmla="*/ 2107530 w 12191996"/>
              <a:gd name="connsiteY1002" fmla="*/ 6416930 h 6857997"/>
              <a:gd name="connsiteX1003" fmla="*/ 1516105 w 12191996"/>
              <a:gd name="connsiteY1003" fmla="*/ 6416930 h 6857997"/>
              <a:gd name="connsiteX1004" fmla="*/ 1494478 w 12191996"/>
              <a:gd name="connsiteY1004" fmla="*/ 6424813 h 6857997"/>
              <a:gd name="connsiteX1005" fmla="*/ 1486455 w 12191996"/>
              <a:gd name="connsiteY1005" fmla="*/ 6445114 h 6857997"/>
              <a:gd name="connsiteX1006" fmla="*/ 1489246 w 12191996"/>
              <a:gd name="connsiteY1006" fmla="*/ 6457497 h 6857997"/>
              <a:gd name="connsiteX1007" fmla="*/ 1497059 w 12191996"/>
              <a:gd name="connsiteY1007" fmla="*/ 6466531 h 6857997"/>
              <a:gd name="connsiteX1008" fmla="*/ 1513942 w 12191996"/>
              <a:gd name="connsiteY1008" fmla="*/ 6473610 h 6857997"/>
              <a:gd name="connsiteX1009" fmla="*/ 1531278 w 12191996"/>
              <a:gd name="connsiteY1009" fmla="*/ 6479712 h 6857997"/>
              <a:gd name="connsiteX1010" fmla="*/ 1537278 w 12191996"/>
              <a:gd name="connsiteY1010" fmla="*/ 6485247 h 6857997"/>
              <a:gd name="connsiteX1011" fmla="*/ 1539266 w 12191996"/>
              <a:gd name="connsiteY1011" fmla="*/ 6493148 h 6857997"/>
              <a:gd name="connsiteX1012" fmla="*/ 1533790 w 12191996"/>
              <a:gd name="connsiteY1012" fmla="*/ 6505714 h 6857997"/>
              <a:gd name="connsiteX1013" fmla="*/ 1518407 w 12191996"/>
              <a:gd name="connsiteY1013" fmla="*/ 6510552 h 6857997"/>
              <a:gd name="connsiteX1014" fmla="*/ 1505989 w 12191996"/>
              <a:gd name="connsiteY1014" fmla="*/ 6507691 h 6857997"/>
              <a:gd name="connsiteX1015" fmla="*/ 1497513 w 12191996"/>
              <a:gd name="connsiteY1015" fmla="*/ 6500122 h 6857997"/>
              <a:gd name="connsiteX1016" fmla="*/ 1493711 w 12191996"/>
              <a:gd name="connsiteY1016" fmla="*/ 6486972 h 6857997"/>
              <a:gd name="connsiteX1017" fmla="*/ 1483246 w 12191996"/>
              <a:gd name="connsiteY1017" fmla="*/ 6488088 h 6857997"/>
              <a:gd name="connsiteX1018" fmla="*/ 1492839 w 12191996"/>
              <a:gd name="connsiteY1018" fmla="*/ 6513412 h 6857997"/>
              <a:gd name="connsiteX1019" fmla="*/ 1517639 w 12191996"/>
              <a:gd name="connsiteY1019" fmla="*/ 6522760 h 6857997"/>
              <a:gd name="connsiteX1020" fmla="*/ 1534697 w 12191996"/>
              <a:gd name="connsiteY1020" fmla="*/ 6518997 h 6857997"/>
              <a:gd name="connsiteX1021" fmla="*/ 1545894 w 12191996"/>
              <a:gd name="connsiteY1021" fmla="*/ 6508021 h 6857997"/>
              <a:gd name="connsiteX1022" fmla="*/ 1550010 w 12191996"/>
              <a:gd name="connsiteY1022" fmla="*/ 6492029 h 6857997"/>
              <a:gd name="connsiteX1023" fmla="*/ 1546095 w 12191996"/>
              <a:gd name="connsiteY1023" fmla="*/ 6476801 h 6857997"/>
              <a:gd name="connsiteX1024" fmla="*/ 1534510 w 12191996"/>
              <a:gd name="connsiteY1024" fmla="*/ 6466501 h 6857997"/>
              <a:gd name="connsiteX1025" fmla="*/ 1517077 w 12191996"/>
              <a:gd name="connsiteY1025" fmla="*/ 6460544 h 6857997"/>
              <a:gd name="connsiteX1026" fmla="*/ 1500758 w 12191996"/>
              <a:gd name="connsiteY1026" fmla="*/ 6453622 h 6857997"/>
              <a:gd name="connsiteX1027" fmla="*/ 1497129 w 12191996"/>
              <a:gd name="connsiteY1027" fmla="*/ 6443996 h 6857997"/>
              <a:gd name="connsiteX1028" fmla="*/ 1502082 w 12191996"/>
              <a:gd name="connsiteY1028" fmla="*/ 6433079 h 6857997"/>
              <a:gd name="connsiteX1029" fmla="*/ 1516453 w 12191996"/>
              <a:gd name="connsiteY1029" fmla="*/ 6428859 h 6857997"/>
              <a:gd name="connsiteX1030" fmla="*/ 1530860 w 12191996"/>
              <a:gd name="connsiteY1030" fmla="*/ 6433673 h 6857997"/>
              <a:gd name="connsiteX1031" fmla="*/ 1536824 w 12191996"/>
              <a:gd name="connsiteY1031" fmla="*/ 6448463 h 6857997"/>
              <a:gd name="connsiteX1032" fmla="*/ 1547498 w 12191996"/>
              <a:gd name="connsiteY1032" fmla="*/ 6447486 h 6857997"/>
              <a:gd name="connsiteX1033" fmla="*/ 1543347 w 12191996"/>
              <a:gd name="connsiteY1033" fmla="*/ 6431231 h 6857997"/>
              <a:gd name="connsiteX1034" fmla="*/ 1532464 w 12191996"/>
              <a:gd name="connsiteY1034" fmla="*/ 6420627 h 6857997"/>
              <a:gd name="connsiteX1035" fmla="*/ 1516105 w 12191996"/>
              <a:gd name="connsiteY1035" fmla="*/ 6416930 h 6857997"/>
              <a:gd name="connsiteX1036" fmla="*/ 999314 w 12191996"/>
              <a:gd name="connsiteY1036" fmla="*/ 6416930 h 6857997"/>
              <a:gd name="connsiteX1037" fmla="*/ 979202 w 12191996"/>
              <a:gd name="connsiteY1037" fmla="*/ 6422898 h 6857997"/>
              <a:gd name="connsiteX1038" fmla="*/ 964922 w 12191996"/>
              <a:gd name="connsiteY1038" fmla="*/ 6440560 h 6857997"/>
              <a:gd name="connsiteX1039" fmla="*/ 959650 w 12191996"/>
              <a:gd name="connsiteY1039" fmla="*/ 6469147 h 6857997"/>
              <a:gd name="connsiteX1040" fmla="*/ 964918 w 12191996"/>
              <a:gd name="connsiteY1040" fmla="*/ 6498816 h 6857997"/>
              <a:gd name="connsiteX1041" fmla="*/ 978452 w 12191996"/>
              <a:gd name="connsiteY1041" fmla="*/ 6517071 h 6857997"/>
              <a:gd name="connsiteX1042" fmla="*/ 998369 w 12191996"/>
              <a:gd name="connsiteY1042" fmla="*/ 6522760 h 6857997"/>
              <a:gd name="connsiteX1043" fmla="*/ 1020867 w 12191996"/>
              <a:gd name="connsiteY1043" fmla="*/ 6514284 h 6857997"/>
              <a:gd name="connsiteX1044" fmla="*/ 1033809 w 12191996"/>
              <a:gd name="connsiteY1044" fmla="*/ 6488576 h 6857997"/>
              <a:gd name="connsiteX1045" fmla="*/ 1022646 w 12191996"/>
              <a:gd name="connsiteY1045" fmla="*/ 6485158 h 6857997"/>
              <a:gd name="connsiteX1046" fmla="*/ 1013821 w 12191996"/>
              <a:gd name="connsiteY1046" fmla="*/ 6504727 h 6857997"/>
              <a:gd name="connsiteX1047" fmla="*/ 998160 w 12191996"/>
              <a:gd name="connsiteY1047" fmla="*/ 6511180 h 6857997"/>
              <a:gd name="connsiteX1048" fmla="*/ 978486 w 12191996"/>
              <a:gd name="connsiteY1048" fmla="*/ 6500672 h 6857997"/>
              <a:gd name="connsiteX1049" fmla="*/ 971092 w 12191996"/>
              <a:gd name="connsiteY1049" fmla="*/ 6469146 h 6857997"/>
              <a:gd name="connsiteX1050" fmla="*/ 974759 w 12191996"/>
              <a:gd name="connsiteY1050" fmla="*/ 6446176 h 6857997"/>
              <a:gd name="connsiteX1051" fmla="*/ 984574 w 12191996"/>
              <a:gd name="connsiteY1051" fmla="*/ 6432805 h 6857997"/>
              <a:gd name="connsiteX1052" fmla="*/ 999106 w 12191996"/>
              <a:gd name="connsiteY1052" fmla="*/ 6428510 h 6857997"/>
              <a:gd name="connsiteX1053" fmla="*/ 1021530 w 12191996"/>
              <a:gd name="connsiteY1053" fmla="*/ 6449788 h 6857997"/>
              <a:gd name="connsiteX1054" fmla="*/ 1032413 w 12191996"/>
              <a:gd name="connsiteY1054" fmla="*/ 6446649 h 6857997"/>
              <a:gd name="connsiteX1055" fmla="*/ 1020193 w 12191996"/>
              <a:gd name="connsiteY1055" fmla="*/ 6424481 h 6857997"/>
              <a:gd name="connsiteX1056" fmla="*/ 999314 w 12191996"/>
              <a:gd name="connsiteY1056" fmla="*/ 6416930 h 6857997"/>
              <a:gd name="connsiteX1057" fmla="*/ 11136920 w 12191996"/>
              <a:gd name="connsiteY1057" fmla="*/ 6415084 h 6857997"/>
              <a:gd name="connsiteX1058" fmla="*/ 11180757 w 12191996"/>
              <a:gd name="connsiteY1058" fmla="*/ 6458741 h 6857997"/>
              <a:gd name="connsiteX1059" fmla="*/ 11136920 w 12191996"/>
              <a:gd name="connsiteY1059" fmla="*/ 6502397 h 6857997"/>
              <a:gd name="connsiteX1060" fmla="*/ 11093445 w 12191996"/>
              <a:gd name="connsiteY1060" fmla="*/ 6457621 h 6857997"/>
              <a:gd name="connsiteX1061" fmla="*/ 11136920 w 12191996"/>
              <a:gd name="connsiteY1061" fmla="*/ 6415084 h 6857997"/>
              <a:gd name="connsiteX1062" fmla="*/ 11241084 w 12191996"/>
              <a:gd name="connsiteY1062" fmla="*/ 6397622 h 6857997"/>
              <a:gd name="connsiteX1063" fmla="*/ 11241084 w 12191996"/>
              <a:gd name="connsiteY1063" fmla="*/ 6521447 h 6857997"/>
              <a:gd name="connsiteX1064" fmla="*/ 11276259 w 12191996"/>
              <a:gd name="connsiteY1064" fmla="*/ 6521447 h 6857997"/>
              <a:gd name="connsiteX1065" fmla="*/ 11274446 w 12191996"/>
              <a:gd name="connsiteY1065" fmla="*/ 6427562 h 6857997"/>
              <a:gd name="connsiteX1066" fmla="*/ 11344433 w 12191996"/>
              <a:gd name="connsiteY1066" fmla="*/ 6521447 h 6857997"/>
              <a:gd name="connsiteX1067" fmla="*/ 11383959 w 12191996"/>
              <a:gd name="connsiteY1067" fmla="*/ 6521447 h 6857997"/>
              <a:gd name="connsiteX1068" fmla="*/ 11383959 w 12191996"/>
              <a:gd name="connsiteY1068" fmla="*/ 6397622 h 6857997"/>
              <a:gd name="connsiteX1069" fmla="*/ 11349147 w 12191996"/>
              <a:gd name="connsiteY1069" fmla="*/ 6397622 h 6857997"/>
              <a:gd name="connsiteX1070" fmla="*/ 11350597 w 12191996"/>
              <a:gd name="connsiteY1070" fmla="*/ 6486702 h 6857997"/>
              <a:gd name="connsiteX1071" fmla="*/ 11284237 w 12191996"/>
              <a:gd name="connsiteY1071" fmla="*/ 6397622 h 6857997"/>
              <a:gd name="connsiteX1072" fmla="*/ 10998196 w 12191996"/>
              <a:gd name="connsiteY1072" fmla="*/ 6397622 h 6857997"/>
              <a:gd name="connsiteX1073" fmla="*/ 10998196 w 12191996"/>
              <a:gd name="connsiteY1073" fmla="*/ 6521447 h 6857997"/>
              <a:gd name="connsiteX1074" fmla="*/ 11033121 w 12191996"/>
              <a:gd name="connsiteY1074" fmla="*/ 6521447 h 6857997"/>
              <a:gd name="connsiteX1075" fmla="*/ 11033121 w 12191996"/>
              <a:gd name="connsiteY1075" fmla="*/ 6397622 h 6857997"/>
              <a:gd name="connsiteX1076" fmla="*/ 10760071 w 12191996"/>
              <a:gd name="connsiteY1076" fmla="*/ 6397622 h 6857997"/>
              <a:gd name="connsiteX1077" fmla="*/ 10760071 w 12191996"/>
              <a:gd name="connsiteY1077" fmla="*/ 6521447 h 6857997"/>
              <a:gd name="connsiteX1078" fmla="*/ 10794996 w 12191996"/>
              <a:gd name="connsiteY1078" fmla="*/ 6521447 h 6857997"/>
              <a:gd name="connsiteX1079" fmla="*/ 10794996 w 12191996"/>
              <a:gd name="connsiteY1079" fmla="*/ 6397622 h 6857997"/>
              <a:gd name="connsiteX1080" fmla="*/ 10637569 w 12191996"/>
              <a:gd name="connsiteY1080" fmla="*/ 6397622 h 6857997"/>
              <a:gd name="connsiteX1081" fmla="*/ 10580684 w 12191996"/>
              <a:gd name="connsiteY1081" fmla="*/ 6435324 h 6857997"/>
              <a:gd name="connsiteX1082" fmla="*/ 10634670 w 12191996"/>
              <a:gd name="connsiteY1082" fmla="*/ 6471178 h 6857997"/>
              <a:gd name="connsiteX1083" fmla="*/ 10674888 w 12191996"/>
              <a:gd name="connsiteY1083" fmla="*/ 6471178 h 6857997"/>
              <a:gd name="connsiteX1084" fmla="*/ 10699163 w 12191996"/>
              <a:gd name="connsiteY1084" fmla="*/ 6485224 h 6857997"/>
              <a:gd name="connsiteX1085" fmla="*/ 10672714 w 12191996"/>
              <a:gd name="connsiteY1085" fmla="*/ 6499270 h 6857997"/>
              <a:gd name="connsiteX1086" fmla="*/ 10587206 w 12191996"/>
              <a:gd name="connsiteY1086" fmla="*/ 6499270 h 6857997"/>
              <a:gd name="connsiteX1087" fmla="*/ 10587206 w 12191996"/>
              <a:gd name="connsiteY1087" fmla="*/ 6521447 h 6857997"/>
              <a:gd name="connsiteX1088" fmla="*/ 10678149 w 12191996"/>
              <a:gd name="connsiteY1088" fmla="*/ 6521447 h 6857997"/>
              <a:gd name="connsiteX1089" fmla="*/ 10734671 w 12191996"/>
              <a:gd name="connsiteY1089" fmla="*/ 6484115 h 6857997"/>
              <a:gd name="connsiteX1090" fmla="*/ 10683221 w 12191996"/>
              <a:gd name="connsiteY1090" fmla="*/ 6449370 h 6857997"/>
              <a:gd name="connsiteX1091" fmla="*/ 10637931 w 12191996"/>
              <a:gd name="connsiteY1091" fmla="*/ 6449370 h 6857997"/>
              <a:gd name="connsiteX1092" fmla="*/ 10616554 w 12191996"/>
              <a:gd name="connsiteY1092" fmla="*/ 6435694 h 6857997"/>
              <a:gd name="connsiteX1093" fmla="*/ 10642641 w 12191996"/>
              <a:gd name="connsiteY1093" fmla="*/ 6419430 h 6857997"/>
              <a:gd name="connsiteX1094" fmla="*/ 10726700 w 12191996"/>
              <a:gd name="connsiteY1094" fmla="*/ 6419430 h 6857997"/>
              <a:gd name="connsiteX1095" fmla="*/ 10726700 w 12191996"/>
              <a:gd name="connsiteY1095" fmla="*/ 6397622 h 6857997"/>
              <a:gd name="connsiteX1096" fmla="*/ 10413996 w 12191996"/>
              <a:gd name="connsiteY1096" fmla="*/ 6397622 h 6857997"/>
              <a:gd name="connsiteX1097" fmla="*/ 10413996 w 12191996"/>
              <a:gd name="connsiteY1097" fmla="*/ 6521447 h 6857997"/>
              <a:gd name="connsiteX1098" fmla="*/ 10448897 w 12191996"/>
              <a:gd name="connsiteY1098" fmla="*/ 6521447 h 6857997"/>
              <a:gd name="connsiteX1099" fmla="*/ 10447443 w 12191996"/>
              <a:gd name="connsiteY1099" fmla="*/ 6427562 h 6857997"/>
              <a:gd name="connsiteX1100" fmla="*/ 10517608 w 12191996"/>
              <a:gd name="connsiteY1100" fmla="*/ 6521447 h 6857997"/>
              <a:gd name="connsiteX1101" fmla="*/ 10556871 w 12191996"/>
              <a:gd name="connsiteY1101" fmla="*/ 6521447 h 6857997"/>
              <a:gd name="connsiteX1102" fmla="*/ 10556871 w 12191996"/>
              <a:gd name="connsiteY1102" fmla="*/ 6397622 h 6857997"/>
              <a:gd name="connsiteX1103" fmla="*/ 10522334 w 12191996"/>
              <a:gd name="connsiteY1103" fmla="*/ 6397622 h 6857997"/>
              <a:gd name="connsiteX1104" fmla="*/ 10523788 w 12191996"/>
              <a:gd name="connsiteY1104" fmla="*/ 6486702 h 6857997"/>
              <a:gd name="connsiteX1105" fmla="*/ 10457258 w 12191996"/>
              <a:gd name="connsiteY1105" fmla="*/ 6397622 h 6857997"/>
              <a:gd name="connsiteX1106" fmla="*/ 10327466 w 12191996"/>
              <a:gd name="connsiteY1106" fmla="*/ 6397622 h 6857997"/>
              <a:gd name="connsiteX1107" fmla="*/ 10252071 w 12191996"/>
              <a:gd name="connsiteY1107" fmla="*/ 6461568 h 6857997"/>
              <a:gd name="connsiteX1108" fmla="*/ 10276844 w 12191996"/>
              <a:gd name="connsiteY1108" fmla="*/ 6510358 h 6857997"/>
              <a:gd name="connsiteX1109" fmla="*/ 10326748 w 12191996"/>
              <a:gd name="connsiteY1109" fmla="*/ 6521447 h 6857997"/>
              <a:gd name="connsiteX1110" fmla="*/ 10383833 w 12191996"/>
              <a:gd name="connsiteY1110" fmla="*/ 6521447 h 6857997"/>
              <a:gd name="connsiteX1111" fmla="*/ 10383833 w 12191996"/>
              <a:gd name="connsiteY1111" fmla="*/ 6499639 h 6857997"/>
              <a:gd name="connsiteX1112" fmla="*/ 10328184 w 12191996"/>
              <a:gd name="connsiteY1112" fmla="*/ 6499639 h 6857997"/>
              <a:gd name="connsiteX1113" fmla="*/ 10290128 w 12191996"/>
              <a:gd name="connsiteY1113" fmla="*/ 6469330 h 6857997"/>
              <a:gd name="connsiteX1114" fmla="*/ 10383833 w 12191996"/>
              <a:gd name="connsiteY1114" fmla="*/ 6469330 h 6857997"/>
              <a:gd name="connsiteX1115" fmla="*/ 10383833 w 12191996"/>
              <a:gd name="connsiteY1115" fmla="*/ 6447892 h 6857997"/>
              <a:gd name="connsiteX1116" fmla="*/ 10290128 w 12191996"/>
              <a:gd name="connsiteY1116" fmla="*/ 6447892 h 6857997"/>
              <a:gd name="connsiteX1117" fmla="*/ 10328184 w 12191996"/>
              <a:gd name="connsiteY1117" fmla="*/ 6419061 h 6857997"/>
              <a:gd name="connsiteX1118" fmla="*/ 10383833 w 12191996"/>
              <a:gd name="connsiteY1118" fmla="*/ 6419061 h 6857997"/>
              <a:gd name="connsiteX1119" fmla="*/ 10383833 w 12191996"/>
              <a:gd name="connsiteY1119" fmla="*/ 6397622 h 6857997"/>
              <a:gd name="connsiteX1120" fmla="*/ 10139094 w 12191996"/>
              <a:gd name="connsiteY1120" fmla="*/ 6397622 h 6857997"/>
              <a:gd name="connsiteX1121" fmla="*/ 10082209 w 12191996"/>
              <a:gd name="connsiteY1121" fmla="*/ 6435324 h 6857997"/>
              <a:gd name="connsiteX1122" fmla="*/ 10136195 w 12191996"/>
              <a:gd name="connsiteY1122" fmla="*/ 6471178 h 6857997"/>
              <a:gd name="connsiteX1123" fmla="*/ 10176413 w 12191996"/>
              <a:gd name="connsiteY1123" fmla="*/ 6471178 h 6857997"/>
              <a:gd name="connsiteX1124" fmla="*/ 10200326 w 12191996"/>
              <a:gd name="connsiteY1124" fmla="*/ 6485224 h 6857997"/>
              <a:gd name="connsiteX1125" fmla="*/ 10173877 w 12191996"/>
              <a:gd name="connsiteY1125" fmla="*/ 6499270 h 6857997"/>
              <a:gd name="connsiteX1126" fmla="*/ 10088731 w 12191996"/>
              <a:gd name="connsiteY1126" fmla="*/ 6499270 h 6857997"/>
              <a:gd name="connsiteX1127" fmla="*/ 10088731 w 12191996"/>
              <a:gd name="connsiteY1127" fmla="*/ 6521447 h 6857997"/>
              <a:gd name="connsiteX1128" fmla="*/ 10179311 w 12191996"/>
              <a:gd name="connsiteY1128" fmla="*/ 6521447 h 6857997"/>
              <a:gd name="connsiteX1129" fmla="*/ 10236196 w 12191996"/>
              <a:gd name="connsiteY1129" fmla="*/ 6484115 h 6857997"/>
              <a:gd name="connsiteX1130" fmla="*/ 10184384 w 12191996"/>
              <a:gd name="connsiteY1130" fmla="*/ 6449370 h 6857997"/>
              <a:gd name="connsiteX1131" fmla="*/ 10139456 w 12191996"/>
              <a:gd name="connsiteY1131" fmla="*/ 6449370 h 6857997"/>
              <a:gd name="connsiteX1132" fmla="*/ 10117717 w 12191996"/>
              <a:gd name="connsiteY1132" fmla="*/ 6435694 h 6857997"/>
              <a:gd name="connsiteX1133" fmla="*/ 10144166 w 12191996"/>
              <a:gd name="connsiteY1133" fmla="*/ 6419430 h 6857997"/>
              <a:gd name="connsiteX1134" fmla="*/ 10228225 w 12191996"/>
              <a:gd name="connsiteY1134" fmla="*/ 6419430 h 6857997"/>
              <a:gd name="connsiteX1135" fmla="*/ 10228225 w 12191996"/>
              <a:gd name="connsiteY1135" fmla="*/ 6397622 h 6857997"/>
              <a:gd name="connsiteX1136" fmla="*/ 10828333 w 12191996"/>
              <a:gd name="connsiteY1136" fmla="*/ 6397621 h 6857997"/>
              <a:gd name="connsiteX1137" fmla="*/ 10828333 w 12191996"/>
              <a:gd name="connsiteY1137" fmla="*/ 6521446 h 6857997"/>
              <a:gd name="connsiteX1138" fmla="*/ 10862629 w 12191996"/>
              <a:gd name="connsiteY1138" fmla="*/ 6521446 h 6857997"/>
              <a:gd name="connsiteX1139" fmla="*/ 10862629 w 12191996"/>
              <a:gd name="connsiteY1139" fmla="*/ 6472655 h 6857997"/>
              <a:gd name="connsiteX1140" fmla="*/ 10903128 w 12191996"/>
              <a:gd name="connsiteY1140" fmla="*/ 6472655 h 6857997"/>
              <a:gd name="connsiteX1141" fmla="*/ 10938884 w 12191996"/>
              <a:gd name="connsiteY1141" fmla="*/ 6521446 h 6857997"/>
              <a:gd name="connsiteX1142" fmla="*/ 10977558 w 12191996"/>
              <a:gd name="connsiteY1142" fmla="*/ 6521446 h 6857997"/>
              <a:gd name="connsiteX1143" fmla="*/ 10937059 w 12191996"/>
              <a:gd name="connsiteY1143" fmla="*/ 6469698 h 6857997"/>
              <a:gd name="connsiteX1144" fmla="*/ 10969896 w 12191996"/>
              <a:gd name="connsiteY1144" fmla="*/ 6434584 h 6857997"/>
              <a:gd name="connsiteX1145" fmla="*/ 10912979 w 12191996"/>
              <a:gd name="connsiteY1145" fmla="*/ 6397621 h 6857997"/>
              <a:gd name="connsiteX1146" fmla="*/ 11137895 w 12191996"/>
              <a:gd name="connsiteY1146" fmla="*/ 6394446 h 6857997"/>
              <a:gd name="connsiteX1147" fmla="*/ 11056933 w 12191996"/>
              <a:gd name="connsiteY1147" fmla="*/ 6457451 h 6857997"/>
              <a:gd name="connsiteX1148" fmla="*/ 11137895 w 12191996"/>
              <a:gd name="connsiteY1148" fmla="*/ 6523034 h 6857997"/>
              <a:gd name="connsiteX1149" fmla="*/ 11218858 w 12191996"/>
              <a:gd name="connsiteY1149" fmla="*/ 6458556 h 6857997"/>
              <a:gd name="connsiteX1150" fmla="*/ 11137895 w 12191996"/>
              <a:gd name="connsiteY1150" fmla="*/ 6394446 h 6857997"/>
              <a:gd name="connsiteX1151" fmla="*/ 0 w 12191996"/>
              <a:gd name="connsiteY1151" fmla="*/ 0 h 6857997"/>
              <a:gd name="connsiteX1152" fmla="*/ 12191996 w 12191996"/>
              <a:gd name="connsiteY1152" fmla="*/ 0 h 6857997"/>
              <a:gd name="connsiteX1153" fmla="*/ 12191996 w 12191996"/>
              <a:gd name="connsiteY1153" fmla="*/ 3141658 h 6857997"/>
              <a:gd name="connsiteX1154" fmla="*/ 6095997 w 12191996"/>
              <a:gd name="connsiteY1154" fmla="*/ 3141658 h 6857997"/>
              <a:gd name="connsiteX1155" fmla="*/ 6095997 w 12191996"/>
              <a:gd name="connsiteY1155" fmla="*/ 6237283 h 6857997"/>
              <a:gd name="connsiteX1156" fmla="*/ 12191996 w 12191996"/>
              <a:gd name="connsiteY1156" fmla="*/ 6237283 h 6857997"/>
              <a:gd name="connsiteX1157" fmla="*/ 12191996 w 12191996"/>
              <a:gd name="connsiteY1157" fmla="*/ 6857997 h 6857997"/>
              <a:gd name="connsiteX1158" fmla="*/ 0 w 12191996"/>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91996" h="6857997">
                <a:moveTo>
                  <a:pt x="11197257" y="6583359"/>
                </a:moveTo>
                <a:lnTo>
                  <a:pt x="11207745" y="6602409"/>
                </a:lnTo>
                <a:lnTo>
                  <a:pt x="11187108" y="6602409"/>
                </a:lnTo>
                <a:close/>
                <a:moveTo>
                  <a:pt x="11114083" y="6583359"/>
                </a:moveTo>
                <a:lnTo>
                  <a:pt x="11131338" y="6583359"/>
                </a:lnTo>
                <a:cubicBezTo>
                  <a:pt x="11141347" y="6583359"/>
                  <a:pt x="11145833" y="6584696"/>
                  <a:pt x="11145833" y="6589709"/>
                </a:cubicBezTo>
                <a:cubicBezTo>
                  <a:pt x="11145833" y="6594054"/>
                  <a:pt x="11141347" y="6596059"/>
                  <a:pt x="11132374" y="6596059"/>
                </a:cubicBezTo>
                <a:lnTo>
                  <a:pt x="11114083" y="6596059"/>
                </a:lnTo>
                <a:close/>
                <a:moveTo>
                  <a:pt x="10745783" y="6583359"/>
                </a:moveTo>
                <a:lnTo>
                  <a:pt x="10765350" y="6583359"/>
                </a:lnTo>
                <a:cubicBezTo>
                  <a:pt x="10774772" y="6583359"/>
                  <a:pt x="10779120" y="6584370"/>
                  <a:pt x="10779120" y="6588747"/>
                </a:cubicBezTo>
                <a:cubicBezTo>
                  <a:pt x="10779120" y="6593125"/>
                  <a:pt x="10774772" y="6594472"/>
                  <a:pt x="10765350" y="6594472"/>
                </a:cubicBezTo>
                <a:lnTo>
                  <a:pt x="10745783" y="6594472"/>
                </a:lnTo>
                <a:close/>
                <a:moveTo>
                  <a:pt x="10949955" y="6581771"/>
                </a:moveTo>
                <a:cubicBezTo>
                  <a:pt x="10963542" y="6581771"/>
                  <a:pt x="10969620" y="6587267"/>
                  <a:pt x="10969620" y="6598623"/>
                </a:cubicBezTo>
                <a:cubicBezTo>
                  <a:pt x="10969620" y="6609614"/>
                  <a:pt x="10963542" y="6615109"/>
                  <a:pt x="10949955" y="6615109"/>
                </a:cubicBezTo>
                <a:cubicBezTo>
                  <a:pt x="10936011" y="6615109"/>
                  <a:pt x="10929933" y="6609614"/>
                  <a:pt x="10929933" y="6598257"/>
                </a:cubicBezTo>
                <a:cubicBezTo>
                  <a:pt x="10929933" y="6587267"/>
                  <a:pt x="10936369" y="6581771"/>
                  <a:pt x="10949955" y="6581771"/>
                </a:cubicBezTo>
                <a:close/>
                <a:moveTo>
                  <a:pt x="10682898" y="6581771"/>
                </a:moveTo>
                <a:cubicBezTo>
                  <a:pt x="10696842" y="6581771"/>
                  <a:pt x="10702920" y="6587267"/>
                  <a:pt x="10702920" y="6598623"/>
                </a:cubicBezTo>
                <a:cubicBezTo>
                  <a:pt x="10702920" y="6609614"/>
                  <a:pt x="10696842" y="6615109"/>
                  <a:pt x="10682898" y="6615109"/>
                </a:cubicBezTo>
                <a:cubicBezTo>
                  <a:pt x="10669311" y="6615109"/>
                  <a:pt x="10663233" y="6609614"/>
                  <a:pt x="10663233" y="6598257"/>
                </a:cubicBezTo>
                <a:cubicBezTo>
                  <a:pt x="10663233" y="6587267"/>
                  <a:pt x="10669669" y="6581771"/>
                  <a:pt x="10682898" y="6581771"/>
                </a:cubicBezTo>
                <a:close/>
                <a:moveTo>
                  <a:pt x="11312520" y="6573834"/>
                </a:moveTo>
                <a:lnTo>
                  <a:pt x="11341079" y="6601258"/>
                </a:lnTo>
                <a:lnTo>
                  <a:pt x="11341079" y="6623047"/>
                </a:lnTo>
                <a:lnTo>
                  <a:pt x="11356624" y="6623047"/>
                </a:lnTo>
                <a:lnTo>
                  <a:pt x="11356624" y="6601258"/>
                </a:lnTo>
                <a:lnTo>
                  <a:pt x="11385545" y="6573834"/>
                </a:lnTo>
                <a:lnTo>
                  <a:pt x="11367470" y="6573834"/>
                </a:lnTo>
                <a:lnTo>
                  <a:pt x="11348671" y="6592618"/>
                </a:lnTo>
                <a:lnTo>
                  <a:pt x="11330234" y="6573834"/>
                </a:lnTo>
                <a:close/>
                <a:moveTo>
                  <a:pt x="11242670" y="6573834"/>
                </a:moveTo>
                <a:lnTo>
                  <a:pt x="11242670" y="6623047"/>
                </a:lnTo>
                <a:lnTo>
                  <a:pt x="11259156" y="6623047"/>
                </a:lnTo>
                <a:lnTo>
                  <a:pt x="11258423" y="6585856"/>
                </a:lnTo>
                <a:lnTo>
                  <a:pt x="11291028" y="6623047"/>
                </a:lnTo>
                <a:lnTo>
                  <a:pt x="11309345" y="6623047"/>
                </a:lnTo>
                <a:lnTo>
                  <a:pt x="11309345" y="6573834"/>
                </a:lnTo>
                <a:lnTo>
                  <a:pt x="11293226" y="6573834"/>
                </a:lnTo>
                <a:lnTo>
                  <a:pt x="11293958" y="6609147"/>
                </a:lnTo>
                <a:lnTo>
                  <a:pt x="11262819" y="6573834"/>
                </a:lnTo>
                <a:close/>
                <a:moveTo>
                  <a:pt x="11189997" y="6573834"/>
                </a:moveTo>
                <a:lnTo>
                  <a:pt x="11158533" y="6623047"/>
                </a:lnTo>
                <a:lnTo>
                  <a:pt x="11174980" y="6623047"/>
                </a:lnTo>
                <a:lnTo>
                  <a:pt x="11181773" y="6611401"/>
                </a:lnTo>
                <a:lnTo>
                  <a:pt x="11213595" y="6611401"/>
                </a:lnTo>
                <a:lnTo>
                  <a:pt x="11220388" y="6623047"/>
                </a:lnTo>
                <a:lnTo>
                  <a:pt x="11237908" y="6623047"/>
                </a:lnTo>
                <a:lnTo>
                  <a:pt x="11206444" y="6573834"/>
                </a:lnTo>
                <a:close/>
                <a:moveTo>
                  <a:pt x="11098208" y="6573834"/>
                </a:moveTo>
                <a:lnTo>
                  <a:pt x="11098208" y="6623047"/>
                </a:lnTo>
                <a:lnTo>
                  <a:pt x="11113502" y="6623047"/>
                </a:lnTo>
                <a:lnTo>
                  <a:pt x="11113502" y="6605766"/>
                </a:lnTo>
                <a:lnTo>
                  <a:pt x="11132352" y="6605766"/>
                </a:lnTo>
                <a:cubicBezTo>
                  <a:pt x="11141599" y="6605766"/>
                  <a:pt x="11148713" y="6605766"/>
                  <a:pt x="11154759" y="6602761"/>
                </a:cubicBezTo>
                <a:cubicBezTo>
                  <a:pt x="11160450" y="6600131"/>
                  <a:pt x="11163295" y="6595999"/>
                  <a:pt x="11163295" y="6589988"/>
                </a:cubicBezTo>
                <a:cubicBezTo>
                  <a:pt x="11163295" y="6583977"/>
                  <a:pt x="11159738" y="6579094"/>
                  <a:pt x="11153336" y="6576464"/>
                </a:cubicBezTo>
                <a:cubicBezTo>
                  <a:pt x="11148713" y="6574586"/>
                  <a:pt x="11141599" y="6573834"/>
                  <a:pt x="11131641" y="6573834"/>
                </a:cubicBezTo>
                <a:close/>
                <a:moveTo>
                  <a:pt x="10998195" y="6573834"/>
                </a:moveTo>
                <a:lnTo>
                  <a:pt x="10998195" y="6623047"/>
                </a:lnTo>
                <a:lnTo>
                  <a:pt x="11014084" y="6623047"/>
                </a:lnTo>
                <a:lnTo>
                  <a:pt x="11012639" y="6584353"/>
                </a:lnTo>
                <a:lnTo>
                  <a:pt x="11032500" y="6623047"/>
                </a:lnTo>
                <a:lnTo>
                  <a:pt x="11049111" y="6623047"/>
                </a:lnTo>
                <a:lnTo>
                  <a:pt x="11068249" y="6584729"/>
                </a:lnTo>
                <a:lnTo>
                  <a:pt x="11066805" y="6623047"/>
                </a:lnTo>
                <a:lnTo>
                  <a:pt x="11082332" y="6623047"/>
                </a:lnTo>
                <a:lnTo>
                  <a:pt x="11082332" y="6573834"/>
                </a:lnTo>
                <a:lnTo>
                  <a:pt x="11059221" y="6573834"/>
                </a:lnTo>
                <a:lnTo>
                  <a:pt x="11040444" y="6611401"/>
                </a:lnTo>
                <a:lnTo>
                  <a:pt x="11021306" y="6573834"/>
                </a:lnTo>
                <a:close/>
                <a:moveTo>
                  <a:pt x="10949776" y="6573834"/>
                </a:moveTo>
                <a:cubicBezTo>
                  <a:pt x="10924422" y="6573834"/>
                  <a:pt x="10912470" y="6581433"/>
                  <a:pt x="10912470" y="6597717"/>
                </a:cubicBezTo>
                <a:cubicBezTo>
                  <a:pt x="10912470" y="6615086"/>
                  <a:pt x="10923698" y="6623047"/>
                  <a:pt x="10949776" y="6623047"/>
                </a:cubicBezTo>
                <a:cubicBezTo>
                  <a:pt x="10975130" y="6623047"/>
                  <a:pt x="10987082" y="6615086"/>
                  <a:pt x="10987082" y="6598441"/>
                </a:cubicBezTo>
                <a:cubicBezTo>
                  <a:pt x="10987082" y="6581433"/>
                  <a:pt x="10975130" y="6573834"/>
                  <a:pt x="10949776" y="6573834"/>
                </a:cubicBezTo>
                <a:close/>
                <a:moveTo>
                  <a:pt x="10879898" y="6573834"/>
                </a:moveTo>
                <a:cubicBezTo>
                  <a:pt x="10855498" y="6573834"/>
                  <a:pt x="10844208" y="6582099"/>
                  <a:pt x="10844208" y="6599380"/>
                </a:cubicBezTo>
                <a:cubicBezTo>
                  <a:pt x="10844208" y="6608396"/>
                  <a:pt x="10848214" y="6614782"/>
                  <a:pt x="10855862" y="6618539"/>
                </a:cubicBezTo>
                <a:cubicBezTo>
                  <a:pt x="10863146" y="6622672"/>
                  <a:pt x="10870065" y="6623047"/>
                  <a:pt x="10879170" y="6623047"/>
                </a:cubicBezTo>
                <a:lnTo>
                  <a:pt x="10906120" y="6623047"/>
                </a:lnTo>
                <a:lnTo>
                  <a:pt x="10906120" y="6614407"/>
                </a:lnTo>
                <a:lnTo>
                  <a:pt x="10879898" y="6614407"/>
                </a:lnTo>
                <a:cubicBezTo>
                  <a:pt x="10866788" y="6614407"/>
                  <a:pt x="10861689" y="6610650"/>
                  <a:pt x="10861689" y="6599756"/>
                </a:cubicBezTo>
                <a:cubicBezTo>
                  <a:pt x="10861689" y="6587734"/>
                  <a:pt x="10866788" y="6582475"/>
                  <a:pt x="10879898" y="6582475"/>
                </a:cubicBezTo>
                <a:lnTo>
                  <a:pt x="10906120" y="6582475"/>
                </a:lnTo>
                <a:lnTo>
                  <a:pt x="10906120" y="6573834"/>
                </a:lnTo>
                <a:close/>
                <a:moveTo>
                  <a:pt x="10729908" y="6573834"/>
                </a:moveTo>
                <a:lnTo>
                  <a:pt x="10729908" y="6623047"/>
                </a:lnTo>
                <a:lnTo>
                  <a:pt x="10745800" y="6623047"/>
                </a:lnTo>
                <a:lnTo>
                  <a:pt x="10745800" y="6603888"/>
                </a:lnTo>
                <a:lnTo>
                  <a:pt x="10765018" y="6603888"/>
                </a:lnTo>
                <a:lnTo>
                  <a:pt x="10781649" y="6623047"/>
                </a:lnTo>
                <a:lnTo>
                  <a:pt x="10799758" y="6623047"/>
                </a:lnTo>
                <a:lnTo>
                  <a:pt x="10780910" y="6602385"/>
                </a:lnTo>
                <a:cubicBezTo>
                  <a:pt x="10790519" y="6601258"/>
                  <a:pt x="10796062" y="6596375"/>
                  <a:pt x="10796062" y="6588861"/>
                </a:cubicBezTo>
                <a:cubicBezTo>
                  <a:pt x="10796062" y="6578342"/>
                  <a:pt x="10787562" y="6573834"/>
                  <a:pt x="10769453" y="6573834"/>
                </a:cubicBezTo>
                <a:close/>
                <a:moveTo>
                  <a:pt x="10683076" y="6573834"/>
                </a:moveTo>
                <a:cubicBezTo>
                  <a:pt x="10658085" y="6573834"/>
                  <a:pt x="10645770" y="6581433"/>
                  <a:pt x="10645770" y="6597717"/>
                </a:cubicBezTo>
                <a:cubicBezTo>
                  <a:pt x="10645770" y="6615086"/>
                  <a:pt x="10657360" y="6623047"/>
                  <a:pt x="10683076" y="6623047"/>
                </a:cubicBezTo>
                <a:cubicBezTo>
                  <a:pt x="10708792" y="6623047"/>
                  <a:pt x="10720382" y="6615086"/>
                  <a:pt x="10720382" y="6598441"/>
                </a:cubicBezTo>
                <a:cubicBezTo>
                  <a:pt x="10720382" y="6581433"/>
                  <a:pt x="10708792" y="6573834"/>
                  <a:pt x="10683076" y="6573834"/>
                </a:cubicBezTo>
                <a:close/>
                <a:moveTo>
                  <a:pt x="10593642" y="6573834"/>
                </a:moveTo>
                <a:cubicBezTo>
                  <a:pt x="10576180" y="6573834"/>
                  <a:pt x="10567983" y="6578342"/>
                  <a:pt x="10567983" y="6588861"/>
                </a:cubicBezTo>
                <a:cubicBezTo>
                  <a:pt x="10567983" y="6598629"/>
                  <a:pt x="10575467" y="6603137"/>
                  <a:pt x="10592573" y="6603137"/>
                </a:cubicBezTo>
                <a:lnTo>
                  <a:pt x="10610748" y="6603137"/>
                </a:lnTo>
                <a:cubicBezTo>
                  <a:pt x="10618232" y="6603137"/>
                  <a:pt x="10621796" y="6604264"/>
                  <a:pt x="10621796" y="6608772"/>
                </a:cubicBezTo>
                <a:cubicBezTo>
                  <a:pt x="10621796" y="6612904"/>
                  <a:pt x="10617876" y="6614407"/>
                  <a:pt x="10609679" y="6614407"/>
                </a:cubicBezTo>
                <a:lnTo>
                  <a:pt x="10570834" y="6614407"/>
                </a:lnTo>
                <a:lnTo>
                  <a:pt x="10570834" y="6623047"/>
                </a:lnTo>
                <a:lnTo>
                  <a:pt x="10612174" y="6623047"/>
                </a:lnTo>
                <a:cubicBezTo>
                  <a:pt x="10629636" y="6623047"/>
                  <a:pt x="10637833" y="6618539"/>
                  <a:pt x="10637833" y="6608396"/>
                </a:cubicBezTo>
                <a:cubicBezTo>
                  <a:pt x="10637833" y="6598253"/>
                  <a:pt x="10630705" y="6594496"/>
                  <a:pt x="10614312" y="6594496"/>
                </a:cubicBezTo>
                <a:lnTo>
                  <a:pt x="10593999" y="6594496"/>
                </a:lnTo>
                <a:cubicBezTo>
                  <a:pt x="10587584" y="6594496"/>
                  <a:pt x="10584020" y="6592618"/>
                  <a:pt x="10584020" y="6589237"/>
                </a:cubicBezTo>
                <a:cubicBezTo>
                  <a:pt x="10584020" y="6584729"/>
                  <a:pt x="10587940" y="6582850"/>
                  <a:pt x="10596137" y="6582850"/>
                </a:cubicBezTo>
                <a:lnTo>
                  <a:pt x="10634269" y="6582850"/>
                </a:lnTo>
                <a:lnTo>
                  <a:pt x="10634269" y="6573834"/>
                </a:lnTo>
                <a:close/>
                <a:moveTo>
                  <a:pt x="10490195" y="6573834"/>
                </a:moveTo>
                <a:lnTo>
                  <a:pt x="10490195" y="6623047"/>
                </a:lnTo>
                <a:lnTo>
                  <a:pt x="10506681" y="6623047"/>
                </a:lnTo>
                <a:lnTo>
                  <a:pt x="10505948" y="6585856"/>
                </a:lnTo>
                <a:lnTo>
                  <a:pt x="10538553" y="6623047"/>
                </a:lnTo>
                <a:lnTo>
                  <a:pt x="10556870" y="6623047"/>
                </a:lnTo>
                <a:lnTo>
                  <a:pt x="10556870" y="6573834"/>
                </a:lnTo>
                <a:lnTo>
                  <a:pt x="10540751" y="6573834"/>
                </a:lnTo>
                <a:lnTo>
                  <a:pt x="10541483" y="6609147"/>
                </a:lnTo>
                <a:lnTo>
                  <a:pt x="10510344" y="6573834"/>
                </a:lnTo>
                <a:close/>
                <a:moveTo>
                  <a:pt x="10450207" y="6573834"/>
                </a:moveTo>
                <a:cubicBezTo>
                  <a:pt x="10426649" y="6573834"/>
                  <a:pt x="10415583" y="6582099"/>
                  <a:pt x="10415583" y="6599380"/>
                </a:cubicBezTo>
                <a:cubicBezTo>
                  <a:pt x="10415583" y="6608396"/>
                  <a:pt x="10419153" y="6614782"/>
                  <a:pt x="10427005" y="6618539"/>
                </a:cubicBezTo>
                <a:cubicBezTo>
                  <a:pt x="10434145" y="6622672"/>
                  <a:pt x="10440927" y="6623047"/>
                  <a:pt x="10449850" y="6623047"/>
                </a:cubicBezTo>
                <a:lnTo>
                  <a:pt x="10475908" y="6623047"/>
                </a:lnTo>
                <a:lnTo>
                  <a:pt x="10475908" y="6614407"/>
                </a:lnTo>
                <a:lnTo>
                  <a:pt x="10450564" y="6614407"/>
                </a:lnTo>
                <a:cubicBezTo>
                  <a:pt x="10438428" y="6614407"/>
                  <a:pt x="10433074" y="6611401"/>
                  <a:pt x="10433074" y="6602385"/>
                </a:cubicBezTo>
                <a:lnTo>
                  <a:pt x="10475908" y="6602385"/>
                </a:lnTo>
                <a:lnTo>
                  <a:pt x="10475908" y="6593745"/>
                </a:lnTo>
                <a:lnTo>
                  <a:pt x="10433074" y="6593745"/>
                </a:lnTo>
                <a:cubicBezTo>
                  <a:pt x="10433788" y="6586231"/>
                  <a:pt x="10439499" y="6582475"/>
                  <a:pt x="10450564" y="6582475"/>
                </a:cubicBezTo>
                <a:lnTo>
                  <a:pt x="10475908" y="6582475"/>
                </a:lnTo>
                <a:lnTo>
                  <a:pt x="10475908" y="6573834"/>
                </a:lnTo>
                <a:close/>
                <a:moveTo>
                  <a:pt x="10363811" y="6573834"/>
                </a:moveTo>
                <a:cubicBezTo>
                  <a:pt x="10345992" y="6573834"/>
                  <a:pt x="10337795" y="6578342"/>
                  <a:pt x="10337795" y="6588861"/>
                </a:cubicBezTo>
                <a:cubicBezTo>
                  <a:pt x="10337795" y="6598629"/>
                  <a:pt x="10345635" y="6603137"/>
                  <a:pt x="10362385" y="6603137"/>
                </a:cubicBezTo>
                <a:lnTo>
                  <a:pt x="10380560" y="6603137"/>
                </a:lnTo>
                <a:cubicBezTo>
                  <a:pt x="10388044" y="6603137"/>
                  <a:pt x="10391608" y="6604264"/>
                  <a:pt x="10391608" y="6608772"/>
                </a:cubicBezTo>
                <a:cubicBezTo>
                  <a:pt x="10391608" y="6612904"/>
                  <a:pt x="10387688" y="6614407"/>
                  <a:pt x="10379491" y="6614407"/>
                </a:cubicBezTo>
                <a:lnTo>
                  <a:pt x="10340646" y="6614407"/>
                </a:lnTo>
                <a:lnTo>
                  <a:pt x="10340646" y="6623047"/>
                </a:lnTo>
                <a:lnTo>
                  <a:pt x="10381986" y="6623047"/>
                </a:lnTo>
                <a:cubicBezTo>
                  <a:pt x="10399448" y="6623047"/>
                  <a:pt x="10407645" y="6618539"/>
                  <a:pt x="10407645" y="6608396"/>
                </a:cubicBezTo>
                <a:cubicBezTo>
                  <a:pt x="10407645" y="6598253"/>
                  <a:pt x="10400874" y="6594496"/>
                  <a:pt x="10384124" y="6594496"/>
                </a:cubicBezTo>
                <a:lnTo>
                  <a:pt x="10363811" y="6594496"/>
                </a:lnTo>
                <a:cubicBezTo>
                  <a:pt x="10357396" y="6594496"/>
                  <a:pt x="10354188" y="6592618"/>
                  <a:pt x="10354188" y="6589237"/>
                </a:cubicBezTo>
                <a:cubicBezTo>
                  <a:pt x="10354188" y="6584729"/>
                  <a:pt x="10357752" y="6582850"/>
                  <a:pt x="10365949" y="6582850"/>
                </a:cubicBezTo>
                <a:lnTo>
                  <a:pt x="10404081" y="6582850"/>
                </a:lnTo>
                <a:lnTo>
                  <a:pt x="10404081" y="6573834"/>
                </a:lnTo>
                <a:close/>
                <a:moveTo>
                  <a:pt x="10261294" y="6573834"/>
                </a:moveTo>
                <a:cubicBezTo>
                  <a:pt x="10237736" y="6573834"/>
                  <a:pt x="10226670" y="6582099"/>
                  <a:pt x="10226670" y="6599380"/>
                </a:cubicBezTo>
                <a:cubicBezTo>
                  <a:pt x="10226670" y="6608396"/>
                  <a:pt x="10230240" y="6614782"/>
                  <a:pt x="10237736" y="6618539"/>
                </a:cubicBezTo>
                <a:cubicBezTo>
                  <a:pt x="10245232" y="6622672"/>
                  <a:pt x="10252014" y="6623047"/>
                  <a:pt x="10260937" y="6623047"/>
                </a:cubicBezTo>
                <a:lnTo>
                  <a:pt x="10286995" y="6623047"/>
                </a:lnTo>
                <a:lnTo>
                  <a:pt x="10286995" y="6614407"/>
                </a:lnTo>
                <a:lnTo>
                  <a:pt x="10261651" y="6614407"/>
                </a:lnTo>
                <a:cubicBezTo>
                  <a:pt x="10249515" y="6614407"/>
                  <a:pt x="10244161" y="6611401"/>
                  <a:pt x="10244161" y="6602385"/>
                </a:cubicBezTo>
                <a:lnTo>
                  <a:pt x="10286995" y="6602385"/>
                </a:lnTo>
                <a:lnTo>
                  <a:pt x="10286995" y="6593745"/>
                </a:lnTo>
                <a:lnTo>
                  <a:pt x="10244161" y="6593745"/>
                </a:lnTo>
                <a:cubicBezTo>
                  <a:pt x="10244875" y="6586231"/>
                  <a:pt x="10250586" y="6582475"/>
                  <a:pt x="10261651" y="6582475"/>
                </a:cubicBezTo>
                <a:lnTo>
                  <a:pt x="10286995" y="6582475"/>
                </a:lnTo>
                <a:lnTo>
                  <a:pt x="10286995" y="6573834"/>
                </a:lnTo>
                <a:close/>
                <a:moveTo>
                  <a:pt x="10155233" y="6573834"/>
                </a:moveTo>
                <a:lnTo>
                  <a:pt x="10155233" y="6623047"/>
                </a:lnTo>
                <a:lnTo>
                  <a:pt x="10170859" y="6623047"/>
                </a:lnTo>
                <a:lnTo>
                  <a:pt x="10170859" y="6602385"/>
                </a:lnTo>
                <a:lnTo>
                  <a:pt x="10199932" y="6602385"/>
                </a:lnTo>
                <a:lnTo>
                  <a:pt x="10199932" y="6623047"/>
                </a:lnTo>
                <a:lnTo>
                  <a:pt x="10215558" y="6623047"/>
                </a:lnTo>
                <a:lnTo>
                  <a:pt x="10215558" y="6573834"/>
                </a:lnTo>
                <a:lnTo>
                  <a:pt x="10199932" y="6573834"/>
                </a:lnTo>
                <a:lnTo>
                  <a:pt x="10199932" y="6593745"/>
                </a:lnTo>
                <a:lnTo>
                  <a:pt x="10170859" y="6593745"/>
                </a:lnTo>
                <a:lnTo>
                  <a:pt x="10170859" y="6573834"/>
                </a:lnTo>
                <a:close/>
                <a:moveTo>
                  <a:pt x="10082208" y="6573834"/>
                </a:moveTo>
                <a:lnTo>
                  <a:pt x="10082208" y="6582163"/>
                </a:lnTo>
                <a:lnTo>
                  <a:pt x="10106570" y="6582163"/>
                </a:lnTo>
                <a:lnTo>
                  <a:pt x="10106570" y="6623047"/>
                </a:lnTo>
                <a:lnTo>
                  <a:pt x="10122569" y="6623047"/>
                </a:lnTo>
                <a:lnTo>
                  <a:pt x="10122569" y="6582163"/>
                </a:lnTo>
                <a:lnTo>
                  <a:pt x="10147295" y="6582163"/>
                </a:lnTo>
                <a:lnTo>
                  <a:pt x="10147295" y="6573834"/>
                </a:lnTo>
                <a:close/>
                <a:moveTo>
                  <a:pt x="2164828" y="6506715"/>
                </a:moveTo>
                <a:lnTo>
                  <a:pt x="2164828" y="6521016"/>
                </a:lnTo>
                <a:lnTo>
                  <a:pt x="2170617" y="6521016"/>
                </a:lnTo>
                <a:cubicBezTo>
                  <a:pt x="2170525" y="6525388"/>
                  <a:pt x="2169942" y="6528679"/>
                  <a:pt x="2168875" y="6530888"/>
                </a:cubicBezTo>
                <a:cubicBezTo>
                  <a:pt x="2167801" y="6533097"/>
                  <a:pt x="2166224" y="6534760"/>
                  <a:pt x="2164132" y="6535876"/>
                </a:cubicBezTo>
                <a:lnTo>
                  <a:pt x="2166989" y="6541248"/>
                </a:lnTo>
                <a:cubicBezTo>
                  <a:pt x="2170103" y="6539573"/>
                  <a:pt x="2172478" y="6537166"/>
                  <a:pt x="2174106" y="6534027"/>
                </a:cubicBezTo>
                <a:cubicBezTo>
                  <a:pt x="2175732" y="6530888"/>
                  <a:pt x="2176545" y="6526551"/>
                  <a:pt x="2176545" y="6521016"/>
                </a:cubicBezTo>
                <a:lnTo>
                  <a:pt x="2176545" y="6506715"/>
                </a:lnTo>
                <a:close/>
                <a:moveTo>
                  <a:pt x="6291678" y="6483832"/>
                </a:moveTo>
                <a:lnTo>
                  <a:pt x="6291678" y="6488437"/>
                </a:lnTo>
                <a:cubicBezTo>
                  <a:pt x="6291678" y="6494529"/>
                  <a:pt x="6290934" y="6499169"/>
                  <a:pt x="6289446" y="6502355"/>
                </a:cubicBezTo>
                <a:cubicBezTo>
                  <a:pt x="6287957" y="6505540"/>
                  <a:pt x="6285713" y="6508087"/>
                  <a:pt x="6282713" y="6509994"/>
                </a:cubicBezTo>
                <a:cubicBezTo>
                  <a:pt x="6279714" y="6511901"/>
                  <a:pt x="6276377" y="6512854"/>
                  <a:pt x="6272702" y="6512854"/>
                </a:cubicBezTo>
                <a:cubicBezTo>
                  <a:pt x="6268842" y="6512854"/>
                  <a:pt x="6265819" y="6511796"/>
                  <a:pt x="6263633" y="6509680"/>
                </a:cubicBezTo>
                <a:cubicBezTo>
                  <a:pt x="6261447" y="6507564"/>
                  <a:pt x="6260354" y="6504738"/>
                  <a:pt x="6260354" y="6501204"/>
                </a:cubicBezTo>
                <a:cubicBezTo>
                  <a:pt x="6260354" y="6498925"/>
                  <a:pt x="6260831" y="6496913"/>
                  <a:pt x="6261784" y="6495169"/>
                </a:cubicBezTo>
                <a:cubicBezTo>
                  <a:pt x="6262738" y="6493425"/>
                  <a:pt x="6264075" y="6492076"/>
                  <a:pt x="6265796" y="6491123"/>
                </a:cubicBezTo>
                <a:cubicBezTo>
                  <a:pt x="6267517" y="6490169"/>
                  <a:pt x="6270540" y="6489321"/>
                  <a:pt x="6274865" y="6488576"/>
                </a:cubicBezTo>
                <a:cubicBezTo>
                  <a:pt x="6282306" y="6487274"/>
                  <a:pt x="6287911" y="6485693"/>
                  <a:pt x="6291678" y="6483832"/>
                </a:cubicBezTo>
                <a:close/>
                <a:moveTo>
                  <a:pt x="2657744" y="6483832"/>
                </a:moveTo>
                <a:lnTo>
                  <a:pt x="2657744" y="6488437"/>
                </a:lnTo>
                <a:cubicBezTo>
                  <a:pt x="2657744" y="6494529"/>
                  <a:pt x="2657002" y="6499169"/>
                  <a:pt x="2655513" y="6502355"/>
                </a:cubicBezTo>
                <a:cubicBezTo>
                  <a:pt x="2654022" y="6505540"/>
                  <a:pt x="2651779" y="6508087"/>
                  <a:pt x="2648779" y="6509994"/>
                </a:cubicBezTo>
                <a:cubicBezTo>
                  <a:pt x="2645781" y="6511901"/>
                  <a:pt x="2642444" y="6512854"/>
                  <a:pt x="2638768" y="6512854"/>
                </a:cubicBezTo>
                <a:cubicBezTo>
                  <a:pt x="2634908" y="6512854"/>
                  <a:pt x="2631884" y="6511796"/>
                  <a:pt x="2629699" y="6509680"/>
                </a:cubicBezTo>
                <a:cubicBezTo>
                  <a:pt x="2627512" y="6507564"/>
                  <a:pt x="2626419" y="6504738"/>
                  <a:pt x="2626419" y="6501204"/>
                </a:cubicBezTo>
                <a:cubicBezTo>
                  <a:pt x="2626419" y="6498925"/>
                  <a:pt x="2626899" y="6496913"/>
                  <a:pt x="2627851" y="6495169"/>
                </a:cubicBezTo>
                <a:cubicBezTo>
                  <a:pt x="2628803" y="6493425"/>
                  <a:pt x="2630143" y="6492076"/>
                  <a:pt x="2631864" y="6491123"/>
                </a:cubicBezTo>
                <a:cubicBezTo>
                  <a:pt x="2633583" y="6490169"/>
                  <a:pt x="2636607" y="6489321"/>
                  <a:pt x="2640931" y="6488576"/>
                </a:cubicBezTo>
                <a:cubicBezTo>
                  <a:pt x="2648373" y="6487274"/>
                  <a:pt x="2653976" y="6485693"/>
                  <a:pt x="2657744" y="6483832"/>
                </a:cubicBezTo>
                <a:close/>
                <a:moveTo>
                  <a:pt x="6087297" y="6455578"/>
                </a:moveTo>
                <a:cubicBezTo>
                  <a:pt x="6092411" y="6455578"/>
                  <a:pt x="6096620" y="6457881"/>
                  <a:pt x="6099922" y="6462485"/>
                </a:cubicBezTo>
                <a:cubicBezTo>
                  <a:pt x="6102201" y="6465648"/>
                  <a:pt x="6103573" y="6470438"/>
                  <a:pt x="6104038" y="6476856"/>
                </a:cubicBezTo>
                <a:lnTo>
                  <a:pt x="6070136" y="6476856"/>
                </a:lnTo>
                <a:cubicBezTo>
                  <a:pt x="6070461" y="6470345"/>
                  <a:pt x="6072253" y="6465171"/>
                  <a:pt x="6075505" y="6461334"/>
                </a:cubicBezTo>
                <a:cubicBezTo>
                  <a:pt x="6078763" y="6457497"/>
                  <a:pt x="6082693" y="6455578"/>
                  <a:pt x="6087297" y="6455578"/>
                </a:cubicBezTo>
                <a:close/>
                <a:moveTo>
                  <a:pt x="6018399" y="6455578"/>
                </a:moveTo>
                <a:cubicBezTo>
                  <a:pt x="6023284" y="6455578"/>
                  <a:pt x="6027333" y="6457962"/>
                  <a:pt x="6030545" y="6462729"/>
                </a:cubicBezTo>
                <a:cubicBezTo>
                  <a:pt x="6033757" y="6467496"/>
                  <a:pt x="6035362" y="6475066"/>
                  <a:pt x="6035362" y="6485437"/>
                </a:cubicBezTo>
                <a:cubicBezTo>
                  <a:pt x="6035362" y="6494460"/>
                  <a:pt x="6033757" y="6501204"/>
                  <a:pt x="6030545" y="6505668"/>
                </a:cubicBezTo>
                <a:cubicBezTo>
                  <a:pt x="6027333" y="6510133"/>
                  <a:pt x="6023542" y="6512366"/>
                  <a:pt x="6019168" y="6512366"/>
                </a:cubicBezTo>
                <a:cubicBezTo>
                  <a:pt x="6014746" y="6512366"/>
                  <a:pt x="6010872" y="6510040"/>
                  <a:pt x="6007544" y="6505389"/>
                </a:cubicBezTo>
                <a:cubicBezTo>
                  <a:pt x="6004217" y="6500738"/>
                  <a:pt x="6002552" y="6493623"/>
                  <a:pt x="6002552" y="6484042"/>
                </a:cubicBezTo>
                <a:cubicBezTo>
                  <a:pt x="6002552" y="6474228"/>
                  <a:pt x="6004113" y="6467031"/>
                  <a:pt x="6007230" y="6462450"/>
                </a:cubicBezTo>
                <a:cubicBezTo>
                  <a:pt x="6010347" y="6457869"/>
                  <a:pt x="6014069" y="6455578"/>
                  <a:pt x="6018399" y="6455578"/>
                </a:cubicBezTo>
                <a:close/>
                <a:moveTo>
                  <a:pt x="5829564" y="6455578"/>
                </a:moveTo>
                <a:cubicBezTo>
                  <a:pt x="5834727" y="6455578"/>
                  <a:pt x="5839051" y="6457918"/>
                  <a:pt x="5842540" y="6462598"/>
                </a:cubicBezTo>
                <a:cubicBezTo>
                  <a:pt x="5846028" y="6467278"/>
                  <a:pt x="5847772" y="6474391"/>
                  <a:pt x="5847772" y="6483937"/>
                </a:cubicBezTo>
                <a:cubicBezTo>
                  <a:pt x="5847772" y="6493437"/>
                  <a:pt x="5846040" y="6500549"/>
                  <a:pt x="5842575" y="6505276"/>
                </a:cubicBezTo>
                <a:cubicBezTo>
                  <a:pt x="5839110" y="6510002"/>
                  <a:pt x="5834959" y="6512366"/>
                  <a:pt x="5830122" y="6512366"/>
                </a:cubicBezTo>
                <a:cubicBezTo>
                  <a:pt x="5824960" y="6512366"/>
                  <a:pt x="5820636" y="6510026"/>
                  <a:pt x="5817145" y="6505346"/>
                </a:cubicBezTo>
                <a:cubicBezTo>
                  <a:pt x="5813658" y="6500666"/>
                  <a:pt x="5811914" y="6493530"/>
                  <a:pt x="5811914" y="6483937"/>
                </a:cubicBezTo>
                <a:cubicBezTo>
                  <a:pt x="5811914" y="6474438"/>
                  <a:pt x="5813635" y="6467336"/>
                  <a:pt x="5817079" y="6462633"/>
                </a:cubicBezTo>
                <a:cubicBezTo>
                  <a:pt x="5820521" y="6457930"/>
                  <a:pt x="5824683" y="6455578"/>
                  <a:pt x="5829564" y="6455578"/>
                </a:cubicBezTo>
                <a:close/>
                <a:moveTo>
                  <a:pt x="2774990" y="6455578"/>
                </a:moveTo>
                <a:cubicBezTo>
                  <a:pt x="2779874" y="6455578"/>
                  <a:pt x="2783923" y="6457962"/>
                  <a:pt x="2787135" y="6462729"/>
                </a:cubicBezTo>
                <a:cubicBezTo>
                  <a:pt x="2790345" y="6467496"/>
                  <a:pt x="2791951" y="6475066"/>
                  <a:pt x="2791951" y="6485437"/>
                </a:cubicBezTo>
                <a:cubicBezTo>
                  <a:pt x="2791951" y="6494460"/>
                  <a:pt x="2790345" y="6501204"/>
                  <a:pt x="2787135" y="6505668"/>
                </a:cubicBezTo>
                <a:cubicBezTo>
                  <a:pt x="2783923" y="6510133"/>
                  <a:pt x="2780133" y="6512366"/>
                  <a:pt x="2775759" y="6512366"/>
                </a:cubicBezTo>
                <a:cubicBezTo>
                  <a:pt x="2771336" y="6512366"/>
                  <a:pt x="2767460" y="6510040"/>
                  <a:pt x="2764133" y="6505389"/>
                </a:cubicBezTo>
                <a:cubicBezTo>
                  <a:pt x="2760806" y="6500738"/>
                  <a:pt x="2759145" y="6493623"/>
                  <a:pt x="2759145" y="6484042"/>
                </a:cubicBezTo>
                <a:cubicBezTo>
                  <a:pt x="2759145" y="6474228"/>
                  <a:pt x="2760704" y="6467031"/>
                  <a:pt x="2763822" y="6462450"/>
                </a:cubicBezTo>
                <a:cubicBezTo>
                  <a:pt x="2766936" y="6457869"/>
                  <a:pt x="2770658" y="6455578"/>
                  <a:pt x="2774990" y="6455578"/>
                </a:cubicBezTo>
                <a:close/>
                <a:moveTo>
                  <a:pt x="2510511" y="6455578"/>
                </a:moveTo>
                <a:cubicBezTo>
                  <a:pt x="2515626" y="6455578"/>
                  <a:pt x="2519836" y="6457881"/>
                  <a:pt x="2523140" y="6462485"/>
                </a:cubicBezTo>
                <a:cubicBezTo>
                  <a:pt x="2525417" y="6465648"/>
                  <a:pt x="2526789" y="6470438"/>
                  <a:pt x="2527255" y="6476856"/>
                </a:cubicBezTo>
                <a:lnTo>
                  <a:pt x="2493349" y="6476856"/>
                </a:lnTo>
                <a:cubicBezTo>
                  <a:pt x="2493675" y="6470345"/>
                  <a:pt x="2495465" y="6465171"/>
                  <a:pt x="2498723" y="6461334"/>
                </a:cubicBezTo>
                <a:cubicBezTo>
                  <a:pt x="2501977" y="6457497"/>
                  <a:pt x="2505907" y="6455578"/>
                  <a:pt x="2510511" y="6455578"/>
                </a:cubicBezTo>
                <a:close/>
                <a:moveTo>
                  <a:pt x="1871776" y="6455578"/>
                </a:moveTo>
                <a:cubicBezTo>
                  <a:pt x="1876939" y="6455578"/>
                  <a:pt x="1881264" y="6457918"/>
                  <a:pt x="1884752" y="6462598"/>
                </a:cubicBezTo>
                <a:cubicBezTo>
                  <a:pt x="1888240" y="6467278"/>
                  <a:pt x="1889984" y="6474391"/>
                  <a:pt x="1889984" y="6483937"/>
                </a:cubicBezTo>
                <a:cubicBezTo>
                  <a:pt x="1889984" y="6493437"/>
                  <a:pt x="1888252" y="6500549"/>
                  <a:pt x="1884787" y="6505276"/>
                </a:cubicBezTo>
                <a:cubicBezTo>
                  <a:pt x="1881322" y="6510002"/>
                  <a:pt x="1877171" y="6512366"/>
                  <a:pt x="1872334" y="6512366"/>
                </a:cubicBezTo>
                <a:cubicBezTo>
                  <a:pt x="1867172" y="6512366"/>
                  <a:pt x="1862846" y="6510026"/>
                  <a:pt x="1859358" y="6505346"/>
                </a:cubicBezTo>
                <a:cubicBezTo>
                  <a:pt x="1855870" y="6500666"/>
                  <a:pt x="1854126" y="6493530"/>
                  <a:pt x="1854126" y="6483937"/>
                </a:cubicBezTo>
                <a:cubicBezTo>
                  <a:pt x="1854126" y="6474438"/>
                  <a:pt x="1855847" y="6467336"/>
                  <a:pt x="1859288" y="6462633"/>
                </a:cubicBezTo>
                <a:cubicBezTo>
                  <a:pt x="1862731" y="6457930"/>
                  <a:pt x="1866893" y="6455578"/>
                  <a:pt x="1871776" y="6455578"/>
                </a:cubicBezTo>
                <a:close/>
                <a:moveTo>
                  <a:pt x="1586584" y="6455578"/>
                </a:moveTo>
                <a:cubicBezTo>
                  <a:pt x="1591700" y="6455578"/>
                  <a:pt x="1595909" y="6457881"/>
                  <a:pt x="1599211" y="6462485"/>
                </a:cubicBezTo>
                <a:cubicBezTo>
                  <a:pt x="1601491" y="6465648"/>
                  <a:pt x="1602862" y="6470438"/>
                  <a:pt x="1603327" y="6476856"/>
                </a:cubicBezTo>
                <a:lnTo>
                  <a:pt x="1569422" y="6476856"/>
                </a:lnTo>
                <a:cubicBezTo>
                  <a:pt x="1569748" y="6470345"/>
                  <a:pt x="1571538" y="6465171"/>
                  <a:pt x="1574794" y="6461334"/>
                </a:cubicBezTo>
                <a:cubicBezTo>
                  <a:pt x="1578050" y="6457497"/>
                  <a:pt x="1581980" y="6455578"/>
                  <a:pt x="1586584" y="6455578"/>
                </a:cubicBezTo>
                <a:close/>
                <a:moveTo>
                  <a:pt x="1317685" y="6455578"/>
                </a:moveTo>
                <a:cubicBezTo>
                  <a:pt x="1322486" y="6455578"/>
                  <a:pt x="1326564" y="6457851"/>
                  <a:pt x="1329920" y="6462398"/>
                </a:cubicBezTo>
                <a:cubicBezTo>
                  <a:pt x="1333275" y="6466944"/>
                  <a:pt x="1334953" y="6473880"/>
                  <a:pt x="1334953" y="6483205"/>
                </a:cubicBezTo>
                <a:cubicBezTo>
                  <a:pt x="1334953" y="6492763"/>
                  <a:pt x="1333322" y="6499734"/>
                  <a:pt x="1330059" y="6504117"/>
                </a:cubicBezTo>
                <a:cubicBezTo>
                  <a:pt x="1326797" y="6508500"/>
                  <a:pt x="1322836" y="6510691"/>
                  <a:pt x="1318175" y="6510691"/>
                </a:cubicBezTo>
                <a:cubicBezTo>
                  <a:pt x="1313514" y="6510691"/>
                  <a:pt x="1309575" y="6508453"/>
                  <a:pt x="1306360" y="6503977"/>
                </a:cubicBezTo>
                <a:cubicBezTo>
                  <a:pt x="1303144" y="6499501"/>
                  <a:pt x="1301536" y="6492390"/>
                  <a:pt x="1301536" y="6482645"/>
                </a:cubicBezTo>
                <a:cubicBezTo>
                  <a:pt x="1301536" y="6473693"/>
                  <a:pt x="1303156" y="6466944"/>
                  <a:pt x="1306395" y="6462398"/>
                </a:cubicBezTo>
                <a:cubicBezTo>
                  <a:pt x="1309635" y="6457851"/>
                  <a:pt x="1313398" y="6455578"/>
                  <a:pt x="1317685" y="6455578"/>
                </a:cubicBezTo>
                <a:close/>
                <a:moveTo>
                  <a:pt x="1071676" y="6455578"/>
                </a:moveTo>
                <a:cubicBezTo>
                  <a:pt x="1076839" y="6455578"/>
                  <a:pt x="1081164" y="6457918"/>
                  <a:pt x="1084652" y="6462598"/>
                </a:cubicBezTo>
                <a:cubicBezTo>
                  <a:pt x="1088140" y="6467278"/>
                  <a:pt x="1089884" y="6474391"/>
                  <a:pt x="1089884" y="6483937"/>
                </a:cubicBezTo>
                <a:cubicBezTo>
                  <a:pt x="1089884" y="6493437"/>
                  <a:pt x="1088152" y="6500549"/>
                  <a:pt x="1084687" y="6505276"/>
                </a:cubicBezTo>
                <a:cubicBezTo>
                  <a:pt x="1081222" y="6510002"/>
                  <a:pt x="1077071" y="6512366"/>
                  <a:pt x="1072234" y="6512366"/>
                </a:cubicBezTo>
                <a:cubicBezTo>
                  <a:pt x="1067072" y="6512366"/>
                  <a:pt x="1062746" y="6510026"/>
                  <a:pt x="1059258" y="6505346"/>
                </a:cubicBezTo>
                <a:cubicBezTo>
                  <a:pt x="1055770" y="6500666"/>
                  <a:pt x="1054026" y="6493530"/>
                  <a:pt x="1054026" y="6483937"/>
                </a:cubicBezTo>
                <a:cubicBezTo>
                  <a:pt x="1054026" y="6474438"/>
                  <a:pt x="1055747" y="6467336"/>
                  <a:pt x="1059188" y="6462633"/>
                </a:cubicBezTo>
                <a:cubicBezTo>
                  <a:pt x="1062630" y="6457930"/>
                  <a:pt x="1066793" y="6455578"/>
                  <a:pt x="1071676" y="6455578"/>
                </a:cubicBezTo>
                <a:close/>
                <a:moveTo>
                  <a:pt x="1139788" y="6455090"/>
                </a:moveTo>
                <a:cubicBezTo>
                  <a:pt x="1144380" y="6455090"/>
                  <a:pt x="1148277" y="6457415"/>
                  <a:pt x="1151478" y="6462066"/>
                </a:cubicBezTo>
                <a:cubicBezTo>
                  <a:pt x="1154680" y="6466717"/>
                  <a:pt x="1156280" y="6473880"/>
                  <a:pt x="1156280" y="6483553"/>
                </a:cubicBezTo>
                <a:cubicBezTo>
                  <a:pt x="1156280" y="6493367"/>
                  <a:pt x="1154633" y="6500622"/>
                  <a:pt x="1151339" y="6505320"/>
                </a:cubicBezTo>
                <a:cubicBezTo>
                  <a:pt x="1148046" y="6510017"/>
                  <a:pt x="1144218" y="6512366"/>
                  <a:pt x="1139857" y="6512366"/>
                </a:cubicBezTo>
                <a:cubicBezTo>
                  <a:pt x="1135310" y="6512366"/>
                  <a:pt x="1131436" y="6510098"/>
                  <a:pt x="1128235" y="6505564"/>
                </a:cubicBezTo>
                <a:cubicBezTo>
                  <a:pt x="1125034" y="6501029"/>
                  <a:pt x="1123434" y="6493971"/>
                  <a:pt x="1123434" y="6484391"/>
                </a:cubicBezTo>
                <a:cubicBezTo>
                  <a:pt x="1123434" y="6474856"/>
                  <a:pt x="1125127" y="6467589"/>
                  <a:pt x="1128514" y="6462590"/>
                </a:cubicBezTo>
                <a:cubicBezTo>
                  <a:pt x="1131901" y="6457590"/>
                  <a:pt x="1135659" y="6455090"/>
                  <a:pt x="1139788" y="6455090"/>
                </a:cubicBezTo>
                <a:close/>
                <a:moveTo>
                  <a:pt x="6224384" y="6446928"/>
                </a:moveTo>
                <a:lnTo>
                  <a:pt x="6224384" y="6521016"/>
                </a:lnTo>
                <a:lnTo>
                  <a:pt x="6234640" y="6521016"/>
                </a:lnTo>
                <a:lnTo>
                  <a:pt x="6234640" y="6446928"/>
                </a:lnTo>
                <a:close/>
                <a:moveTo>
                  <a:pt x="5967211" y="6446928"/>
                </a:moveTo>
                <a:lnTo>
                  <a:pt x="5967211" y="6521016"/>
                </a:lnTo>
                <a:lnTo>
                  <a:pt x="5977467" y="6521016"/>
                </a:lnTo>
                <a:lnTo>
                  <a:pt x="5977467" y="6446928"/>
                </a:lnTo>
                <a:close/>
                <a:moveTo>
                  <a:pt x="2380902" y="6446928"/>
                </a:moveTo>
                <a:lnTo>
                  <a:pt x="2380902" y="6521016"/>
                </a:lnTo>
                <a:lnTo>
                  <a:pt x="2391160" y="6521016"/>
                </a:lnTo>
                <a:lnTo>
                  <a:pt x="2391160" y="6446928"/>
                </a:lnTo>
                <a:close/>
                <a:moveTo>
                  <a:pt x="2287711" y="6446928"/>
                </a:moveTo>
                <a:lnTo>
                  <a:pt x="2306375" y="6521016"/>
                </a:lnTo>
                <a:lnTo>
                  <a:pt x="2317119" y="6521016"/>
                </a:lnTo>
                <a:lnTo>
                  <a:pt x="2329394" y="6464020"/>
                </a:lnTo>
                <a:lnTo>
                  <a:pt x="2331698" y="6476647"/>
                </a:lnTo>
                <a:lnTo>
                  <a:pt x="2341394" y="6521016"/>
                </a:lnTo>
                <a:lnTo>
                  <a:pt x="2352113" y="6521016"/>
                </a:lnTo>
                <a:lnTo>
                  <a:pt x="2371081" y="6446928"/>
                </a:lnTo>
                <a:lnTo>
                  <a:pt x="2361033" y="6446928"/>
                </a:lnTo>
                <a:lnTo>
                  <a:pt x="2350666" y="6489762"/>
                </a:lnTo>
                <a:lnTo>
                  <a:pt x="2347183" y="6504064"/>
                </a:lnTo>
                <a:lnTo>
                  <a:pt x="2344125" y="6489902"/>
                </a:lnTo>
                <a:lnTo>
                  <a:pt x="2335086" y="6446928"/>
                </a:lnTo>
                <a:lnTo>
                  <a:pt x="2324456" y="6446928"/>
                </a:lnTo>
                <a:lnTo>
                  <a:pt x="2314822" y="6490320"/>
                </a:lnTo>
                <a:lnTo>
                  <a:pt x="2311609" y="6505599"/>
                </a:lnTo>
                <a:lnTo>
                  <a:pt x="2308033" y="6489693"/>
                </a:lnTo>
                <a:lnTo>
                  <a:pt x="2298356" y="6446928"/>
                </a:lnTo>
                <a:close/>
                <a:moveTo>
                  <a:pt x="1818925" y="6446928"/>
                </a:moveTo>
                <a:lnTo>
                  <a:pt x="1818925" y="6521016"/>
                </a:lnTo>
                <a:lnTo>
                  <a:pt x="1829180" y="6521016"/>
                </a:lnTo>
                <a:lnTo>
                  <a:pt x="1829180" y="6446928"/>
                </a:lnTo>
                <a:close/>
                <a:moveTo>
                  <a:pt x="1752248" y="6446928"/>
                </a:moveTo>
                <a:lnTo>
                  <a:pt x="1752248" y="6521016"/>
                </a:lnTo>
                <a:lnTo>
                  <a:pt x="1762504" y="6521016"/>
                </a:lnTo>
                <a:lnTo>
                  <a:pt x="1762504" y="6446928"/>
                </a:lnTo>
                <a:close/>
                <a:moveTo>
                  <a:pt x="1266473" y="6446928"/>
                </a:moveTo>
                <a:lnTo>
                  <a:pt x="1266473" y="6521016"/>
                </a:lnTo>
                <a:lnTo>
                  <a:pt x="1276729" y="6521016"/>
                </a:lnTo>
                <a:lnTo>
                  <a:pt x="1276729" y="6446928"/>
                </a:lnTo>
                <a:close/>
                <a:moveTo>
                  <a:pt x="6278772" y="6445253"/>
                </a:moveTo>
                <a:cubicBezTo>
                  <a:pt x="6270586" y="6445253"/>
                  <a:pt x="6264296" y="6447067"/>
                  <a:pt x="6259901" y="6450695"/>
                </a:cubicBezTo>
                <a:cubicBezTo>
                  <a:pt x="6255506" y="6454323"/>
                  <a:pt x="6252587" y="6460113"/>
                  <a:pt x="6251146" y="6468066"/>
                </a:cubicBezTo>
                <a:lnTo>
                  <a:pt x="6261261" y="6469740"/>
                </a:lnTo>
                <a:cubicBezTo>
                  <a:pt x="6262377" y="6464272"/>
                  <a:pt x="6264122" y="6460544"/>
                  <a:pt x="6266493" y="6458558"/>
                </a:cubicBezTo>
                <a:cubicBezTo>
                  <a:pt x="6268865" y="6456572"/>
                  <a:pt x="6272447" y="6455578"/>
                  <a:pt x="6277237" y="6455578"/>
                </a:cubicBezTo>
                <a:cubicBezTo>
                  <a:pt x="6282539" y="6455578"/>
                  <a:pt x="6286469" y="6457067"/>
                  <a:pt x="6289027" y="6460043"/>
                </a:cubicBezTo>
                <a:cubicBezTo>
                  <a:pt x="6290841" y="6462090"/>
                  <a:pt x="6291748" y="6465648"/>
                  <a:pt x="6291748" y="6470717"/>
                </a:cubicBezTo>
                <a:lnTo>
                  <a:pt x="6291678" y="6473926"/>
                </a:lnTo>
                <a:cubicBezTo>
                  <a:pt x="6287771" y="6475627"/>
                  <a:pt x="6281632" y="6477092"/>
                  <a:pt x="6273260" y="6478321"/>
                </a:cubicBezTo>
                <a:cubicBezTo>
                  <a:pt x="6267028" y="6479205"/>
                  <a:pt x="6262377" y="6480577"/>
                  <a:pt x="6259308" y="6482437"/>
                </a:cubicBezTo>
                <a:cubicBezTo>
                  <a:pt x="6256238" y="6484298"/>
                  <a:pt x="6253820" y="6486879"/>
                  <a:pt x="6252052" y="6490181"/>
                </a:cubicBezTo>
                <a:cubicBezTo>
                  <a:pt x="6250285" y="6493483"/>
                  <a:pt x="6249401" y="6497274"/>
                  <a:pt x="6249401" y="6501552"/>
                </a:cubicBezTo>
                <a:cubicBezTo>
                  <a:pt x="6249401" y="6508017"/>
                  <a:pt x="6251285" y="6513156"/>
                  <a:pt x="6255052" y="6516970"/>
                </a:cubicBezTo>
                <a:cubicBezTo>
                  <a:pt x="6258820" y="6520784"/>
                  <a:pt x="6263866" y="6522691"/>
                  <a:pt x="6270191" y="6522691"/>
                </a:cubicBezTo>
                <a:cubicBezTo>
                  <a:pt x="6274191" y="6522691"/>
                  <a:pt x="6278051" y="6521783"/>
                  <a:pt x="6281772" y="6519969"/>
                </a:cubicBezTo>
                <a:cubicBezTo>
                  <a:pt x="6285492" y="6518155"/>
                  <a:pt x="6289073" y="6515457"/>
                  <a:pt x="6292515" y="6511876"/>
                </a:cubicBezTo>
                <a:cubicBezTo>
                  <a:pt x="6292841" y="6515412"/>
                  <a:pt x="6293538" y="6518458"/>
                  <a:pt x="6294608" y="6521016"/>
                </a:cubicBezTo>
                <a:lnTo>
                  <a:pt x="6305352" y="6521016"/>
                </a:lnTo>
                <a:cubicBezTo>
                  <a:pt x="6304049" y="6518133"/>
                  <a:pt x="6303177" y="6515168"/>
                  <a:pt x="6302735" y="6512121"/>
                </a:cubicBezTo>
                <a:cubicBezTo>
                  <a:pt x="6302294" y="6509075"/>
                  <a:pt x="6302073" y="6501692"/>
                  <a:pt x="6302073" y="6489972"/>
                </a:cubicBezTo>
                <a:lnTo>
                  <a:pt x="6302073" y="6473228"/>
                </a:lnTo>
                <a:cubicBezTo>
                  <a:pt x="6302073" y="6466438"/>
                  <a:pt x="6301596" y="6461276"/>
                  <a:pt x="6300643" y="6457741"/>
                </a:cubicBezTo>
                <a:cubicBezTo>
                  <a:pt x="6299689" y="6454206"/>
                  <a:pt x="6297399" y="6451241"/>
                  <a:pt x="6293771" y="6448846"/>
                </a:cubicBezTo>
                <a:cubicBezTo>
                  <a:pt x="6290143" y="6446451"/>
                  <a:pt x="6285143" y="6445253"/>
                  <a:pt x="6278772" y="6445253"/>
                </a:cubicBezTo>
                <a:close/>
                <a:moveTo>
                  <a:pt x="6157704" y="6445253"/>
                </a:moveTo>
                <a:cubicBezTo>
                  <a:pt x="6153525" y="6445253"/>
                  <a:pt x="6149822" y="6446259"/>
                  <a:pt x="6146596" y="6448271"/>
                </a:cubicBezTo>
                <a:cubicBezTo>
                  <a:pt x="6143369" y="6450283"/>
                  <a:pt x="6140642" y="6453324"/>
                  <a:pt x="6138413" y="6457393"/>
                </a:cubicBezTo>
                <a:lnTo>
                  <a:pt x="6138413" y="6446928"/>
                </a:lnTo>
                <a:lnTo>
                  <a:pt x="6129134" y="6446928"/>
                </a:lnTo>
                <a:lnTo>
                  <a:pt x="6129134" y="6521016"/>
                </a:lnTo>
                <a:lnTo>
                  <a:pt x="6139390" y="6521016"/>
                </a:lnTo>
                <a:lnTo>
                  <a:pt x="6139390" y="6480510"/>
                </a:lnTo>
                <a:cubicBezTo>
                  <a:pt x="6139390" y="6471571"/>
                  <a:pt x="6140855" y="6465262"/>
                  <a:pt x="6143785" y="6461584"/>
                </a:cubicBezTo>
                <a:cubicBezTo>
                  <a:pt x="6146715" y="6457906"/>
                  <a:pt x="6150645" y="6456067"/>
                  <a:pt x="6155575" y="6456067"/>
                </a:cubicBezTo>
                <a:cubicBezTo>
                  <a:pt x="6158179" y="6456067"/>
                  <a:pt x="6160470" y="6456753"/>
                  <a:pt x="6162446" y="6458127"/>
                </a:cubicBezTo>
                <a:cubicBezTo>
                  <a:pt x="6164423" y="6459500"/>
                  <a:pt x="6165876" y="6461444"/>
                  <a:pt x="6166807" y="6463958"/>
                </a:cubicBezTo>
                <a:cubicBezTo>
                  <a:pt x="6167737" y="6466472"/>
                  <a:pt x="6168202" y="6470453"/>
                  <a:pt x="6168202" y="6475901"/>
                </a:cubicBezTo>
                <a:lnTo>
                  <a:pt x="6168202" y="6521016"/>
                </a:lnTo>
                <a:lnTo>
                  <a:pt x="6178457" y="6521016"/>
                </a:lnTo>
                <a:lnTo>
                  <a:pt x="6178457" y="6475461"/>
                </a:lnTo>
                <a:cubicBezTo>
                  <a:pt x="6178457" y="6468624"/>
                  <a:pt x="6178039" y="6463555"/>
                  <a:pt x="6177203" y="6460253"/>
                </a:cubicBezTo>
                <a:cubicBezTo>
                  <a:pt x="6176368" y="6456950"/>
                  <a:pt x="6175103" y="6454265"/>
                  <a:pt x="6173408" y="6452195"/>
                </a:cubicBezTo>
                <a:cubicBezTo>
                  <a:pt x="6171713" y="6450125"/>
                  <a:pt x="6169485" y="6448451"/>
                  <a:pt x="6166722" y="6447172"/>
                </a:cubicBezTo>
                <a:cubicBezTo>
                  <a:pt x="6163960" y="6445893"/>
                  <a:pt x="6160953" y="6445253"/>
                  <a:pt x="6157704" y="6445253"/>
                </a:cubicBezTo>
                <a:close/>
                <a:moveTo>
                  <a:pt x="6087368" y="6445253"/>
                </a:moveTo>
                <a:cubicBezTo>
                  <a:pt x="6079136" y="6445253"/>
                  <a:pt x="6072333" y="6448614"/>
                  <a:pt x="6066963" y="6455334"/>
                </a:cubicBezTo>
                <a:cubicBezTo>
                  <a:pt x="6061590" y="6462055"/>
                  <a:pt x="6058901" y="6471810"/>
                  <a:pt x="6058901" y="6484600"/>
                </a:cubicBezTo>
                <a:cubicBezTo>
                  <a:pt x="6058901" y="6496925"/>
                  <a:pt x="6061564" y="6506354"/>
                  <a:pt x="6066892" y="6512889"/>
                </a:cubicBezTo>
                <a:cubicBezTo>
                  <a:pt x="6072218" y="6519423"/>
                  <a:pt x="6079183" y="6522691"/>
                  <a:pt x="6087783" y="6522691"/>
                </a:cubicBezTo>
                <a:cubicBezTo>
                  <a:pt x="6094623" y="6522691"/>
                  <a:pt x="6100352" y="6520679"/>
                  <a:pt x="6104980" y="6516656"/>
                </a:cubicBezTo>
                <a:cubicBezTo>
                  <a:pt x="6109608" y="6512633"/>
                  <a:pt x="6112805" y="6506668"/>
                  <a:pt x="6114573" y="6498762"/>
                </a:cubicBezTo>
                <a:lnTo>
                  <a:pt x="6103969" y="6497157"/>
                </a:lnTo>
                <a:cubicBezTo>
                  <a:pt x="6100945" y="6507296"/>
                  <a:pt x="6095574" y="6512366"/>
                  <a:pt x="6087853" y="6512366"/>
                </a:cubicBezTo>
                <a:cubicBezTo>
                  <a:pt x="6082925" y="6512366"/>
                  <a:pt x="6078737" y="6510249"/>
                  <a:pt x="6075296" y="6506017"/>
                </a:cubicBezTo>
                <a:cubicBezTo>
                  <a:pt x="6071857" y="6501785"/>
                  <a:pt x="6069924" y="6495506"/>
                  <a:pt x="6069507" y="6487181"/>
                </a:cubicBezTo>
                <a:lnTo>
                  <a:pt x="6114852" y="6487181"/>
                </a:lnTo>
                <a:lnTo>
                  <a:pt x="6114921" y="6483832"/>
                </a:lnTo>
                <a:cubicBezTo>
                  <a:pt x="6114921" y="6471322"/>
                  <a:pt x="6112294" y="6461764"/>
                  <a:pt x="6107038" y="6455160"/>
                </a:cubicBezTo>
                <a:cubicBezTo>
                  <a:pt x="6101783" y="6448556"/>
                  <a:pt x="6095225" y="6445253"/>
                  <a:pt x="6087368" y="6445253"/>
                </a:cubicBezTo>
                <a:close/>
                <a:moveTo>
                  <a:pt x="5900531" y="6445253"/>
                </a:moveTo>
                <a:cubicBezTo>
                  <a:pt x="5896351" y="6445253"/>
                  <a:pt x="5892648" y="6446259"/>
                  <a:pt x="5889422" y="6448271"/>
                </a:cubicBezTo>
                <a:cubicBezTo>
                  <a:pt x="5886194" y="6450283"/>
                  <a:pt x="5883469" y="6453324"/>
                  <a:pt x="5881238" y="6457393"/>
                </a:cubicBezTo>
                <a:lnTo>
                  <a:pt x="5881238" y="6446928"/>
                </a:lnTo>
                <a:lnTo>
                  <a:pt x="5871961" y="6446928"/>
                </a:lnTo>
                <a:lnTo>
                  <a:pt x="5871961" y="6521016"/>
                </a:lnTo>
                <a:lnTo>
                  <a:pt x="5882218" y="6521016"/>
                </a:lnTo>
                <a:lnTo>
                  <a:pt x="5882218" y="6480510"/>
                </a:lnTo>
                <a:cubicBezTo>
                  <a:pt x="5882218" y="6471571"/>
                  <a:pt x="5883681" y="6465262"/>
                  <a:pt x="5886612" y="6461584"/>
                </a:cubicBezTo>
                <a:cubicBezTo>
                  <a:pt x="5889540" y="6457906"/>
                  <a:pt x="5893472" y="6456067"/>
                  <a:pt x="5898401" y="6456067"/>
                </a:cubicBezTo>
                <a:cubicBezTo>
                  <a:pt x="5901009" y="6456067"/>
                  <a:pt x="5903296" y="6456753"/>
                  <a:pt x="5905276" y="6458127"/>
                </a:cubicBezTo>
                <a:cubicBezTo>
                  <a:pt x="5907250" y="6459500"/>
                  <a:pt x="5908702" y="6461444"/>
                  <a:pt x="5909634" y="6463958"/>
                </a:cubicBezTo>
                <a:cubicBezTo>
                  <a:pt x="5910564" y="6466472"/>
                  <a:pt x="5911030" y="6470453"/>
                  <a:pt x="5911030" y="6475901"/>
                </a:cubicBezTo>
                <a:lnTo>
                  <a:pt x="5911030" y="6521016"/>
                </a:lnTo>
                <a:lnTo>
                  <a:pt x="5921285" y="6521016"/>
                </a:lnTo>
                <a:lnTo>
                  <a:pt x="5921285" y="6475461"/>
                </a:lnTo>
                <a:cubicBezTo>
                  <a:pt x="5921285" y="6468624"/>
                  <a:pt x="5920866" y="6463555"/>
                  <a:pt x="5920030" y="6460253"/>
                </a:cubicBezTo>
                <a:cubicBezTo>
                  <a:pt x="5919195" y="6456950"/>
                  <a:pt x="5917930" y="6454265"/>
                  <a:pt x="5916235" y="6452195"/>
                </a:cubicBezTo>
                <a:cubicBezTo>
                  <a:pt x="5914539" y="6450125"/>
                  <a:pt x="5912313" y="6448451"/>
                  <a:pt x="5909549" y="6447172"/>
                </a:cubicBezTo>
                <a:cubicBezTo>
                  <a:pt x="5906787" y="6445893"/>
                  <a:pt x="5903781" y="6445253"/>
                  <a:pt x="5900531" y="6445253"/>
                </a:cubicBezTo>
                <a:close/>
                <a:moveTo>
                  <a:pt x="5829842" y="6445253"/>
                </a:moveTo>
                <a:cubicBezTo>
                  <a:pt x="5821611" y="6445253"/>
                  <a:pt x="5814808" y="6448509"/>
                  <a:pt x="5809436" y="6455020"/>
                </a:cubicBezTo>
                <a:cubicBezTo>
                  <a:pt x="5804066" y="6461532"/>
                  <a:pt x="5801381" y="6471182"/>
                  <a:pt x="5801381" y="6483972"/>
                </a:cubicBezTo>
                <a:cubicBezTo>
                  <a:pt x="5801381" y="6496715"/>
                  <a:pt x="5804089" y="6506354"/>
                  <a:pt x="5809506" y="6512889"/>
                </a:cubicBezTo>
                <a:cubicBezTo>
                  <a:pt x="5814925" y="6519423"/>
                  <a:pt x="5821704" y="6522691"/>
                  <a:pt x="5829842" y="6522691"/>
                </a:cubicBezTo>
                <a:cubicBezTo>
                  <a:pt x="5838120" y="6522691"/>
                  <a:pt x="5844934" y="6519435"/>
                  <a:pt x="5850285" y="6512924"/>
                </a:cubicBezTo>
                <a:cubicBezTo>
                  <a:pt x="5855632" y="6506412"/>
                  <a:pt x="5858305" y="6496506"/>
                  <a:pt x="5858305" y="6483205"/>
                </a:cubicBezTo>
                <a:cubicBezTo>
                  <a:pt x="5858305" y="6470926"/>
                  <a:pt x="5855587" y="6461532"/>
                  <a:pt x="5850144" y="6455020"/>
                </a:cubicBezTo>
                <a:cubicBezTo>
                  <a:pt x="5844702" y="6448509"/>
                  <a:pt x="5837938" y="6445253"/>
                  <a:pt x="5829842" y="6445253"/>
                </a:cubicBezTo>
                <a:close/>
                <a:moveTo>
                  <a:pt x="2714271" y="6445253"/>
                </a:moveTo>
                <a:cubicBezTo>
                  <a:pt x="2710094" y="6445253"/>
                  <a:pt x="2706388" y="6446259"/>
                  <a:pt x="2703162" y="6448271"/>
                </a:cubicBezTo>
                <a:cubicBezTo>
                  <a:pt x="2699936" y="6450283"/>
                  <a:pt x="2697209" y="6453324"/>
                  <a:pt x="2694979" y="6457393"/>
                </a:cubicBezTo>
                <a:lnTo>
                  <a:pt x="2694979" y="6446928"/>
                </a:lnTo>
                <a:lnTo>
                  <a:pt x="2685702" y="6446928"/>
                </a:lnTo>
                <a:lnTo>
                  <a:pt x="2685702" y="6521016"/>
                </a:lnTo>
                <a:lnTo>
                  <a:pt x="2695956" y="6521016"/>
                </a:lnTo>
                <a:lnTo>
                  <a:pt x="2695956" y="6480510"/>
                </a:lnTo>
                <a:cubicBezTo>
                  <a:pt x="2695956" y="6471571"/>
                  <a:pt x="2697421" y="6465262"/>
                  <a:pt x="2700353" y="6461584"/>
                </a:cubicBezTo>
                <a:cubicBezTo>
                  <a:pt x="2703282" y="6457906"/>
                  <a:pt x="2707212" y="6456067"/>
                  <a:pt x="2712140" y="6456067"/>
                </a:cubicBezTo>
                <a:cubicBezTo>
                  <a:pt x="2714745" y="6456067"/>
                  <a:pt x="2717037" y="6456753"/>
                  <a:pt x="2719012" y="6458127"/>
                </a:cubicBezTo>
                <a:cubicBezTo>
                  <a:pt x="2720992" y="6459500"/>
                  <a:pt x="2722442" y="6461444"/>
                  <a:pt x="2723374" y="6463958"/>
                </a:cubicBezTo>
                <a:cubicBezTo>
                  <a:pt x="2724302" y="6466472"/>
                  <a:pt x="2724768" y="6470453"/>
                  <a:pt x="2724768" y="6475901"/>
                </a:cubicBezTo>
                <a:lnTo>
                  <a:pt x="2724768" y="6521016"/>
                </a:lnTo>
                <a:lnTo>
                  <a:pt x="2735023" y="6521016"/>
                </a:lnTo>
                <a:lnTo>
                  <a:pt x="2735023" y="6475461"/>
                </a:lnTo>
                <a:cubicBezTo>
                  <a:pt x="2735023" y="6468624"/>
                  <a:pt x="2734605" y="6463555"/>
                  <a:pt x="2733768" y="6460253"/>
                </a:cubicBezTo>
                <a:cubicBezTo>
                  <a:pt x="2732936" y="6456950"/>
                  <a:pt x="2731669" y="6454265"/>
                  <a:pt x="2729976" y="6452195"/>
                </a:cubicBezTo>
                <a:cubicBezTo>
                  <a:pt x="2728278" y="6450125"/>
                  <a:pt x="2726053" y="6448451"/>
                  <a:pt x="2723290" y="6447172"/>
                </a:cubicBezTo>
                <a:cubicBezTo>
                  <a:pt x="2720528" y="6445893"/>
                  <a:pt x="2717521" y="6445253"/>
                  <a:pt x="2714271" y="6445253"/>
                </a:cubicBezTo>
                <a:close/>
                <a:moveTo>
                  <a:pt x="2644839" y="6445253"/>
                </a:moveTo>
                <a:cubicBezTo>
                  <a:pt x="2636651" y="6445253"/>
                  <a:pt x="2630365" y="6447067"/>
                  <a:pt x="2625967" y="6450695"/>
                </a:cubicBezTo>
                <a:cubicBezTo>
                  <a:pt x="2621573" y="6454323"/>
                  <a:pt x="2618653" y="6460113"/>
                  <a:pt x="2617211" y="6468066"/>
                </a:cubicBezTo>
                <a:lnTo>
                  <a:pt x="2627327" y="6469740"/>
                </a:lnTo>
                <a:cubicBezTo>
                  <a:pt x="2628444" y="6464272"/>
                  <a:pt x="2630187" y="6460544"/>
                  <a:pt x="2632562" y="6458558"/>
                </a:cubicBezTo>
                <a:cubicBezTo>
                  <a:pt x="2634933" y="6456572"/>
                  <a:pt x="2638514" y="6455578"/>
                  <a:pt x="2643303" y="6455578"/>
                </a:cubicBezTo>
                <a:cubicBezTo>
                  <a:pt x="2648605" y="6455578"/>
                  <a:pt x="2652535" y="6457067"/>
                  <a:pt x="2655093" y="6460043"/>
                </a:cubicBezTo>
                <a:cubicBezTo>
                  <a:pt x="2656907" y="6462090"/>
                  <a:pt x="2657815" y="6465648"/>
                  <a:pt x="2657815" y="6470717"/>
                </a:cubicBezTo>
                <a:lnTo>
                  <a:pt x="2657744" y="6473926"/>
                </a:lnTo>
                <a:cubicBezTo>
                  <a:pt x="2653837" y="6475627"/>
                  <a:pt x="2647697" y="6477092"/>
                  <a:pt x="2639327" y="6478321"/>
                </a:cubicBezTo>
                <a:cubicBezTo>
                  <a:pt x="2633095" y="6479205"/>
                  <a:pt x="2628444" y="6480577"/>
                  <a:pt x="2625374" y="6482437"/>
                </a:cubicBezTo>
                <a:cubicBezTo>
                  <a:pt x="2622305" y="6484298"/>
                  <a:pt x="2619888" y="6486879"/>
                  <a:pt x="2618117" y="6490181"/>
                </a:cubicBezTo>
                <a:cubicBezTo>
                  <a:pt x="2616351" y="6493483"/>
                  <a:pt x="2615466" y="6497274"/>
                  <a:pt x="2615466" y="6501552"/>
                </a:cubicBezTo>
                <a:cubicBezTo>
                  <a:pt x="2615466" y="6508017"/>
                  <a:pt x="2617352" y="6513156"/>
                  <a:pt x="2621117" y="6516970"/>
                </a:cubicBezTo>
                <a:cubicBezTo>
                  <a:pt x="2624885" y="6520784"/>
                  <a:pt x="2629931" y="6522691"/>
                  <a:pt x="2636258" y="6522691"/>
                </a:cubicBezTo>
                <a:cubicBezTo>
                  <a:pt x="2640257" y="6522691"/>
                  <a:pt x="2644116" y="6521783"/>
                  <a:pt x="2647837" y="6519969"/>
                </a:cubicBezTo>
                <a:cubicBezTo>
                  <a:pt x="2651557" y="6518155"/>
                  <a:pt x="2655138" y="6515457"/>
                  <a:pt x="2658582" y="6511876"/>
                </a:cubicBezTo>
                <a:cubicBezTo>
                  <a:pt x="2658907" y="6515412"/>
                  <a:pt x="2659605" y="6518458"/>
                  <a:pt x="2660674" y="6521016"/>
                </a:cubicBezTo>
                <a:lnTo>
                  <a:pt x="2671419" y="6521016"/>
                </a:lnTo>
                <a:cubicBezTo>
                  <a:pt x="2670114" y="6518133"/>
                  <a:pt x="2669242" y="6515168"/>
                  <a:pt x="2668802" y="6512121"/>
                </a:cubicBezTo>
                <a:cubicBezTo>
                  <a:pt x="2668359" y="6509075"/>
                  <a:pt x="2668139" y="6501692"/>
                  <a:pt x="2668139" y="6489972"/>
                </a:cubicBezTo>
                <a:lnTo>
                  <a:pt x="2668139" y="6473228"/>
                </a:lnTo>
                <a:cubicBezTo>
                  <a:pt x="2668139" y="6466438"/>
                  <a:pt x="2667663" y="6461276"/>
                  <a:pt x="2666708" y="6457741"/>
                </a:cubicBezTo>
                <a:cubicBezTo>
                  <a:pt x="2665757" y="6454206"/>
                  <a:pt x="2663466" y="6451241"/>
                  <a:pt x="2659837" y="6448846"/>
                </a:cubicBezTo>
                <a:cubicBezTo>
                  <a:pt x="2656209" y="6446451"/>
                  <a:pt x="2651208" y="6445253"/>
                  <a:pt x="2644839" y="6445253"/>
                </a:cubicBezTo>
                <a:close/>
                <a:moveTo>
                  <a:pt x="2574815" y="6445253"/>
                </a:moveTo>
                <a:cubicBezTo>
                  <a:pt x="2572348" y="6445253"/>
                  <a:pt x="2570128" y="6446102"/>
                  <a:pt x="2568151" y="6447800"/>
                </a:cubicBezTo>
                <a:cubicBezTo>
                  <a:pt x="2566174" y="6449497"/>
                  <a:pt x="2564001" y="6452951"/>
                  <a:pt x="2561629" y="6458160"/>
                </a:cubicBezTo>
                <a:lnTo>
                  <a:pt x="2561629" y="6446928"/>
                </a:lnTo>
                <a:lnTo>
                  <a:pt x="2552350" y="6446928"/>
                </a:lnTo>
                <a:lnTo>
                  <a:pt x="2552350" y="6521016"/>
                </a:lnTo>
                <a:lnTo>
                  <a:pt x="2562605" y="6521016"/>
                </a:lnTo>
                <a:lnTo>
                  <a:pt x="2562605" y="6482228"/>
                </a:lnTo>
                <a:cubicBezTo>
                  <a:pt x="2562605" y="6476833"/>
                  <a:pt x="2563260" y="6471740"/>
                  <a:pt x="2564558" y="6466950"/>
                </a:cubicBezTo>
                <a:cubicBezTo>
                  <a:pt x="2565303" y="6464206"/>
                  <a:pt x="2566582" y="6462066"/>
                  <a:pt x="2568395" y="6460532"/>
                </a:cubicBezTo>
                <a:cubicBezTo>
                  <a:pt x="2570209" y="6458997"/>
                  <a:pt x="2572211" y="6458229"/>
                  <a:pt x="2574395" y="6458229"/>
                </a:cubicBezTo>
                <a:cubicBezTo>
                  <a:pt x="2576814" y="6458229"/>
                  <a:pt x="2579304" y="6459136"/>
                  <a:pt x="2581860" y="6460950"/>
                </a:cubicBezTo>
                <a:lnTo>
                  <a:pt x="2585348" y="6449300"/>
                </a:lnTo>
                <a:cubicBezTo>
                  <a:pt x="2581767" y="6446602"/>
                  <a:pt x="2578257" y="6445253"/>
                  <a:pt x="2574815" y="6445253"/>
                </a:cubicBezTo>
                <a:close/>
                <a:moveTo>
                  <a:pt x="2510583" y="6445253"/>
                </a:moveTo>
                <a:cubicBezTo>
                  <a:pt x="2502349" y="6445253"/>
                  <a:pt x="2495548" y="6448614"/>
                  <a:pt x="2490178" y="6455334"/>
                </a:cubicBezTo>
                <a:cubicBezTo>
                  <a:pt x="2484802" y="6462055"/>
                  <a:pt x="2482119" y="6471810"/>
                  <a:pt x="2482119" y="6484600"/>
                </a:cubicBezTo>
                <a:cubicBezTo>
                  <a:pt x="2482119" y="6496925"/>
                  <a:pt x="2484780" y="6506354"/>
                  <a:pt x="2490104" y="6512889"/>
                </a:cubicBezTo>
                <a:cubicBezTo>
                  <a:pt x="2495431" y="6519423"/>
                  <a:pt x="2502398" y="6522691"/>
                  <a:pt x="2511000" y="6522691"/>
                </a:cubicBezTo>
                <a:cubicBezTo>
                  <a:pt x="2517838" y="6522691"/>
                  <a:pt x="2523569" y="6520679"/>
                  <a:pt x="2528195" y="6516656"/>
                </a:cubicBezTo>
                <a:cubicBezTo>
                  <a:pt x="2532826" y="6512633"/>
                  <a:pt x="2536021" y="6506668"/>
                  <a:pt x="2537790" y="6498762"/>
                </a:cubicBezTo>
                <a:lnTo>
                  <a:pt x="2527186" y="6497157"/>
                </a:lnTo>
                <a:cubicBezTo>
                  <a:pt x="2524162" y="6507296"/>
                  <a:pt x="2518789" y="6512366"/>
                  <a:pt x="2511068" y="6512366"/>
                </a:cubicBezTo>
                <a:cubicBezTo>
                  <a:pt x="2506139" y="6512366"/>
                  <a:pt x="2501953" y="6510249"/>
                  <a:pt x="2498511" y="6506017"/>
                </a:cubicBezTo>
                <a:cubicBezTo>
                  <a:pt x="2495071" y="6501785"/>
                  <a:pt x="2493141" y="6495506"/>
                  <a:pt x="2492723" y="6487181"/>
                </a:cubicBezTo>
                <a:lnTo>
                  <a:pt x="2538068" y="6487181"/>
                </a:lnTo>
                <a:lnTo>
                  <a:pt x="2538139" y="6483832"/>
                </a:lnTo>
                <a:cubicBezTo>
                  <a:pt x="2538139" y="6471322"/>
                  <a:pt x="2535510" y="6461764"/>
                  <a:pt x="2530255" y="6455160"/>
                </a:cubicBezTo>
                <a:cubicBezTo>
                  <a:pt x="2525001" y="6448556"/>
                  <a:pt x="2518440" y="6445253"/>
                  <a:pt x="2510583" y="6445253"/>
                </a:cubicBezTo>
                <a:close/>
                <a:moveTo>
                  <a:pt x="1942743" y="6445253"/>
                </a:moveTo>
                <a:cubicBezTo>
                  <a:pt x="1938564" y="6445253"/>
                  <a:pt x="1934861" y="6446259"/>
                  <a:pt x="1931635" y="6448271"/>
                </a:cubicBezTo>
                <a:cubicBezTo>
                  <a:pt x="1928408" y="6450283"/>
                  <a:pt x="1925681" y="6453324"/>
                  <a:pt x="1923452" y="6457393"/>
                </a:cubicBezTo>
                <a:lnTo>
                  <a:pt x="1923452" y="6446928"/>
                </a:lnTo>
                <a:lnTo>
                  <a:pt x="1914173" y="6446928"/>
                </a:lnTo>
                <a:lnTo>
                  <a:pt x="1914173" y="6521016"/>
                </a:lnTo>
                <a:lnTo>
                  <a:pt x="1924429" y="6521016"/>
                </a:lnTo>
                <a:lnTo>
                  <a:pt x="1924429" y="6480510"/>
                </a:lnTo>
                <a:cubicBezTo>
                  <a:pt x="1924429" y="6471571"/>
                  <a:pt x="1925894" y="6465262"/>
                  <a:pt x="1928824" y="6461584"/>
                </a:cubicBezTo>
                <a:cubicBezTo>
                  <a:pt x="1931754" y="6457906"/>
                  <a:pt x="1935684" y="6456067"/>
                  <a:pt x="1940614" y="6456067"/>
                </a:cubicBezTo>
                <a:cubicBezTo>
                  <a:pt x="1943218" y="6456067"/>
                  <a:pt x="1945509" y="6456753"/>
                  <a:pt x="1947485" y="6458127"/>
                </a:cubicBezTo>
                <a:cubicBezTo>
                  <a:pt x="1949462" y="6459500"/>
                  <a:pt x="1950915" y="6461444"/>
                  <a:pt x="1951846" y="6463958"/>
                </a:cubicBezTo>
                <a:cubicBezTo>
                  <a:pt x="1952776" y="6466472"/>
                  <a:pt x="1953242" y="6470453"/>
                  <a:pt x="1953242" y="6475901"/>
                </a:cubicBezTo>
                <a:lnTo>
                  <a:pt x="1953242" y="6521016"/>
                </a:lnTo>
                <a:lnTo>
                  <a:pt x="1963497" y="6521016"/>
                </a:lnTo>
                <a:lnTo>
                  <a:pt x="1963497" y="6475461"/>
                </a:lnTo>
                <a:cubicBezTo>
                  <a:pt x="1963497" y="6468624"/>
                  <a:pt x="1963078" y="6463555"/>
                  <a:pt x="1962243" y="6460253"/>
                </a:cubicBezTo>
                <a:cubicBezTo>
                  <a:pt x="1961407" y="6456950"/>
                  <a:pt x="1960142" y="6454265"/>
                  <a:pt x="1958447" y="6452195"/>
                </a:cubicBezTo>
                <a:cubicBezTo>
                  <a:pt x="1956752" y="6450125"/>
                  <a:pt x="1954524" y="6448451"/>
                  <a:pt x="1951761" y="6447172"/>
                </a:cubicBezTo>
                <a:cubicBezTo>
                  <a:pt x="1948998" y="6445893"/>
                  <a:pt x="1945992" y="6445253"/>
                  <a:pt x="1942743" y="6445253"/>
                </a:cubicBezTo>
                <a:close/>
                <a:moveTo>
                  <a:pt x="1872055" y="6445253"/>
                </a:moveTo>
                <a:cubicBezTo>
                  <a:pt x="1863823" y="6445253"/>
                  <a:pt x="1857021" y="6448509"/>
                  <a:pt x="1851649" y="6455020"/>
                </a:cubicBezTo>
                <a:cubicBezTo>
                  <a:pt x="1846277" y="6461532"/>
                  <a:pt x="1843593" y="6471182"/>
                  <a:pt x="1843593" y="6483972"/>
                </a:cubicBezTo>
                <a:cubicBezTo>
                  <a:pt x="1843593" y="6496715"/>
                  <a:pt x="1846301" y="6506354"/>
                  <a:pt x="1851719" y="6512889"/>
                </a:cubicBezTo>
                <a:cubicBezTo>
                  <a:pt x="1857137" y="6519423"/>
                  <a:pt x="1863916" y="6522691"/>
                  <a:pt x="1872055" y="6522691"/>
                </a:cubicBezTo>
                <a:cubicBezTo>
                  <a:pt x="1880334" y="6522691"/>
                  <a:pt x="1887147" y="6519435"/>
                  <a:pt x="1892496" y="6512924"/>
                </a:cubicBezTo>
                <a:cubicBezTo>
                  <a:pt x="1897844" y="6506412"/>
                  <a:pt x="1900519" y="6496506"/>
                  <a:pt x="1900519" y="6483205"/>
                </a:cubicBezTo>
                <a:cubicBezTo>
                  <a:pt x="1900519" y="6470926"/>
                  <a:pt x="1897798" y="6461532"/>
                  <a:pt x="1892356" y="6455020"/>
                </a:cubicBezTo>
                <a:cubicBezTo>
                  <a:pt x="1886915" y="6448509"/>
                  <a:pt x="1880148" y="6445253"/>
                  <a:pt x="1872055" y="6445253"/>
                </a:cubicBezTo>
                <a:close/>
                <a:moveTo>
                  <a:pt x="1803287" y="6445253"/>
                </a:moveTo>
                <a:cubicBezTo>
                  <a:pt x="1800822" y="6445253"/>
                  <a:pt x="1798602" y="6446102"/>
                  <a:pt x="1796625" y="6447800"/>
                </a:cubicBezTo>
                <a:cubicBezTo>
                  <a:pt x="1794648" y="6449497"/>
                  <a:pt x="1792474" y="6452951"/>
                  <a:pt x="1790103" y="6458160"/>
                </a:cubicBezTo>
                <a:lnTo>
                  <a:pt x="1790103" y="6446928"/>
                </a:lnTo>
                <a:lnTo>
                  <a:pt x="1780823" y="6446928"/>
                </a:lnTo>
                <a:lnTo>
                  <a:pt x="1780823" y="6521016"/>
                </a:lnTo>
                <a:lnTo>
                  <a:pt x="1791079" y="6521016"/>
                </a:lnTo>
                <a:lnTo>
                  <a:pt x="1791079" y="6482228"/>
                </a:lnTo>
                <a:cubicBezTo>
                  <a:pt x="1791079" y="6476833"/>
                  <a:pt x="1791730" y="6471740"/>
                  <a:pt x="1793032" y="6466950"/>
                </a:cubicBezTo>
                <a:cubicBezTo>
                  <a:pt x="1793776" y="6464206"/>
                  <a:pt x="1795056" y="6462066"/>
                  <a:pt x="1796869" y="6460532"/>
                </a:cubicBezTo>
                <a:cubicBezTo>
                  <a:pt x="1798683" y="6458997"/>
                  <a:pt x="1800683" y="6458229"/>
                  <a:pt x="1802869" y="6458229"/>
                </a:cubicBezTo>
                <a:cubicBezTo>
                  <a:pt x="1805287" y="6458229"/>
                  <a:pt x="1807775" y="6459136"/>
                  <a:pt x="1810333" y="6460950"/>
                </a:cubicBezTo>
                <a:lnTo>
                  <a:pt x="1813822" y="6449300"/>
                </a:lnTo>
                <a:cubicBezTo>
                  <a:pt x="1810240" y="6446602"/>
                  <a:pt x="1806729" y="6445253"/>
                  <a:pt x="1803287" y="6445253"/>
                </a:cubicBezTo>
                <a:close/>
                <a:moveTo>
                  <a:pt x="1715748" y="6445253"/>
                </a:moveTo>
                <a:cubicBezTo>
                  <a:pt x="1708586" y="6445253"/>
                  <a:pt x="1702982" y="6447230"/>
                  <a:pt x="1698935" y="6451183"/>
                </a:cubicBezTo>
                <a:cubicBezTo>
                  <a:pt x="1694889" y="6455137"/>
                  <a:pt x="1692866" y="6460276"/>
                  <a:pt x="1692866" y="6466601"/>
                </a:cubicBezTo>
                <a:cubicBezTo>
                  <a:pt x="1692866" y="6470275"/>
                  <a:pt x="1693610" y="6473554"/>
                  <a:pt x="1695099" y="6476438"/>
                </a:cubicBezTo>
                <a:cubicBezTo>
                  <a:pt x="1696587" y="6479321"/>
                  <a:pt x="1698680" y="6481623"/>
                  <a:pt x="1701377" y="6483344"/>
                </a:cubicBezTo>
                <a:cubicBezTo>
                  <a:pt x="1704075" y="6485065"/>
                  <a:pt x="1709423" y="6487158"/>
                  <a:pt x="1717423" y="6489623"/>
                </a:cubicBezTo>
                <a:cubicBezTo>
                  <a:pt x="1722957" y="6491297"/>
                  <a:pt x="1726445" y="6492692"/>
                  <a:pt x="1727887" y="6493809"/>
                </a:cubicBezTo>
                <a:cubicBezTo>
                  <a:pt x="1729980" y="6495436"/>
                  <a:pt x="1731026" y="6497715"/>
                  <a:pt x="1731026" y="6500645"/>
                </a:cubicBezTo>
                <a:cubicBezTo>
                  <a:pt x="1731026" y="6504041"/>
                  <a:pt x="1729810" y="6506843"/>
                  <a:pt x="1727373" y="6509052"/>
                </a:cubicBezTo>
                <a:cubicBezTo>
                  <a:pt x="1724937" y="6511261"/>
                  <a:pt x="1721491" y="6512366"/>
                  <a:pt x="1717037" y="6512366"/>
                </a:cubicBezTo>
                <a:cubicBezTo>
                  <a:pt x="1712583" y="6512366"/>
                  <a:pt x="1709010" y="6511092"/>
                  <a:pt x="1706319" y="6508546"/>
                </a:cubicBezTo>
                <a:cubicBezTo>
                  <a:pt x="1703628" y="6506000"/>
                  <a:pt x="1701980" y="6502110"/>
                  <a:pt x="1701377" y="6496878"/>
                </a:cubicBezTo>
                <a:lnTo>
                  <a:pt x="1691122" y="6498832"/>
                </a:lnTo>
                <a:cubicBezTo>
                  <a:pt x="1693447" y="6514738"/>
                  <a:pt x="1701889" y="6522691"/>
                  <a:pt x="1716446" y="6522691"/>
                </a:cubicBezTo>
                <a:cubicBezTo>
                  <a:pt x="1724213" y="6522691"/>
                  <a:pt x="1730340" y="6520501"/>
                  <a:pt x="1734829" y="6516121"/>
                </a:cubicBezTo>
                <a:cubicBezTo>
                  <a:pt x="1739317" y="6511742"/>
                  <a:pt x="1741562" y="6506011"/>
                  <a:pt x="1741562" y="6498930"/>
                </a:cubicBezTo>
                <a:cubicBezTo>
                  <a:pt x="1741562" y="6495109"/>
                  <a:pt x="1740866" y="6491813"/>
                  <a:pt x="1739475" y="6489041"/>
                </a:cubicBezTo>
                <a:cubicBezTo>
                  <a:pt x="1738085" y="6486269"/>
                  <a:pt x="1736139" y="6484080"/>
                  <a:pt x="1733637" y="6482472"/>
                </a:cubicBezTo>
                <a:cubicBezTo>
                  <a:pt x="1731135" y="6480865"/>
                  <a:pt x="1725623" y="6478709"/>
                  <a:pt x="1717100" y="6476005"/>
                </a:cubicBezTo>
                <a:cubicBezTo>
                  <a:pt x="1710904" y="6473967"/>
                  <a:pt x="1707175" y="6472485"/>
                  <a:pt x="1705917" y="6471559"/>
                </a:cubicBezTo>
                <a:cubicBezTo>
                  <a:pt x="1703821" y="6469984"/>
                  <a:pt x="1702772" y="6467830"/>
                  <a:pt x="1702772" y="6465097"/>
                </a:cubicBezTo>
                <a:cubicBezTo>
                  <a:pt x="1702772" y="6462318"/>
                  <a:pt x="1703865" y="6460037"/>
                  <a:pt x="1706052" y="6458253"/>
                </a:cubicBezTo>
                <a:cubicBezTo>
                  <a:pt x="1708237" y="6456470"/>
                  <a:pt x="1711563" y="6455578"/>
                  <a:pt x="1716027" y="6455578"/>
                </a:cubicBezTo>
                <a:cubicBezTo>
                  <a:pt x="1723887" y="6455578"/>
                  <a:pt x="1728282" y="6459625"/>
                  <a:pt x="1729213" y="6467717"/>
                </a:cubicBezTo>
                <a:lnTo>
                  <a:pt x="1739260" y="6466043"/>
                </a:lnTo>
                <a:cubicBezTo>
                  <a:pt x="1738561" y="6460927"/>
                  <a:pt x="1737305" y="6456997"/>
                  <a:pt x="1735491" y="6454253"/>
                </a:cubicBezTo>
                <a:cubicBezTo>
                  <a:pt x="1733677" y="6451509"/>
                  <a:pt x="1731061" y="6449323"/>
                  <a:pt x="1727643" y="6447695"/>
                </a:cubicBezTo>
                <a:cubicBezTo>
                  <a:pt x="1724225" y="6446067"/>
                  <a:pt x="1720260" y="6445253"/>
                  <a:pt x="1715748" y="6445253"/>
                </a:cubicBezTo>
                <a:close/>
                <a:moveTo>
                  <a:pt x="1656992" y="6445253"/>
                </a:moveTo>
                <a:cubicBezTo>
                  <a:pt x="1652814" y="6445253"/>
                  <a:pt x="1649111" y="6446259"/>
                  <a:pt x="1645885" y="6448271"/>
                </a:cubicBezTo>
                <a:cubicBezTo>
                  <a:pt x="1642658" y="6450283"/>
                  <a:pt x="1639931" y="6453324"/>
                  <a:pt x="1637702" y="6457393"/>
                </a:cubicBezTo>
                <a:lnTo>
                  <a:pt x="1637702" y="6446928"/>
                </a:lnTo>
                <a:lnTo>
                  <a:pt x="1628424" y="6446928"/>
                </a:lnTo>
                <a:lnTo>
                  <a:pt x="1628424" y="6521016"/>
                </a:lnTo>
                <a:lnTo>
                  <a:pt x="1638679" y="6521016"/>
                </a:lnTo>
                <a:lnTo>
                  <a:pt x="1638679" y="6480510"/>
                </a:lnTo>
                <a:cubicBezTo>
                  <a:pt x="1638679" y="6471571"/>
                  <a:pt x="1640144" y="6465262"/>
                  <a:pt x="1643074" y="6461584"/>
                </a:cubicBezTo>
                <a:cubicBezTo>
                  <a:pt x="1646004" y="6457906"/>
                  <a:pt x="1649934" y="6456067"/>
                  <a:pt x="1654864" y="6456067"/>
                </a:cubicBezTo>
                <a:cubicBezTo>
                  <a:pt x="1657468" y="6456067"/>
                  <a:pt x="1659759" y="6456753"/>
                  <a:pt x="1661735" y="6458127"/>
                </a:cubicBezTo>
                <a:cubicBezTo>
                  <a:pt x="1663712" y="6459500"/>
                  <a:pt x="1665165" y="6461444"/>
                  <a:pt x="1666095" y="6463958"/>
                </a:cubicBezTo>
                <a:cubicBezTo>
                  <a:pt x="1667026" y="6466472"/>
                  <a:pt x="1667491" y="6470453"/>
                  <a:pt x="1667491" y="6475901"/>
                </a:cubicBezTo>
                <a:lnTo>
                  <a:pt x="1667491" y="6521016"/>
                </a:lnTo>
                <a:lnTo>
                  <a:pt x="1677746" y="6521016"/>
                </a:lnTo>
                <a:lnTo>
                  <a:pt x="1677746" y="6475461"/>
                </a:lnTo>
                <a:cubicBezTo>
                  <a:pt x="1677746" y="6468624"/>
                  <a:pt x="1677328" y="6463555"/>
                  <a:pt x="1676493" y="6460253"/>
                </a:cubicBezTo>
                <a:cubicBezTo>
                  <a:pt x="1675657" y="6456950"/>
                  <a:pt x="1674392" y="6454265"/>
                  <a:pt x="1672697" y="6452195"/>
                </a:cubicBezTo>
                <a:cubicBezTo>
                  <a:pt x="1671002" y="6450125"/>
                  <a:pt x="1668774" y="6448451"/>
                  <a:pt x="1666011" y="6447172"/>
                </a:cubicBezTo>
                <a:cubicBezTo>
                  <a:pt x="1663248" y="6445893"/>
                  <a:pt x="1660242" y="6445253"/>
                  <a:pt x="1656992" y="6445253"/>
                </a:cubicBezTo>
                <a:close/>
                <a:moveTo>
                  <a:pt x="1586654" y="6445253"/>
                </a:moveTo>
                <a:cubicBezTo>
                  <a:pt x="1578422" y="6445253"/>
                  <a:pt x="1571620" y="6448614"/>
                  <a:pt x="1566248" y="6455334"/>
                </a:cubicBezTo>
                <a:cubicBezTo>
                  <a:pt x="1560876" y="6462055"/>
                  <a:pt x="1558191" y="6471810"/>
                  <a:pt x="1558191" y="6484600"/>
                </a:cubicBezTo>
                <a:cubicBezTo>
                  <a:pt x="1558191" y="6496925"/>
                  <a:pt x="1560853" y="6506354"/>
                  <a:pt x="1566178" y="6512889"/>
                </a:cubicBezTo>
                <a:cubicBezTo>
                  <a:pt x="1571504" y="6519423"/>
                  <a:pt x="1578468" y="6522691"/>
                  <a:pt x="1587073" y="6522691"/>
                </a:cubicBezTo>
                <a:cubicBezTo>
                  <a:pt x="1593909" y="6522691"/>
                  <a:pt x="1599643" y="6520679"/>
                  <a:pt x="1604269" y="6516656"/>
                </a:cubicBezTo>
                <a:cubicBezTo>
                  <a:pt x="1608897" y="6512633"/>
                  <a:pt x="1612095" y="6506668"/>
                  <a:pt x="1613862" y="6498762"/>
                </a:cubicBezTo>
                <a:lnTo>
                  <a:pt x="1603258" y="6497157"/>
                </a:lnTo>
                <a:cubicBezTo>
                  <a:pt x="1600235" y="6507296"/>
                  <a:pt x="1594863" y="6512366"/>
                  <a:pt x="1587142" y="6512366"/>
                </a:cubicBezTo>
                <a:cubicBezTo>
                  <a:pt x="1582212" y="6512366"/>
                  <a:pt x="1578027" y="6510249"/>
                  <a:pt x="1574585" y="6506017"/>
                </a:cubicBezTo>
                <a:cubicBezTo>
                  <a:pt x="1571143" y="6501785"/>
                  <a:pt x="1569213" y="6495506"/>
                  <a:pt x="1568795" y="6487181"/>
                </a:cubicBezTo>
                <a:lnTo>
                  <a:pt x="1614140" y="6487181"/>
                </a:lnTo>
                <a:lnTo>
                  <a:pt x="1614210" y="6483832"/>
                </a:lnTo>
                <a:cubicBezTo>
                  <a:pt x="1614210" y="6471322"/>
                  <a:pt x="1611583" y="6461764"/>
                  <a:pt x="1606327" y="6455160"/>
                </a:cubicBezTo>
                <a:cubicBezTo>
                  <a:pt x="1601072" y="6448556"/>
                  <a:pt x="1594514" y="6445253"/>
                  <a:pt x="1586654" y="6445253"/>
                </a:cubicBezTo>
                <a:close/>
                <a:moveTo>
                  <a:pt x="1317373" y="6445253"/>
                </a:moveTo>
                <a:cubicBezTo>
                  <a:pt x="1312489" y="6445253"/>
                  <a:pt x="1308082" y="6446649"/>
                  <a:pt x="1304152" y="6449439"/>
                </a:cubicBezTo>
                <a:cubicBezTo>
                  <a:pt x="1300222" y="6452230"/>
                  <a:pt x="1297048" y="6456602"/>
                  <a:pt x="1294630" y="6462555"/>
                </a:cubicBezTo>
                <a:cubicBezTo>
                  <a:pt x="1292211" y="6468508"/>
                  <a:pt x="1291002" y="6475461"/>
                  <a:pt x="1291002" y="6483414"/>
                </a:cubicBezTo>
                <a:cubicBezTo>
                  <a:pt x="1291002" y="6495274"/>
                  <a:pt x="1293746" y="6504738"/>
                  <a:pt x="1299234" y="6511808"/>
                </a:cubicBezTo>
                <a:cubicBezTo>
                  <a:pt x="1304025" y="6517947"/>
                  <a:pt x="1310047" y="6521016"/>
                  <a:pt x="1317303" y="6521016"/>
                </a:cubicBezTo>
                <a:cubicBezTo>
                  <a:pt x="1320698" y="6521016"/>
                  <a:pt x="1323791" y="6520208"/>
                  <a:pt x="1326581" y="6518591"/>
                </a:cubicBezTo>
                <a:cubicBezTo>
                  <a:pt x="1329372" y="6516974"/>
                  <a:pt x="1331883" y="6514572"/>
                  <a:pt x="1334116" y="6511385"/>
                </a:cubicBezTo>
                <a:cubicBezTo>
                  <a:pt x="1334116" y="6519758"/>
                  <a:pt x="1333813" y="6525246"/>
                  <a:pt x="1333209" y="6527851"/>
                </a:cubicBezTo>
                <a:cubicBezTo>
                  <a:pt x="1332232" y="6532130"/>
                  <a:pt x="1330407" y="6535352"/>
                  <a:pt x="1327732" y="6537515"/>
                </a:cubicBezTo>
                <a:cubicBezTo>
                  <a:pt x="1325058" y="6539678"/>
                  <a:pt x="1321466" y="6540759"/>
                  <a:pt x="1316954" y="6540759"/>
                </a:cubicBezTo>
                <a:cubicBezTo>
                  <a:pt x="1312815" y="6540759"/>
                  <a:pt x="1309583" y="6539788"/>
                  <a:pt x="1307257" y="6537847"/>
                </a:cubicBezTo>
                <a:cubicBezTo>
                  <a:pt x="1304931" y="6535905"/>
                  <a:pt x="1303536" y="6532946"/>
                  <a:pt x="1303071" y="6528969"/>
                </a:cubicBezTo>
                <a:lnTo>
                  <a:pt x="1293025" y="6527155"/>
                </a:lnTo>
                <a:cubicBezTo>
                  <a:pt x="1292886" y="6534643"/>
                  <a:pt x="1294932" y="6540503"/>
                  <a:pt x="1299164" y="6544736"/>
                </a:cubicBezTo>
                <a:cubicBezTo>
                  <a:pt x="1303397" y="6548968"/>
                  <a:pt x="1309443" y="6551084"/>
                  <a:pt x="1317303" y="6551084"/>
                </a:cubicBezTo>
                <a:cubicBezTo>
                  <a:pt x="1323256" y="6551084"/>
                  <a:pt x="1328349" y="6549677"/>
                  <a:pt x="1332581" y="6546864"/>
                </a:cubicBezTo>
                <a:cubicBezTo>
                  <a:pt x="1336813" y="6544050"/>
                  <a:pt x="1339860" y="6540213"/>
                  <a:pt x="1341720" y="6535353"/>
                </a:cubicBezTo>
                <a:cubicBezTo>
                  <a:pt x="1343580" y="6530492"/>
                  <a:pt x="1344510" y="6522365"/>
                  <a:pt x="1344510" y="6510970"/>
                </a:cubicBezTo>
                <a:lnTo>
                  <a:pt x="1344510" y="6446928"/>
                </a:lnTo>
                <a:lnTo>
                  <a:pt x="1335023" y="6446928"/>
                </a:lnTo>
                <a:lnTo>
                  <a:pt x="1335023" y="6455788"/>
                </a:lnTo>
                <a:cubicBezTo>
                  <a:pt x="1332744" y="6452276"/>
                  <a:pt x="1330128" y="6449643"/>
                  <a:pt x="1327174" y="6447887"/>
                </a:cubicBezTo>
                <a:cubicBezTo>
                  <a:pt x="1324221" y="6446131"/>
                  <a:pt x="1320954" y="6445253"/>
                  <a:pt x="1317373" y="6445253"/>
                </a:cubicBezTo>
                <a:close/>
                <a:moveTo>
                  <a:pt x="1250837" y="6445253"/>
                </a:moveTo>
                <a:cubicBezTo>
                  <a:pt x="1248372" y="6445253"/>
                  <a:pt x="1246151" y="6446102"/>
                  <a:pt x="1244175" y="6447800"/>
                </a:cubicBezTo>
                <a:cubicBezTo>
                  <a:pt x="1242198" y="6449497"/>
                  <a:pt x="1240024" y="6452951"/>
                  <a:pt x="1237652" y="6458160"/>
                </a:cubicBezTo>
                <a:lnTo>
                  <a:pt x="1237652" y="6446928"/>
                </a:lnTo>
                <a:lnTo>
                  <a:pt x="1230699" y="6446928"/>
                </a:lnTo>
                <a:lnTo>
                  <a:pt x="1228373" y="6446928"/>
                </a:lnTo>
                <a:lnTo>
                  <a:pt x="1220375" y="6446928"/>
                </a:lnTo>
                <a:lnTo>
                  <a:pt x="1207398" y="6490087"/>
                </a:lnTo>
                <a:cubicBezTo>
                  <a:pt x="1205770" y="6495572"/>
                  <a:pt x="1204375" y="6501197"/>
                  <a:pt x="1203212" y="6506961"/>
                </a:cubicBezTo>
                <a:cubicBezTo>
                  <a:pt x="1201863" y="6500872"/>
                  <a:pt x="1200398" y="6495155"/>
                  <a:pt x="1198817" y="6489809"/>
                </a:cubicBezTo>
                <a:lnTo>
                  <a:pt x="1186120" y="6446928"/>
                </a:lnTo>
                <a:lnTo>
                  <a:pt x="1175028" y="6446928"/>
                </a:lnTo>
                <a:lnTo>
                  <a:pt x="1198138" y="6521126"/>
                </a:lnTo>
                <a:cubicBezTo>
                  <a:pt x="1195762" y="6528679"/>
                  <a:pt x="1194412" y="6532781"/>
                  <a:pt x="1194086" y="6533432"/>
                </a:cubicBezTo>
                <a:cubicBezTo>
                  <a:pt x="1193155" y="6535293"/>
                  <a:pt x="1191980" y="6536666"/>
                  <a:pt x="1190560" y="6537550"/>
                </a:cubicBezTo>
                <a:cubicBezTo>
                  <a:pt x="1189140" y="6538434"/>
                  <a:pt x="1187336" y="6538876"/>
                  <a:pt x="1185149" y="6538876"/>
                </a:cubicBezTo>
                <a:cubicBezTo>
                  <a:pt x="1183520" y="6538876"/>
                  <a:pt x="1181565" y="6538504"/>
                  <a:pt x="1179283" y="6537759"/>
                </a:cubicBezTo>
                <a:lnTo>
                  <a:pt x="1180400" y="6549549"/>
                </a:lnTo>
                <a:cubicBezTo>
                  <a:pt x="1182868" y="6550573"/>
                  <a:pt x="1185081" y="6551084"/>
                  <a:pt x="1187038" y="6551084"/>
                </a:cubicBezTo>
                <a:cubicBezTo>
                  <a:pt x="1189833" y="6551084"/>
                  <a:pt x="1192337" y="6550363"/>
                  <a:pt x="1194549" y="6548922"/>
                </a:cubicBezTo>
                <a:cubicBezTo>
                  <a:pt x="1196762" y="6547480"/>
                  <a:pt x="1198742" y="6545119"/>
                  <a:pt x="1200489" y="6541841"/>
                </a:cubicBezTo>
                <a:cubicBezTo>
                  <a:pt x="1202235" y="6538562"/>
                  <a:pt x="1204623" y="6532039"/>
                  <a:pt x="1207651" y="6522272"/>
                </a:cubicBezTo>
                <a:lnTo>
                  <a:pt x="1228373" y="6454530"/>
                </a:lnTo>
                <a:lnTo>
                  <a:pt x="1228373" y="6521016"/>
                </a:lnTo>
                <a:lnTo>
                  <a:pt x="1238629" y="6521016"/>
                </a:lnTo>
                <a:lnTo>
                  <a:pt x="1238629" y="6482228"/>
                </a:lnTo>
                <a:cubicBezTo>
                  <a:pt x="1238629" y="6476833"/>
                  <a:pt x="1239280" y="6471740"/>
                  <a:pt x="1240582" y="6466950"/>
                </a:cubicBezTo>
                <a:cubicBezTo>
                  <a:pt x="1241326" y="6464206"/>
                  <a:pt x="1242605" y="6462066"/>
                  <a:pt x="1244419" y="6460532"/>
                </a:cubicBezTo>
                <a:cubicBezTo>
                  <a:pt x="1246233" y="6458997"/>
                  <a:pt x="1248233" y="6458229"/>
                  <a:pt x="1250419" y="6458229"/>
                </a:cubicBezTo>
                <a:cubicBezTo>
                  <a:pt x="1252837" y="6458229"/>
                  <a:pt x="1255325" y="6459136"/>
                  <a:pt x="1257883" y="6460950"/>
                </a:cubicBezTo>
                <a:lnTo>
                  <a:pt x="1261371" y="6449300"/>
                </a:lnTo>
                <a:cubicBezTo>
                  <a:pt x="1257790" y="6446602"/>
                  <a:pt x="1254279" y="6445253"/>
                  <a:pt x="1250837" y="6445253"/>
                </a:cubicBezTo>
                <a:close/>
                <a:moveTo>
                  <a:pt x="1141043" y="6445253"/>
                </a:moveTo>
                <a:cubicBezTo>
                  <a:pt x="1137375" y="6445253"/>
                  <a:pt x="1134125" y="6446137"/>
                  <a:pt x="1131292" y="6447904"/>
                </a:cubicBezTo>
                <a:cubicBezTo>
                  <a:pt x="1128460" y="6449672"/>
                  <a:pt x="1125883" y="6452555"/>
                  <a:pt x="1123561" y="6456555"/>
                </a:cubicBezTo>
                <a:lnTo>
                  <a:pt x="1123561" y="6446928"/>
                </a:lnTo>
                <a:lnTo>
                  <a:pt x="1114073" y="6446928"/>
                </a:lnTo>
                <a:lnTo>
                  <a:pt x="1114073" y="6549410"/>
                </a:lnTo>
                <a:lnTo>
                  <a:pt x="1124329" y="6549410"/>
                </a:lnTo>
                <a:lnTo>
                  <a:pt x="1124329" y="6513342"/>
                </a:lnTo>
                <a:cubicBezTo>
                  <a:pt x="1126328" y="6516319"/>
                  <a:pt x="1128700" y="6518621"/>
                  <a:pt x="1131444" y="6520249"/>
                </a:cubicBezTo>
                <a:cubicBezTo>
                  <a:pt x="1134188" y="6521877"/>
                  <a:pt x="1137142" y="6522691"/>
                  <a:pt x="1140304" y="6522691"/>
                </a:cubicBezTo>
                <a:cubicBezTo>
                  <a:pt x="1147420" y="6522691"/>
                  <a:pt x="1153618" y="6519284"/>
                  <a:pt x="1158896" y="6512470"/>
                </a:cubicBezTo>
                <a:cubicBezTo>
                  <a:pt x="1164175" y="6505657"/>
                  <a:pt x="1166814" y="6495948"/>
                  <a:pt x="1166814" y="6483344"/>
                </a:cubicBezTo>
                <a:cubicBezTo>
                  <a:pt x="1166814" y="6475205"/>
                  <a:pt x="1165642" y="6468240"/>
                  <a:pt x="1163297" y="6462450"/>
                </a:cubicBezTo>
                <a:cubicBezTo>
                  <a:pt x="1160952" y="6456660"/>
                  <a:pt x="1157852" y="6452346"/>
                  <a:pt x="1153999" y="6449509"/>
                </a:cubicBezTo>
                <a:cubicBezTo>
                  <a:pt x="1150145" y="6446672"/>
                  <a:pt x="1145827" y="6445253"/>
                  <a:pt x="1141043" y="6445253"/>
                </a:cubicBezTo>
                <a:close/>
                <a:moveTo>
                  <a:pt x="1071955" y="6445253"/>
                </a:moveTo>
                <a:cubicBezTo>
                  <a:pt x="1063723" y="6445253"/>
                  <a:pt x="1056921" y="6448509"/>
                  <a:pt x="1051549" y="6455020"/>
                </a:cubicBezTo>
                <a:cubicBezTo>
                  <a:pt x="1046178" y="6461532"/>
                  <a:pt x="1043492" y="6471182"/>
                  <a:pt x="1043492" y="6483972"/>
                </a:cubicBezTo>
                <a:cubicBezTo>
                  <a:pt x="1043492" y="6496715"/>
                  <a:pt x="1046201" y="6506354"/>
                  <a:pt x="1051619" y="6512889"/>
                </a:cubicBezTo>
                <a:cubicBezTo>
                  <a:pt x="1057037" y="6519423"/>
                  <a:pt x="1063816" y="6522691"/>
                  <a:pt x="1071955" y="6522691"/>
                </a:cubicBezTo>
                <a:cubicBezTo>
                  <a:pt x="1080234" y="6522691"/>
                  <a:pt x="1087047" y="6519435"/>
                  <a:pt x="1092396" y="6512924"/>
                </a:cubicBezTo>
                <a:cubicBezTo>
                  <a:pt x="1097744" y="6506412"/>
                  <a:pt x="1100419" y="6496506"/>
                  <a:pt x="1100419" y="6483205"/>
                </a:cubicBezTo>
                <a:cubicBezTo>
                  <a:pt x="1100419" y="6470926"/>
                  <a:pt x="1097698" y="6461532"/>
                  <a:pt x="1092256" y="6455020"/>
                </a:cubicBezTo>
                <a:cubicBezTo>
                  <a:pt x="1086815" y="6448509"/>
                  <a:pt x="1080048" y="6445253"/>
                  <a:pt x="1071955" y="6445253"/>
                </a:cubicBezTo>
                <a:close/>
                <a:moveTo>
                  <a:pt x="883898" y="6440021"/>
                </a:moveTo>
                <a:cubicBezTo>
                  <a:pt x="876956" y="6440021"/>
                  <a:pt x="871354" y="6442562"/>
                  <a:pt x="867092" y="6447643"/>
                </a:cubicBezTo>
                <a:cubicBezTo>
                  <a:pt x="862829" y="6452725"/>
                  <a:pt x="860698" y="6460114"/>
                  <a:pt x="860698" y="6469810"/>
                </a:cubicBezTo>
                <a:cubicBezTo>
                  <a:pt x="860698" y="6479506"/>
                  <a:pt x="862853" y="6486942"/>
                  <a:pt x="867162" y="6492116"/>
                </a:cubicBezTo>
                <a:cubicBezTo>
                  <a:pt x="871471" y="6497291"/>
                  <a:pt x="876886" y="6499878"/>
                  <a:pt x="883407" y="6499878"/>
                </a:cubicBezTo>
                <a:cubicBezTo>
                  <a:pt x="888485" y="6499878"/>
                  <a:pt x="892923" y="6498192"/>
                  <a:pt x="896719" y="6494820"/>
                </a:cubicBezTo>
                <a:cubicBezTo>
                  <a:pt x="900515" y="6491448"/>
                  <a:pt x="902996" y="6486763"/>
                  <a:pt x="904161" y="6480763"/>
                </a:cubicBezTo>
                <a:lnTo>
                  <a:pt x="897184" y="6478251"/>
                </a:lnTo>
                <a:cubicBezTo>
                  <a:pt x="896299" y="6482530"/>
                  <a:pt x="894527" y="6485844"/>
                  <a:pt x="891869" y="6488193"/>
                </a:cubicBezTo>
                <a:cubicBezTo>
                  <a:pt x="889212" y="6490541"/>
                  <a:pt x="886205" y="6491716"/>
                  <a:pt x="882848" y="6491716"/>
                </a:cubicBezTo>
                <a:cubicBezTo>
                  <a:pt x="878745" y="6491716"/>
                  <a:pt x="875318" y="6489919"/>
                  <a:pt x="872568" y="6486327"/>
                </a:cubicBezTo>
                <a:cubicBezTo>
                  <a:pt x="869817" y="6482735"/>
                  <a:pt x="868442" y="6477392"/>
                  <a:pt x="868442" y="6470301"/>
                </a:cubicBezTo>
                <a:cubicBezTo>
                  <a:pt x="868442" y="6462882"/>
                  <a:pt x="869887" y="6457283"/>
                  <a:pt x="872778" y="6453503"/>
                </a:cubicBezTo>
                <a:cubicBezTo>
                  <a:pt x="875669" y="6449724"/>
                  <a:pt x="879282" y="6447835"/>
                  <a:pt x="883619" y="6447835"/>
                </a:cubicBezTo>
                <a:cubicBezTo>
                  <a:pt x="886510" y="6447835"/>
                  <a:pt x="889085" y="6448730"/>
                  <a:pt x="891347" y="6450521"/>
                </a:cubicBezTo>
                <a:cubicBezTo>
                  <a:pt x="893608" y="6452311"/>
                  <a:pt x="895321" y="6454974"/>
                  <a:pt x="896487" y="6458508"/>
                </a:cubicBezTo>
                <a:lnTo>
                  <a:pt x="903324" y="6456485"/>
                </a:lnTo>
                <a:cubicBezTo>
                  <a:pt x="902066" y="6451276"/>
                  <a:pt x="899713" y="6447230"/>
                  <a:pt x="896266" y="6444347"/>
                </a:cubicBezTo>
                <a:cubicBezTo>
                  <a:pt x="892819" y="6441463"/>
                  <a:pt x="888696" y="6440021"/>
                  <a:pt x="883898" y="6440021"/>
                </a:cubicBezTo>
                <a:close/>
                <a:moveTo>
                  <a:pt x="2030141" y="6429487"/>
                </a:moveTo>
                <a:cubicBezTo>
                  <a:pt x="2031396" y="6434928"/>
                  <a:pt x="2033373" y="6441998"/>
                  <a:pt x="2036069" y="6450695"/>
                </a:cubicBezTo>
                <a:lnTo>
                  <a:pt x="2044784" y="6479019"/>
                </a:lnTo>
                <a:lnTo>
                  <a:pt x="2016217" y="6479019"/>
                </a:lnTo>
                <a:lnTo>
                  <a:pt x="2025546" y="6449021"/>
                </a:lnTo>
                <a:cubicBezTo>
                  <a:pt x="2027526" y="6442556"/>
                  <a:pt x="2029057" y="6436045"/>
                  <a:pt x="2030141" y="6429487"/>
                </a:cubicBezTo>
                <a:close/>
                <a:moveTo>
                  <a:pt x="883232" y="6425650"/>
                </a:moveTo>
                <a:cubicBezTo>
                  <a:pt x="892720" y="6425650"/>
                  <a:pt x="900952" y="6429680"/>
                  <a:pt x="907928" y="6437739"/>
                </a:cubicBezTo>
                <a:cubicBezTo>
                  <a:pt x="915462" y="6446402"/>
                  <a:pt x="919230" y="6457046"/>
                  <a:pt x="919230" y="6469671"/>
                </a:cubicBezTo>
                <a:cubicBezTo>
                  <a:pt x="919230" y="6481410"/>
                  <a:pt x="915927" y="6491495"/>
                  <a:pt x="909323" y="6499926"/>
                </a:cubicBezTo>
                <a:cubicBezTo>
                  <a:pt x="902161" y="6509056"/>
                  <a:pt x="893464" y="6513621"/>
                  <a:pt x="883232" y="6513621"/>
                </a:cubicBezTo>
                <a:cubicBezTo>
                  <a:pt x="873744" y="6513621"/>
                  <a:pt x="865512" y="6509615"/>
                  <a:pt x="858536" y="6501604"/>
                </a:cubicBezTo>
                <a:cubicBezTo>
                  <a:pt x="851001" y="6492939"/>
                  <a:pt x="847234" y="6482295"/>
                  <a:pt x="847234" y="6469671"/>
                </a:cubicBezTo>
                <a:cubicBezTo>
                  <a:pt x="847234" y="6457931"/>
                  <a:pt x="850536" y="6447823"/>
                  <a:pt x="857140" y="6439345"/>
                </a:cubicBezTo>
                <a:cubicBezTo>
                  <a:pt x="864256" y="6430215"/>
                  <a:pt x="872953" y="6425650"/>
                  <a:pt x="883232" y="6425650"/>
                </a:cubicBezTo>
                <a:close/>
                <a:moveTo>
                  <a:pt x="6208297" y="6421046"/>
                </a:moveTo>
                <a:lnTo>
                  <a:pt x="6198042" y="6428580"/>
                </a:lnTo>
                <a:lnTo>
                  <a:pt x="6198042" y="6446928"/>
                </a:lnTo>
                <a:lnTo>
                  <a:pt x="6190507" y="6446928"/>
                </a:lnTo>
                <a:lnTo>
                  <a:pt x="6190507" y="6456695"/>
                </a:lnTo>
                <a:lnTo>
                  <a:pt x="6198042" y="6456695"/>
                </a:lnTo>
                <a:lnTo>
                  <a:pt x="6198042" y="6499320"/>
                </a:lnTo>
                <a:cubicBezTo>
                  <a:pt x="6198042" y="6506668"/>
                  <a:pt x="6198449" y="6511575"/>
                  <a:pt x="6199263" y="6514040"/>
                </a:cubicBezTo>
                <a:cubicBezTo>
                  <a:pt x="6200077" y="6516505"/>
                  <a:pt x="6201577" y="6518447"/>
                  <a:pt x="6203762" y="6519865"/>
                </a:cubicBezTo>
                <a:cubicBezTo>
                  <a:pt x="6205948" y="6521284"/>
                  <a:pt x="6208832" y="6521993"/>
                  <a:pt x="6212413" y="6521993"/>
                </a:cubicBezTo>
                <a:cubicBezTo>
                  <a:pt x="6214692" y="6521993"/>
                  <a:pt x="6217250" y="6521621"/>
                  <a:pt x="6220087" y="6520877"/>
                </a:cubicBezTo>
                <a:lnTo>
                  <a:pt x="6218692" y="6509784"/>
                </a:lnTo>
                <a:cubicBezTo>
                  <a:pt x="6216831" y="6510110"/>
                  <a:pt x="6215320" y="6510273"/>
                  <a:pt x="6214157" y="6510273"/>
                </a:cubicBezTo>
                <a:cubicBezTo>
                  <a:pt x="6211739" y="6510273"/>
                  <a:pt x="6210088" y="6509436"/>
                  <a:pt x="6209204" y="6507761"/>
                </a:cubicBezTo>
                <a:cubicBezTo>
                  <a:pt x="6208599" y="6506599"/>
                  <a:pt x="6208297" y="6504017"/>
                  <a:pt x="6208297" y="6500018"/>
                </a:cubicBezTo>
                <a:lnTo>
                  <a:pt x="6208297" y="6456695"/>
                </a:lnTo>
                <a:lnTo>
                  <a:pt x="6218692" y="6456695"/>
                </a:lnTo>
                <a:lnTo>
                  <a:pt x="6218692" y="6446928"/>
                </a:lnTo>
                <a:lnTo>
                  <a:pt x="6208297" y="6446928"/>
                </a:lnTo>
                <a:close/>
                <a:moveTo>
                  <a:pt x="2421963" y="6421046"/>
                </a:moveTo>
                <a:lnTo>
                  <a:pt x="2411708" y="6428580"/>
                </a:lnTo>
                <a:lnTo>
                  <a:pt x="2411708" y="6446928"/>
                </a:lnTo>
                <a:lnTo>
                  <a:pt x="2404176" y="6446928"/>
                </a:lnTo>
                <a:lnTo>
                  <a:pt x="2404176" y="6456695"/>
                </a:lnTo>
                <a:lnTo>
                  <a:pt x="2411708" y="6456695"/>
                </a:lnTo>
                <a:lnTo>
                  <a:pt x="2411708" y="6499320"/>
                </a:lnTo>
                <a:cubicBezTo>
                  <a:pt x="2411708" y="6506668"/>
                  <a:pt x="2412117" y="6511575"/>
                  <a:pt x="2412932" y="6514040"/>
                </a:cubicBezTo>
                <a:cubicBezTo>
                  <a:pt x="2413745" y="6516505"/>
                  <a:pt x="2415246" y="6518447"/>
                  <a:pt x="2417431" y="6519865"/>
                </a:cubicBezTo>
                <a:cubicBezTo>
                  <a:pt x="2419616" y="6521284"/>
                  <a:pt x="2422501" y="6521993"/>
                  <a:pt x="2426082" y="6521993"/>
                </a:cubicBezTo>
                <a:lnTo>
                  <a:pt x="2432793" y="6521016"/>
                </a:lnTo>
                <a:lnTo>
                  <a:pt x="2486537" y="6521016"/>
                </a:lnTo>
                <a:lnTo>
                  <a:pt x="2486537" y="6510203"/>
                </a:lnTo>
                <a:lnTo>
                  <a:pt x="2458413" y="6510203"/>
                </a:lnTo>
                <a:cubicBezTo>
                  <a:pt x="2454366" y="6510203"/>
                  <a:pt x="2450037" y="6510412"/>
                  <a:pt x="2445434" y="6510831"/>
                </a:cubicBezTo>
                <a:lnTo>
                  <a:pt x="2451797" y="6502250"/>
                </a:lnTo>
                <a:lnTo>
                  <a:pt x="2484792" y="6455230"/>
                </a:lnTo>
                <a:lnTo>
                  <a:pt x="2484792" y="6446928"/>
                </a:lnTo>
                <a:lnTo>
                  <a:pt x="2435051" y="6446928"/>
                </a:lnTo>
                <a:lnTo>
                  <a:pt x="2435051" y="6457113"/>
                </a:lnTo>
                <a:lnTo>
                  <a:pt x="2459836" y="6457113"/>
                </a:lnTo>
                <a:cubicBezTo>
                  <a:pt x="2463190" y="6457113"/>
                  <a:pt x="2467073" y="6456974"/>
                  <a:pt x="2471498" y="6456695"/>
                </a:cubicBezTo>
                <a:lnTo>
                  <a:pt x="2432747" y="6510831"/>
                </a:lnTo>
                <a:lnTo>
                  <a:pt x="2432747" y="6512890"/>
                </a:lnTo>
                <a:lnTo>
                  <a:pt x="2432359" y="6509784"/>
                </a:lnTo>
                <a:cubicBezTo>
                  <a:pt x="2430497" y="6510110"/>
                  <a:pt x="2428986" y="6510273"/>
                  <a:pt x="2427824" y="6510273"/>
                </a:cubicBezTo>
                <a:cubicBezTo>
                  <a:pt x="2425405" y="6510273"/>
                  <a:pt x="2423753" y="6509436"/>
                  <a:pt x="2422869" y="6507761"/>
                </a:cubicBezTo>
                <a:cubicBezTo>
                  <a:pt x="2422267" y="6506599"/>
                  <a:pt x="2421963" y="6504017"/>
                  <a:pt x="2421963" y="6500018"/>
                </a:cubicBezTo>
                <a:lnTo>
                  <a:pt x="2421963" y="6456695"/>
                </a:lnTo>
                <a:lnTo>
                  <a:pt x="2432359" y="6456695"/>
                </a:lnTo>
                <a:lnTo>
                  <a:pt x="2432359" y="6446928"/>
                </a:lnTo>
                <a:lnTo>
                  <a:pt x="2421963" y="6446928"/>
                </a:lnTo>
                <a:close/>
                <a:moveTo>
                  <a:pt x="1440886" y="6421046"/>
                </a:moveTo>
                <a:lnTo>
                  <a:pt x="1430631" y="6428580"/>
                </a:lnTo>
                <a:lnTo>
                  <a:pt x="1430631" y="6446928"/>
                </a:lnTo>
                <a:lnTo>
                  <a:pt x="1423097" y="6446928"/>
                </a:lnTo>
                <a:lnTo>
                  <a:pt x="1423097" y="6456695"/>
                </a:lnTo>
                <a:lnTo>
                  <a:pt x="1430631" y="6456695"/>
                </a:lnTo>
                <a:lnTo>
                  <a:pt x="1430631" y="6499320"/>
                </a:lnTo>
                <a:cubicBezTo>
                  <a:pt x="1430631" y="6506668"/>
                  <a:pt x="1431038" y="6511575"/>
                  <a:pt x="1431852" y="6514040"/>
                </a:cubicBezTo>
                <a:cubicBezTo>
                  <a:pt x="1432666" y="6516505"/>
                  <a:pt x="1434165" y="6518447"/>
                  <a:pt x="1436352" y="6519865"/>
                </a:cubicBezTo>
                <a:cubicBezTo>
                  <a:pt x="1438537" y="6521284"/>
                  <a:pt x="1441421" y="6521993"/>
                  <a:pt x="1445002" y="6521993"/>
                </a:cubicBezTo>
                <a:cubicBezTo>
                  <a:pt x="1447281" y="6521993"/>
                  <a:pt x="1449839" y="6521621"/>
                  <a:pt x="1452676" y="6520877"/>
                </a:cubicBezTo>
                <a:lnTo>
                  <a:pt x="1451281" y="6509784"/>
                </a:lnTo>
                <a:cubicBezTo>
                  <a:pt x="1449420" y="6510110"/>
                  <a:pt x="1447909" y="6510273"/>
                  <a:pt x="1446746" y="6510273"/>
                </a:cubicBezTo>
                <a:cubicBezTo>
                  <a:pt x="1444328" y="6510273"/>
                  <a:pt x="1442677" y="6509436"/>
                  <a:pt x="1441793" y="6507761"/>
                </a:cubicBezTo>
                <a:cubicBezTo>
                  <a:pt x="1441188" y="6506599"/>
                  <a:pt x="1440886" y="6504017"/>
                  <a:pt x="1440886" y="6500018"/>
                </a:cubicBezTo>
                <a:lnTo>
                  <a:pt x="1440886" y="6456695"/>
                </a:lnTo>
                <a:lnTo>
                  <a:pt x="1451281" y="6456695"/>
                </a:lnTo>
                <a:lnTo>
                  <a:pt x="1451281" y="6446928"/>
                </a:lnTo>
                <a:lnTo>
                  <a:pt x="1440886" y="6446928"/>
                </a:lnTo>
                <a:close/>
                <a:moveTo>
                  <a:pt x="6319286" y="6418743"/>
                </a:moveTo>
                <a:lnTo>
                  <a:pt x="6319286" y="6521016"/>
                </a:lnTo>
                <a:lnTo>
                  <a:pt x="6329541" y="6521016"/>
                </a:lnTo>
                <a:lnTo>
                  <a:pt x="6329541" y="6418743"/>
                </a:lnTo>
                <a:close/>
                <a:moveTo>
                  <a:pt x="6224384" y="6418743"/>
                </a:moveTo>
                <a:lnTo>
                  <a:pt x="6224384" y="6433184"/>
                </a:lnTo>
                <a:lnTo>
                  <a:pt x="6234640" y="6433184"/>
                </a:lnTo>
                <a:lnTo>
                  <a:pt x="6234640" y="6418743"/>
                </a:lnTo>
                <a:close/>
                <a:moveTo>
                  <a:pt x="6034363" y="6418743"/>
                </a:moveTo>
                <a:lnTo>
                  <a:pt x="6034363" y="6455439"/>
                </a:lnTo>
                <a:cubicBezTo>
                  <a:pt x="6032461" y="6452230"/>
                  <a:pt x="6030058" y="6449730"/>
                  <a:pt x="6027156" y="6447939"/>
                </a:cubicBezTo>
                <a:cubicBezTo>
                  <a:pt x="6024254" y="6446149"/>
                  <a:pt x="6021107" y="6445253"/>
                  <a:pt x="6017719" y="6445253"/>
                </a:cubicBezTo>
                <a:cubicBezTo>
                  <a:pt x="6012983" y="6445253"/>
                  <a:pt x="6008677" y="6446672"/>
                  <a:pt x="6004799" y="6449509"/>
                </a:cubicBezTo>
                <a:cubicBezTo>
                  <a:pt x="6000920" y="6452346"/>
                  <a:pt x="5997822" y="6456695"/>
                  <a:pt x="5995499" y="6462555"/>
                </a:cubicBezTo>
                <a:cubicBezTo>
                  <a:pt x="5993179" y="6468415"/>
                  <a:pt x="5992018" y="6475554"/>
                  <a:pt x="5992018" y="6483972"/>
                </a:cubicBezTo>
                <a:cubicBezTo>
                  <a:pt x="5992018" y="6496250"/>
                  <a:pt x="5994634" y="6505773"/>
                  <a:pt x="5999867" y="6512540"/>
                </a:cubicBezTo>
                <a:cubicBezTo>
                  <a:pt x="6005100" y="6519307"/>
                  <a:pt x="6011296" y="6522691"/>
                  <a:pt x="6018458" y="6522691"/>
                </a:cubicBezTo>
                <a:cubicBezTo>
                  <a:pt x="6021854" y="6522691"/>
                  <a:pt x="6025015" y="6521749"/>
                  <a:pt x="6027948" y="6519865"/>
                </a:cubicBezTo>
                <a:cubicBezTo>
                  <a:pt x="6030878" y="6517982"/>
                  <a:pt x="6033272" y="6515249"/>
                  <a:pt x="6035132" y="6511668"/>
                </a:cubicBezTo>
                <a:lnTo>
                  <a:pt x="6035132" y="6521016"/>
                </a:lnTo>
                <a:lnTo>
                  <a:pt x="6044760" y="6521016"/>
                </a:lnTo>
                <a:lnTo>
                  <a:pt x="6044760" y="6418743"/>
                </a:lnTo>
                <a:close/>
                <a:moveTo>
                  <a:pt x="2790954" y="6418743"/>
                </a:moveTo>
                <a:lnTo>
                  <a:pt x="2790954" y="6455439"/>
                </a:lnTo>
                <a:cubicBezTo>
                  <a:pt x="2789051" y="6452230"/>
                  <a:pt x="2786647" y="6449730"/>
                  <a:pt x="2783745" y="6447939"/>
                </a:cubicBezTo>
                <a:cubicBezTo>
                  <a:pt x="2780842" y="6446149"/>
                  <a:pt x="2777697" y="6445253"/>
                  <a:pt x="2774311" y="6445253"/>
                </a:cubicBezTo>
                <a:cubicBezTo>
                  <a:pt x="2769573" y="6445253"/>
                  <a:pt x="2765268" y="6446672"/>
                  <a:pt x="2761389" y="6449509"/>
                </a:cubicBezTo>
                <a:cubicBezTo>
                  <a:pt x="2757512" y="6452346"/>
                  <a:pt x="2754414" y="6456695"/>
                  <a:pt x="2752089" y="6462555"/>
                </a:cubicBezTo>
                <a:cubicBezTo>
                  <a:pt x="2749769" y="6468415"/>
                  <a:pt x="2748607" y="6475554"/>
                  <a:pt x="2748607" y="6483972"/>
                </a:cubicBezTo>
                <a:cubicBezTo>
                  <a:pt x="2748607" y="6496250"/>
                  <a:pt x="2751223" y="6505773"/>
                  <a:pt x="2756457" y="6512540"/>
                </a:cubicBezTo>
                <a:cubicBezTo>
                  <a:pt x="2761691" y="6519307"/>
                  <a:pt x="2767884" y="6522691"/>
                  <a:pt x="2775051" y="6522691"/>
                </a:cubicBezTo>
                <a:cubicBezTo>
                  <a:pt x="2778443" y="6522691"/>
                  <a:pt x="2781605" y="6521749"/>
                  <a:pt x="2784536" y="6519865"/>
                </a:cubicBezTo>
                <a:cubicBezTo>
                  <a:pt x="2787466" y="6517982"/>
                  <a:pt x="2789863" y="6515249"/>
                  <a:pt x="2791721" y="6511668"/>
                </a:cubicBezTo>
                <a:lnTo>
                  <a:pt x="2791721" y="6521016"/>
                </a:lnTo>
                <a:lnTo>
                  <a:pt x="2801352" y="6521016"/>
                </a:lnTo>
                <a:lnTo>
                  <a:pt x="2801352" y="6418743"/>
                </a:lnTo>
                <a:close/>
                <a:moveTo>
                  <a:pt x="2590102" y="6418743"/>
                </a:moveTo>
                <a:lnTo>
                  <a:pt x="2590102" y="6521016"/>
                </a:lnTo>
                <a:lnTo>
                  <a:pt x="2600357" y="6521016"/>
                </a:lnTo>
                <a:lnTo>
                  <a:pt x="2600357" y="6418743"/>
                </a:lnTo>
                <a:close/>
                <a:moveTo>
                  <a:pt x="2380902" y="6418743"/>
                </a:moveTo>
                <a:lnTo>
                  <a:pt x="2380902" y="6433184"/>
                </a:lnTo>
                <a:lnTo>
                  <a:pt x="2391160" y="6433184"/>
                </a:lnTo>
                <a:lnTo>
                  <a:pt x="2391160" y="6418743"/>
                </a:lnTo>
                <a:close/>
                <a:moveTo>
                  <a:pt x="2024499" y="6418743"/>
                </a:moveTo>
                <a:lnTo>
                  <a:pt x="1992155" y="6521016"/>
                </a:lnTo>
                <a:lnTo>
                  <a:pt x="2003857" y="6521016"/>
                </a:lnTo>
                <a:lnTo>
                  <a:pt x="2012973" y="6490041"/>
                </a:lnTo>
                <a:lnTo>
                  <a:pt x="2048255" y="6490041"/>
                </a:lnTo>
                <a:lnTo>
                  <a:pt x="2058010" y="6521016"/>
                </a:lnTo>
                <a:lnTo>
                  <a:pt x="2070709" y="6521016"/>
                </a:lnTo>
                <a:lnTo>
                  <a:pt x="2036363" y="6418743"/>
                </a:lnTo>
                <a:close/>
                <a:moveTo>
                  <a:pt x="1818925" y="6418743"/>
                </a:moveTo>
                <a:lnTo>
                  <a:pt x="1818925" y="6433184"/>
                </a:lnTo>
                <a:lnTo>
                  <a:pt x="1829180" y="6433184"/>
                </a:lnTo>
                <a:lnTo>
                  <a:pt x="1829180" y="6418743"/>
                </a:lnTo>
                <a:close/>
                <a:moveTo>
                  <a:pt x="1752248" y="6418743"/>
                </a:moveTo>
                <a:lnTo>
                  <a:pt x="1752248" y="6433184"/>
                </a:lnTo>
                <a:lnTo>
                  <a:pt x="1762504" y="6433184"/>
                </a:lnTo>
                <a:lnTo>
                  <a:pt x="1762504" y="6418743"/>
                </a:lnTo>
                <a:close/>
                <a:moveTo>
                  <a:pt x="1361723" y="6418743"/>
                </a:moveTo>
                <a:lnTo>
                  <a:pt x="1361723" y="6521016"/>
                </a:lnTo>
                <a:lnTo>
                  <a:pt x="1371979" y="6521016"/>
                </a:lnTo>
                <a:lnTo>
                  <a:pt x="1371979" y="6480484"/>
                </a:lnTo>
                <a:cubicBezTo>
                  <a:pt x="1371979" y="6471368"/>
                  <a:pt x="1373548" y="6465020"/>
                  <a:pt x="1376688" y="6461438"/>
                </a:cubicBezTo>
                <a:cubicBezTo>
                  <a:pt x="1379827" y="6457857"/>
                  <a:pt x="1383629" y="6456067"/>
                  <a:pt x="1388094" y="6456067"/>
                </a:cubicBezTo>
                <a:cubicBezTo>
                  <a:pt x="1392094" y="6456067"/>
                  <a:pt x="1395233" y="6457462"/>
                  <a:pt x="1397512" y="6460253"/>
                </a:cubicBezTo>
                <a:cubicBezTo>
                  <a:pt x="1399791" y="6463043"/>
                  <a:pt x="1400930" y="6467647"/>
                  <a:pt x="1400930" y="6474066"/>
                </a:cubicBezTo>
                <a:lnTo>
                  <a:pt x="1400930" y="6521016"/>
                </a:lnTo>
                <a:lnTo>
                  <a:pt x="1411186" y="6521016"/>
                </a:lnTo>
                <a:lnTo>
                  <a:pt x="1411186" y="6474066"/>
                </a:lnTo>
                <a:cubicBezTo>
                  <a:pt x="1411186" y="6463090"/>
                  <a:pt x="1409314" y="6455543"/>
                  <a:pt x="1405570" y="6451427"/>
                </a:cubicBezTo>
                <a:cubicBezTo>
                  <a:pt x="1401826" y="6447311"/>
                  <a:pt x="1396721" y="6445253"/>
                  <a:pt x="1390256" y="6445253"/>
                </a:cubicBezTo>
                <a:cubicBezTo>
                  <a:pt x="1386582" y="6445253"/>
                  <a:pt x="1383222" y="6446102"/>
                  <a:pt x="1380176" y="6447800"/>
                </a:cubicBezTo>
                <a:cubicBezTo>
                  <a:pt x="1377129" y="6449497"/>
                  <a:pt x="1374397" y="6452044"/>
                  <a:pt x="1371979" y="6455439"/>
                </a:cubicBezTo>
                <a:lnTo>
                  <a:pt x="1371979" y="6418743"/>
                </a:lnTo>
                <a:close/>
                <a:moveTo>
                  <a:pt x="1266473" y="6418743"/>
                </a:moveTo>
                <a:lnTo>
                  <a:pt x="1266473" y="6433184"/>
                </a:lnTo>
                <a:lnTo>
                  <a:pt x="1276729" y="6433184"/>
                </a:lnTo>
                <a:lnTo>
                  <a:pt x="1276729" y="6418743"/>
                </a:lnTo>
                <a:close/>
                <a:moveTo>
                  <a:pt x="10863258" y="6418259"/>
                </a:moveTo>
                <a:lnTo>
                  <a:pt x="10904541" y="6418259"/>
                </a:lnTo>
                <a:cubicBezTo>
                  <a:pt x="10924644" y="6418259"/>
                  <a:pt x="10934695" y="6421247"/>
                  <a:pt x="10934695" y="6433947"/>
                </a:cubicBezTo>
                <a:cubicBezTo>
                  <a:pt x="10934695" y="6446647"/>
                  <a:pt x="10924644" y="6450009"/>
                  <a:pt x="10904541" y="6450009"/>
                </a:cubicBezTo>
                <a:lnTo>
                  <a:pt x="10863258" y="6450009"/>
                </a:lnTo>
                <a:close/>
                <a:moveTo>
                  <a:pt x="5958284" y="6416999"/>
                </a:moveTo>
                <a:cubicBezTo>
                  <a:pt x="5954507" y="6416999"/>
                  <a:pt x="5951372" y="6417767"/>
                  <a:pt x="5948876" y="6419302"/>
                </a:cubicBezTo>
                <a:cubicBezTo>
                  <a:pt x="5946381" y="6420836"/>
                  <a:pt x="5944526" y="6423057"/>
                  <a:pt x="5943316" y="6425964"/>
                </a:cubicBezTo>
                <a:cubicBezTo>
                  <a:pt x="5942101" y="6428871"/>
                  <a:pt x="5941497" y="6433231"/>
                  <a:pt x="5941497" y="6439045"/>
                </a:cubicBezTo>
                <a:lnTo>
                  <a:pt x="5941497" y="6446928"/>
                </a:lnTo>
                <a:lnTo>
                  <a:pt x="5932359" y="6446928"/>
                </a:lnTo>
                <a:lnTo>
                  <a:pt x="5932359" y="6456695"/>
                </a:lnTo>
                <a:lnTo>
                  <a:pt x="5941497" y="6456695"/>
                </a:lnTo>
                <a:lnTo>
                  <a:pt x="5941497" y="6521016"/>
                </a:lnTo>
                <a:lnTo>
                  <a:pt x="5951752" y="6521016"/>
                </a:lnTo>
                <a:lnTo>
                  <a:pt x="5951752" y="6456695"/>
                </a:lnTo>
                <a:lnTo>
                  <a:pt x="5963612" y="6456695"/>
                </a:lnTo>
                <a:lnTo>
                  <a:pt x="5963612" y="6446928"/>
                </a:lnTo>
                <a:lnTo>
                  <a:pt x="5951752" y="6446928"/>
                </a:lnTo>
                <a:lnTo>
                  <a:pt x="5951752" y="6440091"/>
                </a:lnTo>
                <a:cubicBezTo>
                  <a:pt x="5951752" y="6435580"/>
                  <a:pt x="5952415" y="6432522"/>
                  <a:pt x="5953740" y="6430917"/>
                </a:cubicBezTo>
                <a:cubicBezTo>
                  <a:pt x="5955066" y="6429313"/>
                  <a:pt x="5957263" y="6428510"/>
                  <a:pt x="5960332" y="6428510"/>
                </a:cubicBezTo>
                <a:cubicBezTo>
                  <a:pt x="5962240" y="6428510"/>
                  <a:pt x="5964262" y="6428743"/>
                  <a:pt x="5966402" y="6429208"/>
                </a:cubicBezTo>
                <a:lnTo>
                  <a:pt x="5967211" y="6423470"/>
                </a:lnTo>
                <a:lnTo>
                  <a:pt x="5967211" y="6433184"/>
                </a:lnTo>
                <a:lnTo>
                  <a:pt x="5977467" y="6433184"/>
                </a:lnTo>
                <a:lnTo>
                  <a:pt x="5977467" y="6418743"/>
                </a:lnTo>
                <a:lnTo>
                  <a:pt x="5967879" y="6418743"/>
                </a:lnTo>
                <a:lnTo>
                  <a:pt x="5967936" y="6418325"/>
                </a:lnTo>
                <a:cubicBezTo>
                  <a:pt x="5964439" y="6417441"/>
                  <a:pt x="5961221" y="6416999"/>
                  <a:pt x="5958284" y="6416999"/>
                </a:cubicBezTo>
                <a:close/>
                <a:moveTo>
                  <a:pt x="883232" y="6416999"/>
                </a:moveTo>
                <a:cubicBezTo>
                  <a:pt x="875883" y="6416999"/>
                  <a:pt x="868895" y="6419197"/>
                  <a:pt x="862268" y="6423592"/>
                </a:cubicBezTo>
                <a:cubicBezTo>
                  <a:pt x="855640" y="6427987"/>
                  <a:pt x="850280" y="6434301"/>
                  <a:pt x="846187" y="6442533"/>
                </a:cubicBezTo>
                <a:cubicBezTo>
                  <a:pt x="842095" y="6450765"/>
                  <a:pt x="840048" y="6459811"/>
                  <a:pt x="840048" y="6469671"/>
                </a:cubicBezTo>
                <a:cubicBezTo>
                  <a:pt x="840048" y="6483763"/>
                  <a:pt x="844188" y="6496053"/>
                  <a:pt x="852466" y="6506540"/>
                </a:cubicBezTo>
                <a:cubicBezTo>
                  <a:pt x="860745" y="6517028"/>
                  <a:pt x="871000" y="6522272"/>
                  <a:pt x="883232" y="6522272"/>
                </a:cubicBezTo>
                <a:cubicBezTo>
                  <a:pt x="890580" y="6522272"/>
                  <a:pt x="897568" y="6520074"/>
                  <a:pt x="904196" y="6515679"/>
                </a:cubicBezTo>
                <a:cubicBezTo>
                  <a:pt x="910823" y="6511284"/>
                  <a:pt x="916183" y="6504971"/>
                  <a:pt x="920276" y="6496739"/>
                </a:cubicBezTo>
                <a:cubicBezTo>
                  <a:pt x="924369" y="6488507"/>
                  <a:pt x="926415" y="6479484"/>
                  <a:pt x="926415" y="6469671"/>
                </a:cubicBezTo>
                <a:cubicBezTo>
                  <a:pt x="926415" y="6455578"/>
                  <a:pt x="922276" y="6443277"/>
                  <a:pt x="913997" y="6432766"/>
                </a:cubicBezTo>
                <a:cubicBezTo>
                  <a:pt x="905719" y="6422255"/>
                  <a:pt x="895464" y="6416999"/>
                  <a:pt x="883232" y="6416999"/>
                </a:cubicBezTo>
                <a:close/>
                <a:moveTo>
                  <a:pt x="5757201" y="6416930"/>
                </a:moveTo>
                <a:cubicBezTo>
                  <a:pt x="5749800" y="6416930"/>
                  <a:pt x="5743096" y="6418919"/>
                  <a:pt x="5737090" y="6422898"/>
                </a:cubicBezTo>
                <a:cubicBezTo>
                  <a:pt x="5731085" y="6426877"/>
                  <a:pt x="5726326" y="6432764"/>
                  <a:pt x="5722810" y="6440560"/>
                </a:cubicBezTo>
                <a:cubicBezTo>
                  <a:pt x="5719296" y="6448355"/>
                  <a:pt x="5717538" y="6457884"/>
                  <a:pt x="5717538" y="6469147"/>
                </a:cubicBezTo>
                <a:cubicBezTo>
                  <a:pt x="5717538" y="6480549"/>
                  <a:pt x="5719294" y="6490439"/>
                  <a:pt x="5722804" y="6498816"/>
                </a:cubicBezTo>
                <a:cubicBezTo>
                  <a:pt x="5726317" y="6507193"/>
                  <a:pt x="5730829" y="6513278"/>
                  <a:pt x="5736339" y="6517071"/>
                </a:cubicBezTo>
                <a:cubicBezTo>
                  <a:pt x="5741851" y="6520864"/>
                  <a:pt x="5748490" y="6522760"/>
                  <a:pt x="5756258" y="6522760"/>
                </a:cubicBezTo>
                <a:cubicBezTo>
                  <a:pt x="5765094" y="6522760"/>
                  <a:pt x="5772593" y="6519935"/>
                  <a:pt x="5778755" y="6514284"/>
                </a:cubicBezTo>
                <a:cubicBezTo>
                  <a:pt x="5784918" y="6508633"/>
                  <a:pt x="5789232" y="6500064"/>
                  <a:pt x="5791699" y="6488576"/>
                </a:cubicBezTo>
                <a:lnTo>
                  <a:pt x="5780536" y="6485158"/>
                </a:lnTo>
                <a:cubicBezTo>
                  <a:pt x="5779046" y="6493902"/>
                  <a:pt x="5776104" y="6500424"/>
                  <a:pt x="5771710" y="6504727"/>
                </a:cubicBezTo>
                <a:cubicBezTo>
                  <a:pt x="5767314" y="6509029"/>
                  <a:pt x="5762094" y="6511180"/>
                  <a:pt x="5756048" y="6511180"/>
                </a:cubicBezTo>
                <a:cubicBezTo>
                  <a:pt x="5747861" y="6511180"/>
                  <a:pt x="5741304" y="6507677"/>
                  <a:pt x="5736375" y="6500672"/>
                </a:cubicBezTo>
                <a:cubicBezTo>
                  <a:pt x="5731443" y="6493666"/>
                  <a:pt x="5728980" y="6483158"/>
                  <a:pt x="5728980" y="6469146"/>
                </a:cubicBezTo>
                <a:cubicBezTo>
                  <a:pt x="5728980" y="6459884"/>
                  <a:pt x="5730202" y="6452227"/>
                  <a:pt x="5732647" y="6446176"/>
                </a:cubicBezTo>
                <a:cubicBezTo>
                  <a:pt x="5735094" y="6440124"/>
                  <a:pt x="5738363" y="6435667"/>
                  <a:pt x="5742462" y="6432805"/>
                </a:cubicBezTo>
                <a:cubicBezTo>
                  <a:pt x="5746560" y="6429942"/>
                  <a:pt x="5751404" y="6428510"/>
                  <a:pt x="5756996" y="6428510"/>
                </a:cubicBezTo>
                <a:cubicBezTo>
                  <a:pt x="5768218" y="6428510"/>
                  <a:pt x="5775694" y="6435603"/>
                  <a:pt x="5779417" y="6449788"/>
                </a:cubicBezTo>
                <a:lnTo>
                  <a:pt x="5790300" y="6446649"/>
                </a:lnTo>
                <a:cubicBezTo>
                  <a:pt x="5787973" y="6436904"/>
                  <a:pt x="5783900" y="6429515"/>
                  <a:pt x="5778080" y="6424481"/>
                </a:cubicBezTo>
                <a:cubicBezTo>
                  <a:pt x="5772261" y="6419447"/>
                  <a:pt x="5765304" y="6416930"/>
                  <a:pt x="5757201" y="6416930"/>
                </a:cubicBezTo>
                <a:close/>
                <a:moveTo>
                  <a:pt x="2249532" y="6416930"/>
                </a:moveTo>
                <a:cubicBezTo>
                  <a:pt x="2240467" y="6416930"/>
                  <a:pt x="2233254" y="6419557"/>
                  <a:pt x="2227909" y="6424813"/>
                </a:cubicBezTo>
                <a:cubicBezTo>
                  <a:pt x="2222556" y="6430068"/>
                  <a:pt x="2219883" y="6436835"/>
                  <a:pt x="2219883" y="6445114"/>
                </a:cubicBezTo>
                <a:cubicBezTo>
                  <a:pt x="2219883" y="6449718"/>
                  <a:pt x="2220813" y="6453846"/>
                  <a:pt x="2222671" y="6457497"/>
                </a:cubicBezTo>
                <a:cubicBezTo>
                  <a:pt x="2224536" y="6461148"/>
                  <a:pt x="2227140" y="6464159"/>
                  <a:pt x="2230487" y="6466531"/>
                </a:cubicBezTo>
                <a:cubicBezTo>
                  <a:pt x="2233835" y="6468903"/>
                  <a:pt x="2239465" y="6471263"/>
                  <a:pt x="2247373" y="6473610"/>
                </a:cubicBezTo>
                <a:cubicBezTo>
                  <a:pt x="2256256" y="6476239"/>
                  <a:pt x="2262035" y="6478273"/>
                  <a:pt x="2264706" y="6479712"/>
                </a:cubicBezTo>
                <a:cubicBezTo>
                  <a:pt x="2267380" y="6481151"/>
                  <a:pt x="2269378" y="6482996"/>
                  <a:pt x="2270706" y="6485247"/>
                </a:cubicBezTo>
                <a:cubicBezTo>
                  <a:pt x="2272029" y="6487498"/>
                  <a:pt x="2272693" y="6490132"/>
                  <a:pt x="2272693" y="6493148"/>
                </a:cubicBezTo>
                <a:cubicBezTo>
                  <a:pt x="2272693" y="6498300"/>
                  <a:pt x="2270867" y="6502488"/>
                  <a:pt x="2267221" y="6505714"/>
                </a:cubicBezTo>
                <a:cubicBezTo>
                  <a:pt x="2263568" y="6508939"/>
                  <a:pt x="2258441" y="6510552"/>
                  <a:pt x="2251834" y="6510552"/>
                </a:cubicBezTo>
                <a:cubicBezTo>
                  <a:pt x="2247228" y="6510552"/>
                  <a:pt x="2243090" y="6509598"/>
                  <a:pt x="2239420" y="6507691"/>
                </a:cubicBezTo>
                <a:cubicBezTo>
                  <a:pt x="2235745" y="6505785"/>
                  <a:pt x="2232919" y="6503262"/>
                  <a:pt x="2230941" y="6500122"/>
                </a:cubicBezTo>
                <a:cubicBezTo>
                  <a:pt x="2228964" y="6496983"/>
                  <a:pt x="2227697" y="6492599"/>
                  <a:pt x="2227140" y="6486972"/>
                </a:cubicBezTo>
                <a:lnTo>
                  <a:pt x="2216673" y="6488088"/>
                </a:lnTo>
                <a:cubicBezTo>
                  <a:pt x="2216905" y="6498739"/>
                  <a:pt x="2220105" y="6507180"/>
                  <a:pt x="2226270" y="6513412"/>
                </a:cubicBezTo>
                <a:cubicBezTo>
                  <a:pt x="2232430" y="6519644"/>
                  <a:pt x="2240699" y="6522760"/>
                  <a:pt x="2251071" y="6522760"/>
                </a:cubicBezTo>
                <a:cubicBezTo>
                  <a:pt x="2257717" y="6522760"/>
                  <a:pt x="2263407" y="6521506"/>
                  <a:pt x="2268127" y="6518997"/>
                </a:cubicBezTo>
                <a:cubicBezTo>
                  <a:pt x="2272847" y="6516488"/>
                  <a:pt x="2276579" y="6512829"/>
                  <a:pt x="2279325" y="6508021"/>
                </a:cubicBezTo>
                <a:cubicBezTo>
                  <a:pt x="2282067" y="6503213"/>
                  <a:pt x="2283436" y="6497882"/>
                  <a:pt x="2283436" y="6492029"/>
                </a:cubicBezTo>
                <a:cubicBezTo>
                  <a:pt x="2283436" y="6486128"/>
                  <a:pt x="2282132" y="6481052"/>
                  <a:pt x="2279522" y="6476801"/>
                </a:cubicBezTo>
                <a:cubicBezTo>
                  <a:pt x="2276914" y="6472550"/>
                  <a:pt x="2273050" y="6469117"/>
                  <a:pt x="2267938" y="6466501"/>
                </a:cubicBezTo>
                <a:cubicBezTo>
                  <a:pt x="2264591" y="6464819"/>
                  <a:pt x="2258781" y="6462833"/>
                  <a:pt x="2250508" y="6460544"/>
                </a:cubicBezTo>
                <a:cubicBezTo>
                  <a:pt x="2242041" y="6458208"/>
                  <a:pt x="2236603" y="6455901"/>
                  <a:pt x="2234185" y="6453622"/>
                </a:cubicBezTo>
                <a:cubicBezTo>
                  <a:pt x="2231767" y="6451344"/>
                  <a:pt x="2230560" y="6448135"/>
                  <a:pt x="2230560" y="6443996"/>
                </a:cubicBezTo>
                <a:cubicBezTo>
                  <a:pt x="2230560" y="6439531"/>
                  <a:pt x="2232208" y="6435893"/>
                  <a:pt x="2235513" y="6433079"/>
                </a:cubicBezTo>
                <a:cubicBezTo>
                  <a:pt x="2238811" y="6430266"/>
                  <a:pt x="2243603" y="6428859"/>
                  <a:pt x="2249881" y="6428859"/>
                </a:cubicBezTo>
                <a:cubicBezTo>
                  <a:pt x="2256067" y="6428859"/>
                  <a:pt x="2260872" y="6430464"/>
                  <a:pt x="2264286" y="6433673"/>
                </a:cubicBezTo>
                <a:cubicBezTo>
                  <a:pt x="2267706" y="6436882"/>
                  <a:pt x="2269693" y="6441812"/>
                  <a:pt x="2270252" y="6448463"/>
                </a:cubicBezTo>
                <a:lnTo>
                  <a:pt x="2280928" y="6447486"/>
                </a:lnTo>
                <a:cubicBezTo>
                  <a:pt x="2280741" y="6441254"/>
                  <a:pt x="2279357" y="6435835"/>
                  <a:pt x="2276778" y="6431231"/>
                </a:cubicBezTo>
                <a:cubicBezTo>
                  <a:pt x="2274194" y="6426627"/>
                  <a:pt x="2270569" y="6423092"/>
                  <a:pt x="2265892" y="6420627"/>
                </a:cubicBezTo>
                <a:cubicBezTo>
                  <a:pt x="2261221" y="6418162"/>
                  <a:pt x="2255762" y="6416930"/>
                  <a:pt x="2249532" y="6416930"/>
                </a:cubicBezTo>
                <a:close/>
                <a:moveTo>
                  <a:pt x="2107530" y="6416930"/>
                </a:moveTo>
                <a:cubicBezTo>
                  <a:pt x="2099203" y="6416930"/>
                  <a:pt x="2091990" y="6418896"/>
                  <a:pt x="2085898" y="6422828"/>
                </a:cubicBezTo>
                <a:cubicBezTo>
                  <a:pt x="2079805" y="6426761"/>
                  <a:pt x="2074875" y="6432869"/>
                  <a:pt x="2071108" y="6441153"/>
                </a:cubicBezTo>
                <a:cubicBezTo>
                  <a:pt x="2067341" y="6449437"/>
                  <a:pt x="2065457" y="6459164"/>
                  <a:pt x="2065457" y="6470333"/>
                </a:cubicBezTo>
                <a:cubicBezTo>
                  <a:pt x="2065457" y="6481363"/>
                  <a:pt x="2067329" y="6490811"/>
                  <a:pt x="2071073" y="6498676"/>
                </a:cubicBezTo>
                <a:cubicBezTo>
                  <a:pt x="2074817" y="6506542"/>
                  <a:pt x="2079898" y="6512522"/>
                  <a:pt x="2086316" y="6516617"/>
                </a:cubicBezTo>
                <a:cubicBezTo>
                  <a:pt x="2092736" y="6520713"/>
                  <a:pt x="2100043" y="6522760"/>
                  <a:pt x="2108228" y="6522760"/>
                </a:cubicBezTo>
                <a:cubicBezTo>
                  <a:pt x="2114364" y="6522760"/>
                  <a:pt x="2120344" y="6521423"/>
                  <a:pt x="2126153" y="6518749"/>
                </a:cubicBezTo>
                <a:cubicBezTo>
                  <a:pt x="2131971" y="6516075"/>
                  <a:pt x="2137595" y="6512087"/>
                  <a:pt x="2143038" y="6506785"/>
                </a:cubicBezTo>
                <a:lnTo>
                  <a:pt x="2143038" y="6468764"/>
                </a:lnTo>
                <a:lnTo>
                  <a:pt x="2107530" y="6468833"/>
                </a:lnTo>
                <a:lnTo>
                  <a:pt x="2107530" y="6480902"/>
                </a:lnTo>
                <a:lnTo>
                  <a:pt x="2132151" y="6480902"/>
                </a:lnTo>
                <a:lnTo>
                  <a:pt x="2132151" y="6499948"/>
                </a:lnTo>
                <a:cubicBezTo>
                  <a:pt x="2129458" y="6502831"/>
                  <a:pt x="2125816" y="6505320"/>
                  <a:pt x="2121238" y="6507412"/>
                </a:cubicBezTo>
                <a:cubicBezTo>
                  <a:pt x="2116657" y="6509505"/>
                  <a:pt x="2112179" y="6510552"/>
                  <a:pt x="2107806" y="6510552"/>
                </a:cubicBezTo>
                <a:cubicBezTo>
                  <a:pt x="2098646" y="6510552"/>
                  <a:pt x="2091200" y="6507142"/>
                  <a:pt x="2085479" y="6500323"/>
                </a:cubicBezTo>
                <a:cubicBezTo>
                  <a:pt x="2079759" y="6493503"/>
                  <a:pt x="2076898" y="6483251"/>
                  <a:pt x="2076898" y="6469566"/>
                </a:cubicBezTo>
                <a:cubicBezTo>
                  <a:pt x="2076898" y="6460582"/>
                  <a:pt x="2078235" y="6452972"/>
                  <a:pt x="2080910" y="6446734"/>
                </a:cubicBezTo>
                <a:cubicBezTo>
                  <a:pt x="2083584" y="6440497"/>
                  <a:pt x="2087119" y="6435900"/>
                  <a:pt x="2091514" y="6432944"/>
                </a:cubicBezTo>
                <a:cubicBezTo>
                  <a:pt x="2095909" y="6429988"/>
                  <a:pt x="2101156" y="6428510"/>
                  <a:pt x="2107247" y="6428510"/>
                </a:cubicBezTo>
                <a:cubicBezTo>
                  <a:pt x="2111432" y="6428510"/>
                  <a:pt x="2115200" y="6429324"/>
                  <a:pt x="2118547" y="6430952"/>
                </a:cubicBezTo>
                <a:cubicBezTo>
                  <a:pt x="2121898" y="6432580"/>
                  <a:pt x="2124598" y="6434824"/>
                  <a:pt x="2126643" y="6437684"/>
                </a:cubicBezTo>
                <a:cubicBezTo>
                  <a:pt x="2128689" y="6440544"/>
                  <a:pt x="2130387" y="6444858"/>
                  <a:pt x="2131738" y="6450625"/>
                </a:cubicBezTo>
                <a:lnTo>
                  <a:pt x="2141711" y="6447277"/>
                </a:lnTo>
                <a:cubicBezTo>
                  <a:pt x="2140221" y="6439975"/>
                  <a:pt x="2137990" y="6434231"/>
                  <a:pt x="2135015" y="6430045"/>
                </a:cubicBezTo>
                <a:cubicBezTo>
                  <a:pt x="2132036" y="6425859"/>
                  <a:pt x="2128247" y="6422627"/>
                  <a:pt x="2123643" y="6420348"/>
                </a:cubicBezTo>
                <a:cubicBezTo>
                  <a:pt x="2119038" y="6418069"/>
                  <a:pt x="2113665" y="6416930"/>
                  <a:pt x="2107530" y="6416930"/>
                </a:cubicBezTo>
                <a:close/>
                <a:moveTo>
                  <a:pt x="1516105" y="6416930"/>
                </a:moveTo>
                <a:cubicBezTo>
                  <a:pt x="1507035" y="6416930"/>
                  <a:pt x="1499827" y="6419557"/>
                  <a:pt x="1494478" y="6424813"/>
                </a:cubicBezTo>
                <a:cubicBezTo>
                  <a:pt x="1489130" y="6430068"/>
                  <a:pt x="1486455" y="6436835"/>
                  <a:pt x="1486455" y="6445114"/>
                </a:cubicBezTo>
                <a:cubicBezTo>
                  <a:pt x="1486455" y="6449718"/>
                  <a:pt x="1487385" y="6453846"/>
                  <a:pt x="1489246" y="6457497"/>
                </a:cubicBezTo>
                <a:cubicBezTo>
                  <a:pt x="1491106" y="6461148"/>
                  <a:pt x="1493711" y="6464159"/>
                  <a:pt x="1497059" y="6466531"/>
                </a:cubicBezTo>
                <a:cubicBezTo>
                  <a:pt x="1500408" y="6468903"/>
                  <a:pt x="1506035" y="6471263"/>
                  <a:pt x="1513942" y="6473610"/>
                </a:cubicBezTo>
                <a:cubicBezTo>
                  <a:pt x="1522825" y="6476239"/>
                  <a:pt x="1528604" y="6478273"/>
                  <a:pt x="1531278" y="6479712"/>
                </a:cubicBezTo>
                <a:cubicBezTo>
                  <a:pt x="1533953" y="6481151"/>
                  <a:pt x="1535952" y="6482996"/>
                  <a:pt x="1537278" y="6485247"/>
                </a:cubicBezTo>
                <a:cubicBezTo>
                  <a:pt x="1538603" y="6487498"/>
                  <a:pt x="1539266" y="6490132"/>
                  <a:pt x="1539266" y="6493148"/>
                </a:cubicBezTo>
                <a:cubicBezTo>
                  <a:pt x="1539266" y="6498300"/>
                  <a:pt x="1537441" y="6502488"/>
                  <a:pt x="1533790" y="6505714"/>
                </a:cubicBezTo>
                <a:cubicBezTo>
                  <a:pt x="1530139" y="6508939"/>
                  <a:pt x="1525011" y="6510552"/>
                  <a:pt x="1518407" y="6510552"/>
                </a:cubicBezTo>
                <a:cubicBezTo>
                  <a:pt x="1513802" y="6510552"/>
                  <a:pt x="1509663" y="6509598"/>
                  <a:pt x="1505989" y="6507691"/>
                </a:cubicBezTo>
                <a:cubicBezTo>
                  <a:pt x="1502315" y="6505785"/>
                  <a:pt x="1499490" y="6503262"/>
                  <a:pt x="1497513" y="6500122"/>
                </a:cubicBezTo>
                <a:cubicBezTo>
                  <a:pt x="1495536" y="6496983"/>
                  <a:pt x="1494269" y="6492599"/>
                  <a:pt x="1493711" y="6486972"/>
                </a:cubicBezTo>
                <a:lnTo>
                  <a:pt x="1483246" y="6488088"/>
                </a:lnTo>
                <a:cubicBezTo>
                  <a:pt x="1483479" y="6498739"/>
                  <a:pt x="1486676" y="6507180"/>
                  <a:pt x="1492839" y="6513412"/>
                </a:cubicBezTo>
                <a:cubicBezTo>
                  <a:pt x="1499001" y="6519644"/>
                  <a:pt x="1507268" y="6522760"/>
                  <a:pt x="1517639" y="6522760"/>
                </a:cubicBezTo>
                <a:cubicBezTo>
                  <a:pt x="1524290" y="6522760"/>
                  <a:pt x="1529976" y="6521506"/>
                  <a:pt x="1534697" y="6518997"/>
                </a:cubicBezTo>
                <a:cubicBezTo>
                  <a:pt x="1539417" y="6516488"/>
                  <a:pt x="1543151" y="6512829"/>
                  <a:pt x="1545894" y="6508021"/>
                </a:cubicBezTo>
                <a:cubicBezTo>
                  <a:pt x="1548638" y="6503213"/>
                  <a:pt x="1550010" y="6497882"/>
                  <a:pt x="1550010" y="6492029"/>
                </a:cubicBezTo>
                <a:cubicBezTo>
                  <a:pt x="1550010" y="6486128"/>
                  <a:pt x="1548705" y="6481052"/>
                  <a:pt x="1546095" y="6476801"/>
                </a:cubicBezTo>
                <a:cubicBezTo>
                  <a:pt x="1543485" y="6472550"/>
                  <a:pt x="1539623" y="6469117"/>
                  <a:pt x="1534510" y="6466501"/>
                </a:cubicBezTo>
                <a:cubicBezTo>
                  <a:pt x="1531163" y="6464819"/>
                  <a:pt x="1525351" y="6462833"/>
                  <a:pt x="1517077" y="6460544"/>
                </a:cubicBezTo>
                <a:cubicBezTo>
                  <a:pt x="1508616" y="6458208"/>
                  <a:pt x="1503176" y="6455901"/>
                  <a:pt x="1500758" y="6453622"/>
                </a:cubicBezTo>
                <a:cubicBezTo>
                  <a:pt x="1498339" y="6451344"/>
                  <a:pt x="1497129" y="6448135"/>
                  <a:pt x="1497129" y="6443996"/>
                </a:cubicBezTo>
                <a:cubicBezTo>
                  <a:pt x="1497129" y="6439531"/>
                  <a:pt x="1498780" y="6435893"/>
                  <a:pt x="1502082" y="6433079"/>
                </a:cubicBezTo>
                <a:cubicBezTo>
                  <a:pt x="1505385" y="6430266"/>
                  <a:pt x="1510175" y="6428859"/>
                  <a:pt x="1516453" y="6428859"/>
                </a:cubicBezTo>
                <a:cubicBezTo>
                  <a:pt x="1522639" y="6428859"/>
                  <a:pt x="1527441" y="6430464"/>
                  <a:pt x="1530860" y="6433673"/>
                </a:cubicBezTo>
                <a:cubicBezTo>
                  <a:pt x="1534278" y="6436882"/>
                  <a:pt x="1536266" y="6441812"/>
                  <a:pt x="1536824" y="6448463"/>
                </a:cubicBezTo>
                <a:lnTo>
                  <a:pt x="1547498" y="6447486"/>
                </a:lnTo>
                <a:cubicBezTo>
                  <a:pt x="1547312" y="6441254"/>
                  <a:pt x="1545928" y="6435835"/>
                  <a:pt x="1543347" y="6431231"/>
                </a:cubicBezTo>
                <a:cubicBezTo>
                  <a:pt x="1540766" y="6426627"/>
                  <a:pt x="1537138" y="6423092"/>
                  <a:pt x="1532464" y="6420627"/>
                </a:cubicBezTo>
                <a:cubicBezTo>
                  <a:pt x="1527790" y="6418162"/>
                  <a:pt x="1522337" y="6416930"/>
                  <a:pt x="1516105" y="6416930"/>
                </a:cubicBezTo>
                <a:close/>
                <a:moveTo>
                  <a:pt x="999314" y="6416930"/>
                </a:moveTo>
                <a:cubicBezTo>
                  <a:pt x="991912" y="6416930"/>
                  <a:pt x="985208" y="6418919"/>
                  <a:pt x="979202" y="6422898"/>
                </a:cubicBezTo>
                <a:cubicBezTo>
                  <a:pt x="973197" y="6426877"/>
                  <a:pt x="968437" y="6432764"/>
                  <a:pt x="964922" y="6440560"/>
                </a:cubicBezTo>
                <a:cubicBezTo>
                  <a:pt x="961408" y="6448355"/>
                  <a:pt x="959650" y="6457884"/>
                  <a:pt x="959650" y="6469147"/>
                </a:cubicBezTo>
                <a:cubicBezTo>
                  <a:pt x="959650" y="6480549"/>
                  <a:pt x="961406" y="6490439"/>
                  <a:pt x="964918" y="6498816"/>
                </a:cubicBezTo>
                <a:cubicBezTo>
                  <a:pt x="968429" y="6507193"/>
                  <a:pt x="972940" y="6513278"/>
                  <a:pt x="978452" y="6517071"/>
                </a:cubicBezTo>
                <a:cubicBezTo>
                  <a:pt x="983963" y="6520864"/>
                  <a:pt x="990602" y="6522760"/>
                  <a:pt x="998369" y="6522760"/>
                </a:cubicBezTo>
                <a:cubicBezTo>
                  <a:pt x="1007205" y="6522760"/>
                  <a:pt x="1014705" y="6519935"/>
                  <a:pt x="1020867" y="6514284"/>
                </a:cubicBezTo>
                <a:cubicBezTo>
                  <a:pt x="1027030" y="6508633"/>
                  <a:pt x="1031344" y="6500064"/>
                  <a:pt x="1033809" y="6488576"/>
                </a:cubicBezTo>
                <a:lnTo>
                  <a:pt x="1022646" y="6485158"/>
                </a:lnTo>
                <a:cubicBezTo>
                  <a:pt x="1021158" y="6493902"/>
                  <a:pt x="1018216" y="6500424"/>
                  <a:pt x="1013821" y="6504727"/>
                </a:cubicBezTo>
                <a:cubicBezTo>
                  <a:pt x="1009426" y="6509029"/>
                  <a:pt x="1004206" y="6511180"/>
                  <a:pt x="998160" y="6511180"/>
                </a:cubicBezTo>
                <a:cubicBezTo>
                  <a:pt x="989974" y="6511180"/>
                  <a:pt x="983416" y="6507677"/>
                  <a:pt x="978486" y="6500672"/>
                </a:cubicBezTo>
                <a:cubicBezTo>
                  <a:pt x="973556" y="6493666"/>
                  <a:pt x="971092" y="6483158"/>
                  <a:pt x="971092" y="6469146"/>
                </a:cubicBezTo>
                <a:cubicBezTo>
                  <a:pt x="971092" y="6459884"/>
                  <a:pt x="972314" y="6452227"/>
                  <a:pt x="974759" y="6446176"/>
                </a:cubicBezTo>
                <a:cubicBezTo>
                  <a:pt x="977204" y="6440124"/>
                  <a:pt x="980476" y="6435667"/>
                  <a:pt x="984574" y="6432805"/>
                </a:cubicBezTo>
                <a:cubicBezTo>
                  <a:pt x="988673" y="6429942"/>
                  <a:pt x="993517" y="6428510"/>
                  <a:pt x="999106" y="6428510"/>
                </a:cubicBezTo>
                <a:cubicBezTo>
                  <a:pt x="1010330" y="6428510"/>
                  <a:pt x="1017805" y="6435603"/>
                  <a:pt x="1021530" y="6449788"/>
                </a:cubicBezTo>
                <a:lnTo>
                  <a:pt x="1032413" y="6446649"/>
                </a:lnTo>
                <a:cubicBezTo>
                  <a:pt x="1030086" y="6436904"/>
                  <a:pt x="1026012" y="6429515"/>
                  <a:pt x="1020193" y="6424481"/>
                </a:cubicBezTo>
                <a:cubicBezTo>
                  <a:pt x="1014374" y="6419447"/>
                  <a:pt x="1007414" y="6416930"/>
                  <a:pt x="999314" y="6416930"/>
                </a:cubicBezTo>
                <a:close/>
                <a:moveTo>
                  <a:pt x="11136920" y="6415084"/>
                </a:moveTo>
                <a:cubicBezTo>
                  <a:pt x="11166990" y="6415084"/>
                  <a:pt x="11180757" y="6429263"/>
                  <a:pt x="11180757" y="6458741"/>
                </a:cubicBezTo>
                <a:cubicBezTo>
                  <a:pt x="11180757" y="6488218"/>
                  <a:pt x="11166990" y="6502397"/>
                  <a:pt x="11136920" y="6502397"/>
                </a:cubicBezTo>
                <a:cubicBezTo>
                  <a:pt x="11106487" y="6502397"/>
                  <a:pt x="11093445" y="6488218"/>
                  <a:pt x="11093445" y="6457621"/>
                </a:cubicBezTo>
                <a:cubicBezTo>
                  <a:pt x="11093445" y="6429263"/>
                  <a:pt x="11107574" y="6415084"/>
                  <a:pt x="11136920" y="6415084"/>
                </a:cubicBezTo>
                <a:close/>
                <a:moveTo>
                  <a:pt x="11241084" y="6397622"/>
                </a:moveTo>
                <a:lnTo>
                  <a:pt x="11241084" y="6521447"/>
                </a:lnTo>
                <a:lnTo>
                  <a:pt x="11276259" y="6521447"/>
                </a:lnTo>
                <a:lnTo>
                  <a:pt x="11274446" y="6427562"/>
                </a:lnTo>
                <a:lnTo>
                  <a:pt x="11344433" y="6521447"/>
                </a:lnTo>
                <a:lnTo>
                  <a:pt x="11383959" y="6521447"/>
                </a:lnTo>
                <a:lnTo>
                  <a:pt x="11383959" y="6397622"/>
                </a:lnTo>
                <a:lnTo>
                  <a:pt x="11349147" y="6397622"/>
                </a:lnTo>
                <a:lnTo>
                  <a:pt x="11350597" y="6486702"/>
                </a:lnTo>
                <a:lnTo>
                  <a:pt x="11284237" y="6397622"/>
                </a:lnTo>
                <a:close/>
                <a:moveTo>
                  <a:pt x="10998196" y="6397622"/>
                </a:moveTo>
                <a:lnTo>
                  <a:pt x="10998196" y="6521447"/>
                </a:lnTo>
                <a:lnTo>
                  <a:pt x="11033121" y="6521447"/>
                </a:lnTo>
                <a:lnTo>
                  <a:pt x="11033121" y="6397622"/>
                </a:lnTo>
                <a:close/>
                <a:moveTo>
                  <a:pt x="10760071" y="6397622"/>
                </a:moveTo>
                <a:lnTo>
                  <a:pt x="10760071" y="6521447"/>
                </a:lnTo>
                <a:lnTo>
                  <a:pt x="10794996" y="6521447"/>
                </a:lnTo>
                <a:lnTo>
                  <a:pt x="10794996" y="6397622"/>
                </a:lnTo>
                <a:close/>
                <a:moveTo>
                  <a:pt x="10637569" y="6397622"/>
                </a:moveTo>
                <a:cubicBezTo>
                  <a:pt x="10599162" y="6397622"/>
                  <a:pt x="10580684" y="6408341"/>
                  <a:pt x="10580684" y="6435324"/>
                </a:cubicBezTo>
                <a:cubicBezTo>
                  <a:pt x="10580684" y="6460459"/>
                  <a:pt x="10597713" y="6471178"/>
                  <a:pt x="10634670" y="6471178"/>
                </a:cubicBezTo>
                <a:lnTo>
                  <a:pt x="10674888" y="6471178"/>
                </a:lnTo>
                <a:cubicBezTo>
                  <a:pt x="10691555" y="6471178"/>
                  <a:pt x="10699163" y="6474135"/>
                  <a:pt x="10699163" y="6485224"/>
                </a:cubicBezTo>
                <a:cubicBezTo>
                  <a:pt x="10699163" y="6495943"/>
                  <a:pt x="10690830" y="6499270"/>
                  <a:pt x="10672714" y="6499270"/>
                </a:cubicBezTo>
                <a:lnTo>
                  <a:pt x="10587206" y="6499270"/>
                </a:lnTo>
                <a:lnTo>
                  <a:pt x="10587206" y="6521447"/>
                </a:lnTo>
                <a:lnTo>
                  <a:pt x="10678149" y="6521447"/>
                </a:lnTo>
                <a:cubicBezTo>
                  <a:pt x="10716555" y="6521447"/>
                  <a:pt x="10734671" y="6510358"/>
                  <a:pt x="10734671" y="6484115"/>
                </a:cubicBezTo>
                <a:cubicBezTo>
                  <a:pt x="10734671" y="6458241"/>
                  <a:pt x="10719091" y="6449370"/>
                  <a:pt x="10683221" y="6449370"/>
                </a:cubicBezTo>
                <a:lnTo>
                  <a:pt x="10637931" y="6449370"/>
                </a:lnTo>
                <a:cubicBezTo>
                  <a:pt x="10623800" y="6449370"/>
                  <a:pt x="10616554" y="6444934"/>
                  <a:pt x="10616554" y="6435694"/>
                </a:cubicBezTo>
                <a:cubicBezTo>
                  <a:pt x="10616554" y="6424235"/>
                  <a:pt x="10624887" y="6419430"/>
                  <a:pt x="10642641" y="6419430"/>
                </a:cubicBezTo>
                <a:lnTo>
                  <a:pt x="10726700" y="6419430"/>
                </a:lnTo>
                <a:lnTo>
                  <a:pt x="10726700" y="6397622"/>
                </a:lnTo>
                <a:close/>
                <a:moveTo>
                  <a:pt x="10413996" y="6397622"/>
                </a:moveTo>
                <a:lnTo>
                  <a:pt x="10413996" y="6521447"/>
                </a:lnTo>
                <a:lnTo>
                  <a:pt x="10448897" y="6521447"/>
                </a:lnTo>
                <a:lnTo>
                  <a:pt x="10447443" y="6427562"/>
                </a:lnTo>
                <a:lnTo>
                  <a:pt x="10517608" y="6521447"/>
                </a:lnTo>
                <a:lnTo>
                  <a:pt x="10556871" y="6521447"/>
                </a:lnTo>
                <a:lnTo>
                  <a:pt x="10556871" y="6397622"/>
                </a:lnTo>
                <a:lnTo>
                  <a:pt x="10522334" y="6397622"/>
                </a:lnTo>
                <a:lnTo>
                  <a:pt x="10523788" y="6486702"/>
                </a:lnTo>
                <a:lnTo>
                  <a:pt x="10457258" y="6397622"/>
                </a:lnTo>
                <a:close/>
                <a:moveTo>
                  <a:pt x="10327466" y="6397622"/>
                </a:moveTo>
                <a:cubicBezTo>
                  <a:pt x="10276126" y="6397622"/>
                  <a:pt x="10252071" y="6417952"/>
                  <a:pt x="10252071" y="6461568"/>
                </a:cubicBezTo>
                <a:cubicBezTo>
                  <a:pt x="10252071" y="6484115"/>
                  <a:pt x="10259970" y="6500379"/>
                  <a:pt x="10276844" y="6510358"/>
                </a:cubicBezTo>
                <a:cubicBezTo>
                  <a:pt x="10292282" y="6520338"/>
                  <a:pt x="10307361" y="6521447"/>
                  <a:pt x="10326748" y="6521447"/>
                </a:cubicBezTo>
                <a:lnTo>
                  <a:pt x="10383833" y="6521447"/>
                </a:lnTo>
                <a:lnTo>
                  <a:pt x="10383833" y="6499639"/>
                </a:lnTo>
                <a:lnTo>
                  <a:pt x="10328184" y="6499639"/>
                </a:lnTo>
                <a:cubicBezTo>
                  <a:pt x="10301616" y="6499639"/>
                  <a:pt x="10290128" y="6491877"/>
                  <a:pt x="10290128" y="6469330"/>
                </a:cubicBezTo>
                <a:lnTo>
                  <a:pt x="10383833" y="6469330"/>
                </a:lnTo>
                <a:lnTo>
                  <a:pt x="10383833" y="6447892"/>
                </a:lnTo>
                <a:lnTo>
                  <a:pt x="10290128" y="6447892"/>
                </a:lnTo>
                <a:cubicBezTo>
                  <a:pt x="10291564" y="6428301"/>
                  <a:pt x="10303771" y="6419061"/>
                  <a:pt x="10328184" y="6419061"/>
                </a:cubicBezTo>
                <a:lnTo>
                  <a:pt x="10383833" y="6419061"/>
                </a:lnTo>
                <a:lnTo>
                  <a:pt x="10383833" y="6397622"/>
                </a:lnTo>
                <a:close/>
                <a:moveTo>
                  <a:pt x="10139094" y="6397622"/>
                </a:moveTo>
                <a:cubicBezTo>
                  <a:pt x="10100325" y="6397622"/>
                  <a:pt x="10082209" y="6408341"/>
                  <a:pt x="10082209" y="6435324"/>
                </a:cubicBezTo>
                <a:cubicBezTo>
                  <a:pt x="10082209" y="6460459"/>
                  <a:pt x="10099238" y="6471178"/>
                  <a:pt x="10136195" y="6471178"/>
                </a:cubicBezTo>
                <a:lnTo>
                  <a:pt x="10176413" y="6471178"/>
                </a:lnTo>
                <a:cubicBezTo>
                  <a:pt x="10192717" y="6471178"/>
                  <a:pt x="10200326" y="6474135"/>
                  <a:pt x="10200326" y="6485224"/>
                </a:cubicBezTo>
                <a:cubicBezTo>
                  <a:pt x="10200326" y="6495943"/>
                  <a:pt x="10191993" y="6499270"/>
                  <a:pt x="10173877" y="6499270"/>
                </a:cubicBezTo>
                <a:lnTo>
                  <a:pt x="10088731" y="6499270"/>
                </a:lnTo>
                <a:lnTo>
                  <a:pt x="10088731" y="6521447"/>
                </a:lnTo>
                <a:lnTo>
                  <a:pt x="10179311" y="6521447"/>
                </a:lnTo>
                <a:cubicBezTo>
                  <a:pt x="10217718" y="6521447"/>
                  <a:pt x="10236196" y="6510358"/>
                  <a:pt x="10236196" y="6484115"/>
                </a:cubicBezTo>
                <a:cubicBezTo>
                  <a:pt x="10236196" y="6458241"/>
                  <a:pt x="10220616" y="6449370"/>
                  <a:pt x="10184384" y="6449370"/>
                </a:cubicBezTo>
                <a:lnTo>
                  <a:pt x="10139456" y="6449370"/>
                </a:lnTo>
                <a:cubicBezTo>
                  <a:pt x="10124963" y="6449370"/>
                  <a:pt x="10117717" y="6444934"/>
                  <a:pt x="10117717" y="6435694"/>
                </a:cubicBezTo>
                <a:cubicBezTo>
                  <a:pt x="10117717" y="6424235"/>
                  <a:pt x="10126050" y="6419430"/>
                  <a:pt x="10144166" y="6419430"/>
                </a:cubicBezTo>
                <a:lnTo>
                  <a:pt x="10228225" y="6419430"/>
                </a:lnTo>
                <a:lnTo>
                  <a:pt x="10228225" y="6397622"/>
                </a:lnTo>
                <a:close/>
                <a:moveTo>
                  <a:pt x="10828333" y="6397621"/>
                </a:moveTo>
                <a:lnTo>
                  <a:pt x="10828333" y="6521446"/>
                </a:lnTo>
                <a:lnTo>
                  <a:pt x="10862629" y="6521446"/>
                </a:lnTo>
                <a:lnTo>
                  <a:pt x="10862629" y="6472655"/>
                </a:lnTo>
                <a:lnTo>
                  <a:pt x="10903128" y="6472655"/>
                </a:lnTo>
                <a:lnTo>
                  <a:pt x="10938884" y="6521446"/>
                </a:lnTo>
                <a:lnTo>
                  <a:pt x="10977558" y="6521446"/>
                </a:lnTo>
                <a:lnTo>
                  <a:pt x="10937059" y="6469698"/>
                </a:lnTo>
                <a:cubicBezTo>
                  <a:pt x="10958221" y="6466002"/>
                  <a:pt x="10969896" y="6453805"/>
                  <a:pt x="10969896" y="6434584"/>
                </a:cubicBezTo>
                <a:cubicBezTo>
                  <a:pt x="10969896" y="6408710"/>
                  <a:pt x="10951653" y="6397621"/>
                  <a:pt x="10912979" y="6397621"/>
                </a:cubicBezTo>
                <a:close/>
                <a:moveTo>
                  <a:pt x="11137895" y="6394446"/>
                </a:moveTo>
                <a:cubicBezTo>
                  <a:pt x="11083436" y="6394446"/>
                  <a:pt x="11056933" y="6415079"/>
                  <a:pt x="11056933" y="6457451"/>
                </a:cubicBezTo>
                <a:cubicBezTo>
                  <a:pt x="11056933" y="6502401"/>
                  <a:pt x="11081984" y="6523034"/>
                  <a:pt x="11137895" y="6523034"/>
                </a:cubicBezTo>
                <a:cubicBezTo>
                  <a:pt x="11193081" y="6523034"/>
                  <a:pt x="11218858" y="6502401"/>
                  <a:pt x="11218858" y="6458556"/>
                </a:cubicBezTo>
                <a:cubicBezTo>
                  <a:pt x="11218858" y="6415079"/>
                  <a:pt x="11193081" y="6394446"/>
                  <a:pt x="11137895" y="6394446"/>
                </a:cubicBezTo>
                <a:close/>
                <a:moveTo>
                  <a:pt x="0" y="0"/>
                </a:moveTo>
                <a:lnTo>
                  <a:pt x="12191996" y="0"/>
                </a:lnTo>
                <a:lnTo>
                  <a:pt x="12191996" y="3141658"/>
                </a:lnTo>
                <a:lnTo>
                  <a:pt x="6095997" y="3141658"/>
                </a:lnTo>
                <a:lnTo>
                  <a:pt x="6095997" y="6237283"/>
                </a:lnTo>
                <a:lnTo>
                  <a:pt x="12191996" y="6237283"/>
                </a:lnTo>
                <a:lnTo>
                  <a:pt x="12191996" y="6857997"/>
                </a:lnTo>
                <a:lnTo>
                  <a:pt x="0" y="6857997"/>
                </a:lnTo>
                <a:close/>
              </a:path>
            </a:pathLst>
          </a:custGeom>
          <a:noFill/>
        </p:spPr>
        <p:txBody>
          <a:bodyPr wrap="square">
            <a:noAutofit/>
          </a:bodyPr>
          <a:lstStyle>
            <a:lvl1pPr algn="ctr">
              <a:defRPr/>
            </a:lvl1pPr>
          </a:lstStyle>
          <a:p>
            <a:r>
              <a:rPr lang="en-US"/>
              <a:t>Click icon to add picture</a:t>
            </a:r>
            <a:endParaRPr lang="de-DE"/>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56519"/>
            <a:ext cx="5005854" cy="457200"/>
          </a:xfrm>
        </p:spPr>
        <p:txBody>
          <a:bodyPr/>
          <a:lstStyle>
            <a:lvl1pPr>
              <a:spcBef>
                <a:spcPts val="500"/>
              </a:spcBef>
              <a:defRPr sz="3100" b="1">
                <a:solidFill>
                  <a:srgbClr val="FFFFFF"/>
                </a:solidFill>
              </a:defRPr>
            </a:lvl1pPr>
          </a:lstStyle>
          <a:p>
            <a:pPr lvl="0"/>
            <a:r>
              <a:rPr lang="en-US" noProof="0"/>
              <a:t>Add Title</a:t>
            </a:r>
          </a:p>
        </p:txBody>
      </p:sp>
      <p:sp>
        <p:nvSpPr>
          <p:cNvPr id="10" name="Textplatzhalter 2"/>
          <p:cNvSpPr>
            <a:spLocks noGrp="1"/>
          </p:cNvSpPr>
          <p:nvPr>
            <p:ph type="body" sz="quarter" idx="11" hasCustomPrompt="1"/>
          </p:nvPr>
        </p:nvSpPr>
        <p:spPr>
          <a:xfrm>
            <a:off x="6395432"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p:ph type="title" hasCustomPrompt="1"/>
          </p:nvPr>
        </p:nvSpPr>
        <p:spPr/>
        <p:txBody>
          <a:bodyPr/>
          <a:lstStyle>
            <a:lvl1pPr>
              <a:defRPr/>
            </a:lvl1pPr>
          </a:lstStyle>
          <a:p>
            <a:r>
              <a:rPr lang="en-US"/>
              <a:t>Add Title</a:t>
            </a:r>
          </a:p>
        </p:txBody>
      </p:sp>
    </p:spTree>
    <p:extLst>
      <p:ext uri="{BB962C8B-B14F-4D97-AF65-F5344CB8AC3E}">
        <p14:creationId xmlns:p14="http://schemas.microsoft.com/office/powerpoint/2010/main" val="26034297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510315" cy="3590562"/>
            <a:chOff x="4" y="3106800"/>
            <a:chExt cx="11510315" cy="3590562"/>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Bildplatzhalter 13">
            <a:extLst>
              <a:ext uri="{FF2B5EF4-FFF2-40B4-BE49-F238E27FC236}">
                <a16:creationId xmlns:a16="http://schemas.microsoft.com/office/drawing/2014/main" id="{B74CB024-9D05-4A4D-A9E1-BE90ECA58008}"/>
              </a:ext>
            </a:extLst>
          </p:cNvPr>
          <p:cNvSpPr>
            <a:spLocks noGrp="1"/>
          </p:cNvSpPr>
          <p:nvPr>
            <p:ph type="pic" sz="quarter" idx="14"/>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2 w 12188819"/>
              <a:gd name="connsiteY231" fmla="*/ 6462728 h 6857997"/>
              <a:gd name="connsiteX232" fmla="*/ 6035359 w 12188819"/>
              <a:gd name="connsiteY232" fmla="*/ 6485436 h 6857997"/>
              <a:gd name="connsiteX233" fmla="*/ 6030542 w 12188819"/>
              <a:gd name="connsiteY233" fmla="*/ 6505667 h 6857997"/>
              <a:gd name="connsiteX234" fmla="*/ 6019164 w 12188819"/>
              <a:gd name="connsiteY234" fmla="*/ 6512365 h 6857997"/>
              <a:gd name="connsiteX235" fmla="*/ 6007542 w 12188819"/>
              <a:gd name="connsiteY235" fmla="*/ 6505388 h 6857997"/>
              <a:gd name="connsiteX236" fmla="*/ 6002549 w 12188819"/>
              <a:gd name="connsiteY236" fmla="*/ 6484041 h 6857997"/>
              <a:gd name="connsiteX237" fmla="*/ 6007227 w 12188819"/>
              <a:gd name="connsiteY237" fmla="*/ 6462449 h 6857997"/>
              <a:gd name="connsiteX238" fmla="*/ 6018396 w 12188819"/>
              <a:gd name="connsiteY238" fmla="*/ 6455577 h 6857997"/>
              <a:gd name="connsiteX239" fmla="*/ 5829560 w 12188819"/>
              <a:gd name="connsiteY239" fmla="*/ 6455577 h 6857997"/>
              <a:gd name="connsiteX240" fmla="*/ 5842536 w 12188819"/>
              <a:gd name="connsiteY240" fmla="*/ 6462597 h 6857997"/>
              <a:gd name="connsiteX241" fmla="*/ 5847768 w 12188819"/>
              <a:gd name="connsiteY241" fmla="*/ 6483936 h 6857997"/>
              <a:gd name="connsiteX242" fmla="*/ 5842571 w 12188819"/>
              <a:gd name="connsiteY242" fmla="*/ 6505275 h 6857997"/>
              <a:gd name="connsiteX243" fmla="*/ 5830118 w 12188819"/>
              <a:gd name="connsiteY243" fmla="*/ 6512365 h 6857997"/>
              <a:gd name="connsiteX244" fmla="*/ 5817143 w 12188819"/>
              <a:gd name="connsiteY244" fmla="*/ 6505345 h 6857997"/>
              <a:gd name="connsiteX245" fmla="*/ 5811910 w 12188819"/>
              <a:gd name="connsiteY245" fmla="*/ 6483936 h 6857997"/>
              <a:gd name="connsiteX246" fmla="*/ 5817072 w 12188819"/>
              <a:gd name="connsiteY246" fmla="*/ 6462632 h 6857997"/>
              <a:gd name="connsiteX247" fmla="*/ 5829560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3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2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3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69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4 w 12188819"/>
              <a:gd name="connsiteY428" fmla="*/ 6455019 h 6857997"/>
              <a:gd name="connsiteX429" fmla="*/ 5801377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1 w 12188819"/>
              <a:gd name="connsiteY808" fmla="*/ 6418742 h 6857997"/>
              <a:gd name="connsiteX809" fmla="*/ 6034361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1 w 12188819"/>
              <a:gd name="connsiteY880" fmla="*/ 6416998 h 6857997"/>
              <a:gd name="connsiteX881" fmla="*/ 5948873 w 12188819"/>
              <a:gd name="connsiteY881" fmla="*/ 6419301 h 6857997"/>
              <a:gd name="connsiteX882" fmla="*/ 5943311 w 12188819"/>
              <a:gd name="connsiteY882" fmla="*/ 6425963 h 6857997"/>
              <a:gd name="connsiteX883" fmla="*/ 5941493 w 12188819"/>
              <a:gd name="connsiteY883" fmla="*/ 6439044 h 6857997"/>
              <a:gd name="connsiteX884" fmla="*/ 5941493 w 12188819"/>
              <a:gd name="connsiteY884" fmla="*/ 6446927 h 6857997"/>
              <a:gd name="connsiteX885" fmla="*/ 5932354 w 12188819"/>
              <a:gd name="connsiteY885" fmla="*/ 6446927 h 6857997"/>
              <a:gd name="connsiteX886" fmla="*/ 5932354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9 w 12188819"/>
              <a:gd name="connsiteY891" fmla="*/ 6456694 h 6857997"/>
              <a:gd name="connsiteX892" fmla="*/ 5963609 w 12188819"/>
              <a:gd name="connsiteY892" fmla="*/ 6446927 h 6857997"/>
              <a:gd name="connsiteX893" fmla="*/ 5951748 w 12188819"/>
              <a:gd name="connsiteY893" fmla="*/ 6446927 h 6857997"/>
              <a:gd name="connsiteX894" fmla="*/ 5951748 w 12188819"/>
              <a:gd name="connsiteY894" fmla="*/ 6440090 h 6857997"/>
              <a:gd name="connsiteX895" fmla="*/ 5953737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1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8 w 12188819"/>
              <a:gd name="connsiteY916" fmla="*/ 6416929 h 6857997"/>
              <a:gd name="connsiteX917" fmla="*/ 5737087 w 12188819"/>
              <a:gd name="connsiteY917" fmla="*/ 6422897 h 6857997"/>
              <a:gd name="connsiteX918" fmla="*/ 5722806 w 12188819"/>
              <a:gd name="connsiteY918" fmla="*/ 6440559 h 6857997"/>
              <a:gd name="connsiteX919" fmla="*/ 5717534 w 12188819"/>
              <a:gd name="connsiteY919" fmla="*/ 6469146 h 6857997"/>
              <a:gd name="connsiteX920" fmla="*/ 5722801 w 12188819"/>
              <a:gd name="connsiteY920" fmla="*/ 6498815 h 6857997"/>
              <a:gd name="connsiteX921" fmla="*/ 5736335 w 12188819"/>
              <a:gd name="connsiteY921" fmla="*/ 6517070 h 6857997"/>
              <a:gd name="connsiteX922" fmla="*/ 5756253 w 12188819"/>
              <a:gd name="connsiteY922" fmla="*/ 6522759 h 6857997"/>
              <a:gd name="connsiteX923" fmla="*/ 5778751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4 w 12188819"/>
              <a:gd name="connsiteY927" fmla="*/ 6511179 h 6857997"/>
              <a:gd name="connsiteX928" fmla="*/ 5736370 w 12188819"/>
              <a:gd name="connsiteY928" fmla="*/ 6500671 h 6857997"/>
              <a:gd name="connsiteX929" fmla="*/ 5728975 w 12188819"/>
              <a:gd name="connsiteY929" fmla="*/ 6469145 h 6857997"/>
              <a:gd name="connsiteX930" fmla="*/ 5732643 w 12188819"/>
              <a:gd name="connsiteY930" fmla="*/ 6446175 h 6857997"/>
              <a:gd name="connsiteX931" fmla="*/ 5742459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8 w 12188819"/>
              <a:gd name="connsiteY935" fmla="*/ 6424480 h 6857997"/>
              <a:gd name="connsiteX936" fmla="*/ 5757198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6857997 h 6857997"/>
              <a:gd name="connsiteX1154" fmla="*/ 0 w 12188819"/>
              <a:gd name="connsiteY1154" fmla="*/ 6857997 h 6857997"/>
              <a:gd name="connsiteX1155" fmla="*/ 0 w 12188819"/>
              <a:gd name="connsiteY1155" fmla="*/ 6237284 h 6857997"/>
              <a:gd name="connsiteX1156" fmla="*/ 6095994 w 12188819"/>
              <a:gd name="connsiteY1156" fmla="*/ 6237284 h 6857997"/>
              <a:gd name="connsiteX1157" fmla="*/ 6095994 w 12188819"/>
              <a:gd name="connsiteY1157" fmla="*/ 3141659 h 6857997"/>
              <a:gd name="connsiteX1158" fmla="*/ 0 w 12188819"/>
              <a:gd name="connsiteY1158" fmla="*/ 3141659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8"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2"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7" y="6512365"/>
                  <a:pt x="5820630" y="6510025"/>
                  <a:pt x="5817143"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2"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2"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4"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9"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1"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6" y="6445252"/>
                  <a:pt x="5900527" y="6445252"/>
                </a:cubicBezTo>
                <a:close/>
                <a:moveTo>
                  <a:pt x="5829839" y="6445252"/>
                </a:moveTo>
                <a:cubicBezTo>
                  <a:pt x="5821608" y="6445252"/>
                  <a:pt x="5814806" y="6448508"/>
                  <a:pt x="5809434" y="6455019"/>
                </a:cubicBezTo>
                <a:cubicBezTo>
                  <a:pt x="5804062" y="6461531"/>
                  <a:pt x="5801377" y="6471181"/>
                  <a:pt x="5801377" y="6483971"/>
                </a:cubicBezTo>
                <a:cubicBezTo>
                  <a:pt x="5801377" y="6496714"/>
                  <a:pt x="5804085" y="6506353"/>
                  <a:pt x="5809503" y="6512888"/>
                </a:cubicBezTo>
                <a:cubicBezTo>
                  <a:pt x="5814921" y="6519422"/>
                  <a:pt x="5821701" y="6522690"/>
                  <a:pt x="5829839" y="6522690"/>
                </a:cubicBezTo>
                <a:cubicBezTo>
                  <a:pt x="5838119" y="6522690"/>
                  <a:pt x="5844931" y="6519434"/>
                  <a:pt x="5850280" y="6512923"/>
                </a:cubicBezTo>
                <a:cubicBezTo>
                  <a:pt x="5855629"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4" y="6416998"/>
                  <a:pt x="5951368" y="6417766"/>
                  <a:pt x="5948873"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9" y="6456694"/>
                </a:lnTo>
                <a:lnTo>
                  <a:pt x="5963609" y="6446927"/>
                </a:lnTo>
                <a:lnTo>
                  <a:pt x="5951748" y="6446927"/>
                </a:lnTo>
                <a:lnTo>
                  <a:pt x="5951748" y="6440090"/>
                </a:lnTo>
                <a:cubicBezTo>
                  <a:pt x="5951748" y="6435579"/>
                  <a:pt x="5952411" y="6432521"/>
                  <a:pt x="5953737"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8" y="6520863"/>
                  <a:pt x="5748486" y="6522759"/>
                  <a:pt x="5756253" y="6522759"/>
                </a:cubicBezTo>
                <a:cubicBezTo>
                  <a:pt x="5765090" y="6522759"/>
                  <a:pt x="5772590" y="6519934"/>
                  <a:pt x="5778751" y="6514283"/>
                </a:cubicBezTo>
                <a:cubicBezTo>
                  <a:pt x="5784915"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2" y="6493665"/>
                  <a:pt x="5728975" y="6483157"/>
                  <a:pt x="5728975" y="6469145"/>
                </a:cubicBezTo>
                <a:cubicBezTo>
                  <a:pt x="5728975" y="6459883"/>
                  <a:pt x="5730198" y="6452226"/>
                  <a:pt x="5732643" y="6446175"/>
                </a:cubicBezTo>
                <a:cubicBezTo>
                  <a:pt x="5735088" y="6440123"/>
                  <a:pt x="5738360" y="6435666"/>
                  <a:pt x="5742459"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8" y="6424480"/>
                </a:cubicBezTo>
                <a:cubicBezTo>
                  <a:pt x="5772259" y="6419446"/>
                  <a:pt x="5765298" y="6416929"/>
                  <a:pt x="5757198"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lnTo>
                  <a:pt x="0" y="6237284"/>
                </a:lnTo>
                <a:lnTo>
                  <a:pt x="6095994" y="6237284"/>
                </a:lnTo>
                <a:lnTo>
                  <a:pt x="6095994" y="3141659"/>
                </a:lnTo>
                <a:lnTo>
                  <a:pt x="0" y="3141659"/>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39478866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5" y="3141663"/>
            <a:ext cx="11510314" cy="3555699"/>
            <a:chOff x="5" y="3141663"/>
            <a:chExt cx="11510314" cy="3555699"/>
          </a:xfrm>
        </p:grpSpPr>
        <p:sp>
          <p:nvSpPr>
            <p:cNvPr id="15" name="Rechteck 14">
              <a:extLst>
                <a:ext uri="{FF2B5EF4-FFF2-40B4-BE49-F238E27FC236}">
                  <a16:creationId xmlns:a16="http://schemas.microsoft.com/office/drawing/2014/main" id="{1FA4CF6F-55B8-47F1-9CC1-6186CB347971}"/>
                </a:ext>
              </a:extLst>
            </p:cNvPr>
            <p:cNvSpPr/>
            <p:nvPr userDrawn="1"/>
          </p:nvSpPr>
          <p:spPr>
            <a:xfrm>
              <a:off x="5" y="3141663"/>
              <a:ext cx="6095995" cy="3095626"/>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2" name="Bildplatzhalter 11">
            <a:extLst>
              <a:ext uri="{FF2B5EF4-FFF2-40B4-BE49-F238E27FC236}">
                <a16:creationId xmlns:a16="http://schemas.microsoft.com/office/drawing/2014/main" id="{CDE31D27-C1A5-4AB1-9C8A-EF2A7C603F94}"/>
              </a:ext>
            </a:extLst>
          </p:cNvPr>
          <p:cNvSpPr>
            <a:spLocks noGrp="1"/>
          </p:cNvSpPr>
          <p:nvPr>
            <p:ph type="pic" sz="quarter" idx="14"/>
          </p:nvPr>
        </p:nvSpPr>
        <p:spPr>
          <a:xfrm>
            <a:off x="5" y="5"/>
            <a:ext cx="12191996" cy="6857997"/>
          </a:xfrm>
          <a:custGeom>
            <a:avLst/>
            <a:gdLst>
              <a:gd name="connsiteX0" fmla="*/ 11197257 w 12191996"/>
              <a:gd name="connsiteY0" fmla="*/ 6583359 h 6857997"/>
              <a:gd name="connsiteX1" fmla="*/ 11207745 w 12191996"/>
              <a:gd name="connsiteY1" fmla="*/ 6602409 h 6857997"/>
              <a:gd name="connsiteX2" fmla="*/ 11187108 w 12191996"/>
              <a:gd name="connsiteY2" fmla="*/ 6602409 h 6857997"/>
              <a:gd name="connsiteX3" fmla="*/ 11114083 w 12191996"/>
              <a:gd name="connsiteY3" fmla="*/ 6583359 h 6857997"/>
              <a:gd name="connsiteX4" fmla="*/ 11131338 w 12191996"/>
              <a:gd name="connsiteY4" fmla="*/ 6583359 h 6857997"/>
              <a:gd name="connsiteX5" fmla="*/ 11145833 w 12191996"/>
              <a:gd name="connsiteY5" fmla="*/ 6589709 h 6857997"/>
              <a:gd name="connsiteX6" fmla="*/ 11132374 w 12191996"/>
              <a:gd name="connsiteY6" fmla="*/ 6596059 h 6857997"/>
              <a:gd name="connsiteX7" fmla="*/ 11114083 w 12191996"/>
              <a:gd name="connsiteY7" fmla="*/ 6596059 h 6857997"/>
              <a:gd name="connsiteX8" fmla="*/ 10745783 w 12191996"/>
              <a:gd name="connsiteY8" fmla="*/ 6583359 h 6857997"/>
              <a:gd name="connsiteX9" fmla="*/ 10765350 w 12191996"/>
              <a:gd name="connsiteY9" fmla="*/ 6583359 h 6857997"/>
              <a:gd name="connsiteX10" fmla="*/ 10779120 w 12191996"/>
              <a:gd name="connsiteY10" fmla="*/ 6588747 h 6857997"/>
              <a:gd name="connsiteX11" fmla="*/ 10765350 w 12191996"/>
              <a:gd name="connsiteY11" fmla="*/ 6594472 h 6857997"/>
              <a:gd name="connsiteX12" fmla="*/ 10745783 w 12191996"/>
              <a:gd name="connsiteY12" fmla="*/ 6594472 h 6857997"/>
              <a:gd name="connsiteX13" fmla="*/ 10949955 w 12191996"/>
              <a:gd name="connsiteY13" fmla="*/ 6581771 h 6857997"/>
              <a:gd name="connsiteX14" fmla="*/ 10969620 w 12191996"/>
              <a:gd name="connsiteY14" fmla="*/ 6598623 h 6857997"/>
              <a:gd name="connsiteX15" fmla="*/ 10949955 w 12191996"/>
              <a:gd name="connsiteY15" fmla="*/ 6615109 h 6857997"/>
              <a:gd name="connsiteX16" fmla="*/ 10929933 w 12191996"/>
              <a:gd name="connsiteY16" fmla="*/ 6598257 h 6857997"/>
              <a:gd name="connsiteX17" fmla="*/ 10949955 w 12191996"/>
              <a:gd name="connsiteY17" fmla="*/ 6581771 h 6857997"/>
              <a:gd name="connsiteX18" fmla="*/ 10682898 w 12191996"/>
              <a:gd name="connsiteY18" fmla="*/ 6581771 h 6857997"/>
              <a:gd name="connsiteX19" fmla="*/ 10702920 w 12191996"/>
              <a:gd name="connsiteY19" fmla="*/ 6598623 h 6857997"/>
              <a:gd name="connsiteX20" fmla="*/ 10682898 w 12191996"/>
              <a:gd name="connsiteY20" fmla="*/ 6615109 h 6857997"/>
              <a:gd name="connsiteX21" fmla="*/ 10663233 w 12191996"/>
              <a:gd name="connsiteY21" fmla="*/ 6598257 h 6857997"/>
              <a:gd name="connsiteX22" fmla="*/ 10682898 w 12191996"/>
              <a:gd name="connsiteY22" fmla="*/ 6581771 h 6857997"/>
              <a:gd name="connsiteX23" fmla="*/ 11312520 w 12191996"/>
              <a:gd name="connsiteY23" fmla="*/ 6573834 h 6857997"/>
              <a:gd name="connsiteX24" fmla="*/ 11341079 w 12191996"/>
              <a:gd name="connsiteY24" fmla="*/ 6601258 h 6857997"/>
              <a:gd name="connsiteX25" fmla="*/ 11341079 w 12191996"/>
              <a:gd name="connsiteY25" fmla="*/ 6623047 h 6857997"/>
              <a:gd name="connsiteX26" fmla="*/ 11356624 w 12191996"/>
              <a:gd name="connsiteY26" fmla="*/ 6623047 h 6857997"/>
              <a:gd name="connsiteX27" fmla="*/ 11356624 w 12191996"/>
              <a:gd name="connsiteY27" fmla="*/ 6601258 h 6857997"/>
              <a:gd name="connsiteX28" fmla="*/ 11385545 w 12191996"/>
              <a:gd name="connsiteY28" fmla="*/ 6573834 h 6857997"/>
              <a:gd name="connsiteX29" fmla="*/ 11367470 w 12191996"/>
              <a:gd name="connsiteY29" fmla="*/ 6573834 h 6857997"/>
              <a:gd name="connsiteX30" fmla="*/ 11348671 w 12191996"/>
              <a:gd name="connsiteY30" fmla="*/ 6592618 h 6857997"/>
              <a:gd name="connsiteX31" fmla="*/ 11330234 w 12191996"/>
              <a:gd name="connsiteY31" fmla="*/ 6573834 h 6857997"/>
              <a:gd name="connsiteX32" fmla="*/ 11242670 w 12191996"/>
              <a:gd name="connsiteY32" fmla="*/ 6573834 h 6857997"/>
              <a:gd name="connsiteX33" fmla="*/ 11242670 w 12191996"/>
              <a:gd name="connsiteY33" fmla="*/ 6623047 h 6857997"/>
              <a:gd name="connsiteX34" fmla="*/ 11259156 w 12191996"/>
              <a:gd name="connsiteY34" fmla="*/ 6623047 h 6857997"/>
              <a:gd name="connsiteX35" fmla="*/ 11258423 w 12191996"/>
              <a:gd name="connsiteY35" fmla="*/ 6585856 h 6857997"/>
              <a:gd name="connsiteX36" fmla="*/ 11291028 w 12191996"/>
              <a:gd name="connsiteY36" fmla="*/ 6623047 h 6857997"/>
              <a:gd name="connsiteX37" fmla="*/ 11309345 w 12191996"/>
              <a:gd name="connsiteY37" fmla="*/ 6623047 h 6857997"/>
              <a:gd name="connsiteX38" fmla="*/ 11309345 w 12191996"/>
              <a:gd name="connsiteY38" fmla="*/ 6573834 h 6857997"/>
              <a:gd name="connsiteX39" fmla="*/ 11293226 w 12191996"/>
              <a:gd name="connsiteY39" fmla="*/ 6573834 h 6857997"/>
              <a:gd name="connsiteX40" fmla="*/ 11293958 w 12191996"/>
              <a:gd name="connsiteY40" fmla="*/ 6609147 h 6857997"/>
              <a:gd name="connsiteX41" fmla="*/ 11262819 w 12191996"/>
              <a:gd name="connsiteY41" fmla="*/ 6573834 h 6857997"/>
              <a:gd name="connsiteX42" fmla="*/ 11189997 w 12191996"/>
              <a:gd name="connsiteY42" fmla="*/ 6573834 h 6857997"/>
              <a:gd name="connsiteX43" fmla="*/ 11158533 w 12191996"/>
              <a:gd name="connsiteY43" fmla="*/ 6623047 h 6857997"/>
              <a:gd name="connsiteX44" fmla="*/ 11174980 w 12191996"/>
              <a:gd name="connsiteY44" fmla="*/ 6623047 h 6857997"/>
              <a:gd name="connsiteX45" fmla="*/ 11181773 w 12191996"/>
              <a:gd name="connsiteY45" fmla="*/ 6611401 h 6857997"/>
              <a:gd name="connsiteX46" fmla="*/ 11213595 w 12191996"/>
              <a:gd name="connsiteY46" fmla="*/ 6611401 h 6857997"/>
              <a:gd name="connsiteX47" fmla="*/ 11220388 w 12191996"/>
              <a:gd name="connsiteY47" fmla="*/ 6623047 h 6857997"/>
              <a:gd name="connsiteX48" fmla="*/ 11237908 w 12191996"/>
              <a:gd name="connsiteY48" fmla="*/ 6623047 h 6857997"/>
              <a:gd name="connsiteX49" fmla="*/ 11206444 w 12191996"/>
              <a:gd name="connsiteY49" fmla="*/ 6573834 h 6857997"/>
              <a:gd name="connsiteX50" fmla="*/ 11098208 w 12191996"/>
              <a:gd name="connsiteY50" fmla="*/ 6573834 h 6857997"/>
              <a:gd name="connsiteX51" fmla="*/ 11098208 w 12191996"/>
              <a:gd name="connsiteY51" fmla="*/ 6623047 h 6857997"/>
              <a:gd name="connsiteX52" fmla="*/ 11113502 w 12191996"/>
              <a:gd name="connsiteY52" fmla="*/ 6623047 h 6857997"/>
              <a:gd name="connsiteX53" fmla="*/ 11113502 w 12191996"/>
              <a:gd name="connsiteY53" fmla="*/ 6605766 h 6857997"/>
              <a:gd name="connsiteX54" fmla="*/ 11132352 w 12191996"/>
              <a:gd name="connsiteY54" fmla="*/ 6605766 h 6857997"/>
              <a:gd name="connsiteX55" fmla="*/ 11154759 w 12191996"/>
              <a:gd name="connsiteY55" fmla="*/ 6602761 h 6857997"/>
              <a:gd name="connsiteX56" fmla="*/ 11163295 w 12191996"/>
              <a:gd name="connsiteY56" fmla="*/ 6589988 h 6857997"/>
              <a:gd name="connsiteX57" fmla="*/ 11153336 w 12191996"/>
              <a:gd name="connsiteY57" fmla="*/ 6576464 h 6857997"/>
              <a:gd name="connsiteX58" fmla="*/ 11131641 w 12191996"/>
              <a:gd name="connsiteY58" fmla="*/ 6573834 h 6857997"/>
              <a:gd name="connsiteX59" fmla="*/ 10998195 w 12191996"/>
              <a:gd name="connsiteY59" fmla="*/ 6573834 h 6857997"/>
              <a:gd name="connsiteX60" fmla="*/ 10998195 w 12191996"/>
              <a:gd name="connsiteY60" fmla="*/ 6623047 h 6857997"/>
              <a:gd name="connsiteX61" fmla="*/ 11014084 w 12191996"/>
              <a:gd name="connsiteY61" fmla="*/ 6623047 h 6857997"/>
              <a:gd name="connsiteX62" fmla="*/ 11012639 w 12191996"/>
              <a:gd name="connsiteY62" fmla="*/ 6584353 h 6857997"/>
              <a:gd name="connsiteX63" fmla="*/ 11032500 w 12191996"/>
              <a:gd name="connsiteY63" fmla="*/ 6623047 h 6857997"/>
              <a:gd name="connsiteX64" fmla="*/ 11049111 w 12191996"/>
              <a:gd name="connsiteY64" fmla="*/ 6623047 h 6857997"/>
              <a:gd name="connsiteX65" fmla="*/ 11068249 w 12191996"/>
              <a:gd name="connsiteY65" fmla="*/ 6584729 h 6857997"/>
              <a:gd name="connsiteX66" fmla="*/ 11066805 w 12191996"/>
              <a:gd name="connsiteY66" fmla="*/ 6623047 h 6857997"/>
              <a:gd name="connsiteX67" fmla="*/ 11082332 w 12191996"/>
              <a:gd name="connsiteY67" fmla="*/ 6623047 h 6857997"/>
              <a:gd name="connsiteX68" fmla="*/ 11082332 w 12191996"/>
              <a:gd name="connsiteY68" fmla="*/ 6573834 h 6857997"/>
              <a:gd name="connsiteX69" fmla="*/ 11059221 w 12191996"/>
              <a:gd name="connsiteY69" fmla="*/ 6573834 h 6857997"/>
              <a:gd name="connsiteX70" fmla="*/ 11040444 w 12191996"/>
              <a:gd name="connsiteY70" fmla="*/ 6611401 h 6857997"/>
              <a:gd name="connsiteX71" fmla="*/ 11021306 w 12191996"/>
              <a:gd name="connsiteY71" fmla="*/ 6573834 h 6857997"/>
              <a:gd name="connsiteX72" fmla="*/ 10949776 w 12191996"/>
              <a:gd name="connsiteY72" fmla="*/ 6573834 h 6857997"/>
              <a:gd name="connsiteX73" fmla="*/ 10912470 w 12191996"/>
              <a:gd name="connsiteY73" fmla="*/ 6597717 h 6857997"/>
              <a:gd name="connsiteX74" fmla="*/ 10949776 w 12191996"/>
              <a:gd name="connsiteY74" fmla="*/ 6623047 h 6857997"/>
              <a:gd name="connsiteX75" fmla="*/ 10987082 w 12191996"/>
              <a:gd name="connsiteY75" fmla="*/ 6598441 h 6857997"/>
              <a:gd name="connsiteX76" fmla="*/ 10949776 w 12191996"/>
              <a:gd name="connsiteY76" fmla="*/ 6573834 h 6857997"/>
              <a:gd name="connsiteX77" fmla="*/ 10879898 w 12191996"/>
              <a:gd name="connsiteY77" fmla="*/ 6573834 h 6857997"/>
              <a:gd name="connsiteX78" fmla="*/ 10844208 w 12191996"/>
              <a:gd name="connsiteY78" fmla="*/ 6599380 h 6857997"/>
              <a:gd name="connsiteX79" fmla="*/ 10855862 w 12191996"/>
              <a:gd name="connsiteY79" fmla="*/ 6618539 h 6857997"/>
              <a:gd name="connsiteX80" fmla="*/ 10879170 w 12191996"/>
              <a:gd name="connsiteY80" fmla="*/ 6623047 h 6857997"/>
              <a:gd name="connsiteX81" fmla="*/ 10906120 w 12191996"/>
              <a:gd name="connsiteY81" fmla="*/ 6623047 h 6857997"/>
              <a:gd name="connsiteX82" fmla="*/ 10906120 w 12191996"/>
              <a:gd name="connsiteY82" fmla="*/ 6614407 h 6857997"/>
              <a:gd name="connsiteX83" fmla="*/ 10879898 w 12191996"/>
              <a:gd name="connsiteY83" fmla="*/ 6614407 h 6857997"/>
              <a:gd name="connsiteX84" fmla="*/ 10861689 w 12191996"/>
              <a:gd name="connsiteY84" fmla="*/ 6599756 h 6857997"/>
              <a:gd name="connsiteX85" fmla="*/ 10879898 w 12191996"/>
              <a:gd name="connsiteY85" fmla="*/ 6582475 h 6857997"/>
              <a:gd name="connsiteX86" fmla="*/ 10906120 w 12191996"/>
              <a:gd name="connsiteY86" fmla="*/ 6582475 h 6857997"/>
              <a:gd name="connsiteX87" fmla="*/ 10906120 w 12191996"/>
              <a:gd name="connsiteY87" fmla="*/ 6573834 h 6857997"/>
              <a:gd name="connsiteX88" fmla="*/ 10729908 w 12191996"/>
              <a:gd name="connsiteY88" fmla="*/ 6573834 h 6857997"/>
              <a:gd name="connsiteX89" fmla="*/ 10729908 w 12191996"/>
              <a:gd name="connsiteY89" fmla="*/ 6623047 h 6857997"/>
              <a:gd name="connsiteX90" fmla="*/ 10745800 w 12191996"/>
              <a:gd name="connsiteY90" fmla="*/ 6623047 h 6857997"/>
              <a:gd name="connsiteX91" fmla="*/ 10745800 w 12191996"/>
              <a:gd name="connsiteY91" fmla="*/ 6603888 h 6857997"/>
              <a:gd name="connsiteX92" fmla="*/ 10765018 w 12191996"/>
              <a:gd name="connsiteY92" fmla="*/ 6603888 h 6857997"/>
              <a:gd name="connsiteX93" fmla="*/ 10781649 w 12191996"/>
              <a:gd name="connsiteY93" fmla="*/ 6623047 h 6857997"/>
              <a:gd name="connsiteX94" fmla="*/ 10799758 w 12191996"/>
              <a:gd name="connsiteY94" fmla="*/ 6623047 h 6857997"/>
              <a:gd name="connsiteX95" fmla="*/ 10780910 w 12191996"/>
              <a:gd name="connsiteY95" fmla="*/ 6602385 h 6857997"/>
              <a:gd name="connsiteX96" fmla="*/ 10796062 w 12191996"/>
              <a:gd name="connsiteY96" fmla="*/ 6588861 h 6857997"/>
              <a:gd name="connsiteX97" fmla="*/ 10769453 w 12191996"/>
              <a:gd name="connsiteY97" fmla="*/ 6573834 h 6857997"/>
              <a:gd name="connsiteX98" fmla="*/ 10683076 w 12191996"/>
              <a:gd name="connsiteY98" fmla="*/ 6573834 h 6857997"/>
              <a:gd name="connsiteX99" fmla="*/ 10645770 w 12191996"/>
              <a:gd name="connsiteY99" fmla="*/ 6597717 h 6857997"/>
              <a:gd name="connsiteX100" fmla="*/ 10683076 w 12191996"/>
              <a:gd name="connsiteY100" fmla="*/ 6623047 h 6857997"/>
              <a:gd name="connsiteX101" fmla="*/ 10720382 w 12191996"/>
              <a:gd name="connsiteY101" fmla="*/ 6598441 h 6857997"/>
              <a:gd name="connsiteX102" fmla="*/ 10683076 w 12191996"/>
              <a:gd name="connsiteY102" fmla="*/ 6573834 h 6857997"/>
              <a:gd name="connsiteX103" fmla="*/ 10593642 w 12191996"/>
              <a:gd name="connsiteY103" fmla="*/ 6573834 h 6857997"/>
              <a:gd name="connsiteX104" fmla="*/ 10567983 w 12191996"/>
              <a:gd name="connsiteY104" fmla="*/ 6588861 h 6857997"/>
              <a:gd name="connsiteX105" fmla="*/ 10592573 w 12191996"/>
              <a:gd name="connsiteY105" fmla="*/ 6603137 h 6857997"/>
              <a:gd name="connsiteX106" fmla="*/ 10610748 w 12191996"/>
              <a:gd name="connsiteY106" fmla="*/ 6603137 h 6857997"/>
              <a:gd name="connsiteX107" fmla="*/ 10621796 w 12191996"/>
              <a:gd name="connsiteY107" fmla="*/ 6608772 h 6857997"/>
              <a:gd name="connsiteX108" fmla="*/ 10609679 w 12191996"/>
              <a:gd name="connsiteY108" fmla="*/ 6614407 h 6857997"/>
              <a:gd name="connsiteX109" fmla="*/ 10570834 w 12191996"/>
              <a:gd name="connsiteY109" fmla="*/ 6614407 h 6857997"/>
              <a:gd name="connsiteX110" fmla="*/ 10570834 w 12191996"/>
              <a:gd name="connsiteY110" fmla="*/ 6623047 h 6857997"/>
              <a:gd name="connsiteX111" fmla="*/ 10612174 w 12191996"/>
              <a:gd name="connsiteY111" fmla="*/ 6623047 h 6857997"/>
              <a:gd name="connsiteX112" fmla="*/ 10637833 w 12191996"/>
              <a:gd name="connsiteY112" fmla="*/ 6608396 h 6857997"/>
              <a:gd name="connsiteX113" fmla="*/ 10614312 w 12191996"/>
              <a:gd name="connsiteY113" fmla="*/ 6594496 h 6857997"/>
              <a:gd name="connsiteX114" fmla="*/ 10593999 w 12191996"/>
              <a:gd name="connsiteY114" fmla="*/ 6594496 h 6857997"/>
              <a:gd name="connsiteX115" fmla="*/ 10584020 w 12191996"/>
              <a:gd name="connsiteY115" fmla="*/ 6589237 h 6857997"/>
              <a:gd name="connsiteX116" fmla="*/ 10596137 w 12191996"/>
              <a:gd name="connsiteY116" fmla="*/ 6582850 h 6857997"/>
              <a:gd name="connsiteX117" fmla="*/ 10634269 w 12191996"/>
              <a:gd name="connsiteY117" fmla="*/ 6582850 h 6857997"/>
              <a:gd name="connsiteX118" fmla="*/ 10634269 w 12191996"/>
              <a:gd name="connsiteY118" fmla="*/ 6573834 h 6857997"/>
              <a:gd name="connsiteX119" fmla="*/ 10490195 w 12191996"/>
              <a:gd name="connsiteY119" fmla="*/ 6573834 h 6857997"/>
              <a:gd name="connsiteX120" fmla="*/ 10490195 w 12191996"/>
              <a:gd name="connsiteY120" fmla="*/ 6623047 h 6857997"/>
              <a:gd name="connsiteX121" fmla="*/ 10506681 w 12191996"/>
              <a:gd name="connsiteY121" fmla="*/ 6623047 h 6857997"/>
              <a:gd name="connsiteX122" fmla="*/ 10505948 w 12191996"/>
              <a:gd name="connsiteY122" fmla="*/ 6585856 h 6857997"/>
              <a:gd name="connsiteX123" fmla="*/ 10538553 w 12191996"/>
              <a:gd name="connsiteY123" fmla="*/ 6623047 h 6857997"/>
              <a:gd name="connsiteX124" fmla="*/ 10556870 w 12191996"/>
              <a:gd name="connsiteY124" fmla="*/ 6623047 h 6857997"/>
              <a:gd name="connsiteX125" fmla="*/ 10556870 w 12191996"/>
              <a:gd name="connsiteY125" fmla="*/ 6573834 h 6857997"/>
              <a:gd name="connsiteX126" fmla="*/ 10540751 w 12191996"/>
              <a:gd name="connsiteY126" fmla="*/ 6573834 h 6857997"/>
              <a:gd name="connsiteX127" fmla="*/ 10541483 w 12191996"/>
              <a:gd name="connsiteY127" fmla="*/ 6609147 h 6857997"/>
              <a:gd name="connsiteX128" fmla="*/ 10510344 w 12191996"/>
              <a:gd name="connsiteY128" fmla="*/ 6573834 h 6857997"/>
              <a:gd name="connsiteX129" fmla="*/ 10450207 w 12191996"/>
              <a:gd name="connsiteY129" fmla="*/ 6573834 h 6857997"/>
              <a:gd name="connsiteX130" fmla="*/ 10415583 w 12191996"/>
              <a:gd name="connsiteY130" fmla="*/ 6599380 h 6857997"/>
              <a:gd name="connsiteX131" fmla="*/ 10427005 w 12191996"/>
              <a:gd name="connsiteY131" fmla="*/ 6618539 h 6857997"/>
              <a:gd name="connsiteX132" fmla="*/ 10449850 w 12191996"/>
              <a:gd name="connsiteY132" fmla="*/ 6623047 h 6857997"/>
              <a:gd name="connsiteX133" fmla="*/ 10475908 w 12191996"/>
              <a:gd name="connsiteY133" fmla="*/ 6623047 h 6857997"/>
              <a:gd name="connsiteX134" fmla="*/ 10475908 w 12191996"/>
              <a:gd name="connsiteY134" fmla="*/ 6614407 h 6857997"/>
              <a:gd name="connsiteX135" fmla="*/ 10450564 w 12191996"/>
              <a:gd name="connsiteY135" fmla="*/ 6614407 h 6857997"/>
              <a:gd name="connsiteX136" fmla="*/ 10433074 w 12191996"/>
              <a:gd name="connsiteY136" fmla="*/ 6602385 h 6857997"/>
              <a:gd name="connsiteX137" fmla="*/ 10475908 w 12191996"/>
              <a:gd name="connsiteY137" fmla="*/ 6602385 h 6857997"/>
              <a:gd name="connsiteX138" fmla="*/ 10475908 w 12191996"/>
              <a:gd name="connsiteY138" fmla="*/ 6593745 h 6857997"/>
              <a:gd name="connsiteX139" fmla="*/ 10433074 w 12191996"/>
              <a:gd name="connsiteY139" fmla="*/ 6593745 h 6857997"/>
              <a:gd name="connsiteX140" fmla="*/ 10450564 w 12191996"/>
              <a:gd name="connsiteY140" fmla="*/ 6582475 h 6857997"/>
              <a:gd name="connsiteX141" fmla="*/ 10475908 w 12191996"/>
              <a:gd name="connsiteY141" fmla="*/ 6582475 h 6857997"/>
              <a:gd name="connsiteX142" fmla="*/ 10475908 w 12191996"/>
              <a:gd name="connsiteY142" fmla="*/ 6573834 h 6857997"/>
              <a:gd name="connsiteX143" fmla="*/ 10363811 w 12191996"/>
              <a:gd name="connsiteY143" fmla="*/ 6573834 h 6857997"/>
              <a:gd name="connsiteX144" fmla="*/ 10337795 w 12191996"/>
              <a:gd name="connsiteY144" fmla="*/ 6588861 h 6857997"/>
              <a:gd name="connsiteX145" fmla="*/ 10362385 w 12191996"/>
              <a:gd name="connsiteY145" fmla="*/ 6603137 h 6857997"/>
              <a:gd name="connsiteX146" fmla="*/ 10380560 w 12191996"/>
              <a:gd name="connsiteY146" fmla="*/ 6603137 h 6857997"/>
              <a:gd name="connsiteX147" fmla="*/ 10391608 w 12191996"/>
              <a:gd name="connsiteY147" fmla="*/ 6608772 h 6857997"/>
              <a:gd name="connsiteX148" fmla="*/ 10379491 w 12191996"/>
              <a:gd name="connsiteY148" fmla="*/ 6614407 h 6857997"/>
              <a:gd name="connsiteX149" fmla="*/ 10340646 w 12191996"/>
              <a:gd name="connsiteY149" fmla="*/ 6614407 h 6857997"/>
              <a:gd name="connsiteX150" fmla="*/ 10340646 w 12191996"/>
              <a:gd name="connsiteY150" fmla="*/ 6623047 h 6857997"/>
              <a:gd name="connsiteX151" fmla="*/ 10381986 w 12191996"/>
              <a:gd name="connsiteY151" fmla="*/ 6623047 h 6857997"/>
              <a:gd name="connsiteX152" fmla="*/ 10407645 w 12191996"/>
              <a:gd name="connsiteY152" fmla="*/ 6608396 h 6857997"/>
              <a:gd name="connsiteX153" fmla="*/ 10384124 w 12191996"/>
              <a:gd name="connsiteY153" fmla="*/ 6594496 h 6857997"/>
              <a:gd name="connsiteX154" fmla="*/ 10363811 w 12191996"/>
              <a:gd name="connsiteY154" fmla="*/ 6594496 h 6857997"/>
              <a:gd name="connsiteX155" fmla="*/ 10354188 w 12191996"/>
              <a:gd name="connsiteY155" fmla="*/ 6589237 h 6857997"/>
              <a:gd name="connsiteX156" fmla="*/ 10365949 w 12191996"/>
              <a:gd name="connsiteY156" fmla="*/ 6582850 h 6857997"/>
              <a:gd name="connsiteX157" fmla="*/ 10404081 w 12191996"/>
              <a:gd name="connsiteY157" fmla="*/ 6582850 h 6857997"/>
              <a:gd name="connsiteX158" fmla="*/ 10404081 w 12191996"/>
              <a:gd name="connsiteY158" fmla="*/ 6573834 h 6857997"/>
              <a:gd name="connsiteX159" fmla="*/ 10261294 w 12191996"/>
              <a:gd name="connsiteY159" fmla="*/ 6573834 h 6857997"/>
              <a:gd name="connsiteX160" fmla="*/ 10226670 w 12191996"/>
              <a:gd name="connsiteY160" fmla="*/ 6599380 h 6857997"/>
              <a:gd name="connsiteX161" fmla="*/ 10237736 w 12191996"/>
              <a:gd name="connsiteY161" fmla="*/ 6618539 h 6857997"/>
              <a:gd name="connsiteX162" fmla="*/ 10260937 w 12191996"/>
              <a:gd name="connsiteY162" fmla="*/ 6623047 h 6857997"/>
              <a:gd name="connsiteX163" fmla="*/ 10286995 w 12191996"/>
              <a:gd name="connsiteY163" fmla="*/ 6623047 h 6857997"/>
              <a:gd name="connsiteX164" fmla="*/ 10286995 w 12191996"/>
              <a:gd name="connsiteY164" fmla="*/ 6614407 h 6857997"/>
              <a:gd name="connsiteX165" fmla="*/ 10261651 w 12191996"/>
              <a:gd name="connsiteY165" fmla="*/ 6614407 h 6857997"/>
              <a:gd name="connsiteX166" fmla="*/ 10244161 w 12191996"/>
              <a:gd name="connsiteY166" fmla="*/ 6602385 h 6857997"/>
              <a:gd name="connsiteX167" fmla="*/ 10286995 w 12191996"/>
              <a:gd name="connsiteY167" fmla="*/ 6602385 h 6857997"/>
              <a:gd name="connsiteX168" fmla="*/ 10286995 w 12191996"/>
              <a:gd name="connsiteY168" fmla="*/ 6593745 h 6857997"/>
              <a:gd name="connsiteX169" fmla="*/ 10244161 w 12191996"/>
              <a:gd name="connsiteY169" fmla="*/ 6593745 h 6857997"/>
              <a:gd name="connsiteX170" fmla="*/ 10261651 w 12191996"/>
              <a:gd name="connsiteY170" fmla="*/ 6582475 h 6857997"/>
              <a:gd name="connsiteX171" fmla="*/ 10286995 w 12191996"/>
              <a:gd name="connsiteY171" fmla="*/ 6582475 h 6857997"/>
              <a:gd name="connsiteX172" fmla="*/ 10286995 w 12191996"/>
              <a:gd name="connsiteY172" fmla="*/ 6573834 h 6857997"/>
              <a:gd name="connsiteX173" fmla="*/ 10155233 w 12191996"/>
              <a:gd name="connsiteY173" fmla="*/ 6573834 h 6857997"/>
              <a:gd name="connsiteX174" fmla="*/ 10155233 w 12191996"/>
              <a:gd name="connsiteY174" fmla="*/ 6623047 h 6857997"/>
              <a:gd name="connsiteX175" fmla="*/ 10170859 w 12191996"/>
              <a:gd name="connsiteY175" fmla="*/ 6623047 h 6857997"/>
              <a:gd name="connsiteX176" fmla="*/ 10170859 w 12191996"/>
              <a:gd name="connsiteY176" fmla="*/ 6602385 h 6857997"/>
              <a:gd name="connsiteX177" fmla="*/ 10199932 w 12191996"/>
              <a:gd name="connsiteY177" fmla="*/ 6602385 h 6857997"/>
              <a:gd name="connsiteX178" fmla="*/ 10199932 w 12191996"/>
              <a:gd name="connsiteY178" fmla="*/ 6623047 h 6857997"/>
              <a:gd name="connsiteX179" fmla="*/ 10215558 w 12191996"/>
              <a:gd name="connsiteY179" fmla="*/ 6623047 h 6857997"/>
              <a:gd name="connsiteX180" fmla="*/ 10215558 w 12191996"/>
              <a:gd name="connsiteY180" fmla="*/ 6573834 h 6857997"/>
              <a:gd name="connsiteX181" fmla="*/ 10199932 w 12191996"/>
              <a:gd name="connsiteY181" fmla="*/ 6573834 h 6857997"/>
              <a:gd name="connsiteX182" fmla="*/ 10199932 w 12191996"/>
              <a:gd name="connsiteY182" fmla="*/ 6593745 h 6857997"/>
              <a:gd name="connsiteX183" fmla="*/ 10170859 w 12191996"/>
              <a:gd name="connsiteY183" fmla="*/ 6593745 h 6857997"/>
              <a:gd name="connsiteX184" fmla="*/ 10170859 w 12191996"/>
              <a:gd name="connsiteY184" fmla="*/ 6573834 h 6857997"/>
              <a:gd name="connsiteX185" fmla="*/ 10082208 w 12191996"/>
              <a:gd name="connsiteY185" fmla="*/ 6573834 h 6857997"/>
              <a:gd name="connsiteX186" fmla="*/ 10082208 w 12191996"/>
              <a:gd name="connsiteY186" fmla="*/ 6582163 h 6857997"/>
              <a:gd name="connsiteX187" fmla="*/ 10106570 w 12191996"/>
              <a:gd name="connsiteY187" fmla="*/ 6582163 h 6857997"/>
              <a:gd name="connsiteX188" fmla="*/ 10106570 w 12191996"/>
              <a:gd name="connsiteY188" fmla="*/ 6623047 h 6857997"/>
              <a:gd name="connsiteX189" fmla="*/ 10122569 w 12191996"/>
              <a:gd name="connsiteY189" fmla="*/ 6623047 h 6857997"/>
              <a:gd name="connsiteX190" fmla="*/ 10122569 w 12191996"/>
              <a:gd name="connsiteY190" fmla="*/ 6582163 h 6857997"/>
              <a:gd name="connsiteX191" fmla="*/ 10147295 w 12191996"/>
              <a:gd name="connsiteY191" fmla="*/ 6582163 h 6857997"/>
              <a:gd name="connsiteX192" fmla="*/ 10147295 w 12191996"/>
              <a:gd name="connsiteY192" fmla="*/ 6573834 h 6857997"/>
              <a:gd name="connsiteX193" fmla="*/ 2164828 w 12191996"/>
              <a:gd name="connsiteY193" fmla="*/ 6506715 h 6857997"/>
              <a:gd name="connsiteX194" fmla="*/ 2164828 w 12191996"/>
              <a:gd name="connsiteY194" fmla="*/ 6521016 h 6857997"/>
              <a:gd name="connsiteX195" fmla="*/ 2170617 w 12191996"/>
              <a:gd name="connsiteY195" fmla="*/ 6521016 h 6857997"/>
              <a:gd name="connsiteX196" fmla="*/ 2168875 w 12191996"/>
              <a:gd name="connsiteY196" fmla="*/ 6530888 h 6857997"/>
              <a:gd name="connsiteX197" fmla="*/ 2164132 w 12191996"/>
              <a:gd name="connsiteY197" fmla="*/ 6535876 h 6857997"/>
              <a:gd name="connsiteX198" fmla="*/ 2166989 w 12191996"/>
              <a:gd name="connsiteY198" fmla="*/ 6541248 h 6857997"/>
              <a:gd name="connsiteX199" fmla="*/ 2174106 w 12191996"/>
              <a:gd name="connsiteY199" fmla="*/ 6534027 h 6857997"/>
              <a:gd name="connsiteX200" fmla="*/ 2176545 w 12191996"/>
              <a:gd name="connsiteY200" fmla="*/ 6521016 h 6857997"/>
              <a:gd name="connsiteX201" fmla="*/ 2176545 w 12191996"/>
              <a:gd name="connsiteY201" fmla="*/ 6506715 h 6857997"/>
              <a:gd name="connsiteX202" fmla="*/ 6291678 w 12191996"/>
              <a:gd name="connsiteY202" fmla="*/ 6483832 h 6857997"/>
              <a:gd name="connsiteX203" fmla="*/ 6291678 w 12191996"/>
              <a:gd name="connsiteY203" fmla="*/ 6488437 h 6857997"/>
              <a:gd name="connsiteX204" fmla="*/ 6289446 w 12191996"/>
              <a:gd name="connsiteY204" fmla="*/ 6502355 h 6857997"/>
              <a:gd name="connsiteX205" fmla="*/ 6282713 w 12191996"/>
              <a:gd name="connsiteY205" fmla="*/ 6509994 h 6857997"/>
              <a:gd name="connsiteX206" fmla="*/ 6272702 w 12191996"/>
              <a:gd name="connsiteY206" fmla="*/ 6512854 h 6857997"/>
              <a:gd name="connsiteX207" fmla="*/ 6263633 w 12191996"/>
              <a:gd name="connsiteY207" fmla="*/ 6509680 h 6857997"/>
              <a:gd name="connsiteX208" fmla="*/ 6260354 w 12191996"/>
              <a:gd name="connsiteY208" fmla="*/ 6501204 h 6857997"/>
              <a:gd name="connsiteX209" fmla="*/ 6261784 w 12191996"/>
              <a:gd name="connsiteY209" fmla="*/ 6495169 h 6857997"/>
              <a:gd name="connsiteX210" fmla="*/ 6265796 w 12191996"/>
              <a:gd name="connsiteY210" fmla="*/ 6491123 h 6857997"/>
              <a:gd name="connsiteX211" fmla="*/ 6274865 w 12191996"/>
              <a:gd name="connsiteY211" fmla="*/ 6488576 h 6857997"/>
              <a:gd name="connsiteX212" fmla="*/ 6291678 w 12191996"/>
              <a:gd name="connsiteY212" fmla="*/ 6483832 h 6857997"/>
              <a:gd name="connsiteX213" fmla="*/ 2657744 w 12191996"/>
              <a:gd name="connsiteY213" fmla="*/ 6483832 h 6857997"/>
              <a:gd name="connsiteX214" fmla="*/ 2657744 w 12191996"/>
              <a:gd name="connsiteY214" fmla="*/ 6488437 h 6857997"/>
              <a:gd name="connsiteX215" fmla="*/ 2655513 w 12191996"/>
              <a:gd name="connsiteY215" fmla="*/ 6502355 h 6857997"/>
              <a:gd name="connsiteX216" fmla="*/ 2648779 w 12191996"/>
              <a:gd name="connsiteY216" fmla="*/ 6509994 h 6857997"/>
              <a:gd name="connsiteX217" fmla="*/ 2638768 w 12191996"/>
              <a:gd name="connsiteY217" fmla="*/ 6512854 h 6857997"/>
              <a:gd name="connsiteX218" fmla="*/ 2629699 w 12191996"/>
              <a:gd name="connsiteY218" fmla="*/ 6509680 h 6857997"/>
              <a:gd name="connsiteX219" fmla="*/ 2626419 w 12191996"/>
              <a:gd name="connsiteY219" fmla="*/ 6501204 h 6857997"/>
              <a:gd name="connsiteX220" fmla="*/ 2627851 w 12191996"/>
              <a:gd name="connsiteY220" fmla="*/ 6495169 h 6857997"/>
              <a:gd name="connsiteX221" fmla="*/ 2631864 w 12191996"/>
              <a:gd name="connsiteY221" fmla="*/ 6491123 h 6857997"/>
              <a:gd name="connsiteX222" fmla="*/ 2640931 w 12191996"/>
              <a:gd name="connsiteY222" fmla="*/ 6488576 h 6857997"/>
              <a:gd name="connsiteX223" fmla="*/ 2657744 w 12191996"/>
              <a:gd name="connsiteY223" fmla="*/ 6483832 h 6857997"/>
              <a:gd name="connsiteX224" fmla="*/ 6087298 w 12191996"/>
              <a:gd name="connsiteY224" fmla="*/ 6455578 h 6857997"/>
              <a:gd name="connsiteX225" fmla="*/ 6099922 w 12191996"/>
              <a:gd name="connsiteY225" fmla="*/ 6462485 h 6857997"/>
              <a:gd name="connsiteX226" fmla="*/ 6104038 w 12191996"/>
              <a:gd name="connsiteY226" fmla="*/ 6476856 h 6857997"/>
              <a:gd name="connsiteX227" fmla="*/ 6070136 w 12191996"/>
              <a:gd name="connsiteY227" fmla="*/ 6476856 h 6857997"/>
              <a:gd name="connsiteX228" fmla="*/ 6075505 w 12191996"/>
              <a:gd name="connsiteY228" fmla="*/ 6461334 h 6857997"/>
              <a:gd name="connsiteX229" fmla="*/ 6087298 w 12191996"/>
              <a:gd name="connsiteY229" fmla="*/ 6455578 h 6857997"/>
              <a:gd name="connsiteX230" fmla="*/ 6018399 w 12191996"/>
              <a:gd name="connsiteY230" fmla="*/ 6455578 h 6857997"/>
              <a:gd name="connsiteX231" fmla="*/ 6030544 w 12191996"/>
              <a:gd name="connsiteY231" fmla="*/ 6462729 h 6857997"/>
              <a:gd name="connsiteX232" fmla="*/ 6035362 w 12191996"/>
              <a:gd name="connsiteY232" fmla="*/ 6485437 h 6857997"/>
              <a:gd name="connsiteX233" fmla="*/ 6030544 w 12191996"/>
              <a:gd name="connsiteY233" fmla="*/ 6505668 h 6857997"/>
              <a:gd name="connsiteX234" fmla="*/ 6019168 w 12191996"/>
              <a:gd name="connsiteY234" fmla="*/ 6512366 h 6857997"/>
              <a:gd name="connsiteX235" fmla="*/ 6007544 w 12191996"/>
              <a:gd name="connsiteY235" fmla="*/ 6505389 h 6857997"/>
              <a:gd name="connsiteX236" fmla="*/ 6002552 w 12191996"/>
              <a:gd name="connsiteY236" fmla="*/ 6484042 h 6857997"/>
              <a:gd name="connsiteX237" fmla="*/ 6007230 w 12191996"/>
              <a:gd name="connsiteY237" fmla="*/ 6462450 h 6857997"/>
              <a:gd name="connsiteX238" fmla="*/ 6018399 w 12191996"/>
              <a:gd name="connsiteY238" fmla="*/ 6455578 h 6857997"/>
              <a:gd name="connsiteX239" fmla="*/ 5829564 w 12191996"/>
              <a:gd name="connsiteY239" fmla="*/ 6455578 h 6857997"/>
              <a:gd name="connsiteX240" fmla="*/ 5842539 w 12191996"/>
              <a:gd name="connsiteY240" fmla="*/ 6462598 h 6857997"/>
              <a:gd name="connsiteX241" fmla="*/ 5847773 w 12191996"/>
              <a:gd name="connsiteY241" fmla="*/ 6483937 h 6857997"/>
              <a:gd name="connsiteX242" fmla="*/ 5842576 w 12191996"/>
              <a:gd name="connsiteY242" fmla="*/ 6505276 h 6857997"/>
              <a:gd name="connsiteX243" fmla="*/ 5830122 w 12191996"/>
              <a:gd name="connsiteY243" fmla="*/ 6512366 h 6857997"/>
              <a:gd name="connsiteX244" fmla="*/ 5817145 w 12191996"/>
              <a:gd name="connsiteY244" fmla="*/ 6505346 h 6857997"/>
              <a:gd name="connsiteX245" fmla="*/ 5811914 w 12191996"/>
              <a:gd name="connsiteY245" fmla="*/ 6483937 h 6857997"/>
              <a:gd name="connsiteX246" fmla="*/ 5817079 w 12191996"/>
              <a:gd name="connsiteY246" fmla="*/ 6462633 h 6857997"/>
              <a:gd name="connsiteX247" fmla="*/ 5829564 w 12191996"/>
              <a:gd name="connsiteY247" fmla="*/ 6455578 h 6857997"/>
              <a:gd name="connsiteX248" fmla="*/ 2774990 w 12191996"/>
              <a:gd name="connsiteY248" fmla="*/ 6455578 h 6857997"/>
              <a:gd name="connsiteX249" fmla="*/ 2787135 w 12191996"/>
              <a:gd name="connsiteY249" fmla="*/ 6462729 h 6857997"/>
              <a:gd name="connsiteX250" fmla="*/ 2791951 w 12191996"/>
              <a:gd name="connsiteY250" fmla="*/ 6485437 h 6857997"/>
              <a:gd name="connsiteX251" fmla="*/ 2787135 w 12191996"/>
              <a:gd name="connsiteY251" fmla="*/ 6505668 h 6857997"/>
              <a:gd name="connsiteX252" fmla="*/ 2775759 w 12191996"/>
              <a:gd name="connsiteY252" fmla="*/ 6512366 h 6857997"/>
              <a:gd name="connsiteX253" fmla="*/ 2764133 w 12191996"/>
              <a:gd name="connsiteY253" fmla="*/ 6505389 h 6857997"/>
              <a:gd name="connsiteX254" fmla="*/ 2759145 w 12191996"/>
              <a:gd name="connsiteY254" fmla="*/ 6484042 h 6857997"/>
              <a:gd name="connsiteX255" fmla="*/ 2763822 w 12191996"/>
              <a:gd name="connsiteY255" fmla="*/ 6462450 h 6857997"/>
              <a:gd name="connsiteX256" fmla="*/ 2774990 w 12191996"/>
              <a:gd name="connsiteY256" fmla="*/ 6455578 h 6857997"/>
              <a:gd name="connsiteX257" fmla="*/ 2510511 w 12191996"/>
              <a:gd name="connsiteY257" fmla="*/ 6455578 h 6857997"/>
              <a:gd name="connsiteX258" fmla="*/ 2523140 w 12191996"/>
              <a:gd name="connsiteY258" fmla="*/ 6462485 h 6857997"/>
              <a:gd name="connsiteX259" fmla="*/ 2527255 w 12191996"/>
              <a:gd name="connsiteY259" fmla="*/ 6476856 h 6857997"/>
              <a:gd name="connsiteX260" fmla="*/ 2493349 w 12191996"/>
              <a:gd name="connsiteY260" fmla="*/ 6476856 h 6857997"/>
              <a:gd name="connsiteX261" fmla="*/ 2498723 w 12191996"/>
              <a:gd name="connsiteY261" fmla="*/ 6461334 h 6857997"/>
              <a:gd name="connsiteX262" fmla="*/ 2510511 w 12191996"/>
              <a:gd name="connsiteY262" fmla="*/ 6455578 h 6857997"/>
              <a:gd name="connsiteX263" fmla="*/ 1871776 w 12191996"/>
              <a:gd name="connsiteY263" fmla="*/ 6455578 h 6857997"/>
              <a:gd name="connsiteX264" fmla="*/ 1884752 w 12191996"/>
              <a:gd name="connsiteY264" fmla="*/ 6462598 h 6857997"/>
              <a:gd name="connsiteX265" fmla="*/ 1889984 w 12191996"/>
              <a:gd name="connsiteY265" fmla="*/ 6483937 h 6857997"/>
              <a:gd name="connsiteX266" fmla="*/ 1884787 w 12191996"/>
              <a:gd name="connsiteY266" fmla="*/ 6505276 h 6857997"/>
              <a:gd name="connsiteX267" fmla="*/ 1872334 w 12191996"/>
              <a:gd name="connsiteY267" fmla="*/ 6512366 h 6857997"/>
              <a:gd name="connsiteX268" fmla="*/ 1859358 w 12191996"/>
              <a:gd name="connsiteY268" fmla="*/ 6505346 h 6857997"/>
              <a:gd name="connsiteX269" fmla="*/ 1854126 w 12191996"/>
              <a:gd name="connsiteY269" fmla="*/ 6483937 h 6857997"/>
              <a:gd name="connsiteX270" fmla="*/ 1859288 w 12191996"/>
              <a:gd name="connsiteY270" fmla="*/ 6462633 h 6857997"/>
              <a:gd name="connsiteX271" fmla="*/ 1871776 w 12191996"/>
              <a:gd name="connsiteY271" fmla="*/ 6455578 h 6857997"/>
              <a:gd name="connsiteX272" fmla="*/ 1586584 w 12191996"/>
              <a:gd name="connsiteY272" fmla="*/ 6455578 h 6857997"/>
              <a:gd name="connsiteX273" fmla="*/ 1599211 w 12191996"/>
              <a:gd name="connsiteY273" fmla="*/ 6462485 h 6857997"/>
              <a:gd name="connsiteX274" fmla="*/ 1603327 w 12191996"/>
              <a:gd name="connsiteY274" fmla="*/ 6476856 h 6857997"/>
              <a:gd name="connsiteX275" fmla="*/ 1569422 w 12191996"/>
              <a:gd name="connsiteY275" fmla="*/ 6476856 h 6857997"/>
              <a:gd name="connsiteX276" fmla="*/ 1574794 w 12191996"/>
              <a:gd name="connsiteY276" fmla="*/ 6461334 h 6857997"/>
              <a:gd name="connsiteX277" fmla="*/ 1586584 w 12191996"/>
              <a:gd name="connsiteY277" fmla="*/ 6455578 h 6857997"/>
              <a:gd name="connsiteX278" fmla="*/ 1317685 w 12191996"/>
              <a:gd name="connsiteY278" fmla="*/ 6455578 h 6857997"/>
              <a:gd name="connsiteX279" fmla="*/ 1329920 w 12191996"/>
              <a:gd name="connsiteY279" fmla="*/ 6462398 h 6857997"/>
              <a:gd name="connsiteX280" fmla="*/ 1334953 w 12191996"/>
              <a:gd name="connsiteY280" fmla="*/ 6483205 h 6857997"/>
              <a:gd name="connsiteX281" fmla="*/ 1330059 w 12191996"/>
              <a:gd name="connsiteY281" fmla="*/ 6504117 h 6857997"/>
              <a:gd name="connsiteX282" fmla="*/ 1318175 w 12191996"/>
              <a:gd name="connsiteY282" fmla="*/ 6510691 h 6857997"/>
              <a:gd name="connsiteX283" fmla="*/ 1306360 w 12191996"/>
              <a:gd name="connsiteY283" fmla="*/ 6503977 h 6857997"/>
              <a:gd name="connsiteX284" fmla="*/ 1301536 w 12191996"/>
              <a:gd name="connsiteY284" fmla="*/ 6482645 h 6857997"/>
              <a:gd name="connsiteX285" fmla="*/ 1306395 w 12191996"/>
              <a:gd name="connsiteY285" fmla="*/ 6462398 h 6857997"/>
              <a:gd name="connsiteX286" fmla="*/ 1317685 w 12191996"/>
              <a:gd name="connsiteY286" fmla="*/ 6455578 h 6857997"/>
              <a:gd name="connsiteX287" fmla="*/ 1071676 w 12191996"/>
              <a:gd name="connsiteY287" fmla="*/ 6455578 h 6857997"/>
              <a:gd name="connsiteX288" fmla="*/ 1084652 w 12191996"/>
              <a:gd name="connsiteY288" fmla="*/ 6462598 h 6857997"/>
              <a:gd name="connsiteX289" fmla="*/ 1089884 w 12191996"/>
              <a:gd name="connsiteY289" fmla="*/ 6483937 h 6857997"/>
              <a:gd name="connsiteX290" fmla="*/ 1084687 w 12191996"/>
              <a:gd name="connsiteY290" fmla="*/ 6505276 h 6857997"/>
              <a:gd name="connsiteX291" fmla="*/ 1072234 w 12191996"/>
              <a:gd name="connsiteY291" fmla="*/ 6512366 h 6857997"/>
              <a:gd name="connsiteX292" fmla="*/ 1059258 w 12191996"/>
              <a:gd name="connsiteY292" fmla="*/ 6505346 h 6857997"/>
              <a:gd name="connsiteX293" fmla="*/ 1054026 w 12191996"/>
              <a:gd name="connsiteY293" fmla="*/ 6483937 h 6857997"/>
              <a:gd name="connsiteX294" fmla="*/ 1059188 w 12191996"/>
              <a:gd name="connsiteY294" fmla="*/ 6462633 h 6857997"/>
              <a:gd name="connsiteX295" fmla="*/ 1071676 w 12191996"/>
              <a:gd name="connsiteY295" fmla="*/ 6455578 h 6857997"/>
              <a:gd name="connsiteX296" fmla="*/ 1139788 w 12191996"/>
              <a:gd name="connsiteY296" fmla="*/ 6455090 h 6857997"/>
              <a:gd name="connsiteX297" fmla="*/ 1151478 w 12191996"/>
              <a:gd name="connsiteY297" fmla="*/ 6462066 h 6857997"/>
              <a:gd name="connsiteX298" fmla="*/ 1156280 w 12191996"/>
              <a:gd name="connsiteY298" fmla="*/ 6483553 h 6857997"/>
              <a:gd name="connsiteX299" fmla="*/ 1151339 w 12191996"/>
              <a:gd name="connsiteY299" fmla="*/ 6505320 h 6857997"/>
              <a:gd name="connsiteX300" fmla="*/ 1139857 w 12191996"/>
              <a:gd name="connsiteY300" fmla="*/ 6512366 h 6857997"/>
              <a:gd name="connsiteX301" fmla="*/ 1128235 w 12191996"/>
              <a:gd name="connsiteY301" fmla="*/ 6505564 h 6857997"/>
              <a:gd name="connsiteX302" fmla="*/ 1123434 w 12191996"/>
              <a:gd name="connsiteY302" fmla="*/ 6484391 h 6857997"/>
              <a:gd name="connsiteX303" fmla="*/ 1128514 w 12191996"/>
              <a:gd name="connsiteY303" fmla="*/ 6462590 h 6857997"/>
              <a:gd name="connsiteX304" fmla="*/ 1139788 w 12191996"/>
              <a:gd name="connsiteY304" fmla="*/ 6455090 h 6857997"/>
              <a:gd name="connsiteX305" fmla="*/ 6224384 w 12191996"/>
              <a:gd name="connsiteY305" fmla="*/ 6446928 h 6857997"/>
              <a:gd name="connsiteX306" fmla="*/ 6224384 w 12191996"/>
              <a:gd name="connsiteY306" fmla="*/ 6521016 h 6857997"/>
              <a:gd name="connsiteX307" fmla="*/ 6234640 w 12191996"/>
              <a:gd name="connsiteY307" fmla="*/ 6521016 h 6857997"/>
              <a:gd name="connsiteX308" fmla="*/ 6234640 w 12191996"/>
              <a:gd name="connsiteY308" fmla="*/ 6446928 h 6857997"/>
              <a:gd name="connsiteX309" fmla="*/ 5967211 w 12191996"/>
              <a:gd name="connsiteY309" fmla="*/ 6446928 h 6857997"/>
              <a:gd name="connsiteX310" fmla="*/ 5967211 w 12191996"/>
              <a:gd name="connsiteY310" fmla="*/ 6521016 h 6857997"/>
              <a:gd name="connsiteX311" fmla="*/ 5977467 w 12191996"/>
              <a:gd name="connsiteY311" fmla="*/ 6521016 h 6857997"/>
              <a:gd name="connsiteX312" fmla="*/ 5977467 w 12191996"/>
              <a:gd name="connsiteY312" fmla="*/ 6446928 h 6857997"/>
              <a:gd name="connsiteX313" fmla="*/ 2380902 w 12191996"/>
              <a:gd name="connsiteY313" fmla="*/ 6446928 h 6857997"/>
              <a:gd name="connsiteX314" fmla="*/ 2380902 w 12191996"/>
              <a:gd name="connsiteY314" fmla="*/ 6521016 h 6857997"/>
              <a:gd name="connsiteX315" fmla="*/ 2391160 w 12191996"/>
              <a:gd name="connsiteY315" fmla="*/ 6521016 h 6857997"/>
              <a:gd name="connsiteX316" fmla="*/ 2391160 w 12191996"/>
              <a:gd name="connsiteY316" fmla="*/ 6446928 h 6857997"/>
              <a:gd name="connsiteX317" fmla="*/ 2287711 w 12191996"/>
              <a:gd name="connsiteY317" fmla="*/ 6446928 h 6857997"/>
              <a:gd name="connsiteX318" fmla="*/ 2306375 w 12191996"/>
              <a:gd name="connsiteY318" fmla="*/ 6521016 h 6857997"/>
              <a:gd name="connsiteX319" fmla="*/ 2317119 w 12191996"/>
              <a:gd name="connsiteY319" fmla="*/ 6521016 h 6857997"/>
              <a:gd name="connsiteX320" fmla="*/ 2329394 w 12191996"/>
              <a:gd name="connsiteY320" fmla="*/ 6464020 h 6857997"/>
              <a:gd name="connsiteX321" fmla="*/ 2331698 w 12191996"/>
              <a:gd name="connsiteY321" fmla="*/ 6476647 h 6857997"/>
              <a:gd name="connsiteX322" fmla="*/ 2341394 w 12191996"/>
              <a:gd name="connsiteY322" fmla="*/ 6521016 h 6857997"/>
              <a:gd name="connsiteX323" fmla="*/ 2352113 w 12191996"/>
              <a:gd name="connsiteY323" fmla="*/ 6521016 h 6857997"/>
              <a:gd name="connsiteX324" fmla="*/ 2371081 w 12191996"/>
              <a:gd name="connsiteY324" fmla="*/ 6446928 h 6857997"/>
              <a:gd name="connsiteX325" fmla="*/ 2361033 w 12191996"/>
              <a:gd name="connsiteY325" fmla="*/ 6446928 h 6857997"/>
              <a:gd name="connsiteX326" fmla="*/ 2350666 w 12191996"/>
              <a:gd name="connsiteY326" fmla="*/ 6489762 h 6857997"/>
              <a:gd name="connsiteX327" fmla="*/ 2347183 w 12191996"/>
              <a:gd name="connsiteY327" fmla="*/ 6504064 h 6857997"/>
              <a:gd name="connsiteX328" fmla="*/ 2344125 w 12191996"/>
              <a:gd name="connsiteY328" fmla="*/ 6489902 h 6857997"/>
              <a:gd name="connsiteX329" fmla="*/ 2335086 w 12191996"/>
              <a:gd name="connsiteY329" fmla="*/ 6446928 h 6857997"/>
              <a:gd name="connsiteX330" fmla="*/ 2324456 w 12191996"/>
              <a:gd name="connsiteY330" fmla="*/ 6446928 h 6857997"/>
              <a:gd name="connsiteX331" fmla="*/ 2314822 w 12191996"/>
              <a:gd name="connsiteY331" fmla="*/ 6490320 h 6857997"/>
              <a:gd name="connsiteX332" fmla="*/ 2311609 w 12191996"/>
              <a:gd name="connsiteY332" fmla="*/ 6505599 h 6857997"/>
              <a:gd name="connsiteX333" fmla="*/ 2308033 w 12191996"/>
              <a:gd name="connsiteY333" fmla="*/ 6489693 h 6857997"/>
              <a:gd name="connsiteX334" fmla="*/ 2298356 w 12191996"/>
              <a:gd name="connsiteY334" fmla="*/ 6446928 h 6857997"/>
              <a:gd name="connsiteX335" fmla="*/ 1818925 w 12191996"/>
              <a:gd name="connsiteY335" fmla="*/ 6446928 h 6857997"/>
              <a:gd name="connsiteX336" fmla="*/ 1818925 w 12191996"/>
              <a:gd name="connsiteY336" fmla="*/ 6521016 h 6857997"/>
              <a:gd name="connsiteX337" fmla="*/ 1829180 w 12191996"/>
              <a:gd name="connsiteY337" fmla="*/ 6521016 h 6857997"/>
              <a:gd name="connsiteX338" fmla="*/ 1829180 w 12191996"/>
              <a:gd name="connsiteY338" fmla="*/ 6446928 h 6857997"/>
              <a:gd name="connsiteX339" fmla="*/ 1752248 w 12191996"/>
              <a:gd name="connsiteY339" fmla="*/ 6446928 h 6857997"/>
              <a:gd name="connsiteX340" fmla="*/ 1752248 w 12191996"/>
              <a:gd name="connsiteY340" fmla="*/ 6521016 h 6857997"/>
              <a:gd name="connsiteX341" fmla="*/ 1762504 w 12191996"/>
              <a:gd name="connsiteY341" fmla="*/ 6521016 h 6857997"/>
              <a:gd name="connsiteX342" fmla="*/ 1762504 w 12191996"/>
              <a:gd name="connsiteY342" fmla="*/ 6446928 h 6857997"/>
              <a:gd name="connsiteX343" fmla="*/ 1266473 w 12191996"/>
              <a:gd name="connsiteY343" fmla="*/ 6446928 h 6857997"/>
              <a:gd name="connsiteX344" fmla="*/ 1266473 w 12191996"/>
              <a:gd name="connsiteY344" fmla="*/ 6521016 h 6857997"/>
              <a:gd name="connsiteX345" fmla="*/ 1276729 w 12191996"/>
              <a:gd name="connsiteY345" fmla="*/ 6521016 h 6857997"/>
              <a:gd name="connsiteX346" fmla="*/ 1276729 w 12191996"/>
              <a:gd name="connsiteY346" fmla="*/ 6446928 h 6857997"/>
              <a:gd name="connsiteX347" fmla="*/ 6278772 w 12191996"/>
              <a:gd name="connsiteY347" fmla="*/ 6445253 h 6857997"/>
              <a:gd name="connsiteX348" fmla="*/ 6259901 w 12191996"/>
              <a:gd name="connsiteY348" fmla="*/ 6450695 h 6857997"/>
              <a:gd name="connsiteX349" fmla="*/ 6251146 w 12191996"/>
              <a:gd name="connsiteY349" fmla="*/ 6468066 h 6857997"/>
              <a:gd name="connsiteX350" fmla="*/ 6261261 w 12191996"/>
              <a:gd name="connsiteY350" fmla="*/ 6469740 h 6857997"/>
              <a:gd name="connsiteX351" fmla="*/ 6266493 w 12191996"/>
              <a:gd name="connsiteY351" fmla="*/ 6458558 h 6857997"/>
              <a:gd name="connsiteX352" fmla="*/ 6277237 w 12191996"/>
              <a:gd name="connsiteY352" fmla="*/ 6455578 h 6857997"/>
              <a:gd name="connsiteX353" fmla="*/ 6289027 w 12191996"/>
              <a:gd name="connsiteY353" fmla="*/ 6460043 h 6857997"/>
              <a:gd name="connsiteX354" fmla="*/ 6291748 w 12191996"/>
              <a:gd name="connsiteY354" fmla="*/ 6470717 h 6857997"/>
              <a:gd name="connsiteX355" fmla="*/ 6291678 w 12191996"/>
              <a:gd name="connsiteY355" fmla="*/ 6473926 h 6857997"/>
              <a:gd name="connsiteX356" fmla="*/ 6273260 w 12191996"/>
              <a:gd name="connsiteY356" fmla="*/ 6478321 h 6857997"/>
              <a:gd name="connsiteX357" fmla="*/ 6259308 w 12191996"/>
              <a:gd name="connsiteY357" fmla="*/ 6482437 h 6857997"/>
              <a:gd name="connsiteX358" fmla="*/ 6252052 w 12191996"/>
              <a:gd name="connsiteY358" fmla="*/ 6490181 h 6857997"/>
              <a:gd name="connsiteX359" fmla="*/ 6249401 w 12191996"/>
              <a:gd name="connsiteY359" fmla="*/ 6501552 h 6857997"/>
              <a:gd name="connsiteX360" fmla="*/ 6255052 w 12191996"/>
              <a:gd name="connsiteY360" fmla="*/ 6516970 h 6857997"/>
              <a:gd name="connsiteX361" fmla="*/ 6270191 w 12191996"/>
              <a:gd name="connsiteY361" fmla="*/ 6522691 h 6857997"/>
              <a:gd name="connsiteX362" fmla="*/ 6281772 w 12191996"/>
              <a:gd name="connsiteY362" fmla="*/ 6519969 h 6857997"/>
              <a:gd name="connsiteX363" fmla="*/ 6292515 w 12191996"/>
              <a:gd name="connsiteY363" fmla="*/ 6511876 h 6857997"/>
              <a:gd name="connsiteX364" fmla="*/ 6294608 w 12191996"/>
              <a:gd name="connsiteY364" fmla="*/ 6521016 h 6857997"/>
              <a:gd name="connsiteX365" fmla="*/ 6305352 w 12191996"/>
              <a:gd name="connsiteY365" fmla="*/ 6521016 h 6857997"/>
              <a:gd name="connsiteX366" fmla="*/ 6302735 w 12191996"/>
              <a:gd name="connsiteY366" fmla="*/ 6512121 h 6857997"/>
              <a:gd name="connsiteX367" fmla="*/ 6302073 w 12191996"/>
              <a:gd name="connsiteY367" fmla="*/ 6489972 h 6857997"/>
              <a:gd name="connsiteX368" fmla="*/ 6302073 w 12191996"/>
              <a:gd name="connsiteY368" fmla="*/ 6473228 h 6857997"/>
              <a:gd name="connsiteX369" fmla="*/ 6300643 w 12191996"/>
              <a:gd name="connsiteY369" fmla="*/ 6457741 h 6857997"/>
              <a:gd name="connsiteX370" fmla="*/ 6293771 w 12191996"/>
              <a:gd name="connsiteY370" fmla="*/ 6448846 h 6857997"/>
              <a:gd name="connsiteX371" fmla="*/ 6278772 w 12191996"/>
              <a:gd name="connsiteY371" fmla="*/ 6445253 h 6857997"/>
              <a:gd name="connsiteX372" fmla="*/ 6157704 w 12191996"/>
              <a:gd name="connsiteY372" fmla="*/ 6445253 h 6857997"/>
              <a:gd name="connsiteX373" fmla="*/ 6146596 w 12191996"/>
              <a:gd name="connsiteY373" fmla="*/ 6448271 h 6857997"/>
              <a:gd name="connsiteX374" fmla="*/ 6138413 w 12191996"/>
              <a:gd name="connsiteY374" fmla="*/ 6457393 h 6857997"/>
              <a:gd name="connsiteX375" fmla="*/ 6138413 w 12191996"/>
              <a:gd name="connsiteY375" fmla="*/ 6446928 h 6857997"/>
              <a:gd name="connsiteX376" fmla="*/ 6129134 w 12191996"/>
              <a:gd name="connsiteY376" fmla="*/ 6446928 h 6857997"/>
              <a:gd name="connsiteX377" fmla="*/ 6129134 w 12191996"/>
              <a:gd name="connsiteY377" fmla="*/ 6521016 h 6857997"/>
              <a:gd name="connsiteX378" fmla="*/ 6139390 w 12191996"/>
              <a:gd name="connsiteY378" fmla="*/ 6521016 h 6857997"/>
              <a:gd name="connsiteX379" fmla="*/ 6139390 w 12191996"/>
              <a:gd name="connsiteY379" fmla="*/ 6480510 h 6857997"/>
              <a:gd name="connsiteX380" fmla="*/ 6143785 w 12191996"/>
              <a:gd name="connsiteY380" fmla="*/ 6461584 h 6857997"/>
              <a:gd name="connsiteX381" fmla="*/ 6155575 w 12191996"/>
              <a:gd name="connsiteY381" fmla="*/ 6456067 h 6857997"/>
              <a:gd name="connsiteX382" fmla="*/ 6162446 w 12191996"/>
              <a:gd name="connsiteY382" fmla="*/ 6458127 h 6857997"/>
              <a:gd name="connsiteX383" fmla="*/ 6166807 w 12191996"/>
              <a:gd name="connsiteY383" fmla="*/ 6463958 h 6857997"/>
              <a:gd name="connsiteX384" fmla="*/ 6168202 w 12191996"/>
              <a:gd name="connsiteY384" fmla="*/ 6475901 h 6857997"/>
              <a:gd name="connsiteX385" fmla="*/ 6168202 w 12191996"/>
              <a:gd name="connsiteY385" fmla="*/ 6521016 h 6857997"/>
              <a:gd name="connsiteX386" fmla="*/ 6178457 w 12191996"/>
              <a:gd name="connsiteY386" fmla="*/ 6521016 h 6857997"/>
              <a:gd name="connsiteX387" fmla="*/ 6178457 w 12191996"/>
              <a:gd name="connsiteY387" fmla="*/ 6475461 h 6857997"/>
              <a:gd name="connsiteX388" fmla="*/ 6177203 w 12191996"/>
              <a:gd name="connsiteY388" fmla="*/ 6460253 h 6857997"/>
              <a:gd name="connsiteX389" fmla="*/ 6173408 w 12191996"/>
              <a:gd name="connsiteY389" fmla="*/ 6452195 h 6857997"/>
              <a:gd name="connsiteX390" fmla="*/ 6166722 w 12191996"/>
              <a:gd name="connsiteY390" fmla="*/ 6447172 h 6857997"/>
              <a:gd name="connsiteX391" fmla="*/ 6157704 w 12191996"/>
              <a:gd name="connsiteY391" fmla="*/ 6445253 h 6857997"/>
              <a:gd name="connsiteX392" fmla="*/ 6087367 w 12191996"/>
              <a:gd name="connsiteY392" fmla="*/ 6445253 h 6857997"/>
              <a:gd name="connsiteX393" fmla="*/ 6066962 w 12191996"/>
              <a:gd name="connsiteY393" fmla="*/ 6455334 h 6857997"/>
              <a:gd name="connsiteX394" fmla="*/ 6058901 w 12191996"/>
              <a:gd name="connsiteY394" fmla="*/ 6484600 h 6857997"/>
              <a:gd name="connsiteX395" fmla="*/ 6066893 w 12191996"/>
              <a:gd name="connsiteY395" fmla="*/ 6512889 h 6857997"/>
              <a:gd name="connsiteX396" fmla="*/ 6087783 w 12191996"/>
              <a:gd name="connsiteY396" fmla="*/ 6522691 h 6857997"/>
              <a:gd name="connsiteX397" fmla="*/ 6104980 w 12191996"/>
              <a:gd name="connsiteY397" fmla="*/ 6516656 h 6857997"/>
              <a:gd name="connsiteX398" fmla="*/ 6114573 w 12191996"/>
              <a:gd name="connsiteY398" fmla="*/ 6498762 h 6857997"/>
              <a:gd name="connsiteX399" fmla="*/ 6103969 w 12191996"/>
              <a:gd name="connsiteY399" fmla="*/ 6497157 h 6857997"/>
              <a:gd name="connsiteX400" fmla="*/ 6087853 w 12191996"/>
              <a:gd name="connsiteY400" fmla="*/ 6512366 h 6857997"/>
              <a:gd name="connsiteX401" fmla="*/ 6075296 w 12191996"/>
              <a:gd name="connsiteY401" fmla="*/ 6506017 h 6857997"/>
              <a:gd name="connsiteX402" fmla="*/ 6069506 w 12191996"/>
              <a:gd name="connsiteY402" fmla="*/ 6487181 h 6857997"/>
              <a:gd name="connsiteX403" fmla="*/ 6114852 w 12191996"/>
              <a:gd name="connsiteY403" fmla="*/ 6487181 h 6857997"/>
              <a:gd name="connsiteX404" fmla="*/ 6114921 w 12191996"/>
              <a:gd name="connsiteY404" fmla="*/ 6483832 h 6857997"/>
              <a:gd name="connsiteX405" fmla="*/ 6107038 w 12191996"/>
              <a:gd name="connsiteY405" fmla="*/ 6455160 h 6857997"/>
              <a:gd name="connsiteX406" fmla="*/ 6087367 w 12191996"/>
              <a:gd name="connsiteY406" fmla="*/ 6445253 h 6857997"/>
              <a:gd name="connsiteX407" fmla="*/ 5900531 w 12191996"/>
              <a:gd name="connsiteY407" fmla="*/ 6445253 h 6857997"/>
              <a:gd name="connsiteX408" fmla="*/ 5889422 w 12191996"/>
              <a:gd name="connsiteY408" fmla="*/ 6448271 h 6857997"/>
              <a:gd name="connsiteX409" fmla="*/ 5881238 w 12191996"/>
              <a:gd name="connsiteY409" fmla="*/ 6457393 h 6857997"/>
              <a:gd name="connsiteX410" fmla="*/ 5881238 w 12191996"/>
              <a:gd name="connsiteY410" fmla="*/ 6446928 h 6857997"/>
              <a:gd name="connsiteX411" fmla="*/ 5871961 w 12191996"/>
              <a:gd name="connsiteY411" fmla="*/ 6446928 h 6857997"/>
              <a:gd name="connsiteX412" fmla="*/ 5871961 w 12191996"/>
              <a:gd name="connsiteY412" fmla="*/ 6521016 h 6857997"/>
              <a:gd name="connsiteX413" fmla="*/ 5882218 w 12191996"/>
              <a:gd name="connsiteY413" fmla="*/ 6521016 h 6857997"/>
              <a:gd name="connsiteX414" fmla="*/ 5882218 w 12191996"/>
              <a:gd name="connsiteY414" fmla="*/ 6480510 h 6857997"/>
              <a:gd name="connsiteX415" fmla="*/ 5886612 w 12191996"/>
              <a:gd name="connsiteY415" fmla="*/ 6461584 h 6857997"/>
              <a:gd name="connsiteX416" fmla="*/ 5898402 w 12191996"/>
              <a:gd name="connsiteY416" fmla="*/ 6456067 h 6857997"/>
              <a:gd name="connsiteX417" fmla="*/ 5905276 w 12191996"/>
              <a:gd name="connsiteY417" fmla="*/ 6458127 h 6857997"/>
              <a:gd name="connsiteX418" fmla="*/ 5909633 w 12191996"/>
              <a:gd name="connsiteY418" fmla="*/ 6463958 h 6857997"/>
              <a:gd name="connsiteX419" fmla="*/ 5911030 w 12191996"/>
              <a:gd name="connsiteY419" fmla="*/ 6475901 h 6857997"/>
              <a:gd name="connsiteX420" fmla="*/ 5911030 w 12191996"/>
              <a:gd name="connsiteY420" fmla="*/ 6521016 h 6857997"/>
              <a:gd name="connsiteX421" fmla="*/ 5921285 w 12191996"/>
              <a:gd name="connsiteY421" fmla="*/ 6521016 h 6857997"/>
              <a:gd name="connsiteX422" fmla="*/ 5921285 w 12191996"/>
              <a:gd name="connsiteY422" fmla="*/ 6475461 h 6857997"/>
              <a:gd name="connsiteX423" fmla="*/ 5920030 w 12191996"/>
              <a:gd name="connsiteY423" fmla="*/ 6460253 h 6857997"/>
              <a:gd name="connsiteX424" fmla="*/ 5916235 w 12191996"/>
              <a:gd name="connsiteY424" fmla="*/ 6452195 h 6857997"/>
              <a:gd name="connsiteX425" fmla="*/ 5909549 w 12191996"/>
              <a:gd name="connsiteY425" fmla="*/ 6447172 h 6857997"/>
              <a:gd name="connsiteX426" fmla="*/ 5900531 w 12191996"/>
              <a:gd name="connsiteY426" fmla="*/ 6445253 h 6857997"/>
              <a:gd name="connsiteX427" fmla="*/ 5829842 w 12191996"/>
              <a:gd name="connsiteY427" fmla="*/ 6445253 h 6857997"/>
              <a:gd name="connsiteX428" fmla="*/ 5809436 w 12191996"/>
              <a:gd name="connsiteY428" fmla="*/ 6455020 h 6857997"/>
              <a:gd name="connsiteX429" fmla="*/ 5801380 w 12191996"/>
              <a:gd name="connsiteY429" fmla="*/ 6483972 h 6857997"/>
              <a:gd name="connsiteX430" fmla="*/ 5809506 w 12191996"/>
              <a:gd name="connsiteY430" fmla="*/ 6512889 h 6857997"/>
              <a:gd name="connsiteX431" fmla="*/ 5829842 w 12191996"/>
              <a:gd name="connsiteY431" fmla="*/ 6522691 h 6857997"/>
              <a:gd name="connsiteX432" fmla="*/ 5850285 w 12191996"/>
              <a:gd name="connsiteY432" fmla="*/ 6512924 h 6857997"/>
              <a:gd name="connsiteX433" fmla="*/ 5858305 w 12191996"/>
              <a:gd name="connsiteY433" fmla="*/ 6483205 h 6857997"/>
              <a:gd name="connsiteX434" fmla="*/ 5850143 w 12191996"/>
              <a:gd name="connsiteY434" fmla="*/ 6455020 h 6857997"/>
              <a:gd name="connsiteX435" fmla="*/ 5829842 w 12191996"/>
              <a:gd name="connsiteY435" fmla="*/ 6445253 h 6857997"/>
              <a:gd name="connsiteX436" fmla="*/ 2714271 w 12191996"/>
              <a:gd name="connsiteY436" fmla="*/ 6445253 h 6857997"/>
              <a:gd name="connsiteX437" fmla="*/ 2703162 w 12191996"/>
              <a:gd name="connsiteY437" fmla="*/ 6448271 h 6857997"/>
              <a:gd name="connsiteX438" fmla="*/ 2694979 w 12191996"/>
              <a:gd name="connsiteY438" fmla="*/ 6457393 h 6857997"/>
              <a:gd name="connsiteX439" fmla="*/ 2694979 w 12191996"/>
              <a:gd name="connsiteY439" fmla="*/ 6446928 h 6857997"/>
              <a:gd name="connsiteX440" fmla="*/ 2685702 w 12191996"/>
              <a:gd name="connsiteY440" fmla="*/ 6446928 h 6857997"/>
              <a:gd name="connsiteX441" fmla="*/ 2685702 w 12191996"/>
              <a:gd name="connsiteY441" fmla="*/ 6521016 h 6857997"/>
              <a:gd name="connsiteX442" fmla="*/ 2695956 w 12191996"/>
              <a:gd name="connsiteY442" fmla="*/ 6521016 h 6857997"/>
              <a:gd name="connsiteX443" fmla="*/ 2695956 w 12191996"/>
              <a:gd name="connsiteY443" fmla="*/ 6480510 h 6857997"/>
              <a:gd name="connsiteX444" fmla="*/ 2700353 w 12191996"/>
              <a:gd name="connsiteY444" fmla="*/ 6461584 h 6857997"/>
              <a:gd name="connsiteX445" fmla="*/ 2712140 w 12191996"/>
              <a:gd name="connsiteY445" fmla="*/ 6456067 h 6857997"/>
              <a:gd name="connsiteX446" fmla="*/ 2719012 w 12191996"/>
              <a:gd name="connsiteY446" fmla="*/ 6458127 h 6857997"/>
              <a:gd name="connsiteX447" fmla="*/ 2723374 w 12191996"/>
              <a:gd name="connsiteY447" fmla="*/ 6463958 h 6857997"/>
              <a:gd name="connsiteX448" fmla="*/ 2724768 w 12191996"/>
              <a:gd name="connsiteY448" fmla="*/ 6475901 h 6857997"/>
              <a:gd name="connsiteX449" fmla="*/ 2724768 w 12191996"/>
              <a:gd name="connsiteY449" fmla="*/ 6521016 h 6857997"/>
              <a:gd name="connsiteX450" fmla="*/ 2735023 w 12191996"/>
              <a:gd name="connsiteY450" fmla="*/ 6521016 h 6857997"/>
              <a:gd name="connsiteX451" fmla="*/ 2735023 w 12191996"/>
              <a:gd name="connsiteY451" fmla="*/ 6475461 h 6857997"/>
              <a:gd name="connsiteX452" fmla="*/ 2733768 w 12191996"/>
              <a:gd name="connsiteY452" fmla="*/ 6460253 h 6857997"/>
              <a:gd name="connsiteX453" fmla="*/ 2729976 w 12191996"/>
              <a:gd name="connsiteY453" fmla="*/ 6452195 h 6857997"/>
              <a:gd name="connsiteX454" fmla="*/ 2723290 w 12191996"/>
              <a:gd name="connsiteY454" fmla="*/ 6447172 h 6857997"/>
              <a:gd name="connsiteX455" fmla="*/ 2714271 w 12191996"/>
              <a:gd name="connsiteY455" fmla="*/ 6445253 h 6857997"/>
              <a:gd name="connsiteX456" fmla="*/ 2644839 w 12191996"/>
              <a:gd name="connsiteY456" fmla="*/ 6445253 h 6857997"/>
              <a:gd name="connsiteX457" fmla="*/ 2625967 w 12191996"/>
              <a:gd name="connsiteY457" fmla="*/ 6450695 h 6857997"/>
              <a:gd name="connsiteX458" fmla="*/ 2617211 w 12191996"/>
              <a:gd name="connsiteY458" fmla="*/ 6468066 h 6857997"/>
              <a:gd name="connsiteX459" fmla="*/ 2627327 w 12191996"/>
              <a:gd name="connsiteY459" fmla="*/ 6469740 h 6857997"/>
              <a:gd name="connsiteX460" fmla="*/ 2632562 w 12191996"/>
              <a:gd name="connsiteY460" fmla="*/ 6458558 h 6857997"/>
              <a:gd name="connsiteX461" fmla="*/ 2643303 w 12191996"/>
              <a:gd name="connsiteY461" fmla="*/ 6455578 h 6857997"/>
              <a:gd name="connsiteX462" fmla="*/ 2655093 w 12191996"/>
              <a:gd name="connsiteY462" fmla="*/ 6460043 h 6857997"/>
              <a:gd name="connsiteX463" fmla="*/ 2657815 w 12191996"/>
              <a:gd name="connsiteY463" fmla="*/ 6470717 h 6857997"/>
              <a:gd name="connsiteX464" fmla="*/ 2657744 w 12191996"/>
              <a:gd name="connsiteY464" fmla="*/ 6473926 h 6857997"/>
              <a:gd name="connsiteX465" fmla="*/ 2639327 w 12191996"/>
              <a:gd name="connsiteY465" fmla="*/ 6478321 h 6857997"/>
              <a:gd name="connsiteX466" fmla="*/ 2625374 w 12191996"/>
              <a:gd name="connsiteY466" fmla="*/ 6482437 h 6857997"/>
              <a:gd name="connsiteX467" fmla="*/ 2618117 w 12191996"/>
              <a:gd name="connsiteY467" fmla="*/ 6490181 h 6857997"/>
              <a:gd name="connsiteX468" fmla="*/ 2615466 w 12191996"/>
              <a:gd name="connsiteY468" fmla="*/ 6501552 h 6857997"/>
              <a:gd name="connsiteX469" fmla="*/ 2621117 w 12191996"/>
              <a:gd name="connsiteY469" fmla="*/ 6516970 h 6857997"/>
              <a:gd name="connsiteX470" fmla="*/ 2636258 w 12191996"/>
              <a:gd name="connsiteY470" fmla="*/ 6522691 h 6857997"/>
              <a:gd name="connsiteX471" fmla="*/ 2647837 w 12191996"/>
              <a:gd name="connsiteY471" fmla="*/ 6519969 h 6857997"/>
              <a:gd name="connsiteX472" fmla="*/ 2658582 w 12191996"/>
              <a:gd name="connsiteY472" fmla="*/ 6511876 h 6857997"/>
              <a:gd name="connsiteX473" fmla="*/ 2660674 w 12191996"/>
              <a:gd name="connsiteY473" fmla="*/ 6521016 h 6857997"/>
              <a:gd name="connsiteX474" fmla="*/ 2671419 w 12191996"/>
              <a:gd name="connsiteY474" fmla="*/ 6521016 h 6857997"/>
              <a:gd name="connsiteX475" fmla="*/ 2668802 w 12191996"/>
              <a:gd name="connsiteY475" fmla="*/ 6512121 h 6857997"/>
              <a:gd name="connsiteX476" fmla="*/ 2668139 w 12191996"/>
              <a:gd name="connsiteY476" fmla="*/ 6489972 h 6857997"/>
              <a:gd name="connsiteX477" fmla="*/ 2668139 w 12191996"/>
              <a:gd name="connsiteY477" fmla="*/ 6473228 h 6857997"/>
              <a:gd name="connsiteX478" fmla="*/ 2666708 w 12191996"/>
              <a:gd name="connsiteY478" fmla="*/ 6457741 h 6857997"/>
              <a:gd name="connsiteX479" fmla="*/ 2659837 w 12191996"/>
              <a:gd name="connsiteY479" fmla="*/ 6448846 h 6857997"/>
              <a:gd name="connsiteX480" fmla="*/ 2644839 w 12191996"/>
              <a:gd name="connsiteY480" fmla="*/ 6445253 h 6857997"/>
              <a:gd name="connsiteX481" fmla="*/ 2574815 w 12191996"/>
              <a:gd name="connsiteY481" fmla="*/ 6445253 h 6857997"/>
              <a:gd name="connsiteX482" fmla="*/ 2568151 w 12191996"/>
              <a:gd name="connsiteY482" fmla="*/ 6447800 h 6857997"/>
              <a:gd name="connsiteX483" fmla="*/ 2561629 w 12191996"/>
              <a:gd name="connsiteY483" fmla="*/ 6458160 h 6857997"/>
              <a:gd name="connsiteX484" fmla="*/ 2561629 w 12191996"/>
              <a:gd name="connsiteY484" fmla="*/ 6446928 h 6857997"/>
              <a:gd name="connsiteX485" fmla="*/ 2552350 w 12191996"/>
              <a:gd name="connsiteY485" fmla="*/ 6446928 h 6857997"/>
              <a:gd name="connsiteX486" fmla="*/ 2552350 w 12191996"/>
              <a:gd name="connsiteY486" fmla="*/ 6521016 h 6857997"/>
              <a:gd name="connsiteX487" fmla="*/ 2562605 w 12191996"/>
              <a:gd name="connsiteY487" fmla="*/ 6521016 h 6857997"/>
              <a:gd name="connsiteX488" fmla="*/ 2562605 w 12191996"/>
              <a:gd name="connsiteY488" fmla="*/ 6482228 h 6857997"/>
              <a:gd name="connsiteX489" fmla="*/ 2564558 w 12191996"/>
              <a:gd name="connsiteY489" fmla="*/ 6466950 h 6857997"/>
              <a:gd name="connsiteX490" fmla="*/ 2568395 w 12191996"/>
              <a:gd name="connsiteY490" fmla="*/ 6460532 h 6857997"/>
              <a:gd name="connsiteX491" fmla="*/ 2574395 w 12191996"/>
              <a:gd name="connsiteY491" fmla="*/ 6458229 h 6857997"/>
              <a:gd name="connsiteX492" fmla="*/ 2581860 w 12191996"/>
              <a:gd name="connsiteY492" fmla="*/ 6460950 h 6857997"/>
              <a:gd name="connsiteX493" fmla="*/ 2585348 w 12191996"/>
              <a:gd name="connsiteY493" fmla="*/ 6449300 h 6857997"/>
              <a:gd name="connsiteX494" fmla="*/ 2574815 w 12191996"/>
              <a:gd name="connsiteY494" fmla="*/ 6445253 h 6857997"/>
              <a:gd name="connsiteX495" fmla="*/ 2510583 w 12191996"/>
              <a:gd name="connsiteY495" fmla="*/ 6445253 h 6857997"/>
              <a:gd name="connsiteX496" fmla="*/ 2490178 w 12191996"/>
              <a:gd name="connsiteY496" fmla="*/ 6455334 h 6857997"/>
              <a:gd name="connsiteX497" fmla="*/ 2482119 w 12191996"/>
              <a:gd name="connsiteY497" fmla="*/ 6484600 h 6857997"/>
              <a:gd name="connsiteX498" fmla="*/ 2490104 w 12191996"/>
              <a:gd name="connsiteY498" fmla="*/ 6512889 h 6857997"/>
              <a:gd name="connsiteX499" fmla="*/ 2511000 w 12191996"/>
              <a:gd name="connsiteY499" fmla="*/ 6522691 h 6857997"/>
              <a:gd name="connsiteX500" fmla="*/ 2528195 w 12191996"/>
              <a:gd name="connsiteY500" fmla="*/ 6516656 h 6857997"/>
              <a:gd name="connsiteX501" fmla="*/ 2537790 w 12191996"/>
              <a:gd name="connsiteY501" fmla="*/ 6498762 h 6857997"/>
              <a:gd name="connsiteX502" fmla="*/ 2527186 w 12191996"/>
              <a:gd name="connsiteY502" fmla="*/ 6497157 h 6857997"/>
              <a:gd name="connsiteX503" fmla="*/ 2511068 w 12191996"/>
              <a:gd name="connsiteY503" fmla="*/ 6512366 h 6857997"/>
              <a:gd name="connsiteX504" fmla="*/ 2498511 w 12191996"/>
              <a:gd name="connsiteY504" fmla="*/ 6506017 h 6857997"/>
              <a:gd name="connsiteX505" fmla="*/ 2492723 w 12191996"/>
              <a:gd name="connsiteY505" fmla="*/ 6487181 h 6857997"/>
              <a:gd name="connsiteX506" fmla="*/ 2538068 w 12191996"/>
              <a:gd name="connsiteY506" fmla="*/ 6487181 h 6857997"/>
              <a:gd name="connsiteX507" fmla="*/ 2538139 w 12191996"/>
              <a:gd name="connsiteY507" fmla="*/ 6483832 h 6857997"/>
              <a:gd name="connsiteX508" fmla="*/ 2530255 w 12191996"/>
              <a:gd name="connsiteY508" fmla="*/ 6455160 h 6857997"/>
              <a:gd name="connsiteX509" fmla="*/ 2510583 w 12191996"/>
              <a:gd name="connsiteY509" fmla="*/ 6445253 h 6857997"/>
              <a:gd name="connsiteX510" fmla="*/ 1942743 w 12191996"/>
              <a:gd name="connsiteY510" fmla="*/ 6445253 h 6857997"/>
              <a:gd name="connsiteX511" fmla="*/ 1931635 w 12191996"/>
              <a:gd name="connsiteY511" fmla="*/ 6448271 h 6857997"/>
              <a:gd name="connsiteX512" fmla="*/ 1923452 w 12191996"/>
              <a:gd name="connsiteY512" fmla="*/ 6457393 h 6857997"/>
              <a:gd name="connsiteX513" fmla="*/ 1923452 w 12191996"/>
              <a:gd name="connsiteY513" fmla="*/ 6446928 h 6857997"/>
              <a:gd name="connsiteX514" fmla="*/ 1914173 w 12191996"/>
              <a:gd name="connsiteY514" fmla="*/ 6446928 h 6857997"/>
              <a:gd name="connsiteX515" fmla="*/ 1914173 w 12191996"/>
              <a:gd name="connsiteY515" fmla="*/ 6521016 h 6857997"/>
              <a:gd name="connsiteX516" fmla="*/ 1924429 w 12191996"/>
              <a:gd name="connsiteY516" fmla="*/ 6521016 h 6857997"/>
              <a:gd name="connsiteX517" fmla="*/ 1924429 w 12191996"/>
              <a:gd name="connsiteY517" fmla="*/ 6480510 h 6857997"/>
              <a:gd name="connsiteX518" fmla="*/ 1928824 w 12191996"/>
              <a:gd name="connsiteY518" fmla="*/ 6461584 h 6857997"/>
              <a:gd name="connsiteX519" fmla="*/ 1940614 w 12191996"/>
              <a:gd name="connsiteY519" fmla="*/ 6456067 h 6857997"/>
              <a:gd name="connsiteX520" fmla="*/ 1947485 w 12191996"/>
              <a:gd name="connsiteY520" fmla="*/ 6458127 h 6857997"/>
              <a:gd name="connsiteX521" fmla="*/ 1951846 w 12191996"/>
              <a:gd name="connsiteY521" fmla="*/ 6463958 h 6857997"/>
              <a:gd name="connsiteX522" fmla="*/ 1953242 w 12191996"/>
              <a:gd name="connsiteY522" fmla="*/ 6475901 h 6857997"/>
              <a:gd name="connsiteX523" fmla="*/ 1953242 w 12191996"/>
              <a:gd name="connsiteY523" fmla="*/ 6521016 h 6857997"/>
              <a:gd name="connsiteX524" fmla="*/ 1963497 w 12191996"/>
              <a:gd name="connsiteY524" fmla="*/ 6521016 h 6857997"/>
              <a:gd name="connsiteX525" fmla="*/ 1963497 w 12191996"/>
              <a:gd name="connsiteY525" fmla="*/ 6475461 h 6857997"/>
              <a:gd name="connsiteX526" fmla="*/ 1962243 w 12191996"/>
              <a:gd name="connsiteY526" fmla="*/ 6460253 h 6857997"/>
              <a:gd name="connsiteX527" fmla="*/ 1958447 w 12191996"/>
              <a:gd name="connsiteY527" fmla="*/ 6452195 h 6857997"/>
              <a:gd name="connsiteX528" fmla="*/ 1951761 w 12191996"/>
              <a:gd name="connsiteY528" fmla="*/ 6447172 h 6857997"/>
              <a:gd name="connsiteX529" fmla="*/ 1942743 w 12191996"/>
              <a:gd name="connsiteY529" fmla="*/ 6445253 h 6857997"/>
              <a:gd name="connsiteX530" fmla="*/ 1872055 w 12191996"/>
              <a:gd name="connsiteY530" fmla="*/ 6445253 h 6857997"/>
              <a:gd name="connsiteX531" fmla="*/ 1851649 w 12191996"/>
              <a:gd name="connsiteY531" fmla="*/ 6455020 h 6857997"/>
              <a:gd name="connsiteX532" fmla="*/ 1843593 w 12191996"/>
              <a:gd name="connsiteY532" fmla="*/ 6483972 h 6857997"/>
              <a:gd name="connsiteX533" fmla="*/ 1851719 w 12191996"/>
              <a:gd name="connsiteY533" fmla="*/ 6512889 h 6857997"/>
              <a:gd name="connsiteX534" fmla="*/ 1872055 w 12191996"/>
              <a:gd name="connsiteY534" fmla="*/ 6522691 h 6857997"/>
              <a:gd name="connsiteX535" fmla="*/ 1892496 w 12191996"/>
              <a:gd name="connsiteY535" fmla="*/ 6512924 h 6857997"/>
              <a:gd name="connsiteX536" fmla="*/ 1900519 w 12191996"/>
              <a:gd name="connsiteY536" fmla="*/ 6483205 h 6857997"/>
              <a:gd name="connsiteX537" fmla="*/ 1892356 w 12191996"/>
              <a:gd name="connsiteY537" fmla="*/ 6455020 h 6857997"/>
              <a:gd name="connsiteX538" fmla="*/ 1872055 w 12191996"/>
              <a:gd name="connsiteY538" fmla="*/ 6445253 h 6857997"/>
              <a:gd name="connsiteX539" fmla="*/ 1803287 w 12191996"/>
              <a:gd name="connsiteY539" fmla="*/ 6445253 h 6857997"/>
              <a:gd name="connsiteX540" fmla="*/ 1796625 w 12191996"/>
              <a:gd name="connsiteY540" fmla="*/ 6447800 h 6857997"/>
              <a:gd name="connsiteX541" fmla="*/ 1790103 w 12191996"/>
              <a:gd name="connsiteY541" fmla="*/ 6458160 h 6857997"/>
              <a:gd name="connsiteX542" fmla="*/ 1790103 w 12191996"/>
              <a:gd name="connsiteY542" fmla="*/ 6446928 h 6857997"/>
              <a:gd name="connsiteX543" fmla="*/ 1780823 w 12191996"/>
              <a:gd name="connsiteY543" fmla="*/ 6446928 h 6857997"/>
              <a:gd name="connsiteX544" fmla="*/ 1780823 w 12191996"/>
              <a:gd name="connsiteY544" fmla="*/ 6521016 h 6857997"/>
              <a:gd name="connsiteX545" fmla="*/ 1791079 w 12191996"/>
              <a:gd name="connsiteY545" fmla="*/ 6521016 h 6857997"/>
              <a:gd name="connsiteX546" fmla="*/ 1791079 w 12191996"/>
              <a:gd name="connsiteY546" fmla="*/ 6482228 h 6857997"/>
              <a:gd name="connsiteX547" fmla="*/ 1793032 w 12191996"/>
              <a:gd name="connsiteY547" fmla="*/ 6466950 h 6857997"/>
              <a:gd name="connsiteX548" fmla="*/ 1796869 w 12191996"/>
              <a:gd name="connsiteY548" fmla="*/ 6460532 h 6857997"/>
              <a:gd name="connsiteX549" fmla="*/ 1802869 w 12191996"/>
              <a:gd name="connsiteY549" fmla="*/ 6458229 h 6857997"/>
              <a:gd name="connsiteX550" fmla="*/ 1810333 w 12191996"/>
              <a:gd name="connsiteY550" fmla="*/ 6460950 h 6857997"/>
              <a:gd name="connsiteX551" fmla="*/ 1813822 w 12191996"/>
              <a:gd name="connsiteY551" fmla="*/ 6449300 h 6857997"/>
              <a:gd name="connsiteX552" fmla="*/ 1803287 w 12191996"/>
              <a:gd name="connsiteY552" fmla="*/ 6445253 h 6857997"/>
              <a:gd name="connsiteX553" fmla="*/ 1715748 w 12191996"/>
              <a:gd name="connsiteY553" fmla="*/ 6445253 h 6857997"/>
              <a:gd name="connsiteX554" fmla="*/ 1698935 w 12191996"/>
              <a:gd name="connsiteY554" fmla="*/ 6451183 h 6857997"/>
              <a:gd name="connsiteX555" fmla="*/ 1692866 w 12191996"/>
              <a:gd name="connsiteY555" fmla="*/ 6466601 h 6857997"/>
              <a:gd name="connsiteX556" fmla="*/ 1695099 w 12191996"/>
              <a:gd name="connsiteY556" fmla="*/ 6476438 h 6857997"/>
              <a:gd name="connsiteX557" fmla="*/ 1701377 w 12191996"/>
              <a:gd name="connsiteY557" fmla="*/ 6483344 h 6857997"/>
              <a:gd name="connsiteX558" fmla="*/ 1717423 w 12191996"/>
              <a:gd name="connsiteY558" fmla="*/ 6489623 h 6857997"/>
              <a:gd name="connsiteX559" fmla="*/ 1727887 w 12191996"/>
              <a:gd name="connsiteY559" fmla="*/ 6493809 h 6857997"/>
              <a:gd name="connsiteX560" fmla="*/ 1731026 w 12191996"/>
              <a:gd name="connsiteY560" fmla="*/ 6500645 h 6857997"/>
              <a:gd name="connsiteX561" fmla="*/ 1727373 w 12191996"/>
              <a:gd name="connsiteY561" fmla="*/ 6509052 h 6857997"/>
              <a:gd name="connsiteX562" fmla="*/ 1717037 w 12191996"/>
              <a:gd name="connsiteY562" fmla="*/ 6512366 h 6857997"/>
              <a:gd name="connsiteX563" fmla="*/ 1706319 w 12191996"/>
              <a:gd name="connsiteY563" fmla="*/ 6508546 h 6857997"/>
              <a:gd name="connsiteX564" fmla="*/ 1701377 w 12191996"/>
              <a:gd name="connsiteY564" fmla="*/ 6496878 h 6857997"/>
              <a:gd name="connsiteX565" fmla="*/ 1691122 w 12191996"/>
              <a:gd name="connsiteY565" fmla="*/ 6498832 h 6857997"/>
              <a:gd name="connsiteX566" fmla="*/ 1716446 w 12191996"/>
              <a:gd name="connsiteY566" fmla="*/ 6522691 h 6857997"/>
              <a:gd name="connsiteX567" fmla="*/ 1734829 w 12191996"/>
              <a:gd name="connsiteY567" fmla="*/ 6516121 h 6857997"/>
              <a:gd name="connsiteX568" fmla="*/ 1741562 w 12191996"/>
              <a:gd name="connsiteY568" fmla="*/ 6498930 h 6857997"/>
              <a:gd name="connsiteX569" fmla="*/ 1739475 w 12191996"/>
              <a:gd name="connsiteY569" fmla="*/ 6489041 h 6857997"/>
              <a:gd name="connsiteX570" fmla="*/ 1733637 w 12191996"/>
              <a:gd name="connsiteY570" fmla="*/ 6482472 h 6857997"/>
              <a:gd name="connsiteX571" fmla="*/ 1717100 w 12191996"/>
              <a:gd name="connsiteY571" fmla="*/ 6476005 h 6857997"/>
              <a:gd name="connsiteX572" fmla="*/ 1705917 w 12191996"/>
              <a:gd name="connsiteY572" fmla="*/ 6471559 h 6857997"/>
              <a:gd name="connsiteX573" fmla="*/ 1702772 w 12191996"/>
              <a:gd name="connsiteY573" fmla="*/ 6465097 h 6857997"/>
              <a:gd name="connsiteX574" fmla="*/ 1706052 w 12191996"/>
              <a:gd name="connsiteY574" fmla="*/ 6458253 h 6857997"/>
              <a:gd name="connsiteX575" fmla="*/ 1716027 w 12191996"/>
              <a:gd name="connsiteY575" fmla="*/ 6455578 h 6857997"/>
              <a:gd name="connsiteX576" fmla="*/ 1729213 w 12191996"/>
              <a:gd name="connsiteY576" fmla="*/ 6467717 h 6857997"/>
              <a:gd name="connsiteX577" fmla="*/ 1739260 w 12191996"/>
              <a:gd name="connsiteY577" fmla="*/ 6466043 h 6857997"/>
              <a:gd name="connsiteX578" fmla="*/ 1735491 w 12191996"/>
              <a:gd name="connsiteY578" fmla="*/ 6454253 h 6857997"/>
              <a:gd name="connsiteX579" fmla="*/ 1727643 w 12191996"/>
              <a:gd name="connsiteY579" fmla="*/ 6447695 h 6857997"/>
              <a:gd name="connsiteX580" fmla="*/ 1715748 w 12191996"/>
              <a:gd name="connsiteY580" fmla="*/ 6445253 h 6857997"/>
              <a:gd name="connsiteX581" fmla="*/ 1656992 w 12191996"/>
              <a:gd name="connsiteY581" fmla="*/ 6445253 h 6857997"/>
              <a:gd name="connsiteX582" fmla="*/ 1645885 w 12191996"/>
              <a:gd name="connsiteY582" fmla="*/ 6448271 h 6857997"/>
              <a:gd name="connsiteX583" fmla="*/ 1637702 w 12191996"/>
              <a:gd name="connsiteY583" fmla="*/ 6457393 h 6857997"/>
              <a:gd name="connsiteX584" fmla="*/ 1637702 w 12191996"/>
              <a:gd name="connsiteY584" fmla="*/ 6446928 h 6857997"/>
              <a:gd name="connsiteX585" fmla="*/ 1628424 w 12191996"/>
              <a:gd name="connsiteY585" fmla="*/ 6446928 h 6857997"/>
              <a:gd name="connsiteX586" fmla="*/ 1628424 w 12191996"/>
              <a:gd name="connsiteY586" fmla="*/ 6521016 h 6857997"/>
              <a:gd name="connsiteX587" fmla="*/ 1638679 w 12191996"/>
              <a:gd name="connsiteY587" fmla="*/ 6521016 h 6857997"/>
              <a:gd name="connsiteX588" fmla="*/ 1638679 w 12191996"/>
              <a:gd name="connsiteY588" fmla="*/ 6480510 h 6857997"/>
              <a:gd name="connsiteX589" fmla="*/ 1643074 w 12191996"/>
              <a:gd name="connsiteY589" fmla="*/ 6461584 h 6857997"/>
              <a:gd name="connsiteX590" fmla="*/ 1654864 w 12191996"/>
              <a:gd name="connsiteY590" fmla="*/ 6456067 h 6857997"/>
              <a:gd name="connsiteX591" fmla="*/ 1661735 w 12191996"/>
              <a:gd name="connsiteY591" fmla="*/ 6458127 h 6857997"/>
              <a:gd name="connsiteX592" fmla="*/ 1666095 w 12191996"/>
              <a:gd name="connsiteY592" fmla="*/ 6463958 h 6857997"/>
              <a:gd name="connsiteX593" fmla="*/ 1667491 w 12191996"/>
              <a:gd name="connsiteY593" fmla="*/ 6475901 h 6857997"/>
              <a:gd name="connsiteX594" fmla="*/ 1667491 w 12191996"/>
              <a:gd name="connsiteY594" fmla="*/ 6521016 h 6857997"/>
              <a:gd name="connsiteX595" fmla="*/ 1677746 w 12191996"/>
              <a:gd name="connsiteY595" fmla="*/ 6521016 h 6857997"/>
              <a:gd name="connsiteX596" fmla="*/ 1677746 w 12191996"/>
              <a:gd name="connsiteY596" fmla="*/ 6475461 h 6857997"/>
              <a:gd name="connsiteX597" fmla="*/ 1676493 w 12191996"/>
              <a:gd name="connsiteY597" fmla="*/ 6460253 h 6857997"/>
              <a:gd name="connsiteX598" fmla="*/ 1672697 w 12191996"/>
              <a:gd name="connsiteY598" fmla="*/ 6452195 h 6857997"/>
              <a:gd name="connsiteX599" fmla="*/ 1666011 w 12191996"/>
              <a:gd name="connsiteY599" fmla="*/ 6447172 h 6857997"/>
              <a:gd name="connsiteX600" fmla="*/ 1656992 w 12191996"/>
              <a:gd name="connsiteY600" fmla="*/ 6445253 h 6857997"/>
              <a:gd name="connsiteX601" fmla="*/ 1586654 w 12191996"/>
              <a:gd name="connsiteY601" fmla="*/ 6445253 h 6857997"/>
              <a:gd name="connsiteX602" fmla="*/ 1566248 w 12191996"/>
              <a:gd name="connsiteY602" fmla="*/ 6455334 h 6857997"/>
              <a:gd name="connsiteX603" fmla="*/ 1558191 w 12191996"/>
              <a:gd name="connsiteY603" fmla="*/ 6484600 h 6857997"/>
              <a:gd name="connsiteX604" fmla="*/ 1566178 w 12191996"/>
              <a:gd name="connsiteY604" fmla="*/ 6512889 h 6857997"/>
              <a:gd name="connsiteX605" fmla="*/ 1587073 w 12191996"/>
              <a:gd name="connsiteY605" fmla="*/ 6522691 h 6857997"/>
              <a:gd name="connsiteX606" fmla="*/ 1604269 w 12191996"/>
              <a:gd name="connsiteY606" fmla="*/ 6516656 h 6857997"/>
              <a:gd name="connsiteX607" fmla="*/ 1613862 w 12191996"/>
              <a:gd name="connsiteY607" fmla="*/ 6498762 h 6857997"/>
              <a:gd name="connsiteX608" fmla="*/ 1603258 w 12191996"/>
              <a:gd name="connsiteY608" fmla="*/ 6497157 h 6857997"/>
              <a:gd name="connsiteX609" fmla="*/ 1587142 w 12191996"/>
              <a:gd name="connsiteY609" fmla="*/ 6512366 h 6857997"/>
              <a:gd name="connsiteX610" fmla="*/ 1574585 w 12191996"/>
              <a:gd name="connsiteY610" fmla="*/ 6506017 h 6857997"/>
              <a:gd name="connsiteX611" fmla="*/ 1568795 w 12191996"/>
              <a:gd name="connsiteY611" fmla="*/ 6487181 h 6857997"/>
              <a:gd name="connsiteX612" fmla="*/ 1614140 w 12191996"/>
              <a:gd name="connsiteY612" fmla="*/ 6487181 h 6857997"/>
              <a:gd name="connsiteX613" fmla="*/ 1614210 w 12191996"/>
              <a:gd name="connsiteY613" fmla="*/ 6483832 h 6857997"/>
              <a:gd name="connsiteX614" fmla="*/ 1606327 w 12191996"/>
              <a:gd name="connsiteY614" fmla="*/ 6455160 h 6857997"/>
              <a:gd name="connsiteX615" fmla="*/ 1586654 w 12191996"/>
              <a:gd name="connsiteY615" fmla="*/ 6445253 h 6857997"/>
              <a:gd name="connsiteX616" fmla="*/ 1317373 w 12191996"/>
              <a:gd name="connsiteY616" fmla="*/ 6445253 h 6857997"/>
              <a:gd name="connsiteX617" fmla="*/ 1304152 w 12191996"/>
              <a:gd name="connsiteY617" fmla="*/ 6449439 h 6857997"/>
              <a:gd name="connsiteX618" fmla="*/ 1294630 w 12191996"/>
              <a:gd name="connsiteY618" fmla="*/ 6462555 h 6857997"/>
              <a:gd name="connsiteX619" fmla="*/ 1291002 w 12191996"/>
              <a:gd name="connsiteY619" fmla="*/ 6483414 h 6857997"/>
              <a:gd name="connsiteX620" fmla="*/ 1299234 w 12191996"/>
              <a:gd name="connsiteY620" fmla="*/ 6511808 h 6857997"/>
              <a:gd name="connsiteX621" fmla="*/ 1317303 w 12191996"/>
              <a:gd name="connsiteY621" fmla="*/ 6521016 h 6857997"/>
              <a:gd name="connsiteX622" fmla="*/ 1326581 w 12191996"/>
              <a:gd name="connsiteY622" fmla="*/ 6518591 h 6857997"/>
              <a:gd name="connsiteX623" fmla="*/ 1334116 w 12191996"/>
              <a:gd name="connsiteY623" fmla="*/ 6511385 h 6857997"/>
              <a:gd name="connsiteX624" fmla="*/ 1333209 w 12191996"/>
              <a:gd name="connsiteY624" fmla="*/ 6527851 h 6857997"/>
              <a:gd name="connsiteX625" fmla="*/ 1327732 w 12191996"/>
              <a:gd name="connsiteY625" fmla="*/ 6537515 h 6857997"/>
              <a:gd name="connsiteX626" fmla="*/ 1316954 w 12191996"/>
              <a:gd name="connsiteY626" fmla="*/ 6540759 h 6857997"/>
              <a:gd name="connsiteX627" fmla="*/ 1307257 w 12191996"/>
              <a:gd name="connsiteY627" fmla="*/ 6537847 h 6857997"/>
              <a:gd name="connsiteX628" fmla="*/ 1303071 w 12191996"/>
              <a:gd name="connsiteY628" fmla="*/ 6528969 h 6857997"/>
              <a:gd name="connsiteX629" fmla="*/ 1293025 w 12191996"/>
              <a:gd name="connsiteY629" fmla="*/ 6527155 h 6857997"/>
              <a:gd name="connsiteX630" fmla="*/ 1299164 w 12191996"/>
              <a:gd name="connsiteY630" fmla="*/ 6544736 h 6857997"/>
              <a:gd name="connsiteX631" fmla="*/ 1317303 w 12191996"/>
              <a:gd name="connsiteY631" fmla="*/ 6551084 h 6857997"/>
              <a:gd name="connsiteX632" fmla="*/ 1332581 w 12191996"/>
              <a:gd name="connsiteY632" fmla="*/ 6546864 h 6857997"/>
              <a:gd name="connsiteX633" fmla="*/ 1341720 w 12191996"/>
              <a:gd name="connsiteY633" fmla="*/ 6535353 h 6857997"/>
              <a:gd name="connsiteX634" fmla="*/ 1344510 w 12191996"/>
              <a:gd name="connsiteY634" fmla="*/ 6510970 h 6857997"/>
              <a:gd name="connsiteX635" fmla="*/ 1344510 w 12191996"/>
              <a:gd name="connsiteY635" fmla="*/ 6446928 h 6857997"/>
              <a:gd name="connsiteX636" fmla="*/ 1335023 w 12191996"/>
              <a:gd name="connsiteY636" fmla="*/ 6446928 h 6857997"/>
              <a:gd name="connsiteX637" fmla="*/ 1335023 w 12191996"/>
              <a:gd name="connsiteY637" fmla="*/ 6455788 h 6857997"/>
              <a:gd name="connsiteX638" fmla="*/ 1327174 w 12191996"/>
              <a:gd name="connsiteY638" fmla="*/ 6447887 h 6857997"/>
              <a:gd name="connsiteX639" fmla="*/ 1317373 w 12191996"/>
              <a:gd name="connsiteY639" fmla="*/ 6445253 h 6857997"/>
              <a:gd name="connsiteX640" fmla="*/ 1250837 w 12191996"/>
              <a:gd name="connsiteY640" fmla="*/ 6445253 h 6857997"/>
              <a:gd name="connsiteX641" fmla="*/ 1244175 w 12191996"/>
              <a:gd name="connsiteY641" fmla="*/ 6447800 h 6857997"/>
              <a:gd name="connsiteX642" fmla="*/ 1237652 w 12191996"/>
              <a:gd name="connsiteY642" fmla="*/ 6458160 h 6857997"/>
              <a:gd name="connsiteX643" fmla="*/ 1237652 w 12191996"/>
              <a:gd name="connsiteY643" fmla="*/ 6446928 h 6857997"/>
              <a:gd name="connsiteX644" fmla="*/ 1230699 w 12191996"/>
              <a:gd name="connsiteY644" fmla="*/ 6446928 h 6857997"/>
              <a:gd name="connsiteX645" fmla="*/ 1228373 w 12191996"/>
              <a:gd name="connsiteY645" fmla="*/ 6446928 h 6857997"/>
              <a:gd name="connsiteX646" fmla="*/ 1220375 w 12191996"/>
              <a:gd name="connsiteY646" fmla="*/ 6446928 h 6857997"/>
              <a:gd name="connsiteX647" fmla="*/ 1207398 w 12191996"/>
              <a:gd name="connsiteY647" fmla="*/ 6490087 h 6857997"/>
              <a:gd name="connsiteX648" fmla="*/ 1203212 w 12191996"/>
              <a:gd name="connsiteY648" fmla="*/ 6506961 h 6857997"/>
              <a:gd name="connsiteX649" fmla="*/ 1198817 w 12191996"/>
              <a:gd name="connsiteY649" fmla="*/ 6489809 h 6857997"/>
              <a:gd name="connsiteX650" fmla="*/ 1186120 w 12191996"/>
              <a:gd name="connsiteY650" fmla="*/ 6446928 h 6857997"/>
              <a:gd name="connsiteX651" fmla="*/ 1175028 w 12191996"/>
              <a:gd name="connsiteY651" fmla="*/ 6446928 h 6857997"/>
              <a:gd name="connsiteX652" fmla="*/ 1198138 w 12191996"/>
              <a:gd name="connsiteY652" fmla="*/ 6521126 h 6857997"/>
              <a:gd name="connsiteX653" fmla="*/ 1194086 w 12191996"/>
              <a:gd name="connsiteY653" fmla="*/ 6533432 h 6857997"/>
              <a:gd name="connsiteX654" fmla="*/ 1190560 w 12191996"/>
              <a:gd name="connsiteY654" fmla="*/ 6537550 h 6857997"/>
              <a:gd name="connsiteX655" fmla="*/ 1185149 w 12191996"/>
              <a:gd name="connsiteY655" fmla="*/ 6538876 h 6857997"/>
              <a:gd name="connsiteX656" fmla="*/ 1179283 w 12191996"/>
              <a:gd name="connsiteY656" fmla="*/ 6537759 h 6857997"/>
              <a:gd name="connsiteX657" fmla="*/ 1180400 w 12191996"/>
              <a:gd name="connsiteY657" fmla="*/ 6549549 h 6857997"/>
              <a:gd name="connsiteX658" fmla="*/ 1187038 w 12191996"/>
              <a:gd name="connsiteY658" fmla="*/ 6551084 h 6857997"/>
              <a:gd name="connsiteX659" fmla="*/ 1194549 w 12191996"/>
              <a:gd name="connsiteY659" fmla="*/ 6548922 h 6857997"/>
              <a:gd name="connsiteX660" fmla="*/ 1200489 w 12191996"/>
              <a:gd name="connsiteY660" fmla="*/ 6541841 h 6857997"/>
              <a:gd name="connsiteX661" fmla="*/ 1207651 w 12191996"/>
              <a:gd name="connsiteY661" fmla="*/ 6522272 h 6857997"/>
              <a:gd name="connsiteX662" fmla="*/ 1228373 w 12191996"/>
              <a:gd name="connsiteY662" fmla="*/ 6454530 h 6857997"/>
              <a:gd name="connsiteX663" fmla="*/ 1228373 w 12191996"/>
              <a:gd name="connsiteY663" fmla="*/ 6521016 h 6857997"/>
              <a:gd name="connsiteX664" fmla="*/ 1238629 w 12191996"/>
              <a:gd name="connsiteY664" fmla="*/ 6521016 h 6857997"/>
              <a:gd name="connsiteX665" fmla="*/ 1238629 w 12191996"/>
              <a:gd name="connsiteY665" fmla="*/ 6482228 h 6857997"/>
              <a:gd name="connsiteX666" fmla="*/ 1240582 w 12191996"/>
              <a:gd name="connsiteY666" fmla="*/ 6466950 h 6857997"/>
              <a:gd name="connsiteX667" fmla="*/ 1244419 w 12191996"/>
              <a:gd name="connsiteY667" fmla="*/ 6460532 h 6857997"/>
              <a:gd name="connsiteX668" fmla="*/ 1250419 w 12191996"/>
              <a:gd name="connsiteY668" fmla="*/ 6458229 h 6857997"/>
              <a:gd name="connsiteX669" fmla="*/ 1257883 w 12191996"/>
              <a:gd name="connsiteY669" fmla="*/ 6460950 h 6857997"/>
              <a:gd name="connsiteX670" fmla="*/ 1261371 w 12191996"/>
              <a:gd name="connsiteY670" fmla="*/ 6449300 h 6857997"/>
              <a:gd name="connsiteX671" fmla="*/ 1250837 w 12191996"/>
              <a:gd name="connsiteY671" fmla="*/ 6445253 h 6857997"/>
              <a:gd name="connsiteX672" fmla="*/ 1141043 w 12191996"/>
              <a:gd name="connsiteY672" fmla="*/ 6445253 h 6857997"/>
              <a:gd name="connsiteX673" fmla="*/ 1131292 w 12191996"/>
              <a:gd name="connsiteY673" fmla="*/ 6447904 h 6857997"/>
              <a:gd name="connsiteX674" fmla="*/ 1123561 w 12191996"/>
              <a:gd name="connsiteY674" fmla="*/ 6456555 h 6857997"/>
              <a:gd name="connsiteX675" fmla="*/ 1123561 w 12191996"/>
              <a:gd name="connsiteY675" fmla="*/ 6446928 h 6857997"/>
              <a:gd name="connsiteX676" fmla="*/ 1114073 w 12191996"/>
              <a:gd name="connsiteY676" fmla="*/ 6446928 h 6857997"/>
              <a:gd name="connsiteX677" fmla="*/ 1114073 w 12191996"/>
              <a:gd name="connsiteY677" fmla="*/ 6549410 h 6857997"/>
              <a:gd name="connsiteX678" fmla="*/ 1124329 w 12191996"/>
              <a:gd name="connsiteY678" fmla="*/ 6549410 h 6857997"/>
              <a:gd name="connsiteX679" fmla="*/ 1124329 w 12191996"/>
              <a:gd name="connsiteY679" fmla="*/ 6513342 h 6857997"/>
              <a:gd name="connsiteX680" fmla="*/ 1131444 w 12191996"/>
              <a:gd name="connsiteY680" fmla="*/ 6520249 h 6857997"/>
              <a:gd name="connsiteX681" fmla="*/ 1140304 w 12191996"/>
              <a:gd name="connsiteY681" fmla="*/ 6522691 h 6857997"/>
              <a:gd name="connsiteX682" fmla="*/ 1158896 w 12191996"/>
              <a:gd name="connsiteY682" fmla="*/ 6512470 h 6857997"/>
              <a:gd name="connsiteX683" fmla="*/ 1166814 w 12191996"/>
              <a:gd name="connsiteY683" fmla="*/ 6483344 h 6857997"/>
              <a:gd name="connsiteX684" fmla="*/ 1163297 w 12191996"/>
              <a:gd name="connsiteY684" fmla="*/ 6462450 h 6857997"/>
              <a:gd name="connsiteX685" fmla="*/ 1153999 w 12191996"/>
              <a:gd name="connsiteY685" fmla="*/ 6449509 h 6857997"/>
              <a:gd name="connsiteX686" fmla="*/ 1141043 w 12191996"/>
              <a:gd name="connsiteY686" fmla="*/ 6445253 h 6857997"/>
              <a:gd name="connsiteX687" fmla="*/ 1071955 w 12191996"/>
              <a:gd name="connsiteY687" fmla="*/ 6445253 h 6857997"/>
              <a:gd name="connsiteX688" fmla="*/ 1051549 w 12191996"/>
              <a:gd name="connsiteY688" fmla="*/ 6455020 h 6857997"/>
              <a:gd name="connsiteX689" fmla="*/ 1043492 w 12191996"/>
              <a:gd name="connsiteY689" fmla="*/ 6483972 h 6857997"/>
              <a:gd name="connsiteX690" fmla="*/ 1051619 w 12191996"/>
              <a:gd name="connsiteY690" fmla="*/ 6512889 h 6857997"/>
              <a:gd name="connsiteX691" fmla="*/ 1071955 w 12191996"/>
              <a:gd name="connsiteY691" fmla="*/ 6522691 h 6857997"/>
              <a:gd name="connsiteX692" fmla="*/ 1092396 w 12191996"/>
              <a:gd name="connsiteY692" fmla="*/ 6512924 h 6857997"/>
              <a:gd name="connsiteX693" fmla="*/ 1100419 w 12191996"/>
              <a:gd name="connsiteY693" fmla="*/ 6483205 h 6857997"/>
              <a:gd name="connsiteX694" fmla="*/ 1092256 w 12191996"/>
              <a:gd name="connsiteY694" fmla="*/ 6455020 h 6857997"/>
              <a:gd name="connsiteX695" fmla="*/ 1071955 w 12191996"/>
              <a:gd name="connsiteY695" fmla="*/ 6445253 h 6857997"/>
              <a:gd name="connsiteX696" fmla="*/ 883898 w 12191996"/>
              <a:gd name="connsiteY696" fmla="*/ 6440021 h 6857997"/>
              <a:gd name="connsiteX697" fmla="*/ 867092 w 12191996"/>
              <a:gd name="connsiteY697" fmla="*/ 6447643 h 6857997"/>
              <a:gd name="connsiteX698" fmla="*/ 860698 w 12191996"/>
              <a:gd name="connsiteY698" fmla="*/ 6469810 h 6857997"/>
              <a:gd name="connsiteX699" fmla="*/ 867162 w 12191996"/>
              <a:gd name="connsiteY699" fmla="*/ 6492116 h 6857997"/>
              <a:gd name="connsiteX700" fmla="*/ 883407 w 12191996"/>
              <a:gd name="connsiteY700" fmla="*/ 6499878 h 6857997"/>
              <a:gd name="connsiteX701" fmla="*/ 896719 w 12191996"/>
              <a:gd name="connsiteY701" fmla="*/ 6494820 h 6857997"/>
              <a:gd name="connsiteX702" fmla="*/ 904161 w 12191996"/>
              <a:gd name="connsiteY702" fmla="*/ 6480763 h 6857997"/>
              <a:gd name="connsiteX703" fmla="*/ 897184 w 12191996"/>
              <a:gd name="connsiteY703" fmla="*/ 6478251 h 6857997"/>
              <a:gd name="connsiteX704" fmla="*/ 891869 w 12191996"/>
              <a:gd name="connsiteY704" fmla="*/ 6488193 h 6857997"/>
              <a:gd name="connsiteX705" fmla="*/ 882848 w 12191996"/>
              <a:gd name="connsiteY705" fmla="*/ 6491716 h 6857997"/>
              <a:gd name="connsiteX706" fmla="*/ 872568 w 12191996"/>
              <a:gd name="connsiteY706" fmla="*/ 6486327 h 6857997"/>
              <a:gd name="connsiteX707" fmla="*/ 868442 w 12191996"/>
              <a:gd name="connsiteY707" fmla="*/ 6470301 h 6857997"/>
              <a:gd name="connsiteX708" fmla="*/ 872778 w 12191996"/>
              <a:gd name="connsiteY708" fmla="*/ 6453503 h 6857997"/>
              <a:gd name="connsiteX709" fmla="*/ 883619 w 12191996"/>
              <a:gd name="connsiteY709" fmla="*/ 6447835 h 6857997"/>
              <a:gd name="connsiteX710" fmla="*/ 891347 w 12191996"/>
              <a:gd name="connsiteY710" fmla="*/ 6450521 h 6857997"/>
              <a:gd name="connsiteX711" fmla="*/ 896487 w 12191996"/>
              <a:gd name="connsiteY711" fmla="*/ 6458508 h 6857997"/>
              <a:gd name="connsiteX712" fmla="*/ 903324 w 12191996"/>
              <a:gd name="connsiteY712" fmla="*/ 6456485 h 6857997"/>
              <a:gd name="connsiteX713" fmla="*/ 896266 w 12191996"/>
              <a:gd name="connsiteY713" fmla="*/ 6444347 h 6857997"/>
              <a:gd name="connsiteX714" fmla="*/ 883898 w 12191996"/>
              <a:gd name="connsiteY714" fmla="*/ 6440021 h 6857997"/>
              <a:gd name="connsiteX715" fmla="*/ 2030141 w 12191996"/>
              <a:gd name="connsiteY715" fmla="*/ 6429487 h 6857997"/>
              <a:gd name="connsiteX716" fmla="*/ 2036069 w 12191996"/>
              <a:gd name="connsiteY716" fmla="*/ 6450695 h 6857997"/>
              <a:gd name="connsiteX717" fmla="*/ 2044784 w 12191996"/>
              <a:gd name="connsiteY717" fmla="*/ 6479019 h 6857997"/>
              <a:gd name="connsiteX718" fmla="*/ 2016217 w 12191996"/>
              <a:gd name="connsiteY718" fmla="*/ 6479019 h 6857997"/>
              <a:gd name="connsiteX719" fmla="*/ 2025546 w 12191996"/>
              <a:gd name="connsiteY719" fmla="*/ 6449021 h 6857997"/>
              <a:gd name="connsiteX720" fmla="*/ 2030141 w 12191996"/>
              <a:gd name="connsiteY720" fmla="*/ 6429487 h 6857997"/>
              <a:gd name="connsiteX721" fmla="*/ 883232 w 12191996"/>
              <a:gd name="connsiteY721" fmla="*/ 6425650 h 6857997"/>
              <a:gd name="connsiteX722" fmla="*/ 907928 w 12191996"/>
              <a:gd name="connsiteY722" fmla="*/ 6437739 h 6857997"/>
              <a:gd name="connsiteX723" fmla="*/ 919230 w 12191996"/>
              <a:gd name="connsiteY723" fmla="*/ 6469671 h 6857997"/>
              <a:gd name="connsiteX724" fmla="*/ 909323 w 12191996"/>
              <a:gd name="connsiteY724" fmla="*/ 6499926 h 6857997"/>
              <a:gd name="connsiteX725" fmla="*/ 883232 w 12191996"/>
              <a:gd name="connsiteY725" fmla="*/ 6513621 h 6857997"/>
              <a:gd name="connsiteX726" fmla="*/ 858536 w 12191996"/>
              <a:gd name="connsiteY726" fmla="*/ 6501604 h 6857997"/>
              <a:gd name="connsiteX727" fmla="*/ 847234 w 12191996"/>
              <a:gd name="connsiteY727" fmla="*/ 6469671 h 6857997"/>
              <a:gd name="connsiteX728" fmla="*/ 857140 w 12191996"/>
              <a:gd name="connsiteY728" fmla="*/ 6439345 h 6857997"/>
              <a:gd name="connsiteX729" fmla="*/ 883232 w 12191996"/>
              <a:gd name="connsiteY729" fmla="*/ 6425650 h 6857997"/>
              <a:gd name="connsiteX730" fmla="*/ 6208297 w 12191996"/>
              <a:gd name="connsiteY730" fmla="*/ 6421046 h 6857997"/>
              <a:gd name="connsiteX731" fmla="*/ 6198042 w 12191996"/>
              <a:gd name="connsiteY731" fmla="*/ 6428580 h 6857997"/>
              <a:gd name="connsiteX732" fmla="*/ 6198042 w 12191996"/>
              <a:gd name="connsiteY732" fmla="*/ 6446928 h 6857997"/>
              <a:gd name="connsiteX733" fmla="*/ 6190507 w 12191996"/>
              <a:gd name="connsiteY733" fmla="*/ 6446928 h 6857997"/>
              <a:gd name="connsiteX734" fmla="*/ 6190507 w 12191996"/>
              <a:gd name="connsiteY734" fmla="*/ 6456695 h 6857997"/>
              <a:gd name="connsiteX735" fmla="*/ 6198042 w 12191996"/>
              <a:gd name="connsiteY735" fmla="*/ 6456695 h 6857997"/>
              <a:gd name="connsiteX736" fmla="*/ 6198042 w 12191996"/>
              <a:gd name="connsiteY736" fmla="*/ 6499320 h 6857997"/>
              <a:gd name="connsiteX737" fmla="*/ 6199263 w 12191996"/>
              <a:gd name="connsiteY737" fmla="*/ 6514040 h 6857997"/>
              <a:gd name="connsiteX738" fmla="*/ 6203762 w 12191996"/>
              <a:gd name="connsiteY738" fmla="*/ 6519865 h 6857997"/>
              <a:gd name="connsiteX739" fmla="*/ 6212413 w 12191996"/>
              <a:gd name="connsiteY739" fmla="*/ 6521993 h 6857997"/>
              <a:gd name="connsiteX740" fmla="*/ 6220087 w 12191996"/>
              <a:gd name="connsiteY740" fmla="*/ 6520877 h 6857997"/>
              <a:gd name="connsiteX741" fmla="*/ 6218692 w 12191996"/>
              <a:gd name="connsiteY741" fmla="*/ 6509784 h 6857997"/>
              <a:gd name="connsiteX742" fmla="*/ 6214157 w 12191996"/>
              <a:gd name="connsiteY742" fmla="*/ 6510273 h 6857997"/>
              <a:gd name="connsiteX743" fmla="*/ 6209204 w 12191996"/>
              <a:gd name="connsiteY743" fmla="*/ 6507761 h 6857997"/>
              <a:gd name="connsiteX744" fmla="*/ 6208297 w 12191996"/>
              <a:gd name="connsiteY744" fmla="*/ 6500018 h 6857997"/>
              <a:gd name="connsiteX745" fmla="*/ 6208297 w 12191996"/>
              <a:gd name="connsiteY745" fmla="*/ 6456695 h 6857997"/>
              <a:gd name="connsiteX746" fmla="*/ 6218692 w 12191996"/>
              <a:gd name="connsiteY746" fmla="*/ 6456695 h 6857997"/>
              <a:gd name="connsiteX747" fmla="*/ 6218692 w 12191996"/>
              <a:gd name="connsiteY747" fmla="*/ 6446928 h 6857997"/>
              <a:gd name="connsiteX748" fmla="*/ 6208297 w 12191996"/>
              <a:gd name="connsiteY748" fmla="*/ 6446928 h 6857997"/>
              <a:gd name="connsiteX749" fmla="*/ 2421963 w 12191996"/>
              <a:gd name="connsiteY749" fmla="*/ 6421046 h 6857997"/>
              <a:gd name="connsiteX750" fmla="*/ 2411708 w 12191996"/>
              <a:gd name="connsiteY750" fmla="*/ 6428580 h 6857997"/>
              <a:gd name="connsiteX751" fmla="*/ 2411708 w 12191996"/>
              <a:gd name="connsiteY751" fmla="*/ 6446928 h 6857997"/>
              <a:gd name="connsiteX752" fmla="*/ 2404176 w 12191996"/>
              <a:gd name="connsiteY752" fmla="*/ 6446928 h 6857997"/>
              <a:gd name="connsiteX753" fmla="*/ 2404176 w 12191996"/>
              <a:gd name="connsiteY753" fmla="*/ 6456695 h 6857997"/>
              <a:gd name="connsiteX754" fmla="*/ 2411708 w 12191996"/>
              <a:gd name="connsiteY754" fmla="*/ 6456695 h 6857997"/>
              <a:gd name="connsiteX755" fmla="*/ 2411708 w 12191996"/>
              <a:gd name="connsiteY755" fmla="*/ 6499320 h 6857997"/>
              <a:gd name="connsiteX756" fmla="*/ 2412932 w 12191996"/>
              <a:gd name="connsiteY756" fmla="*/ 6514040 h 6857997"/>
              <a:gd name="connsiteX757" fmla="*/ 2417431 w 12191996"/>
              <a:gd name="connsiteY757" fmla="*/ 6519865 h 6857997"/>
              <a:gd name="connsiteX758" fmla="*/ 2426082 w 12191996"/>
              <a:gd name="connsiteY758" fmla="*/ 6521993 h 6857997"/>
              <a:gd name="connsiteX759" fmla="*/ 2432793 w 12191996"/>
              <a:gd name="connsiteY759" fmla="*/ 6521016 h 6857997"/>
              <a:gd name="connsiteX760" fmla="*/ 2486537 w 12191996"/>
              <a:gd name="connsiteY760" fmla="*/ 6521016 h 6857997"/>
              <a:gd name="connsiteX761" fmla="*/ 2486537 w 12191996"/>
              <a:gd name="connsiteY761" fmla="*/ 6510203 h 6857997"/>
              <a:gd name="connsiteX762" fmla="*/ 2458413 w 12191996"/>
              <a:gd name="connsiteY762" fmla="*/ 6510203 h 6857997"/>
              <a:gd name="connsiteX763" fmla="*/ 2445434 w 12191996"/>
              <a:gd name="connsiteY763" fmla="*/ 6510831 h 6857997"/>
              <a:gd name="connsiteX764" fmla="*/ 2451797 w 12191996"/>
              <a:gd name="connsiteY764" fmla="*/ 6502250 h 6857997"/>
              <a:gd name="connsiteX765" fmla="*/ 2484792 w 12191996"/>
              <a:gd name="connsiteY765" fmla="*/ 6455230 h 6857997"/>
              <a:gd name="connsiteX766" fmla="*/ 2484792 w 12191996"/>
              <a:gd name="connsiteY766" fmla="*/ 6446928 h 6857997"/>
              <a:gd name="connsiteX767" fmla="*/ 2435051 w 12191996"/>
              <a:gd name="connsiteY767" fmla="*/ 6446928 h 6857997"/>
              <a:gd name="connsiteX768" fmla="*/ 2435051 w 12191996"/>
              <a:gd name="connsiteY768" fmla="*/ 6457113 h 6857997"/>
              <a:gd name="connsiteX769" fmla="*/ 2459836 w 12191996"/>
              <a:gd name="connsiteY769" fmla="*/ 6457113 h 6857997"/>
              <a:gd name="connsiteX770" fmla="*/ 2471498 w 12191996"/>
              <a:gd name="connsiteY770" fmla="*/ 6456695 h 6857997"/>
              <a:gd name="connsiteX771" fmla="*/ 2432747 w 12191996"/>
              <a:gd name="connsiteY771" fmla="*/ 6510831 h 6857997"/>
              <a:gd name="connsiteX772" fmla="*/ 2432747 w 12191996"/>
              <a:gd name="connsiteY772" fmla="*/ 6512890 h 6857997"/>
              <a:gd name="connsiteX773" fmla="*/ 2432359 w 12191996"/>
              <a:gd name="connsiteY773" fmla="*/ 6509784 h 6857997"/>
              <a:gd name="connsiteX774" fmla="*/ 2427824 w 12191996"/>
              <a:gd name="connsiteY774" fmla="*/ 6510273 h 6857997"/>
              <a:gd name="connsiteX775" fmla="*/ 2422869 w 12191996"/>
              <a:gd name="connsiteY775" fmla="*/ 6507761 h 6857997"/>
              <a:gd name="connsiteX776" fmla="*/ 2421963 w 12191996"/>
              <a:gd name="connsiteY776" fmla="*/ 6500018 h 6857997"/>
              <a:gd name="connsiteX777" fmla="*/ 2421963 w 12191996"/>
              <a:gd name="connsiteY777" fmla="*/ 6456695 h 6857997"/>
              <a:gd name="connsiteX778" fmla="*/ 2432359 w 12191996"/>
              <a:gd name="connsiteY778" fmla="*/ 6456695 h 6857997"/>
              <a:gd name="connsiteX779" fmla="*/ 2432359 w 12191996"/>
              <a:gd name="connsiteY779" fmla="*/ 6446928 h 6857997"/>
              <a:gd name="connsiteX780" fmla="*/ 2421963 w 12191996"/>
              <a:gd name="connsiteY780" fmla="*/ 6446928 h 6857997"/>
              <a:gd name="connsiteX781" fmla="*/ 1440886 w 12191996"/>
              <a:gd name="connsiteY781" fmla="*/ 6421046 h 6857997"/>
              <a:gd name="connsiteX782" fmla="*/ 1430631 w 12191996"/>
              <a:gd name="connsiteY782" fmla="*/ 6428580 h 6857997"/>
              <a:gd name="connsiteX783" fmla="*/ 1430631 w 12191996"/>
              <a:gd name="connsiteY783" fmla="*/ 6446928 h 6857997"/>
              <a:gd name="connsiteX784" fmla="*/ 1423097 w 12191996"/>
              <a:gd name="connsiteY784" fmla="*/ 6446928 h 6857997"/>
              <a:gd name="connsiteX785" fmla="*/ 1423097 w 12191996"/>
              <a:gd name="connsiteY785" fmla="*/ 6456695 h 6857997"/>
              <a:gd name="connsiteX786" fmla="*/ 1430631 w 12191996"/>
              <a:gd name="connsiteY786" fmla="*/ 6456695 h 6857997"/>
              <a:gd name="connsiteX787" fmla="*/ 1430631 w 12191996"/>
              <a:gd name="connsiteY787" fmla="*/ 6499320 h 6857997"/>
              <a:gd name="connsiteX788" fmla="*/ 1431852 w 12191996"/>
              <a:gd name="connsiteY788" fmla="*/ 6514040 h 6857997"/>
              <a:gd name="connsiteX789" fmla="*/ 1436352 w 12191996"/>
              <a:gd name="connsiteY789" fmla="*/ 6519865 h 6857997"/>
              <a:gd name="connsiteX790" fmla="*/ 1445002 w 12191996"/>
              <a:gd name="connsiteY790" fmla="*/ 6521993 h 6857997"/>
              <a:gd name="connsiteX791" fmla="*/ 1452676 w 12191996"/>
              <a:gd name="connsiteY791" fmla="*/ 6520877 h 6857997"/>
              <a:gd name="connsiteX792" fmla="*/ 1451281 w 12191996"/>
              <a:gd name="connsiteY792" fmla="*/ 6509784 h 6857997"/>
              <a:gd name="connsiteX793" fmla="*/ 1446746 w 12191996"/>
              <a:gd name="connsiteY793" fmla="*/ 6510273 h 6857997"/>
              <a:gd name="connsiteX794" fmla="*/ 1441793 w 12191996"/>
              <a:gd name="connsiteY794" fmla="*/ 6507761 h 6857997"/>
              <a:gd name="connsiteX795" fmla="*/ 1440886 w 12191996"/>
              <a:gd name="connsiteY795" fmla="*/ 6500018 h 6857997"/>
              <a:gd name="connsiteX796" fmla="*/ 1440886 w 12191996"/>
              <a:gd name="connsiteY796" fmla="*/ 6456695 h 6857997"/>
              <a:gd name="connsiteX797" fmla="*/ 1451281 w 12191996"/>
              <a:gd name="connsiteY797" fmla="*/ 6456695 h 6857997"/>
              <a:gd name="connsiteX798" fmla="*/ 1451281 w 12191996"/>
              <a:gd name="connsiteY798" fmla="*/ 6446928 h 6857997"/>
              <a:gd name="connsiteX799" fmla="*/ 1440886 w 12191996"/>
              <a:gd name="connsiteY799" fmla="*/ 6446928 h 6857997"/>
              <a:gd name="connsiteX800" fmla="*/ 6319286 w 12191996"/>
              <a:gd name="connsiteY800" fmla="*/ 6418743 h 6857997"/>
              <a:gd name="connsiteX801" fmla="*/ 6319286 w 12191996"/>
              <a:gd name="connsiteY801" fmla="*/ 6521016 h 6857997"/>
              <a:gd name="connsiteX802" fmla="*/ 6329541 w 12191996"/>
              <a:gd name="connsiteY802" fmla="*/ 6521016 h 6857997"/>
              <a:gd name="connsiteX803" fmla="*/ 6329541 w 12191996"/>
              <a:gd name="connsiteY803" fmla="*/ 6418743 h 6857997"/>
              <a:gd name="connsiteX804" fmla="*/ 6224384 w 12191996"/>
              <a:gd name="connsiteY804" fmla="*/ 6418743 h 6857997"/>
              <a:gd name="connsiteX805" fmla="*/ 6224384 w 12191996"/>
              <a:gd name="connsiteY805" fmla="*/ 6433184 h 6857997"/>
              <a:gd name="connsiteX806" fmla="*/ 6234640 w 12191996"/>
              <a:gd name="connsiteY806" fmla="*/ 6433184 h 6857997"/>
              <a:gd name="connsiteX807" fmla="*/ 6234640 w 12191996"/>
              <a:gd name="connsiteY807" fmla="*/ 6418743 h 6857997"/>
              <a:gd name="connsiteX808" fmla="*/ 6034363 w 12191996"/>
              <a:gd name="connsiteY808" fmla="*/ 6418743 h 6857997"/>
              <a:gd name="connsiteX809" fmla="*/ 6034363 w 12191996"/>
              <a:gd name="connsiteY809" fmla="*/ 6455439 h 6857997"/>
              <a:gd name="connsiteX810" fmla="*/ 6027156 w 12191996"/>
              <a:gd name="connsiteY810" fmla="*/ 6447939 h 6857997"/>
              <a:gd name="connsiteX811" fmla="*/ 6017719 w 12191996"/>
              <a:gd name="connsiteY811" fmla="*/ 6445253 h 6857997"/>
              <a:gd name="connsiteX812" fmla="*/ 6004799 w 12191996"/>
              <a:gd name="connsiteY812" fmla="*/ 6449509 h 6857997"/>
              <a:gd name="connsiteX813" fmla="*/ 5995500 w 12191996"/>
              <a:gd name="connsiteY813" fmla="*/ 6462555 h 6857997"/>
              <a:gd name="connsiteX814" fmla="*/ 5992018 w 12191996"/>
              <a:gd name="connsiteY814" fmla="*/ 6483972 h 6857997"/>
              <a:gd name="connsiteX815" fmla="*/ 5999866 w 12191996"/>
              <a:gd name="connsiteY815" fmla="*/ 6512540 h 6857997"/>
              <a:gd name="connsiteX816" fmla="*/ 6018459 w 12191996"/>
              <a:gd name="connsiteY816" fmla="*/ 6522691 h 6857997"/>
              <a:gd name="connsiteX817" fmla="*/ 6027948 w 12191996"/>
              <a:gd name="connsiteY817" fmla="*/ 6519865 h 6857997"/>
              <a:gd name="connsiteX818" fmla="*/ 6035132 w 12191996"/>
              <a:gd name="connsiteY818" fmla="*/ 6511668 h 6857997"/>
              <a:gd name="connsiteX819" fmla="*/ 6035132 w 12191996"/>
              <a:gd name="connsiteY819" fmla="*/ 6521016 h 6857997"/>
              <a:gd name="connsiteX820" fmla="*/ 6044761 w 12191996"/>
              <a:gd name="connsiteY820" fmla="*/ 6521016 h 6857997"/>
              <a:gd name="connsiteX821" fmla="*/ 6044761 w 12191996"/>
              <a:gd name="connsiteY821" fmla="*/ 6418743 h 6857997"/>
              <a:gd name="connsiteX822" fmla="*/ 2790954 w 12191996"/>
              <a:gd name="connsiteY822" fmla="*/ 6418743 h 6857997"/>
              <a:gd name="connsiteX823" fmla="*/ 2790954 w 12191996"/>
              <a:gd name="connsiteY823" fmla="*/ 6455439 h 6857997"/>
              <a:gd name="connsiteX824" fmla="*/ 2783745 w 12191996"/>
              <a:gd name="connsiteY824" fmla="*/ 6447939 h 6857997"/>
              <a:gd name="connsiteX825" fmla="*/ 2774311 w 12191996"/>
              <a:gd name="connsiteY825" fmla="*/ 6445253 h 6857997"/>
              <a:gd name="connsiteX826" fmla="*/ 2761389 w 12191996"/>
              <a:gd name="connsiteY826" fmla="*/ 6449509 h 6857997"/>
              <a:gd name="connsiteX827" fmla="*/ 2752089 w 12191996"/>
              <a:gd name="connsiteY827" fmla="*/ 6462555 h 6857997"/>
              <a:gd name="connsiteX828" fmla="*/ 2748607 w 12191996"/>
              <a:gd name="connsiteY828" fmla="*/ 6483972 h 6857997"/>
              <a:gd name="connsiteX829" fmla="*/ 2756457 w 12191996"/>
              <a:gd name="connsiteY829" fmla="*/ 6512540 h 6857997"/>
              <a:gd name="connsiteX830" fmla="*/ 2775051 w 12191996"/>
              <a:gd name="connsiteY830" fmla="*/ 6522691 h 6857997"/>
              <a:gd name="connsiteX831" fmla="*/ 2784536 w 12191996"/>
              <a:gd name="connsiteY831" fmla="*/ 6519865 h 6857997"/>
              <a:gd name="connsiteX832" fmla="*/ 2791721 w 12191996"/>
              <a:gd name="connsiteY832" fmla="*/ 6511668 h 6857997"/>
              <a:gd name="connsiteX833" fmla="*/ 2791721 w 12191996"/>
              <a:gd name="connsiteY833" fmla="*/ 6521016 h 6857997"/>
              <a:gd name="connsiteX834" fmla="*/ 2801352 w 12191996"/>
              <a:gd name="connsiteY834" fmla="*/ 6521016 h 6857997"/>
              <a:gd name="connsiteX835" fmla="*/ 2801352 w 12191996"/>
              <a:gd name="connsiteY835" fmla="*/ 6418743 h 6857997"/>
              <a:gd name="connsiteX836" fmla="*/ 2590102 w 12191996"/>
              <a:gd name="connsiteY836" fmla="*/ 6418743 h 6857997"/>
              <a:gd name="connsiteX837" fmla="*/ 2590102 w 12191996"/>
              <a:gd name="connsiteY837" fmla="*/ 6521016 h 6857997"/>
              <a:gd name="connsiteX838" fmla="*/ 2600357 w 12191996"/>
              <a:gd name="connsiteY838" fmla="*/ 6521016 h 6857997"/>
              <a:gd name="connsiteX839" fmla="*/ 2600357 w 12191996"/>
              <a:gd name="connsiteY839" fmla="*/ 6418743 h 6857997"/>
              <a:gd name="connsiteX840" fmla="*/ 2380902 w 12191996"/>
              <a:gd name="connsiteY840" fmla="*/ 6418743 h 6857997"/>
              <a:gd name="connsiteX841" fmla="*/ 2380902 w 12191996"/>
              <a:gd name="connsiteY841" fmla="*/ 6433184 h 6857997"/>
              <a:gd name="connsiteX842" fmla="*/ 2391160 w 12191996"/>
              <a:gd name="connsiteY842" fmla="*/ 6433184 h 6857997"/>
              <a:gd name="connsiteX843" fmla="*/ 2391160 w 12191996"/>
              <a:gd name="connsiteY843" fmla="*/ 6418743 h 6857997"/>
              <a:gd name="connsiteX844" fmla="*/ 2024499 w 12191996"/>
              <a:gd name="connsiteY844" fmla="*/ 6418743 h 6857997"/>
              <a:gd name="connsiteX845" fmla="*/ 1992155 w 12191996"/>
              <a:gd name="connsiteY845" fmla="*/ 6521016 h 6857997"/>
              <a:gd name="connsiteX846" fmla="*/ 2003857 w 12191996"/>
              <a:gd name="connsiteY846" fmla="*/ 6521016 h 6857997"/>
              <a:gd name="connsiteX847" fmla="*/ 2012973 w 12191996"/>
              <a:gd name="connsiteY847" fmla="*/ 6490041 h 6857997"/>
              <a:gd name="connsiteX848" fmla="*/ 2048255 w 12191996"/>
              <a:gd name="connsiteY848" fmla="*/ 6490041 h 6857997"/>
              <a:gd name="connsiteX849" fmla="*/ 2058010 w 12191996"/>
              <a:gd name="connsiteY849" fmla="*/ 6521016 h 6857997"/>
              <a:gd name="connsiteX850" fmla="*/ 2070709 w 12191996"/>
              <a:gd name="connsiteY850" fmla="*/ 6521016 h 6857997"/>
              <a:gd name="connsiteX851" fmla="*/ 2036363 w 12191996"/>
              <a:gd name="connsiteY851" fmla="*/ 6418743 h 6857997"/>
              <a:gd name="connsiteX852" fmla="*/ 1818925 w 12191996"/>
              <a:gd name="connsiteY852" fmla="*/ 6418743 h 6857997"/>
              <a:gd name="connsiteX853" fmla="*/ 1818925 w 12191996"/>
              <a:gd name="connsiteY853" fmla="*/ 6433184 h 6857997"/>
              <a:gd name="connsiteX854" fmla="*/ 1829180 w 12191996"/>
              <a:gd name="connsiteY854" fmla="*/ 6433184 h 6857997"/>
              <a:gd name="connsiteX855" fmla="*/ 1829180 w 12191996"/>
              <a:gd name="connsiteY855" fmla="*/ 6418743 h 6857997"/>
              <a:gd name="connsiteX856" fmla="*/ 1752248 w 12191996"/>
              <a:gd name="connsiteY856" fmla="*/ 6418743 h 6857997"/>
              <a:gd name="connsiteX857" fmla="*/ 1752248 w 12191996"/>
              <a:gd name="connsiteY857" fmla="*/ 6433184 h 6857997"/>
              <a:gd name="connsiteX858" fmla="*/ 1762504 w 12191996"/>
              <a:gd name="connsiteY858" fmla="*/ 6433184 h 6857997"/>
              <a:gd name="connsiteX859" fmla="*/ 1762504 w 12191996"/>
              <a:gd name="connsiteY859" fmla="*/ 6418743 h 6857997"/>
              <a:gd name="connsiteX860" fmla="*/ 1361723 w 12191996"/>
              <a:gd name="connsiteY860" fmla="*/ 6418743 h 6857997"/>
              <a:gd name="connsiteX861" fmla="*/ 1361723 w 12191996"/>
              <a:gd name="connsiteY861" fmla="*/ 6521016 h 6857997"/>
              <a:gd name="connsiteX862" fmla="*/ 1371979 w 12191996"/>
              <a:gd name="connsiteY862" fmla="*/ 6521016 h 6857997"/>
              <a:gd name="connsiteX863" fmla="*/ 1371979 w 12191996"/>
              <a:gd name="connsiteY863" fmla="*/ 6480484 h 6857997"/>
              <a:gd name="connsiteX864" fmla="*/ 1376688 w 12191996"/>
              <a:gd name="connsiteY864" fmla="*/ 6461438 h 6857997"/>
              <a:gd name="connsiteX865" fmla="*/ 1388094 w 12191996"/>
              <a:gd name="connsiteY865" fmla="*/ 6456067 h 6857997"/>
              <a:gd name="connsiteX866" fmla="*/ 1397512 w 12191996"/>
              <a:gd name="connsiteY866" fmla="*/ 6460253 h 6857997"/>
              <a:gd name="connsiteX867" fmla="*/ 1400930 w 12191996"/>
              <a:gd name="connsiteY867" fmla="*/ 6474066 h 6857997"/>
              <a:gd name="connsiteX868" fmla="*/ 1400930 w 12191996"/>
              <a:gd name="connsiteY868" fmla="*/ 6521016 h 6857997"/>
              <a:gd name="connsiteX869" fmla="*/ 1411186 w 12191996"/>
              <a:gd name="connsiteY869" fmla="*/ 6521016 h 6857997"/>
              <a:gd name="connsiteX870" fmla="*/ 1411186 w 12191996"/>
              <a:gd name="connsiteY870" fmla="*/ 6474066 h 6857997"/>
              <a:gd name="connsiteX871" fmla="*/ 1405570 w 12191996"/>
              <a:gd name="connsiteY871" fmla="*/ 6451427 h 6857997"/>
              <a:gd name="connsiteX872" fmla="*/ 1390256 w 12191996"/>
              <a:gd name="connsiteY872" fmla="*/ 6445253 h 6857997"/>
              <a:gd name="connsiteX873" fmla="*/ 1380176 w 12191996"/>
              <a:gd name="connsiteY873" fmla="*/ 6447800 h 6857997"/>
              <a:gd name="connsiteX874" fmla="*/ 1371979 w 12191996"/>
              <a:gd name="connsiteY874" fmla="*/ 6455439 h 6857997"/>
              <a:gd name="connsiteX875" fmla="*/ 1371979 w 12191996"/>
              <a:gd name="connsiteY875" fmla="*/ 6418743 h 6857997"/>
              <a:gd name="connsiteX876" fmla="*/ 1266473 w 12191996"/>
              <a:gd name="connsiteY876" fmla="*/ 6418743 h 6857997"/>
              <a:gd name="connsiteX877" fmla="*/ 1266473 w 12191996"/>
              <a:gd name="connsiteY877" fmla="*/ 6433184 h 6857997"/>
              <a:gd name="connsiteX878" fmla="*/ 1276729 w 12191996"/>
              <a:gd name="connsiteY878" fmla="*/ 6433184 h 6857997"/>
              <a:gd name="connsiteX879" fmla="*/ 1276729 w 12191996"/>
              <a:gd name="connsiteY879" fmla="*/ 6418743 h 6857997"/>
              <a:gd name="connsiteX880" fmla="*/ 10863258 w 12191996"/>
              <a:gd name="connsiteY880" fmla="*/ 6418259 h 6857997"/>
              <a:gd name="connsiteX881" fmla="*/ 10904541 w 12191996"/>
              <a:gd name="connsiteY881" fmla="*/ 6418259 h 6857997"/>
              <a:gd name="connsiteX882" fmla="*/ 10934695 w 12191996"/>
              <a:gd name="connsiteY882" fmla="*/ 6433947 h 6857997"/>
              <a:gd name="connsiteX883" fmla="*/ 10904541 w 12191996"/>
              <a:gd name="connsiteY883" fmla="*/ 6450009 h 6857997"/>
              <a:gd name="connsiteX884" fmla="*/ 10863258 w 12191996"/>
              <a:gd name="connsiteY884" fmla="*/ 6450009 h 6857997"/>
              <a:gd name="connsiteX885" fmla="*/ 5958284 w 12191996"/>
              <a:gd name="connsiteY885" fmla="*/ 6416999 h 6857997"/>
              <a:gd name="connsiteX886" fmla="*/ 5948876 w 12191996"/>
              <a:gd name="connsiteY886" fmla="*/ 6419302 h 6857997"/>
              <a:gd name="connsiteX887" fmla="*/ 5943316 w 12191996"/>
              <a:gd name="connsiteY887" fmla="*/ 6425964 h 6857997"/>
              <a:gd name="connsiteX888" fmla="*/ 5941497 w 12191996"/>
              <a:gd name="connsiteY888" fmla="*/ 6439045 h 6857997"/>
              <a:gd name="connsiteX889" fmla="*/ 5941497 w 12191996"/>
              <a:gd name="connsiteY889" fmla="*/ 6446928 h 6857997"/>
              <a:gd name="connsiteX890" fmla="*/ 5932359 w 12191996"/>
              <a:gd name="connsiteY890" fmla="*/ 6446928 h 6857997"/>
              <a:gd name="connsiteX891" fmla="*/ 5932359 w 12191996"/>
              <a:gd name="connsiteY891" fmla="*/ 6456695 h 6857997"/>
              <a:gd name="connsiteX892" fmla="*/ 5941497 w 12191996"/>
              <a:gd name="connsiteY892" fmla="*/ 6456695 h 6857997"/>
              <a:gd name="connsiteX893" fmla="*/ 5941497 w 12191996"/>
              <a:gd name="connsiteY893" fmla="*/ 6521016 h 6857997"/>
              <a:gd name="connsiteX894" fmla="*/ 5951752 w 12191996"/>
              <a:gd name="connsiteY894" fmla="*/ 6521016 h 6857997"/>
              <a:gd name="connsiteX895" fmla="*/ 5951752 w 12191996"/>
              <a:gd name="connsiteY895" fmla="*/ 6456695 h 6857997"/>
              <a:gd name="connsiteX896" fmla="*/ 5963612 w 12191996"/>
              <a:gd name="connsiteY896" fmla="*/ 6456695 h 6857997"/>
              <a:gd name="connsiteX897" fmla="*/ 5963612 w 12191996"/>
              <a:gd name="connsiteY897" fmla="*/ 6446928 h 6857997"/>
              <a:gd name="connsiteX898" fmla="*/ 5951752 w 12191996"/>
              <a:gd name="connsiteY898" fmla="*/ 6446928 h 6857997"/>
              <a:gd name="connsiteX899" fmla="*/ 5951752 w 12191996"/>
              <a:gd name="connsiteY899" fmla="*/ 6440091 h 6857997"/>
              <a:gd name="connsiteX900" fmla="*/ 5953740 w 12191996"/>
              <a:gd name="connsiteY900" fmla="*/ 6430917 h 6857997"/>
              <a:gd name="connsiteX901" fmla="*/ 5960331 w 12191996"/>
              <a:gd name="connsiteY901" fmla="*/ 6428510 h 6857997"/>
              <a:gd name="connsiteX902" fmla="*/ 5966402 w 12191996"/>
              <a:gd name="connsiteY902" fmla="*/ 6429208 h 6857997"/>
              <a:gd name="connsiteX903" fmla="*/ 5967211 w 12191996"/>
              <a:gd name="connsiteY903" fmla="*/ 6423470 h 6857997"/>
              <a:gd name="connsiteX904" fmla="*/ 5967211 w 12191996"/>
              <a:gd name="connsiteY904" fmla="*/ 6433184 h 6857997"/>
              <a:gd name="connsiteX905" fmla="*/ 5977467 w 12191996"/>
              <a:gd name="connsiteY905" fmla="*/ 6433184 h 6857997"/>
              <a:gd name="connsiteX906" fmla="*/ 5977467 w 12191996"/>
              <a:gd name="connsiteY906" fmla="*/ 6418743 h 6857997"/>
              <a:gd name="connsiteX907" fmla="*/ 5967879 w 12191996"/>
              <a:gd name="connsiteY907" fmla="*/ 6418743 h 6857997"/>
              <a:gd name="connsiteX908" fmla="*/ 5967935 w 12191996"/>
              <a:gd name="connsiteY908" fmla="*/ 6418325 h 6857997"/>
              <a:gd name="connsiteX909" fmla="*/ 5958284 w 12191996"/>
              <a:gd name="connsiteY909" fmla="*/ 6416999 h 6857997"/>
              <a:gd name="connsiteX910" fmla="*/ 883232 w 12191996"/>
              <a:gd name="connsiteY910" fmla="*/ 6416999 h 6857997"/>
              <a:gd name="connsiteX911" fmla="*/ 862268 w 12191996"/>
              <a:gd name="connsiteY911" fmla="*/ 6423592 h 6857997"/>
              <a:gd name="connsiteX912" fmla="*/ 846187 w 12191996"/>
              <a:gd name="connsiteY912" fmla="*/ 6442533 h 6857997"/>
              <a:gd name="connsiteX913" fmla="*/ 840048 w 12191996"/>
              <a:gd name="connsiteY913" fmla="*/ 6469671 h 6857997"/>
              <a:gd name="connsiteX914" fmla="*/ 852466 w 12191996"/>
              <a:gd name="connsiteY914" fmla="*/ 6506540 h 6857997"/>
              <a:gd name="connsiteX915" fmla="*/ 883232 w 12191996"/>
              <a:gd name="connsiteY915" fmla="*/ 6522272 h 6857997"/>
              <a:gd name="connsiteX916" fmla="*/ 904196 w 12191996"/>
              <a:gd name="connsiteY916" fmla="*/ 6515679 h 6857997"/>
              <a:gd name="connsiteX917" fmla="*/ 920276 w 12191996"/>
              <a:gd name="connsiteY917" fmla="*/ 6496739 h 6857997"/>
              <a:gd name="connsiteX918" fmla="*/ 926415 w 12191996"/>
              <a:gd name="connsiteY918" fmla="*/ 6469671 h 6857997"/>
              <a:gd name="connsiteX919" fmla="*/ 913997 w 12191996"/>
              <a:gd name="connsiteY919" fmla="*/ 6432766 h 6857997"/>
              <a:gd name="connsiteX920" fmla="*/ 883232 w 12191996"/>
              <a:gd name="connsiteY920" fmla="*/ 6416999 h 6857997"/>
              <a:gd name="connsiteX921" fmla="*/ 5757201 w 12191996"/>
              <a:gd name="connsiteY921" fmla="*/ 6416930 h 6857997"/>
              <a:gd name="connsiteX922" fmla="*/ 5737090 w 12191996"/>
              <a:gd name="connsiteY922" fmla="*/ 6422898 h 6857997"/>
              <a:gd name="connsiteX923" fmla="*/ 5722810 w 12191996"/>
              <a:gd name="connsiteY923" fmla="*/ 6440560 h 6857997"/>
              <a:gd name="connsiteX924" fmla="*/ 5717538 w 12191996"/>
              <a:gd name="connsiteY924" fmla="*/ 6469147 h 6857997"/>
              <a:gd name="connsiteX925" fmla="*/ 5722804 w 12191996"/>
              <a:gd name="connsiteY925" fmla="*/ 6498816 h 6857997"/>
              <a:gd name="connsiteX926" fmla="*/ 5736339 w 12191996"/>
              <a:gd name="connsiteY926" fmla="*/ 6517071 h 6857997"/>
              <a:gd name="connsiteX927" fmla="*/ 5756258 w 12191996"/>
              <a:gd name="connsiteY927" fmla="*/ 6522760 h 6857997"/>
              <a:gd name="connsiteX928" fmla="*/ 5778755 w 12191996"/>
              <a:gd name="connsiteY928" fmla="*/ 6514284 h 6857997"/>
              <a:gd name="connsiteX929" fmla="*/ 5791698 w 12191996"/>
              <a:gd name="connsiteY929" fmla="*/ 6488576 h 6857997"/>
              <a:gd name="connsiteX930" fmla="*/ 5780536 w 12191996"/>
              <a:gd name="connsiteY930" fmla="*/ 6485158 h 6857997"/>
              <a:gd name="connsiteX931" fmla="*/ 5771710 w 12191996"/>
              <a:gd name="connsiteY931" fmla="*/ 6504727 h 6857997"/>
              <a:gd name="connsiteX932" fmla="*/ 5756048 w 12191996"/>
              <a:gd name="connsiteY932" fmla="*/ 6511180 h 6857997"/>
              <a:gd name="connsiteX933" fmla="*/ 5736375 w 12191996"/>
              <a:gd name="connsiteY933" fmla="*/ 6500672 h 6857997"/>
              <a:gd name="connsiteX934" fmla="*/ 5728981 w 12191996"/>
              <a:gd name="connsiteY934" fmla="*/ 6469146 h 6857997"/>
              <a:gd name="connsiteX935" fmla="*/ 5732647 w 12191996"/>
              <a:gd name="connsiteY935" fmla="*/ 6446176 h 6857997"/>
              <a:gd name="connsiteX936" fmla="*/ 5742462 w 12191996"/>
              <a:gd name="connsiteY936" fmla="*/ 6432805 h 6857997"/>
              <a:gd name="connsiteX937" fmla="*/ 5756996 w 12191996"/>
              <a:gd name="connsiteY937" fmla="*/ 6428510 h 6857997"/>
              <a:gd name="connsiteX938" fmla="*/ 5779417 w 12191996"/>
              <a:gd name="connsiteY938" fmla="*/ 6449788 h 6857997"/>
              <a:gd name="connsiteX939" fmla="*/ 5790300 w 12191996"/>
              <a:gd name="connsiteY939" fmla="*/ 6446649 h 6857997"/>
              <a:gd name="connsiteX940" fmla="*/ 5778080 w 12191996"/>
              <a:gd name="connsiteY940" fmla="*/ 6424481 h 6857997"/>
              <a:gd name="connsiteX941" fmla="*/ 5757201 w 12191996"/>
              <a:gd name="connsiteY941" fmla="*/ 6416930 h 6857997"/>
              <a:gd name="connsiteX942" fmla="*/ 2249532 w 12191996"/>
              <a:gd name="connsiteY942" fmla="*/ 6416930 h 6857997"/>
              <a:gd name="connsiteX943" fmla="*/ 2227909 w 12191996"/>
              <a:gd name="connsiteY943" fmla="*/ 6424813 h 6857997"/>
              <a:gd name="connsiteX944" fmla="*/ 2219883 w 12191996"/>
              <a:gd name="connsiteY944" fmla="*/ 6445114 h 6857997"/>
              <a:gd name="connsiteX945" fmla="*/ 2222671 w 12191996"/>
              <a:gd name="connsiteY945" fmla="*/ 6457497 h 6857997"/>
              <a:gd name="connsiteX946" fmla="*/ 2230487 w 12191996"/>
              <a:gd name="connsiteY946" fmla="*/ 6466531 h 6857997"/>
              <a:gd name="connsiteX947" fmla="*/ 2247373 w 12191996"/>
              <a:gd name="connsiteY947" fmla="*/ 6473610 h 6857997"/>
              <a:gd name="connsiteX948" fmla="*/ 2264706 w 12191996"/>
              <a:gd name="connsiteY948" fmla="*/ 6479712 h 6857997"/>
              <a:gd name="connsiteX949" fmla="*/ 2270706 w 12191996"/>
              <a:gd name="connsiteY949" fmla="*/ 6485247 h 6857997"/>
              <a:gd name="connsiteX950" fmla="*/ 2272693 w 12191996"/>
              <a:gd name="connsiteY950" fmla="*/ 6493148 h 6857997"/>
              <a:gd name="connsiteX951" fmla="*/ 2267221 w 12191996"/>
              <a:gd name="connsiteY951" fmla="*/ 6505714 h 6857997"/>
              <a:gd name="connsiteX952" fmla="*/ 2251834 w 12191996"/>
              <a:gd name="connsiteY952" fmla="*/ 6510552 h 6857997"/>
              <a:gd name="connsiteX953" fmla="*/ 2239420 w 12191996"/>
              <a:gd name="connsiteY953" fmla="*/ 6507691 h 6857997"/>
              <a:gd name="connsiteX954" fmla="*/ 2230941 w 12191996"/>
              <a:gd name="connsiteY954" fmla="*/ 6500122 h 6857997"/>
              <a:gd name="connsiteX955" fmla="*/ 2227140 w 12191996"/>
              <a:gd name="connsiteY955" fmla="*/ 6486972 h 6857997"/>
              <a:gd name="connsiteX956" fmla="*/ 2216673 w 12191996"/>
              <a:gd name="connsiteY956" fmla="*/ 6488088 h 6857997"/>
              <a:gd name="connsiteX957" fmla="*/ 2226270 w 12191996"/>
              <a:gd name="connsiteY957" fmla="*/ 6513412 h 6857997"/>
              <a:gd name="connsiteX958" fmla="*/ 2251071 w 12191996"/>
              <a:gd name="connsiteY958" fmla="*/ 6522760 h 6857997"/>
              <a:gd name="connsiteX959" fmla="*/ 2268127 w 12191996"/>
              <a:gd name="connsiteY959" fmla="*/ 6518997 h 6857997"/>
              <a:gd name="connsiteX960" fmla="*/ 2279325 w 12191996"/>
              <a:gd name="connsiteY960" fmla="*/ 6508021 h 6857997"/>
              <a:gd name="connsiteX961" fmla="*/ 2283436 w 12191996"/>
              <a:gd name="connsiteY961" fmla="*/ 6492029 h 6857997"/>
              <a:gd name="connsiteX962" fmla="*/ 2279522 w 12191996"/>
              <a:gd name="connsiteY962" fmla="*/ 6476801 h 6857997"/>
              <a:gd name="connsiteX963" fmla="*/ 2267938 w 12191996"/>
              <a:gd name="connsiteY963" fmla="*/ 6466501 h 6857997"/>
              <a:gd name="connsiteX964" fmla="*/ 2250508 w 12191996"/>
              <a:gd name="connsiteY964" fmla="*/ 6460544 h 6857997"/>
              <a:gd name="connsiteX965" fmla="*/ 2234185 w 12191996"/>
              <a:gd name="connsiteY965" fmla="*/ 6453622 h 6857997"/>
              <a:gd name="connsiteX966" fmla="*/ 2230560 w 12191996"/>
              <a:gd name="connsiteY966" fmla="*/ 6443996 h 6857997"/>
              <a:gd name="connsiteX967" fmla="*/ 2235513 w 12191996"/>
              <a:gd name="connsiteY967" fmla="*/ 6433079 h 6857997"/>
              <a:gd name="connsiteX968" fmla="*/ 2249881 w 12191996"/>
              <a:gd name="connsiteY968" fmla="*/ 6428859 h 6857997"/>
              <a:gd name="connsiteX969" fmla="*/ 2264286 w 12191996"/>
              <a:gd name="connsiteY969" fmla="*/ 6433673 h 6857997"/>
              <a:gd name="connsiteX970" fmla="*/ 2270252 w 12191996"/>
              <a:gd name="connsiteY970" fmla="*/ 6448463 h 6857997"/>
              <a:gd name="connsiteX971" fmla="*/ 2280928 w 12191996"/>
              <a:gd name="connsiteY971" fmla="*/ 6447486 h 6857997"/>
              <a:gd name="connsiteX972" fmla="*/ 2276778 w 12191996"/>
              <a:gd name="connsiteY972" fmla="*/ 6431231 h 6857997"/>
              <a:gd name="connsiteX973" fmla="*/ 2265892 w 12191996"/>
              <a:gd name="connsiteY973" fmla="*/ 6420627 h 6857997"/>
              <a:gd name="connsiteX974" fmla="*/ 2249532 w 12191996"/>
              <a:gd name="connsiteY974" fmla="*/ 6416930 h 6857997"/>
              <a:gd name="connsiteX975" fmla="*/ 2107530 w 12191996"/>
              <a:gd name="connsiteY975" fmla="*/ 6416930 h 6857997"/>
              <a:gd name="connsiteX976" fmla="*/ 2085898 w 12191996"/>
              <a:gd name="connsiteY976" fmla="*/ 6422828 h 6857997"/>
              <a:gd name="connsiteX977" fmla="*/ 2071108 w 12191996"/>
              <a:gd name="connsiteY977" fmla="*/ 6441153 h 6857997"/>
              <a:gd name="connsiteX978" fmla="*/ 2065457 w 12191996"/>
              <a:gd name="connsiteY978" fmla="*/ 6470333 h 6857997"/>
              <a:gd name="connsiteX979" fmla="*/ 2071073 w 12191996"/>
              <a:gd name="connsiteY979" fmla="*/ 6498676 h 6857997"/>
              <a:gd name="connsiteX980" fmla="*/ 2086316 w 12191996"/>
              <a:gd name="connsiteY980" fmla="*/ 6516617 h 6857997"/>
              <a:gd name="connsiteX981" fmla="*/ 2108228 w 12191996"/>
              <a:gd name="connsiteY981" fmla="*/ 6522760 h 6857997"/>
              <a:gd name="connsiteX982" fmla="*/ 2126153 w 12191996"/>
              <a:gd name="connsiteY982" fmla="*/ 6518749 h 6857997"/>
              <a:gd name="connsiteX983" fmla="*/ 2143038 w 12191996"/>
              <a:gd name="connsiteY983" fmla="*/ 6506785 h 6857997"/>
              <a:gd name="connsiteX984" fmla="*/ 2143038 w 12191996"/>
              <a:gd name="connsiteY984" fmla="*/ 6468764 h 6857997"/>
              <a:gd name="connsiteX985" fmla="*/ 2107530 w 12191996"/>
              <a:gd name="connsiteY985" fmla="*/ 6468833 h 6857997"/>
              <a:gd name="connsiteX986" fmla="*/ 2107530 w 12191996"/>
              <a:gd name="connsiteY986" fmla="*/ 6480902 h 6857997"/>
              <a:gd name="connsiteX987" fmla="*/ 2132151 w 12191996"/>
              <a:gd name="connsiteY987" fmla="*/ 6480902 h 6857997"/>
              <a:gd name="connsiteX988" fmla="*/ 2132151 w 12191996"/>
              <a:gd name="connsiteY988" fmla="*/ 6499948 h 6857997"/>
              <a:gd name="connsiteX989" fmla="*/ 2121238 w 12191996"/>
              <a:gd name="connsiteY989" fmla="*/ 6507412 h 6857997"/>
              <a:gd name="connsiteX990" fmla="*/ 2107806 w 12191996"/>
              <a:gd name="connsiteY990" fmla="*/ 6510552 h 6857997"/>
              <a:gd name="connsiteX991" fmla="*/ 2085479 w 12191996"/>
              <a:gd name="connsiteY991" fmla="*/ 6500323 h 6857997"/>
              <a:gd name="connsiteX992" fmla="*/ 2076898 w 12191996"/>
              <a:gd name="connsiteY992" fmla="*/ 6469566 h 6857997"/>
              <a:gd name="connsiteX993" fmla="*/ 2080910 w 12191996"/>
              <a:gd name="connsiteY993" fmla="*/ 6446734 h 6857997"/>
              <a:gd name="connsiteX994" fmla="*/ 2091514 w 12191996"/>
              <a:gd name="connsiteY994" fmla="*/ 6432944 h 6857997"/>
              <a:gd name="connsiteX995" fmla="*/ 2107247 w 12191996"/>
              <a:gd name="connsiteY995" fmla="*/ 6428510 h 6857997"/>
              <a:gd name="connsiteX996" fmla="*/ 2118547 w 12191996"/>
              <a:gd name="connsiteY996" fmla="*/ 6430952 h 6857997"/>
              <a:gd name="connsiteX997" fmla="*/ 2126643 w 12191996"/>
              <a:gd name="connsiteY997" fmla="*/ 6437684 h 6857997"/>
              <a:gd name="connsiteX998" fmla="*/ 2131738 w 12191996"/>
              <a:gd name="connsiteY998" fmla="*/ 6450625 h 6857997"/>
              <a:gd name="connsiteX999" fmla="*/ 2141711 w 12191996"/>
              <a:gd name="connsiteY999" fmla="*/ 6447277 h 6857997"/>
              <a:gd name="connsiteX1000" fmla="*/ 2135015 w 12191996"/>
              <a:gd name="connsiteY1000" fmla="*/ 6430045 h 6857997"/>
              <a:gd name="connsiteX1001" fmla="*/ 2123643 w 12191996"/>
              <a:gd name="connsiteY1001" fmla="*/ 6420348 h 6857997"/>
              <a:gd name="connsiteX1002" fmla="*/ 2107530 w 12191996"/>
              <a:gd name="connsiteY1002" fmla="*/ 6416930 h 6857997"/>
              <a:gd name="connsiteX1003" fmla="*/ 1516105 w 12191996"/>
              <a:gd name="connsiteY1003" fmla="*/ 6416930 h 6857997"/>
              <a:gd name="connsiteX1004" fmla="*/ 1494478 w 12191996"/>
              <a:gd name="connsiteY1004" fmla="*/ 6424813 h 6857997"/>
              <a:gd name="connsiteX1005" fmla="*/ 1486455 w 12191996"/>
              <a:gd name="connsiteY1005" fmla="*/ 6445114 h 6857997"/>
              <a:gd name="connsiteX1006" fmla="*/ 1489246 w 12191996"/>
              <a:gd name="connsiteY1006" fmla="*/ 6457497 h 6857997"/>
              <a:gd name="connsiteX1007" fmla="*/ 1497059 w 12191996"/>
              <a:gd name="connsiteY1007" fmla="*/ 6466531 h 6857997"/>
              <a:gd name="connsiteX1008" fmla="*/ 1513942 w 12191996"/>
              <a:gd name="connsiteY1008" fmla="*/ 6473610 h 6857997"/>
              <a:gd name="connsiteX1009" fmla="*/ 1531278 w 12191996"/>
              <a:gd name="connsiteY1009" fmla="*/ 6479712 h 6857997"/>
              <a:gd name="connsiteX1010" fmla="*/ 1537278 w 12191996"/>
              <a:gd name="connsiteY1010" fmla="*/ 6485247 h 6857997"/>
              <a:gd name="connsiteX1011" fmla="*/ 1539266 w 12191996"/>
              <a:gd name="connsiteY1011" fmla="*/ 6493148 h 6857997"/>
              <a:gd name="connsiteX1012" fmla="*/ 1533790 w 12191996"/>
              <a:gd name="connsiteY1012" fmla="*/ 6505714 h 6857997"/>
              <a:gd name="connsiteX1013" fmla="*/ 1518407 w 12191996"/>
              <a:gd name="connsiteY1013" fmla="*/ 6510552 h 6857997"/>
              <a:gd name="connsiteX1014" fmla="*/ 1505989 w 12191996"/>
              <a:gd name="connsiteY1014" fmla="*/ 6507691 h 6857997"/>
              <a:gd name="connsiteX1015" fmla="*/ 1497513 w 12191996"/>
              <a:gd name="connsiteY1015" fmla="*/ 6500122 h 6857997"/>
              <a:gd name="connsiteX1016" fmla="*/ 1493711 w 12191996"/>
              <a:gd name="connsiteY1016" fmla="*/ 6486972 h 6857997"/>
              <a:gd name="connsiteX1017" fmla="*/ 1483246 w 12191996"/>
              <a:gd name="connsiteY1017" fmla="*/ 6488088 h 6857997"/>
              <a:gd name="connsiteX1018" fmla="*/ 1492839 w 12191996"/>
              <a:gd name="connsiteY1018" fmla="*/ 6513412 h 6857997"/>
              <a:gd name="connsiteX1019" fmla="*/ 1517639 w 12191996"/>
              <a:gd name="connsiteY1019" fmla="*/ 6522760 h 6857997"/>
              <a:gd name="connsiteX1020" fmla="*/ 1534697 w 12191996"/>
              <a:gd name="connsiteY1020" fmla="*/ 6518997 h 6857997"/>
              <a:gd name="connsiteX1021" fmla="*/ 1545894 w 12191996"/>
              <a:gd name="connsiteY1021" fmla="*/ 6508021 h 6857997"/>
              <a:gd name="connsiteX1022" fmla="*/ 1550010 w 12191996"/>
              <a:gd name="connsiteY1022" fmla="*/ 6492029 h 6857997"/>
              <a:gd name="connsiteX1023" fmla="*/ 1546095 w 12191996"/>
              <a:gd name="connsiteY1023" fmla="*/ 6476801 h 6857997"/>
              <a:gd name="connsiteX1024" fmla="*/ 1534510 w 12191996"/>
              <a:gd name="connsiteY1024" fmla="*/ 6466501 h 6857997"/>
              <a:gd name="connsiteX1025" fmla="*/ 1517077 w 12191996"/>
              <a:gd name="connsiteY1025" fmla="*/ 6460544 h 6857997"/>
              <a:gd name="connsiteX1026" fmla="*/ 1500758 w 12191996"/>
              <a:gd name="connsiteY1026" fmla="*/ 6453622 h 6857997"/>
              <a:gd name="connsiteX1027" fmla="*/ 1497129 w 12191996"/>
              <a:gd name="connsiteY1027" fmla="*/ 6443996 h 6857997"/>
              <a:gd name="connsiteX1028" fmla="*/ 1502082 w 12191996"/>
              <a:gd name="connsiteY1028" fmla="*/ 6433079 h 6857997"/>
              <a:gd name="connsiteX1029" fmla="*/ 1516453 w 12191996"/>
              <a:gd name="connsiteY1029" fmla="*/ 6428859 h 6857997"/>
              <a:gd name="connsiteX1030" fmla="*/ 1530860 w 12191996"/>
              <a:gd name="connsiteY1030" fmla="*/ 6433673 h 6857997"/>
              <a:gd name="connsiteX1031" fmla="*/ 1536824 w 12191996"/>
              <a:gd name="connsiteY1031" fmla="*/ 6448463 h 6857997"/>
              <a:gd name="connsiteX1032" fmla="*/ 1547498 w 12191996"/>
              <a:gd name="connsiteY1032" fmla="*/ 6447486 h 6857997"/>
              <a:gd name="connsiteX1033" fmla="*/ 1543347 w 12191996"/>
              <a:gd name="connsiteY1033" fmla="*/ 6431231 h 6857997"/>
              <a:gd name="connsiteX1034" fmla="*/ 1532464 w 12191996"/>
              <a:gd name="connsiteY1034" fmla="*/ 6420627 h 6857997"/>
              <a:gd name="connsiteX1035" fmla="*/ 1516105 w 12191996"/>
              <a:gd name="connsiteY1035" fmla="*/ 6416930 h 6857997"/>
              <a:gd name="connsiteX1036" fmla="*/ 999314 w 12191996"/>
              <a:gd name="connsiteY1036" fmla="*/ 6416930 h 6857997"/>
              <a:gd name="connsiteX1037" fmla="*/ 979202 w 12191996"/>
              <a:gd name="connsiteY1037" fmla="*/ 6422898 h 6857997"/>
              <a:gd name="connsiteX1038" fmla="*/ 964922 w 12191996"/>
              <a:gd name="connsiteY1038" fmla="*/ 6440560 h 6857997"/>
              <a:gd name="connsiteX1039" fmla="*/ 959650 w 12191996"/>
              <a:gd name="connsiteY1039" fmla="*/ 6469147 h 6857997"/>
              <a:gd name="connsiteX1040" fmla="*/ 964918 w 12191996"/>
              <a:gd name="connsiteY1040" fmla="*/ 6498816 h 6857997"/>
              <a:gd name="connsiteX1041" fmla="*/ 978452 w 12191996"/>
              <a:gd name="connsiteY1041" fmla="*/ 6517071 h 6857997"/>
              <a:gd name="connsiteX1042" fmla="*/ 998369 w 12191996"/>
              <a:gd name="connsiteY1042" fmla="*/ 6522760 h 6857997"/>
              <a:gd name="connsiteX1043" fmla="*/ 1020867 w 12191996"/>
              <a:gd name="connsiteY1043" fmla="*/ 6514284 h 6857997"/>
              <a:gd name="connsiteX1044" fmla="*/ 1033809 w 12191996"/>
              <a:gd name="connsiteY1044" fmla="*/ 6488576 h 6857997"/>
              <a:gd name="connsiteX1045" fmla="*/ 1022646 w 12191996"/>
              <a:gd name="connsiteY1045" fmla="*/ 6485158 h 6857997"/>
              <a:gd name="connsiteX1046" fmla="*/ 1013821 w 12191996"/>
              <a:gd name="connsiteY1046" fmla="*/ 6504727 h 6857997"/>
              <a:gd name="connsiteX1047" fmla="*/ 998160 w 12191996"/>
              <a:gd name="connsiteY1047" fmla="*/ 6511180 h 6857997"/>
              <a:gd name="connsiteX1048" fmla="*/ 978486 w 12191996"/>
              <a:gd name="connsiteY1048" fmla="*/ 6500672 h 6857997"/>
              <a:gd name="connsiteX1049" fmla="*/ 971092 w 12191996"/>
              <a:gd name="connsiteY1049" fmla="*/ 6469146 h 6857997"/>
              <a:gd name="connsiteX1050" fmla="*/ 974759 w 12191996"/>
              <a:gd name="connsiteY1050" fmla="*/ 6446176 h 6857997"/>
              <a:gd name="connsiteX1051" fmla="*/ 984574 w 12191996"/>
              <a:gd name="connsiteY1051" fmla="*/ 6432805 h 6857997"/>
              <a:gd name="connsiteX1052" fmla="*/ 999106 w 12191996"/>
              <a:gd name="connsiteY1052" fmla="*/ 6428510 h 6857997"/>
              <a:gd name="connsiteX1053" fmla="*/ 1021530 w 12191996"/>
              <a:gd name="connsiteY1053" fmla="*/ 6449788 h 6857997"/>
              <a:gd name="connsiteX1054" fmla="*/ 1032413 w 12191996"/>
              <a:gd name="connsiteY1054" fmla="*/ 6446649 h 6857997"/>
              <a:gd name="connsiteX1055" fmla="*/ 1020193 w 12191996"/>
              <a:gd name="connsiteY1055" fmla="*/ 6424481 h 6857997"/>
              <a:gd name="connsiteX1056" fmla="*/ 999314 w 12191996"/>
              <a:gd name="connsiteY1056" fmla="*/ 6416930 h 6857997"/>
              <a:gd name="connsiteX1057" fmla="*/ 11136920 w 12191996"/>
              <a:gd name="connsiteY1057" fmla="*/ 6415084 h 6857997"/>
              <a:gd name="connsiteX1058" fmla="*/ 11180757 w 12191996"/>
              <a:gd name="connsiteY1058" fmla="*/ 6458741 h 6857997"/>
              <a:gd name="connsiteX1059" fmla="*/ 11136920 w 12191996"/>
              <a:gd name="connsiteY1059" fmla="*/ 6502397 h 6857997"/>
              <a:gd name="connsiteX1060" fmla="*/ 11093445 w 12191996"/>
              <a:gd name="connsiteY1060" fmla="*/ 6457621 h 6857997"/>
              <a:gd name="connsiteX1061" fmla="*/ 11136920 w 12191996"/>
              <a:gd name="connsiteY1061" fmla="*/ 6415084 h 6857997"/>
              <a:gd name="connsiteX1062" fmla="*/ 11241084 w 12191996"/>
              <a:gd name="connsiteY1062" fmla="*/ 6397622 h 6857997"/>
              <a:gd name="connsiteX1063" fmla="*/ 11241084 w 12191996"/>
              <a:gd name="connsiteY1063" fmla="*/ 6521447 h 6857997"/>
              <a:gd name="connsiteX1064" fmla="*/ 11276259 w 12191996"/>
              <a:gd name="connsiteY1064" fmla="*/ 6521447 h 6857997"/>
              <a:gd name="connsiteX1065" fmla="*/ 11274446 w 12191996"/>
              <a:gd name="connsiteY1065" fmla="*/ 6427562 h 6857997"/>
              <a:gd name="connsiteX1066" fmla="*/ 11344433 w 12191996"/>
              <a:gd name="connsiteY1066" fmla="*/ 6521447 h 6857997"/>
              <a:gd name="connsiteX1067" fmla="*/ 11383959 w 12191996"/>
              <a:gd name="connsiteY1067" fmla="*/ 6521447 h 6857997"/>
              <a:gd name="connsiteX1068" fmla="*/ 11383959 w 12191996"/>
              <a:gd name="connsiteY1068" fmla="*/ 6397622 h 6857997"/>
              <a:gd name="connsiteX1069" fmla="*/ 11349147 w 12191996"/>
              <a:gd name="connsiteY1069" fmla="*/ 6397622 h 6857997"/>
              <a:gd name="connsiteX1070" fmla="*/ 11350597 w 12191996"/>
              <a:gd name="connsiteY1070" fmla="*/ 6486702 h 6857997"/>
              <a:gd name="connsiteX1071" fmla="*/ 11284237 w 12191996"/>
              <a:gd name="connsiteY1071" fmla="*/ 6397622 h 6857997"/>
              <a:gd name="connsiteX1072" fmla="*/ 10998196 w 12191996"/>
              <a:gd name="connsiteY1072" fmla="*/ 6397622 h 6857997"/>
              <a:gd name="connsiteX1073" fmla="*/ 10998196 w 12191996"/>
              <a:gd name="connsiteY1073" fmla="*/ 6521447 h 6857997"/>
              <a:gd name="connsiteX1074" fmla="*/ 11033121 w 12191996"/>
              <a:gd name="connsiteY1074" fmla="*/ 6521447 h 6857997"/>
              <a:gd name="connsiteX1075" fmla="*/ 11033121 w 12191996"/>
              <a:gd name="connsiteY1075" fmla="*/ 6397622 h 6857997"/>
              <a:gd name="connsiteX1076" fmla="*/ 10760071 w 12191996"/>
              <a:gd name="connsiteY1076" fmla="*/ 6397622 h 6857997"/>
              <a:gd name="connsiteX1077" fmla="*/ 10760071 w 12191996"/>
              <a:gd name="connsiteY1077" fmla="*/ 6521447 h 6857997"/>
              <a:gd name="connsiteX1078" fmla="*/ 10794996 w 12191996"/>
              <a:gd name="connsiteY1078" fmla="*/ 6521447 h 6857997"/>
              <a:gd name="connsiteX1079" fmla="*/ 10794996 w 12191996"/>
              <a:gd name="connsiteY1079" fmla="*/ 6397622 h 6857997"/>
              <a:gd name="connsiteX1080" fmla="*/ 10637569 w 12191996"/>
              <a:gd name="connsiteY1080" fmla="*/ 6397622 h 6857997"/>
              <a:gd name="connsiteX1081" fmla="*/ 10580684 w 12191996"/>
              <a:gd name="connsiteY1081" fmla="*/ 6435324 h 6857997"/>
              <a:gd name="connsiteX1082" fmla="*/ 10634670 w 12191996"/>
              <a:gd name="connsiteY1082" fmla="*/ 6471178 h 6857997"/>
              <a:gd name="connsiteX1083" fmla="*/ 10674888 w 12191996"/>
              <a:gd name="connsiteY1083" fmla="*/ 6471178 h 6857997"/>
              <a:gd name="connsiteX1084" fmla="*/ 10699163 w 12191996"/>
              <a:gd name="connsiteY1084" fmla="*/ 6485224 h 6857997"/>
              <a:gd name="connsiteX1085" fmla="*/ 10672714 w 12191996"/>
              <a:gd name="connsiteY1085" fmla="*/ 6499270 h 6857997"/>
              <a:gd name="connsiteX1086" fmla="*/ 10587206 w 12191996"/>
              <a:gd name="connsiteY1086" fmla="*/ 6499270 h 6857997"/>
              <a:gd name="connsiteX1087" fmla="*/ 10587206 w 12191996"/>
              <a:gd name="connsiteY1087" fmla="*/ 6521447 h 6857997"/>
              <a:gd name="connsiteX1088" fmla="*/ 10678149 w 12191996"/>
              <a:gd name="connsiteY1088" fmla="*/ 6521447 h 6857997"/>
              <a:gd name="connsiteX1089" fmla="*/ 10734671 w 12191996"/>
              <a:gd name="connsiteY1089" fmla="*/ 6484115 h 6857997"/>
              <a:gd name="connsiteX1090" fmla="*/ 10683221 w 12191996"/>
              <a:gd name="connsiteY1090" fmla="*/ 6449370 h 6857997"/>
              <a:gd name="connsiteX1091" fmla="*/ 10637931 w 12191996"/>
              <a:gd name="connsiteY1091" fmla="*/ 6449370 h 6857997"/>
              <a:gd name="connsiteX1092" fmla="*/ 10616554 w 12191996"/>
              <a:gd name="connsiteY1092" fmla="*/ 6435694 h 6857997"/>
              <a:gd name="connsiteX1093" fmla="*/ 10642641 w 12191996"/>
              <a:gd name="connsiteY1093" fmla="*/ 6419430 h 6857997"/>
              <a:gd name="connsiteX1094" fmla="*/ 10726700 w 12191996"/>
              <a:gd name="connsiteY1094" fmla="*/ 6419430 h 6857997"/>
              <a:gd name="connsiteX1095" fmla="*/ 10726700 w 12191996"/>
              <a:gd name="connsiteY1095" fmla="*/ 6397622 h 6857997"/>
              <a:gd name="connsiteX1096" fmla="*/ 10413996 w 12191996"/>
              <a:gd name="connsiteY1096" fmla="*/ 6397622 h 6857997"/>
              <a:gd name="connsiteX1097" fmla="*/ 10413996 w 12191996"/>
              <a:gd name="connsiteY1097" fmla="*/ 6521447 h 6857997"/>
              <a:gd name="connsiteX1098" fmla="*/ 10448897 w 12191996"/>
              <a:gd name="connsiteY1098" fmla="*/ 6521447 h 6857997"/>
              <a:gd name="connsiteX1099" fmla="*/ 10447443 w 12191996"/>
              <a:gd name="connsiteY1099" fmla="*/ 6427562 h 6857997"/>
              <a:gd name="connsiteX1100" fmla="*/ 10517608 w 12191996"/>
              <a:gd name="connsiteY1100" fmla="*/ 6521447 h 6857997"/>
              <a:gd name="connsiteX1101" fmla="*/ 10556871 w 12191996"/>
              <a:gd name="connsiteY1101" fmla="*/ 6521447 h 6857997"/>
              <a:gd name="connsiteX1102" fmla="*/ 10556871 w 12191996"/>
              <a:gd name="connsiteY1102" fmla="*/ 6397622 h 6857997"/>
              <a:gd name="connsiteX1103" fmla="*/ 10522334 w 12191996"/>
              <a:gd name="connsiteY1103" fmla="*/ 6397622 h 6857997"/>
              <a:gd name="connsiteX1104" fmla="*/ 10523788 w 12191996"/>
              <a:gd name="connsiteY1104" fmla="*/ 6486702 h 6857997"/>
              <a:gd name="connsiteX1105" fmla="*/ 10457258 w 12191996"/>
              <a:gd name="connsiteY1105" fmla="*/ 6397622 h 6857997"/>
              <a:gd name="connsiteX1106" fmla="*/ 10327466 w 12191996"/>
              <a:gd name="connsiteY1106" fmla="*/ 6397622 h 6857997"/>
              <a:gd name="connsiteX1107" fmla="*/ 10252071 w 12191996"/>
              <a:gd name="connsiteY1107" fmla="*/ 6461568 h 6857997"/>
              <a:gd name="connsiteX1108" fmla="*/ 10276844 w 12191996"/>
              <a:gd name="connsiteY1108" fmla="*/ 6510358 h 6857997"/>
              <a:gd name="connsiteX1109" fmla="*/ 10326748 w 12191996"/>
              <a:gd name="connsiteY1109" fmla="*/ 6521447 h 6857997"/>
              <a:gd name="connsiteX1110" fmla="*/ 10383833 w 12191996"/>
              <a:gd name="connsiteY1110" fmla="*/ 6521447 h 6857997"/>
              <a:gd name="connsiteX1111" fmla="*/ 10383833 w 12191996"/>
              <a:gd name="connsiteY1111" fmla="*/ 6499639 h 6857997"/>
              <a:gd name="connsiteX1112" fmla="*/ 10328184 w 12191996"/>
              <a:gd name="connsiteY1112" fmla="*/ 6499639 h 6857997"/>
              <a:gd name="connsiteX1113" fmla="*/ 10290128 w 12191996"/>
              <a:gd name="connsiteY1113" fmla="*/ 6469330 h 6857997"/>
              <a:gd name="connsiteX1114" fmla="*/ 10383833 w 12191996"/>
              <a:gd name="connsiteY1114" fmla="*/ 6469330 h 6857997"/>
              <a:gd name="connsiteX1115" fmla="*/ 10383833 w 12191996"/>
              <a:gd name="connsiteY1115" fmla="*/ 6447892 h 6857997"/>
              <a:gd name="connsiteX1116" fmla="*/ 10290128 w 12191996"/>
              <a:gd name="connsiteY1116" fmla="*/ 6447892 h 6857997"/>
              <a:gd name="connsiteX1117" fmla="*/ 10328184 w 12191996"/>
              <a:gd name="connsiteY1117" fmla="*/ 6419061 h 6857997"/>
              <a:gd name="connsiteX1118" fmla="*/ 10383833 w 12191996"/>
              <a:gd name="connsiteY1118" fmla="*/ 6419061 h 6857997"/>
              <a:gd name="connsiteX1119" fmla="*/ 10383833 w 12191996"/>
              <a:gd name="connsiteY1119" fmla="*/ 6397622 h 6857997"/>
              <a:gd name="connsiteX1120" fmla="*/ 10139094 w 12191996"/>
              <a:gd name="connsiteY1120" fmla="*/ 6397622 h 6857997"/>
              <a:gd name="connsiteX1121" fmla="*/ 10082209 w 12191996"/>
              <a:gd name="connsiteY1121" fmla="*/ 6435324 h 6857997"/>
              <a:gd name="connsiteX1122" fmla="*/ 10136195 w 12191996"/>
              <a:gd name="connsiteY1122" fmla="*/ 6471178 h 6857997"/>
              <a:gd name="connsiteX1123" fmla="*/ 10176413 w 12191996"/>
              <a:gd name="connsiteY1123" fmla="*/ 6471178 h 6857997"/>
              <a:gd name="connsiteX1124" fmla="*/ 10200326 w 12191996"/>
              <a:gd name="connsiteY1124" fmla="*/ 6485224 h 6857997"/>
              <a:gd name="connsiteX1125" fmla="*/ 10173877 w 12191996"/>
              <a:gd name="connsiteY1125" fmla="*/ 6499270 h 6857997"/>
              <a:gd name="connsiteX1126" fmla="*/ 10088731 w 12191996"/>
              <a:gd name="connsiteY1126" fmla="*/ 6499270 h 6857997"/>
              <a:gd name="connsiteX1127" fmla="*/ 10088731 w 12191996"/>
              <a:gd name="connsiteY1127" fmla="*/ 6521447 h 6857997"/>
              <a:gd name="connsiteX1128" fmla="*/ 10179311 w 12191996"/>
              <a:gd name="connsiteY1128" fmla="*/ 6521447 h 6857997"/>
              <a:gd name="connsiteX1129" fmla="*/ 10236196 w 12191996"/>
              <a:gd name="connsiteY1129" fmla="*/ 6484115 h 6857997"/>
              <a:gd name="connsiteX1130" fmla="*/ 10184384 w 12191996"/>
              <a:gd name="connsiteY1130" fmla="*/ 6449370 h 6857997"/>
              <a:gd name="connsiteX1131" fmla="*/ 10139456 w 12191996"/>
              <a:gd name="connsiteY1131" fmla="*/ 6449370 h 6857997"/>
              <a:gd name="connsiteX1132" fmla="*/ 10117717 w 12191996"/>
              <a:gd name="connsiteY1132" fmla="*/ 6435694 h 6857997"/>
              <a:gd name="connsiteX1133" fmla="*/ 10144166 w 12191996"/>
              <a:gd name="connsiteY1133" fmla="*/ 6419430 h 6857997"/>
              <a:gd name="connsiteX1134" fmla="*/ 10228225 w 12191996"/>
              <a:gd name="connsiteY1134" fmla="*/ 6419430 h 6857997"/>
              <a:gd name="connsiteX1135" fmla="*/ 10228225 w 12191996"/>
              <a:gd name="connsiteY1135" fmla="*/ 6397622 h 6857997"/>
              <a:gd name="connsiteX1136" fmla="*/ 10828333 w 12191996"/>
              <a:gd name="connsiteY1136" fmla="*/ 6397621 h 6857997"/>
              <a:gd name="connsiteX1137" fmla="*/ 10828333 w 12191996"/>
              <a:gd name="connsiteY1137" fmla="*/ 6521446 h 6857997"/>
              <a:gd name="connsiteX1138" fmla="*/ 10862629 w 12191996"/>
              <a:gd name="connsiteY1138" fmla="*/ 6521446 h 6857997"/>
              <a:gd name="connsiteX1139" fmla="*/ 10862629 w 12191996"/>
              <a:gd name="connsiteY1139" fmla="*/ 6472655 h 6857997"/>
              <a:gd name="connsiteX1140" fmla="*/ 10903128 w 12191996"/>
              <a:gd name="connsiteY1140" fmla="*/ 6472655 h 6857997"/>
              <a:gd name="connsiteX1141" fmla="*/ 10938884 w 12191996"/>
              <a:gd name="connsiteY1141" fmla="*/ 6521446 h 6857997"/>
              <a:gd name="connsiteX1142" fmla="*/ 10977558 w 12191996"/>
              <a:gd name="connsiteY1142" fmla="*/ 6521446 h 6857997"/>
              <a:gd name="connsiteX1143" fmla="*/ 10937059 w 12191996"/>
              <a:gd name="connsiteY1143" fmla="*/ 6469698 h 6857997"/>
              <a:gd name="connsiteX1144" fmla="*/ 10969896 w 12191996"/>
              <a:gd name="connsiteY1144" fmla="*/ 6434584 h 6857997"/>
              <a:gd name="connsiteX1145" fmla="*/ 10912979 w 12191996"/>
              <a:gd name="connsiteY1145" fmla="*/ 6397621 h 6857997"/>
              <a:gd name="connsiteX1146" fmla="*/ 11137895 w 12191996"/>
              <a:gd name="connsiteY1146" fmla="*/ 6394446 h 6857997"/>
              <a:gd name="connsiteX1147" fmla="*/ 11056933 w 12191996"/>
              <a:gd name="connsiteY1147" fmla="*/ 6457451 h 6857997"/>
              <a:gd name="connsiteX1148" fmla="*/ 11137895 w 12191996"/>
              <a:gd name="connsiteY1148" fmla="*/ 6523034 h 6857997"/>
              <a:gd name="connsiteX1149" fmla="*/ 11218858 w 12191996"/>
              <a:gd name="connsiteY1149" fmla="*/ 6458556 h 6857997"/>
              <a:gd name="connsiteX1150" fmla="*/ 11137895 w 12191996"/>
              <a:gd name="connsiteY1150" fmla="*/ 6394446 h 6857997"/>
              <a:gd name="connsiteX1151" fmla="*/ 0 w 12191996"/>
              <a:gd name="connsiteY1151" fmla="*/ 0 h 6857997"/>
              <a:gd name="connsiteX1152" fmla="*/ 12191996 w 12191996"/>
              <a:gd name="connsiteY1152" fmla="*/ 0 h 6857997"/>
              <a:gd name="connsiteX1153" fmla="*/ 12191996 w 12191996"/>
              <a:gd name="connsiteY1153" fmla="*/ 6857997 h 6857997"/>
              <a:gd name="connsiteX1154" fmla="*/ 0 w 12191996"/>
              <a:gd name="connsiteY1154" fmla="*/ 6857997 h 6857997"/>
              <a:gd name="connsiteX1155" fmla="*/ 0 w 12191996"/>
              <a:gd name="connsiteY1155" fmla="*/ 6237283 h 6857997"/>
              <a:gd name="connsiteX1156" fmla="*/ 6095995 w 12191996"/>
              <a:gd name="connsiteY1156" fmla="*/ 6237283 h 6857997"/>
              <a:gd name="connsiteX1157" fmla="*/ 6095995 w 12191996"/>
              <a:gd name="connsiteY1157" fmla="*/ 3138970 h 6857997"/>
              <a:gd name="connsiteX1158" fmla="*/ 0 w 12191996"/>
              <a:gd name="connsiteY1158" fmla="*/ 3138970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91996" h="6857997">
                <a:moveTo>
                  <a:pt x="11197257" y="6583359"/>
                </a:moveTo>
                <a:lnTo>
                  <a:pt x="11207745" y="6602409"/>
                </a:lnTo>
                <a:lnTo>
                  <a:pt x="11187108" y="6602409"/>
                </a:lnTo>
                <a:close/>
                <a:moveTo>
                  <a:pt x="11114083" y="6583359"/>
                </a:moveTo>
                <a:lnTo>
                  <a:pt x="11131338" y="6583359"/>
                </a:lnTo>
                <a:cubicBezTo>
                  <a:pt x="11141347" y="6583359"/>
                  <a:pt x="11145833" y="6584696"/>
                  <a:pt x="11145833" y="6589709"/>
                </a:cubicBezTo>
                <a:cubicBezTo>
                  <a:pt x="11145833" y="6594054"/>
                  <a:pt x="11141347" y="6596059"/>
                  <a:pt x="11132374" y="6596059"/>
                </a:cubicBezTo>
                <a:lnTo>
                  <a:pt x="11114083" y="6596059"/>
                </a:lnTo>
                <a:close/>
                <a:moveTo>
                  <a:pt x="10745783" y="6583359"/>
                </a:moveTo>
                <a:lnTo>
                  <a:pt x="10765350" y="6583359"/>
                </a:lnTo>
                <a:cubicBezTo>
                  <a:pt x="10774772" y="6583359"/>
                  <a:pt x="10779120" y="6584370"/>
                  <a:pt x="10779120" y="6588747"/>
                </a:cubicBezTo>
                <a:cubicBezTo>
                  <a:pt x="10779120" y="6593125"/>
                  <a:pt x="10774772" y="6594472"/>
                  <a:pt x="10765350" y="6594472"/>
                </a:cubicBezTo>
                <a:lnTo>
                  <a:pt x="10745783" y="6594472"/>
                </a:lnTo>
                <a:close/>
                <a:moveTo>
                  <a:pt x="10949955" y="6581771"/>
                </a:moveTo>
                <a:cubicBezTo>
                  <a:pt x="10963542" y="6581771"/>
                  <a:pt x="10969620" y="6587267"/>
                  <a:pt x="10969620" y="6598623"/>
                </a:cubicBezTo>
                <a:cubicBezTo>
                  <a:pt x="10969620" y="6609614"/>
                  <a:pt x="10963542" y="6615109"/>
                  <a:pt x="10949955" y="6615109"/>
                </a:cubicBezTo>
                <a:cubicBezTo>
                  <a:pt x="10936011" y="6615109"/>
                  <a:pt x="10929933" y="6609614"/>
                  <a:pt x="10929933" y="6598257"/>
                </a:cubicBezTo>
                <a:cubicBezTo>
                  <a:pt x="10929933" y="6587267"/>
                  <a:pt x="10936369" y="6581771"/>
                  <a:pt x="10949955" y="6581771"/>
                </a:cubicBezTo>
                <a:close/>
                <a:moveTo>
                  <a:pt x="10682898" y="6581771"/>
                </a:moveTo>
                <a:cubicBezTo>
                  <a:pt x="10696842" y="6581771"/>
                  <a:pt x="10702920" y="6587267"/>
                  <a:pt x="10702920" y="6598623"/>
                </a:cubicBezTo>
                <a:cubicBezTo>
                  <a:pt x="10702920" y="6609614"/>
                  <a:pt x="10696842" y="6615109"/>
                  <a:pt x="10682898" y="6615109"/>
                </a:cubicBezTo>
                <a:cubicBezTo>
                  <a:pt x="10669311" y="6615109"/>
                  <a:pt x="10663233" y="6609614"/>
                  <a:pt x="10663233" y="6598257"/>
                </a:cubicBezTo>
                <a:cubicBezTo>
                  <a:pt x="10663233" y="6587267"/>
                  <a:pt x="10669669" y="6581771"/>
                  <a:pt x="10682898" y="6581771"/>
                </a:cubicBezTo>
                <a:close/>
                <a:moveTo>
                  <a:pt x="11312520" y="6573834"/>
                </a:moveTo>
                <a:lnTo>
                  <a:pt x="11341079" y="6601258"/>
                </a:lnTo>
                <a:lnTo>
                  <a:pt x="11341079" y="6623047"/>
                </a:lnTo>
                <a:lnTo>
                  <a:pt x="11356624" y="6623047"/>
                </a:lnTo>
                <a:lnTo>
                  <a:pt x="11356624" y="6601258"/>
                </a:lnTo>
                <a:lnTo>
                  <a:pt x="11385545" y="6573834"/>
                </a:lnTo>
                <a:lnTo>
                  <a:pt x="11367470" y="6573834"/>
                </a:lnTo>
                <a:lnTo>
                  <a:pt x="11348671" y="6592618"/>
                </a:lnTo>
                <a:lnTo>
                  <a:pt x="11330234" y="6573834"/>
                </a:lnTo>
                <a:close/>
                <a:moveTo>
                  <a:pt x="11242670" y="6573834"/>
                </a:moveTo>
                <a:lnTo>
                  <a:pt x="11242670" y="6623047"/>
                </a:lnTo>
                <a:lnTo>
                  <a:pt x="11259156" y="6623047"/>
                </a:lnTo>
                <a:lnTo>
                  <a:pt x="11258423" y="6585856"/>
                </a:lnTo>
                <a:lnTo>
                  <a:pt x="11291028" y="6623047"/>
                </a:lnTo>
                <a:lnTo>
                  <a:pt x="11309345" y="6623047"/>
                </a:lnTo>
                <a:lnTo>
                  <a:pt x="11309345" y="6573834"/>
                </a:lnTo>
                <a:lnTo>
                  <a:pt x="11293226" y="6573834"/>
                </a:lnTo>
                <a:lnTo>
                  <a:pt x="11293958" y="6609147"/>
                </a:lnTo>
                <a:lnTo>
                  <a:pt x="11262819" y="6573834"/>
                </a:lnTo>
                <a:close/>
                <a:moveTo>
                  <a:pt x="11189997" y="6573834"/>
                </a:moveTo>
                <a:lnTo>
                  <a:pt x="11158533" y="6623047"/>
                </a:lnTo>
                <a:lnTo>
                  <a:pt x="11174980" y="6623047"/>
                </a:lnTo>
                <a:lnTo>
                  <a:pt x="11181773" y="6611401"/>
                </a:lnTo>
                <a:lnTo>
                  <a:pt x="11213595" y="6611401"/>
                </a:lnTo>
                <a:lnTo>
                  <a:pt x="11220388" y="6623047"/>
                </a:lnTo>
                <a:lnTo>
                  <a:pt x="11237908" y="6623047"/>
                </a:lnTo>
                <a:lnTo>
                  <a:pt x="11206444" y="6573834"/>
                </a:lnTo>
                <a:close/>
                <a:moveTo>
                  <a:pt x="11098208" y="6573834"/>
                </a:moveTo>
                <a:lnTo>
                  <a:pt x="11098208" y="6623047"/>
                </a:lnTo>
                <a:lnTo>
                  <a:pt x="11113502" y="6623047"/>
                </a:lnTo>
                <a:lnTo>
                  <a:pt x="11113502" y="6605766"/>
                </a:lnTo>
                <a:lnTo>
                  <a:pt x="11132352" y="6605766"/>
                </a:lnTo>
                <a:cubicBezTo>
                  <a:pt x="11141599" y="6605766"/>
                  <a:pt x="11148713" y="6605766"/>
                  <a:pt x="11154759" y="6602761"/>
                </a:cubicBezTo>
                <a:cubicBezTo>
                  <a:pt x="11160450" y="6600131"/>
                  <a:pt x="11163295" y="6595999"/>
                  <a:pt x="11163295" y="6589988"/>
                </a:cubicBezTo>
                <a:cubicBezTo>
                  <a:pt x="11163295" y="6583977"/>
                  <a:pt x="11159738" y="6579094"/>
                  <a:pt x="11153336" y="6576464"/>
                </a:cubicBezTo>
                <a:cubicBezTo>
                  <a:pt x="11148713" y="6574586"/>
                  <a:pt x="11141599" y="6573834"/>
                  <a:pt x="11131641" y="6573834"/>
                </a:cubicBezTo>
                <a:close/>
                <a:moveTo>
                  <a:pt x="10998195" y="6573834"/>
                </a:moveTo>
                <a:lnTo>
                  <a:pt x="10998195" y="6623047"/>
                </a:lnTo>
                <a:lnTo>
                  <a:pt x="11014084" y="6623047"/>
                </a:lnTo>
                <a:lnTo>
                  <a:pt x="11012639" y="6584353"/>
                </a:lnTo>
                <a:lnTo>
                  <a:pt x="11032500" y="6623047"/>
                </a:lnTo>
                <a:lnTo>
                  <a:pt x="11049111" y="6623047"/>
                </a:lnTo>
                <a:lnTo>
                  <a:pt x="11068249" y="6584729"/>
                </a:lnTo>
                <a:lnTo>
                  <a:pt x="11066805" y="6623047"/>
                </a:lnTo>
                <a:lnTo>
                  <a:pt x="11082332" y="6623047"/>
                </a:lnTo>
                <a:lnTo>
                  <a:pt x="11082332" y="6573834"/>
                </a:lnTo>
                <a:lnTo>
                  <a:pt x="11059221" y="6573834"/>
                </a:lnTo>
                <a:lnTo>
                  <a:pt x="11040444" y="6611401"/>
                </a:lnTo>
                <a:lnTo>
                  <a:pt x="11021306" y="6573834"/>
                </a:lnTo>
                <a:close/>
                <a:moveTo>
                  <a:pt x="10949776" y="6573834"/>
                </a:moveTo>
                <a:cubicBezTo>
                  <a:pt x="10924422" y="6573834"/>
                  <a:pt x="10912470" y="6581433"/>
                  <a:pt x="10912470" y="6597717"/>
                </a:cubicBezTo>
                <a:cubicBezTo>
                  <a:pt x="10912470" y="6615086"/>
                  <a:pt x="10923698" y="6623047"/>
                  <a:pt x="10949776" y="6623047"/>
                </a:cubicBezTo>
                <a:cubicBezTo>
                  <a:pt x="10975130" y="6623047"/>
                  <a:pt x="10987082" y="6615086"/>
                  <a:pt x="10987082" y="6598441"/>
                </a:cubicBezTo>
                <a:cubicBezTo>
                  <a:pt x="10987082" y="6581433"/>
                  <a:pt x="10975130" y="6573834"/>
                  <a:pt x="10949776" y="6573834"/>
                </a:cubicBezTo>
                <a:close/>
                <a:moveTo>
                  <a:pt x="10879898" y="6573834"/>
                </a:moveTo>
                <a:cubicBezTo>
                  <a:pt x="10855498" y="6573834"/>
                  <a:pt x="10844208" y="6582099"/>
                  <a:pt x="10844208" y="6599380"/>
                </a:cubicBezTo>
                <a:cubicBezTo>
                  <a:pt x="10844208" y="6608396"/>
                  <a:pt x="10848214" y="6614782"/>
                  <a:pt x="10855862" y="6618539"/>
                </a:cubicBezTo>
                <a:cubicBezTo>
                  <a:pt x="10863146" y="6622672"/>
                  <a:pt x="10870065" y="6623047"/>
                  <a:pt x="10879170" y="6623047"/>
                </a:cubicBezTo>
                <a:lnTo>
                  <a:pt x="10906120" y="6623047"/>
                </a:lnTo>
                <a:lnTo>
                  <a:pt x="10906120" y="6614407"/>
                </a:lnTo>
                <a:lnTo>
                  <a:pt x="10879898" y="6614407"/>
                </a:lnTo>
                <a:cubicBezTo>
                  <a:pt x="10866788" y="6614407"/>
                  <a:pt x="10861689" y="6610650"/>
                  <a:pt x="10861689" y="6599756"/>
                </a:cubicBezTo>
                <a:cubicBezTo>
                  <a:pt x="10861689" y="6587734"/>
                  <a:pt x="10866788" y="6582475"/>
                  <a:pt x="10879898" y="6582475"/>
                </a:cubicBezTo>
                <a:lnTo>
                  <a:pt x="10906120" y="6582475"/>
                </a:lnTo>
                <a:lnTo>
                  <a:pt x="10906120" y="6573834"/>
                </a:lnTo>
                <a:close/>
                <a:moveTo>
                  <a:pt x="10729908" y="6573834"/>
                </a:moveTo>
                <a:lnTo>
                  <a:pt x="10729908" y="6623047"/>
                </a:lnTo>
                <a:lnTo>
                  <a:pt x="10745800" y="6623047"/>
                </a:lnTo>
                <a:lnTo>
                  <a:pt x="10745800" y="6603888"/>
                </a:lnTo>
                <a:lnTo>
                  <a:pt x="10765018" y="6603888"/>
                </a:lnTo>
                <a:lnTo>
                  <a:pt x="10781649" y="6623047"/>
                </a:lnTo>
                <a:lnTo>
                  <a:pt x="10799758" y="6623047"/>
                </a:lnTo>
                <a:lnTo>
                  <a:pt x="10780910" y="6602385"/>
                </a:lnTo>
                <a:cubicBezTo>
                  <a:pt x="10790519" y="6601258"/>
                  <a:pt x="10796062" y="6596375"/>
                  <a:pt x="10796062" y="6588861"/>
                </a:cubicBezTo>
                <a:cubicBezTo>
                  <a:pt x="10796062" y="6578342"/>
                  <a:pt x="10787562" y="6573834"/>
                  <a:pt x="10769453" y="6573834"/>
                </a:cubicBezTo>
                <a:close/>
                <a:moveTo>
                  <a:pt x="10683076" y="6573834"/>
                </a:moveTo>
                <a:cubicBezTo>
                  <a:pt x="10658085" y="6573834"/>
                  <a:pt x="10645770" y="6581433"/>
                  <a:pt x="10645770" y="6597717"/>
                </a:cubicBezTo>
                <a:cubicBezTo>
                  <a:pt x="10645770" y="6615086"/>
                  <a:pt x="10657360" y="6623047"/>
                  <a:pt x="10683076" y="6623047"/>
                </a:cubicBezTo>
                <a:cubicBezTo>
                  <a:pt x="10708792" y="6623047"/>
                  <a:pt x="10720382" y="6615086"/>
                  <a:pt x="10720382" y="6598441"/>
                </a:cubicBezTo>
                <a:cubicBezTo>
                  <a:pt x="10720382" y="6581433"/>
                  <a:pt x="10708792" y="6573834"/>
                  <a:pt x="10683076" y="6573834"/>
                </a:cubicBezTo>
                <a:close/>
                <a:moveTo>
                  <a:pt x="10593642" y="6573834"/>
                </a:moveTo>
                <a:cubicBezTo>
                  <a:pt x="10576180" y="6573834"/>
                  <a:pt x="10567983" y="6578342"/>
                  <a:pt x="10567983" y="6588861"/>
                </a:cubicBezTo>
                <a:cubicBezTo>
                  <a:pt x="10567983" y="6598629"/>
                  <a:pt x="10575467" y="6603137"/>
                  <a:pt x="10592573" y="6603137"/>
                </a:cubicBezTo>
                <a:lnTo>
                  <a:pt x="10610748" y="6603137"/>
                </a:lnTo>
                <a:cubicBezTo>
                  <a:pt x="10618232" y="6603137"/>
                  <a:pt x="10621796" y="6604264"/>
                  <a:pt x="10621796" y="6608772"/>
                </a:cubicBezTo>
                <a:cubicBezTo>
                  <a:pt x="10621796" y="6612904"/>
                  <a:pt x="10617876" y="6614407"/>
                  <a:pt x="10609679" y="6614407"/>
                </a:cubicBezTo>
                <a:lnTo>
                  <a:pt x="10570834" y="6614407"/>
                </a:lnTo>
                <a:lnTo>
                  <a:pt x="10570834" y="6623047"/>
                </a:lnTo>
                <a:lnTo>
                  <a:pt x="10612174" y="6623047"/>
                </a:lnTo>
                <a:cubicBezTo>
                  <a:pt x="10629636" y="6623047"/>
                  <a:pt x="10637833" y="6618539"/>
                  <a:pt x="10637833" y="6608396"/>
                </a:cubicBezTo>
                <a:cubicBezTo>
                  <a:pt x="10637833" y="6598253"/>
                  <a:pt x="10630705" y="6594496"/>
                  <a:pt x="10614312" y="6594496"/>
                </a:cubicBezTo>
                <a:lnTo>
                  <a:pt x="10593999" y="6594496"/>
                </a:lnTo>
                <a:cubicBezTo>
                  <a:pt x="10587584" y="6594496"/>
                  <a:pt x="10584020" y="6592618"/>
                  <a:pt x="10584020" y="6589237"/>
                </a:cubicBezTo>
                <a:cubicBezTo>
                  <a:pt x="10584020" y="6584729"/>
                  <a:pt x="10587940" y="6582850"/>
                  <a:pt x="10596137" y="6582850"/>
                </a:cubicBezTo>
                <a:lnTo>
                  <a:pt x="10634269" y="6582850"/>
                </a:lnTo>
                <a:lnTo>
                  <a:pt x="10634269" y="6573834"/>
                </a:lnTo>
                <a:close/>
                <a:moveTo>
                  <a:pt x="10490195" y="6573834"/>
                </a:moveTo>
                <a:lnTo>
                  <a:pt x="10490195" y="6623047"/>
                </a:lnTo>
                <a:lnTo>
                  <a:pt x="10506681" y="6623047"/>
                </a:lnTo>
                <a:lnTo>
                  <a:pt x="10505948" y="6585856"/>
                </a:lnTo>
                <a:lnTo>
                  <a:pt x="10538553" y="6623047"/>
                </a:lnTo>
                <a:lnTo>
                  <a:pt x="10556870" y="6623047"/>
                </a:lnTo>
                <a:lnTo>
                  <a:pt x="10556870" y="6573834"/>
                </a:lnTo>
                <a:lnTo>
                  <a:pt x="10540751" y="6573834"/>
                </a:lnTo>
                <a:lnTo>
                  <a:pt x="10541483" y="6609147"/>
                </a:lnTo>
                <a:lnTo>
                  <a:pt x="10510344" y="6573834"/>
                </a:lnTo>
                <a:close/>
                <a:moveTo>
                  <a:pt x="10450207" y="6573834"/>
                </a:moveTo>
                <a:cubicBezTo>
                  <a:pt x="10426649" y="6573834"/>
                  <a:pt x="10415583" y="6582099"/>
                  <a:pt x="10415583" y="6599380"/>
                </a:cubicBezTo>
                <a:cubicBezTo>
                  <a:pt x="10415583" y="6608396"/>
                  <a:pt x="10419153" y="6614782"/>
                  <a:pt x="10427005" y="6618539"/>
                </a:cubicBezTo>
                <a:cubicBezTo>
                  <a:pt x="10434145" y="6622672"/>
                  <a:pt x="10440927" y="6623047"/>
                  <a:pt x="10449850" y="6623047"/>
                </a:cubicBezTo>
                <a:lnTo>
                  <a:pt x="10475908" y="6623047"/>
                </a:lnTo>
                <a:lnTo>
                  <a:pt x="10475908" y="6614407"/>
                </a:lnTo>
                <a:lnTo>
                  <a:pt x="10450564" y="6614407"/>
                </a:lnTo>
                <a:cubicBezTo>
                  <a:pt x="10438428" y="6614407"/>
                  <a:pt x="10433074" y="6611401"/>
                  <a:pt x="10433074" y="6602385"/>
                </a:cubicBezTo>
                <a:lnTo>
                  <a:pt x="10475908" y="6602385"/>
                </a:lnTo>
                <a:lnTo>
                  <a:pt x="10475908" y="6593745"/>
                </a:lnTo>
                <a:lnTo>
                  <a:pt x="10433074" y="6593745"/>
                </a:lnTo>
                <a:cubicBezTo>
                  <a:pt x="10433788" y="6586231"/>
                  <a:pt x="10439499" y="6582475"/>
                  <a:pt x="10450564" y="6582475"/>
                </a:cubicBezTo>
                <a:lnTo>
                  <a:pt x="10475908" y="6582475"/>
                </a:lnTo>
                <a:lnTo>
                  <a:pt x="10475908" y="6573834"/>
                </a:lnTo>
                <a:close/>
                <a:moveTo>
                  <a:pt x="10363811" y="6573834"/>
                </a:moveTo>
                <a:cubicBezTo>
                  <a:pt x="10345992" y="6573834"/>
                  <a:pt x="10337795" y="6578342"/>
                  <a:pt x="10337795" y="6588861"/>
                </a:cubicBezTo>
                <a:cubicBezTo>
                  <a:pt x="10337795" y="6598629"/>
                  <a:pt x="10345635" y="6603137"/>
                  <a:pt x="10362385" y="6603137"/>
                </a:cubicBezTo>
                <a:lnTo>
                  <a:pt x="10380560" y="6603137"/>
                </a:lnTo>
                <a:cubicBezTo>
                  <a:pt x="10388044" y="6603137"/>
                  <a:pt x="10391608" y="6604264"/>
                  <a:pt x="10391608" y="6608772"/>
                </a:cubicBezTo>
                <a:cubicBezTo>
                  <a:pt x="10391608" y="6612904"/>
                  <a:pt x="10387688" y="6614407"/>
                  <a:pt x="10379491" y="6614407"/>
                </a:cubicBezTo>
                <a:lnTo>
                  <a:pt x="10340646" y="6614407"/>
                </a:lnTo>
                <a:lnTo>
                  <a:pt x="10340646" y="6623047"/>
                </a:lnTo>
                <a:lnTo>
                  <a:pt x="10381986" y="6623047"/>
                </a:lnTo>
                <a:cubicBezTo>
                  <a:pt x="10399448" y="6623047"/>
                  <a:pt x="10407645" y="6618539"/>
                  <a:pt x="10407645" y="6608396"/>
                </a:cubicBezTo>
                <a:cubicBezTo>
                  <a:pt x="10407645" y="6598253"/>
                  <a:pt x="10400874" y="6594496"/>
                  <a:pt x="10384124" y="6594496"/>
                </a:cubicBezTo>
                <a:lnTo>
                  <a:pt x="10363811" y="6594496"/>
                </a:lnTo>
                <a:cubicBezTo>
                  <a:pt x="10357396" y="6594496"/>
                  <a:pt x="10354188" y="6592618"/>
                  <a:pt x="10354188" y="6589237"/>
                </a:cubicBezTo>
                <a:cubicBezTo>
                  <a:pt x="10354188" y="6584729"/>
                  <a:pt x="10357752" y="6582850"/>
                  <a:pt x="10365949" y="6582850"/>
                </a:cubicBezTo>
                <a:lnTo>
                  <a:pt x="10404081" y="6582850"/>
                </a:lnTo>
                <a:lnTo>
                  <a:pt x="10404081" y="6573834"/>
                </a:lnTo>
                <a:close/>
                <a:moveTo>
                  <a:pt x="10261294" y="6573834"/>
                </a:moveTo>
                <a:cubicBezTo>
                  <a:pt x="10237736" y="6573834"/>
                  <a:pt x="10226670" y="6582099"/>
                  <a:pt x="10226670" y="6599380"/>
                </a:cubicBezTo>
                <a:cubicBezTo>
                  <a:pt x="10226670" y="6608396"/>
                  <a:pt x="10230240" y="6614782"/>
                  <a:pt x="10237736" y="6618539"/>
                </a:cubicBezTo>
                <a:cubicBezTo>
                  <a:pt x="10245232" y="6622672"/>
                  <a:pt x="10252014" y="6623047"/>
                  <a:pt x="10260937" y="6623047"/>
                </a:cubicBezTo>
                <a:lnTo>
                  <a:pt x="10286995" y="6623047"/>
                </a:lnTo>
                <a:lnTo>
                  <a:pt x="10286995" y="6614407"/>
                </a:lnTo>
                <a:lnTo>
                  <a:pt x="10261651" y="6614407"/>
                </a:lnTo>
                <a:cubicBezTo>
                  <a:pt x="10249515" y="6614407"/>
                  <a:pt x="10244161" y="6611401"/>
                  <a:pt x="10244161" y="6602385"/>
                </a:cubicBezTo>
                <a:lnTo>
                  <a:pt x="10286995" y="6602385"/>
                </a:lnTo>
                <a:lnTo>
                  <a:pt x="10286995" y="6593745"/>
                </a:lnTo>
                <a:lnTo>
                  <a:pt x="10244161" y="6593745"/>
                </a:lnTo>
                <a:cubicBezTo>
                  <a:pt x="10244875" y="6586231"/>
                  <a:pt x="10250586" y="6582475"/>
                  <a:pt x="10261651" y="6582475"/>
                </a:cubicBezTo>
                <a:lnTo>
                  <a:pt x="10286995" y="6582475"/>
                </a:lnTo>
                <a:lnTo>
                  <a:pt x="10286995" y="6573834"/>
                </a:lnTo>
                <a:close/>
                <a:moveTo>
                  <a:pt x="10155233" y="6573834"/>
                </a:moveTo>
                <a:lnTo>
                  <a:pt x="10155233" y="6623047"/>
                </a:lnTo>
                <a:lnTo>
                  <a:pt x="10170859" y="6623047"/>
                </a:lnTo>
                <a:lnTo>
                  <a:pt x="10170859" y="6602385"/>
                </a:lnTo>
                <a:lnTo>
                  <a:pt x="10199932" y="6602385"/>
                </a:lnTo>
                <a:lnTo>
                  <a:pt x="10199932" y="6623047"/>
                </a:lnTo>
                <a:lnTo>
                  <a:pt x="10215558" y="6623047"/>
                </a:lnTo>
                <a:lnTo>
                  <a:pt x="10215558" y="6573834"/>
                </a:lnTo>
                <a:lnTo>
                  <a:pt x="10199932" y="6573834"/>
                </a:lnTo>
                <a:lnTo>
                  <a:pt x="10199932" y="6593745"/>
                </a:lnTo>
                <a:lnTo>
                  <a:pt x="10170859" y="6593745"/>
                </a:lnTo>
                <a:lnTo>
                  <a:pt x="10170859" y="6573834"/>
                </a:lnTo>
                <a:close/>
                <a:moveTo>
                  <a:pt x="10082208" y="6573834"/>
                </a:moveTo>
                <a:lnTo>
                  <a:pt x="10082208" y="6582163"/>
                </a:lnTo>
                <a:lnTo>
                  <a:pt x="10106570" y="6582163"/>
                </a:lnTo>
                <a:lnTo>
                  <a:pt x="10106570" y="6623047"/>
                </a:lnTo>
                <a:lnTo>
                  <a:pt x="10122569" y="6623047"/>
                </a:lnTo>
                <a:lnTo>
                  <a:pt x="10122569" y="6582163"/>
                </a:lnTo>
                <a:lnTo>
                  <a:pt x="10147295" y="6582163"/>
                </a:lnTo>
                <a:lnTo>
                  <a:pt x="10147295" y="6573834"/>
                </a:lnTo>
                <a:close/>
                <a:moveTo>
                  <a:pt x="2164828" y="6506715"/>
                </a:moveTo>
                <a:lnTo>
                  <a:pt x="2164828" y="6521016"/>
                </a:lnTo>
                <a:lnTo>
                  <a:pt x="2170617" y="6521016"/>
                </a:lnTo>
                <a:cubicBezTo>
                  <a:pt x="2170525" y="6525388"/>
                  <a:pt x="2169942" y="6528679"/>
                  <a:pt x="2168875" y="6530888"/>
                </a:cubicBezTo>
                <a:cubicBezTo>
                  <a:pt x="2167801" y="6533097"/>
                  <a:pt x="2166224" y="6534760"/>
                  <a:pt x="2164132" y="6535876"/>
                </a:cubicBezTo>
                <a:lnTo>
                  <a:pt x="2166989" y="6541248"/>
                </a:lnTo>
                <a:cubicBezTo>
                  <a:pt x="2170103" y="6539573"/>
                  <a:pt x="2172478" y="6537166"/>
                  <a:pt x="2174106" y="6534027"/>
                </a:cubicBezTo>
                <a:cubicBezTo>
                  <a:pt x="2175732" y="6530888"/>
                  <a:pt x="2176545" y="6526551"/>
                  <a:pt x="2176545" y="6521016"/>
                </a:cubicBezTo>
                <a:lnTo>
                  <a:pt x="2176545" y="6506715"/>
                </a:lnTo>
                <a:close/>
                <a:moveTo>
                  <a:pt x="6291678" y="6483832"/>
                </a:moveTo>
                <a:lnTo>
                  <a:pt x="6291678" y="6488437"/>
                </a:lnTo>
                <a:cubicBezTo>
                  <a:pt x="6291678" y="6494529"/>
                  <a:pt x="6290934" y="6499169"/>
                  <a:pt x="6289446" y="6502355"/>
                </a:cubicBezTo>
                <a:cubicBezTo>
                  <a:pt x="6287957" y="6505540"/>
                  <a:pt x="6285713" y="6508087"/>
                  <a:pt x="6282713" y="6509994"/>
                </a:cubicBezTo>
                <a:cubicBezTo>
                  <a:pt x="6279714" y="6511901"/>
                  <a:pt x="6276377" y="6512854"/>
                  <a:pt x="6272702" y="6512854"/>
                </a:cubicBezTo>
                <a:cubicBezTo>
                  <a:pt x="6268842" y="6512854"/>
                  <a:pt x="6265819" y="6511796"/>
                  <a:pt x="6263633" y="6509680"/>
                </a:cubicBezTo>
                <a:cubicBezTo>
                  <a:pt x="6261447" y="6507564"/>
                  <a:pt x="6260354" y="6504738"/>
                  <a:pt x="6260354" y="6501204"/>
                </a:cubicBezTo>
                <a:cubicBezTo>
                  <a:pt x="6260354" y="6498925"/>
                  <a:pt x="6260831" y="6496913"/>
                  <a:pt x="6261784" y="6495169"/>
                </a:cubicBezTo>
                <a:cubicBezTo>
                  <a:pt x="6262738" y="6493425"/>
                  <a:pt x="6264075" y="6492076"/>
                  <a:pt x="6265796" y="6491123"/>
                </a:cubicBezTo>
                <a:cubicBezTo>
                  <a:pt x="6267517" y="6490169"/>
                  <a:pt x="6270540" y="6489321"/>
                  <a:pt x="6274865" y="6488576"/>
                </a:cubicBezTo>
                <a:cubicBezTo>
                  <a:pt x="6282306" y="6487274"/>
                  <a:pt x="6287911" y="6485693"/>
                  <a:pt x="6291678" y="6483832"/>
                </a:cubicBezTo>
                <a:close/>
                <a:moveTo>
                  <a:pt x="2657744" y="6483832"/>
                </a:moveTo>
                <a:lnTo>
                  <a:pt x="2657744" y="6488437"/>
                </a:lnTo>
                <a:cubicBezTo>
                  <a:pt x="2657744" y="6494529"/>
                  <a:pt x="2657002" y="6499169"/>
                  <a:pt x="2655513" y="6502355"/>
                </a:cubicBezTo>
                <a:cubicBezTo>
                  <a:pt x="2654022" y="6505540"/>
                  <a:pt x="2651779" y="6508087"/>
                  <a:pt x="2648779" y="6509994"/>
                </a:cubicBezTo>
                <a:cubicBezTo>
                  <a:pt x="2645781" y="6511901"/>
                  <a:pt x="2642444" y="6512854"/>
                  <a:pt x="2638768" y="6512854"/>
                </a:cubicBezTo>
                <a:cubicBezTo>
                  <a:pt x="2634908" y="6512854"/>
                  <a:pt x="2631884" y="6511796"/>
                  <a:pt x="2629699" y="6509680"/>
                </a:cubicBezTo>
                <a:cubicBezTo>
                  <a:pt x="2627512" y="6507564"/>
                  <a:pt x="2626419" y="6504738"/>
                  <a:pt x="2626419" y="6501204"/>
                </a:cubicBezTo>
                <a:cubicBezTo>
                  <a:pt x="2626419" y="6498925"/>
                  <a:pt x="2626899" y="6496913"/>
                  <a:pt x="2627851" y="6495169"/>
                </a:cubicBezTo>
                <a:cubicBezTo>
                  <a:pt x="2628803" y="6493425"/>
                  <a:pt x="2630143" y="6492076"/>
                  <a:pt x="2631864" y="6491123"/>
                </a:cubicBezTo>
                <a:cubicBezTo>
                  <a:pt x="2633583" y="6490169"/>
                  <a:pt x="2636607" y="6489321"/>
                  <a:pt x="2640931" y="6488576"/>
                </a:cubicBezTo>
                <a:cubicBezTo>
                  <a:pt x="2648373" y="6487274"/>
                  <a:pt x="2653976" y="6485693"/>
                  <a:pt x="2657744" y="6483832"/>
                </a:cubicBezTo>
                <a:close/>
                <a:moveTo>
                  <a:pt x="6087298" y="6455578"/>
                </a:moveTo>
                <a:cubicBezTo>
                  <a:pt x="6092411" y="6455578"/>
                  <a:pt x="6096620" y="6457881"/>
                  <a:pt x="6099922" y="6462485"/>
                </a:cubicBezTo>
                <a:cubicBezTo>
                  <a:pt x="6102201" y="6465648"/>
                  <a:pt x="6103573" y="6470438"/>
                  <a:pt x="6104038" y="6476856"/>
                </a:cubicBezTo>
                <a:lnTo>
                  <a:pt x="6070136" y="6476856"/>
                </a:lnTo>
                <a:cubicBezTo>
                  <a:pt x="6070462" y="6470345"/>
                  <a:pt x="6072252" y="6465171"/>
                  <a:pt x="6075505" y="6461334"/>
                </a:cubicBezTo>
                <a:cubicBezTo>
                  <a:pt x="6078764" y="6457497"/>
                  <a:pt x="6082694" y="6455578"/>
                  <a:pt x="6087298" y="6455578"/>
                </a:cubicBezTo>
                <a:close/>
                <a:moveTo>
                  <a:pt x="6018399" y="6455578"/>
                </a:moveTo>
                <a:cubicBezTo>
                  <a:pt x="6023285" y="6455578"/>
                  <a:pt x="6027334" y="6457962"/>
                  <a:pt x="6030544" y="6462729"/>
                </a:cubicBezTo>
                <a:cubicBezTo>
                  <a:pt x="6033756" y="6467496"/>
                  <a:pt x="6035362" y="6475066"/>
                  <a:pt x="6035362" y="6485437"/>
                </a:cubicBezTo>
                <a:cubicBezTo>
                  <a:pt x="6035362" y="6494460"/>
                  <a:pt x="6033756" y="6501204"/>
                  <a:pt x="6030544" y="6505668"/>
                </a:cubicBezTo>
                <a:cubicBezTo>
                  <a:pt x="6027334" y="6510133"/>
                  <a:pt x="6023542" y="6512366"/>
                  <a:pt x="6019168" y="6512366"/>
                </a:cubicBezTo>
                <a:cubicBezTo>
                  <a:pt x="6014745" y="6512366"/>
                  <a:pt x="6010872" y="6510040"/>
                  <a:pt x="6007544" y="6505389"/>
                </a:cubicBezTo>
                <a:cubicBezTo>
                  <a:pt x="6004217" y="6500738"/>
                  <a:pt x="6002552" y="6493623"/>
                  <a:pt x="6002552" y="6484042"/>
                </a:cubicBezTo>
                <a:cubicBezTo>
                  <a:pt x="6002552" y="6474228"/>
                  <a:pt x="6004113" y="6467031"/>
                  <a:pt x="6007230" y="6462450"/>
                </a:cubicBezTo>
                <a:cubicBezTo>
                  <a:pt x="6010347" y="6457869"/>
                  <a:pt x="6014069" y="6455578"/>
                  <a:pt x="6018399" y="6455578"/>
                </a:cubicBezTo>
                <a:close/>
                <a:moveTo>
                  <a:pt x="5829564" y="6455578"/>
                </a:moveTo>
                <a:cubicBezTo>
                  <a:pt x="5834728" y="6455578"/>
                  <a:pt x="5839051" y="6457918"/>
                  <a:pt x="5842539" y="6462598"/>
                </a:cubicBezTo>
                <a:cubicBezTo>
                  <a:pt x="5846028" y="6467278"/>
                  <a:pt x="5847773" y="6474391"/>
                  <a:pt x="5847773" y="6483937"/>
                </a:cubicBezTo>
                <a:cubicBezTo>
                  <a:pt x="5847773" y="6493437"/>
                  <a:pt x="5846040" y="6500549"/>
                  <a:pt x="5842576" y="6505276"/>
                </a:cubicBezTo>
                <a:cubicBezTo>
                  <a:pt x="5839110" y="6510002"/>
                  <a:pt x="5834960" y="6512366"/>
                  <a:pt x="5830122" y="6512366"/>
                </a:cubicBezTo>
                <a:cubicBezTo>
                  <a:pt x="5824960" y="6512366"/>
                  <a:pt x="5820635" y="6510026"/>
                  <a:pt x="5817145" y="6505346"/>
                </a:cubicBezTo>
                <a:cubicBezTo>
                  <a:pt x="5813658" y="6500666"/>
                  <a:pt x="5811914" y="6493530"/>
                  <a:pt x="5811914" y="6483937"/>
                </a:cubicBezTo>
                <a:cubicBezTo>
                  <a:pt x="5811914" y="6474438"/>
                  <a:pt x="5813635" y="6467336"/>
                  <a:pt x="5817079" y="6462633"/>
                </a:cubicBezTo>
                <a:cubicBezTo>
                  <a:pt x="5820520" y="6457930"/>
                  <a:pt x="5824683" y="6455578"/>
                  <a:pt x="5829564" y="6455578"/>
                </a:cubicBezTo>
                <a:close/>
                <a:moveTo>
                  <a:pt x="2774990" y="6455578"/>
                </a:moveTo>
                <a:cubicBezTo>
                  <a:pt x="2779874" y="6455578"/>
                  <a:pt x="2783923" y="6457962"/>
                  <a:pt x="2787135" y="6462729"/>
                </a:cubicBezTo>
                <a:cubicBezTo>
                  <a:pt x="2790345" y="6467496"/>
                  <a:pt x="2791951" y="6475066"/>
                  <a:pt x="2791951" y="6485437"/>
                </a:cubicBezTo>
                <a:cubicBezTo>
                  <a:pt x="2791951" y="6494460"/>
                  <a:pt x="2790345" y="6501204"/>
                  <a:pt x="2787135" y="6505668"/>
                </a:cubicBezTo>
                <a:cubicBezTo>
                  <a:pt x="2783923" y="6510133"/>
                  <a:pt x="2780133" y="6512366"/>
                  <a:pt x="2775759" y="6512366"/>
                </a:cubicBezTo>
                <a:cubicBezTo>
                  <a:pt x="2771336" y="6512366"/>
                  <a:pt x="2767460" y="6510040"/>
                  <a:pt x="2764133" y="6505389"/>
                </a:cubicBezTo>
                <a:cubicBezTo>
                  <a:pt x="2760806" y="6500738"/>
                  <a:pt x="2759145" y="6493623"/>
                  <a:pt x="2759145" y="6484042"/>
                </a:cubicBezTo>
                <a:cubicBezTo>
                  <a:pt x="2759145" y="6474228"/>
                  <a:pt x="2760704" y="6467031"/>
                  <a:pt x="2763822" y="6462450"/>
                </a:cubicBezTo>
                <a:cubicBezTo>
                  <a:pt x="2766936" y="6457869"/>
                  <a:pt x="2770658" y="6455578"/>
                  <a:pt x="2774990" y="6455578"/>
                </a:cubicBezTo>
                <a:close/>
                <a:moveTo>
                  <a:pt x="2510511" y="6455578"/>
                </a:moveTo>
                <a:cubicBezTo>
                  <a:pt x="2515626" y="6455578"/>
                  <a:pt x="2519836" y="6457881"/>
                  <a:pt x="2523140" y="6462485"/>
                </a:cubicBezTo>
                <a:cubicBezTo>
                  <a:pt x="2525417" y="6465648"/>
                  <a:pt x="2526789" y="6470438"/>
                  <a:pt x="2527255" y="6476856"/>
                </a:cubicBezTo>
                <a:lnTo>
                  <a:pt x="2493349" y="6476856"/>
                </a:lnTo>
                <a:cubicBezTo>
                  <a:pt x="2493675" y="6470345"/>
                  <a:pt x="2495465" y="6465171"/>
                  <a:pt x="2498723" y="6461334"/>
                </a:cubicBezTo>
                <a:cubicBezTo>
                  <a:pt x="2501977" y="6457497"/>
                  <a:pt x="2505907" y="6455578"/>
                  <a:pt x="2510511" y="6455578"/>
                </a:cubicBezTo>
                <a:close/>
                <a:moveTo>
                  <a:pt x="1871776" y="6455578"/>
                </a:moveTo>
                <a:cubicBezTo>
                  <a:pt x="1876939" y="6455578"/>
                  <a:pt x="1881264" y="6457918"/>
                  <a:pt x="1884752" y="6462598"/>
                </a:cubicBezTo>
                <a:cubicBezTo>
                  <a:pt x="1888240" y="6467278"/>
                  <a:pt x="1889984" y="6474391"/>
                  <a:pt x="1889984" y="6483937"/>
                </a:cubicBezTo>
                <a:cubicBezTo>
                  <a:pt x="1889984" y="6493437"/>
                  <a:pt x="1888252" y="6500549"/>
                  <a:pt x="1884787" y="6505276"/>
                </a:cubicBezTo>
                <a:cubicBezTo>
                  <a:pt x="1881322" y="6510002"/>
                  <a:pt x="1877171" y="6512366"/>
                  <a:pt x="1872334" y="6512366"/>
                </a:cubicBezTo>
                <a:cubicBezTo>
                  <a:pt x="1867172" y="6512366"/>
                  <a:pt x="1862846" y="6510026"/>
                  <a:pt x="1859358" y="6505346"/>
                </a:cubicBezTo>
                <a:cubicBezTo>
                  <a:pt x="1855870" y="6500666"/>
                  <a:pt x="1854126" y="6493530"/>
                  <a:pt x="1854126" y="6483937"/>
                </a:cubicBezTo>
                <a:cubicBezTo>
                  <a:pt x="1854126" y="6474438"/>
                  <a:pt x="1855847" y="6467336"/>
                  <a:pt x="1859288" y="6462633"/>
                </a:cubicBezTo>
                <a:cubicBezTo>
                  <a:pt x="1862731" y="6457930"/>
                  <a:pt x="1866893" y="6455578"/>
                  <a:pt x="1871776" y="6455578"/>
                </a:cubicBezTo>
                <a:close/>
                <a:moveTo>
                  <a:pt x="1586584" y="6455578"/>
                </a:moveTo>
                <a:cubicBezTo>
                  <a:pt x="1591700" y="6455578"/>
                  <a:pt x="1595909" y="6457881"/>
                  <a:pt x="1599211" y="6462485"/>
                </a:cubicBezTo>
                <a:cubicBezTo>
                  <a:pt x="1601491" y="6465648"/>
                  <a:pt x="1602862" y="6470438"/>
                  <a:pt x="1603327" y="6476856"/>
                </a:cubicBezTo>
                <a:lnTo>
                  <a:pt x="1569422" y="6476856"/>
                </a:lnTo>
                <a:cubicBezTo>
                  <a:pt x="1569748" y="6470345"/>
                  <a:pt x="1571538" y="6465171"/>
                  <a:pt x="1574794" y="6461334"/>
                </a:cubicBezTo>
                <a:cubicBezTo>
                  <a:pt x="1578050" y="6457497"/>
                  <a:pt x="1581980" y="6455578"/>
                  <a:pt x="1586584" y="6455578"/>
                </a:cubicBezTo>
                <a:close/>
                <a:moveTo>
                  <a:pt x="1317685" y="6455578"/>
                </a:moveTo>
                <a:cubicBezTo>
                  <a:pt x="1322486" y="6455578"/>
                  <a:pt x="1326564" y="6457851"/>
                  <a:pt x="1329920" y="6462398"/>
                </a:cubicBezTo>
                <a:cubicBezTo>
                  <a:pt x="1333275" y="6466944"/>
                  <a:pt x="1334953" y="6473880"/>
                  <a:pt x="1334953" y="6483205"/>
                </a:cubicBezTo>
                <a:cubicBezTo>
                  <a:pt x="1334953" y="6492763"/>
                  <a:pt x="1333322" y="6499734"/>
                  <a:pt x="1330059" y="6504117"/>
                </a:cubicBezTo>
                <a:cubicBezTo>
                  <a:pt x="1326797" y="6508500"/>
                  <a:pt x="1322836" y="6510691"/>
                  <a:pt x="1318175" y="6510691"/>
                </a:cubicBezTo>
                <a:cubicBezTo>
                  <a:pt x="1313514" y="6510691"/>
                  <a:pt x="1309575" y="6508453"/>
                  <a:pt x="1306360" y="6503977"/>
                </a:cubicBezTo>
                <a:cubicBezTo>
                  <a:pt x="1303144" y="6499501"/>
                  <a:pt x="1301536" y="6492390"/>
                  <a:pt x="1301536" y="6482645"/>
                </a:cubicBezTo>
                <a:cubicBezTo>
                  <a:pt x="1301536" y="6473693"/>
                  <a:pt x="1303156" y="6466944"/>
                  <a:pt x="1306395" y="6462398"/>
                </a:cubicBezTo>
                <a:cubicBezTo>
                  <a:pt x="1309635" y="6457851"/>
                  <a:pt x="1313398" y="6455578"/>
                  <a:pt x="1317685" y="6455578"/>
                </a:cubicBezTo>
                <a:close/>
                <a:moveTo>
                  <a:pt x="1071676" y="6455578"/>
                </a:moveTo>
                <a:cubicBezTo>
                  <a:pt x="1076839" y="6455578"/>
                  <a:pt x="1081164" y="6457918"/>
                  <a:pt x="1084652" y="6462598"/>
                </a:cubicBezTo>
                <a:cubicBezTo>
                  <a:pt x="1088140" y="6467278"/>
                  <a:pt x="1089884" y="6474391"/>
                  <a:pt x="1089884" y="6483937"/>
                </a:cubicBezTo>
                <a:cubicBezTo>
                  <a:pt x="1089884" y="6493437"/>
                  <a:pt x="1088152" y="6500549"/>
                  <a:pt x="1084687" y="6505276"/>
                </a:cubicBezTo>
                <a:cubicBezTo>
                  <a:pt x="1081222" y="6510002"/>
                  <a:pt x="1077071" y="6512366"/>
                  <a:pt x="1072234" y="6512366"/>
                </a:cubicBezTo>
                <a:cubicBezTo>
                  <a:pt x="1067072" y="6512366"/>
                  <a:pt x="1062746" y="6510026"/>
                  <a:pt x="1059258" y="6505346"/>
                </a:cubicBezTo>
                <a:cubicBezTo>
                  <a:pt x="1055770" y="6500666"/>
                  <a:pt x="1054026" y="6493530"/>
                  <a:pt x="1054026" y="6483937"/>
                </a:cubicBezTo>
                <a:cubicBezTo>
                  <a:pt x="1054026" y="6474438"/>
                  <a:pt x="1055747" y="6467336"/>
                  <a:pt x="1059188" y="6462633"/>
                </a:cubicBezTo>
                <a:cubicBezTo>
                  <a:pt x="1062630" y="6457930"/>
                  <a:pt x="1066793" y="6455578"/>
                  <a:pt x="1071676" y="6455578"/>
                </a:cubicBezTo>
                <a:close/>
                <a:moveTo>
                  <a:pt x="1139788" y="6455090"/>
                </a:moveTo>
                <a:cubicBezTo>
                  <a:pt x="1144380" y="6455090"/>
                  <a:pt x="1148277" y="6457415"/>
                  <a:pt x="1151478" y="6462066"/>
                </a:cubicBezTo>
                <a:cubicBezTo>
                  <a:pt x="1154680" y="6466717"/>
                  <a:pt x="1156280" y="6473880"/>
                  <a:pt x="1156280" y="6483553"/>
                </a:cubicBezTo>
                <a:cubicBezTo>
                  <a:pt x="1156280" y="6493367"/>
                  <a:pt x="1154633" y="6500622"/>
                  <a:pt x="1151339" y="6505320"/>
                </a:cubicBezTo>
                <a:cubicBezTo>
                  <a:pt x="1148046" y="6510017"/>
                  <a:pt x="1144218" y="6512366"/>
                  <a:pt x="1139857" y="6512366"/>
                </a:cubicBezTo>
                <a:cubicBezTo>
                  <a:pt x="1135310" y="6512366"/>
                  <a:pt x="1131436" y="6510098"/>
                  <a:pt x="1128235" y="6505564"/>
                </a:cubicBezTo>
                <a:cubicBezTo>
                  <a:pt x="1125034" y="6501029"/>
                  <a:pt x="1123434" y="6493971"/>
                  <a:pt x="1123434" y="6484391"/>
                </a:cubicBezTo>
                <a:cubicBezTo>
                  <a:pt x="1123434" y="6474856"/>
                  <a:pt x="1125127" y="6467589"/>
                  <a:pt x="1128514" y="6462590"/>
                </a:cubicBezTo>
                <a:cubicBezTo>
                  <a:pt x="1131901" y="6457590"/>
                  <a:pt x="1135659" y="6455090"/>
                  <a:pt x="1139788" y="6455090"/>
                </a:cubicBezTo>
                <a:close/>
                <a:moveTo>
                  <a:pt x="6224384" y="6446928"/>
                </a:moveTo>
                <a:lnTo>
                  <a:pt x="6224384" y="6521016"/>
                </a:lnTo>
                <a:lnTo>
                  <a:pt x="6234640" y="6521016"/>
                </a:lnTo>
                <a:lnTo>
                  <a:pt x="6234640" y="6446928"/>
                </a:lnTo>
                <a:close/>
                <a:moveTo>
                  <a:pt x="5967211" y="6446928"/>
                </a:moveTo>
                <a:lnTo>
                  <a:pt x="5967211" y="6521016"/>
                </a:lnTo>
                <a:lnTo>
                  <a:pt x="5977467" y="6521016"/>
                </a:lnTo>
                <a:lnTo>
                  <a:pt x="5977467" y="6446928"/>
                </a:lnTo>
                <a:close/>
                <a:moveTo>
                  <a:pt x="2380902" y="6446928"/>
                </a:moveTo>
                <a:lnTo>
                  <a:pt x="2380902" y="6521016"/>
                </a:lnTo>
                <a:lnTo>
                  <a:pt x="2391160" y="6521016"/>
                </a:lnTo>
                <a:lnTo>
                  <a:pt x="2391160" y="6446928"/>
                </a:lnTo>
                <a:close/>
                <a:moveTo>
                  <a:pt x="2287711" y="6446928"/>
                </a:moveTo>
                <a:lnTo>
                  <a:pt x="2306375" y="6521016"/>
                </a:lnTo>
                <a:lnTo>
                  <a:pt x="2317119" y="6521016"/>
                </a:lnTo>
                <a:lnTo>
                  <a:pt x="2329394" y="6464020"/>
                </a:lnTo>
                <a:lnTo>
                  <a:pt x="2331698" y="6476647"/>
                </a:lnTo>
                <a:lnTo>
                  <a:pt x="2341394" y="6521016"/>
                </a:lnTo>
                <a:lnTo>
                  <a:pt x="2352113" y="6521016"/>
                </a:lnTo>
                <a:lnTo>
                  <a:pt x="2371081" y="6446928"/>
                </a:lnTo>
                <a:lnTo>
                  <a:pt x="2361033" y="6446928"/>
                </a:lnTo>
                <a:lnTo>
                  <a:pt x="2350666" y="6489762"/>
                </a:lnTo>
                <a:lnTo>
                  <a:pt x="2347183" y="6504064"/>
                </a:lnTo>
                <a:lnTo>
                  <a:pt x="2344125" y="6489902"/>
                </a:lnTo>
                <a:lnTo>
                  <a:pt x="2335086" y="6446928"/>
                </a:lnTo>
                <a:lnTo>
                  <a:pt x="2324456" y="6446928"/>
                </a:lnTo>
                <a:lnTo>
                  <a:pt x="2314822" y="6490320"/>
                </a:lnTo>
                <a:lnTo>
                  <a:pt x="2311609" y="6505599"/>
                </a:lnTo>
                <a:lnTo>
                  <a:pt x="2308033" y="6489693"/>
                </a:lnTo>
                <a:lnTo>
                  <a:pt x="2298356" y="6446928"/>
                </a:lnTo>
                <a:close/>
                <a:moveTo>
                  <a:pt x="1818925" y="6446928"/>
                </a:moveTo>
                <a:lnTo>
                  <a:pt x="1818925" y="6521016"/>
                </a:lnTo>
                <a:lnTo>
                  <a:pt x="1829180" y="6521016"/>
                </a:lnTo>
                <a:lnTo>
                  <a:pt x="1829180" y="6446928"/>
                </a:lnTo>
                <a:close/>
                <a:moveTo>
                  <a:pt x="1752248" y="6446928"/>
                </a:moveTo>
                <a:lnTo>
                  <a:pt x="1752248" y="6521016"/>
                </a:lnTo>
                <a:lnTo>
                  <a:pt x="1762504" y="6521016"/>
                </a:lnTo>
                <a:lnTo>
                  <a:pt x="1762504" y="6446928"/>
                </a:lnTo>
                <a:close/>
                <a:moveTo>
                  <a:pt x="1266473" y="6446928"/>
                </a:moveTo>
                <a:lnTo>
                  <a:pt x="1266473" y="6521016"/>
                </a:lnTo>
                <a:lnTo>
                  <a:pt x="1276729" y="6521016"/>
                </a:lnTo>
                <a:lnTo>
                  <a:pt x="1276729" y="6446928"/>
                </a:lnTo>
                <a:close/>
                <a:moveTo>
                  <a:pt x="6278772" y="6445253"/>
                </a:moveTo>
                <a:cubicBezTo>
                  <a:pt x="6270586" y="6445253"/>
                  <a:pt x="6264296" y="6447067"/>
                  <a:pt x="6259901" y="6450695"/>
                </a:cubicBezTo>
                <a:cubicBezTo>
                  <a:pt x="6255506" y="6454323"/>
                  <a:pt x="6252587" y="6460113"/>
                  <a:pt x="6251146" y="6468066"/>
                </a:cubicBezTo>
                <a:lnTo>
                  <a:pt x="6261261" y="6469740"/>
                </a:lnTo>
                <a:cubicBezTo>
                  <a:pt x="6262377" y="6464272"/>
                  <a:pt x="6264122" y="6460544"/>
                  <a:pt x="6266493" y="6458558"/>
                </a:cubicBezTo>
                <a:cubicBezTo>
                  <a:pt x="6268865" y="6456572"/>
                  <a:pt x="6272447" y="6455578"/>
                  <a:pt x="6277237" y="6455578"/>
                </a:cubicBezTo>
                <a:cubicBezTo>
                  <a:pt x="6282539" y="6455578"/>
                  <a:pt x="6286469" y="6457067"/>
                  <a:pt x="6289027" y="6460043"/>
                </a:cubicBezTo>
                <a:cubicBezTo>
                  <a:pt x="6290841" y="6462090"/>
                  <a:pt x="6291748" y="6465648"/>
                  <a:pt x="6291748" y="6470717"/>
                </a:cubicBezTo>
                <a:lnTo>
                  <a:pt x="6291678" y="6473926"/>
                </a:lnTo>
                <a:cubicBezTo>
                  <a:pt x="6287771" y="6475627"/>
                  <a:pt x="6281632" y="6477092"/>
                  <a:pt x="6273260" y="6478321"/>
                </a:cubicBezTo>
                <a:cubicBezTo>
                  <a:pt x="6267028" y="6479205"/>
                  <a:pt x="6262377" y="6480577"/>
                  <a:pt x="6259308" y="6482437"/>
                </a:cubicBezTo>
                <a:cubicBezTo>
                  <a:pt x="6256238" y="6484298"/>
                  <a:pt x="6253820" y="6486879"/>
                  <a:pt x="6252052" y="6490181"/>
                </a:cubicBezTo>
                <a:cubicBezTo>
                  <a:pt x="6250285" y="6493483"/>
                  <a:pt x="6249401" y="6497274"/>
                  <a:pt x="6249401" y="6501552"/>
                </a:cubicBezTo>
                <a:cubicBezTo>
                  <a:pt x="6249401" y="6508017"/>
                  <a:pt x="6251285" y="6513156"/>
                  <a:pt x="6255052" y="6516970"/>
                </a:cubicBezTo>
                <a:cubicBezTo>
                  <a:pt x="6258820" y="6520784"/>
                  <a:pt x="6263866" y="6522691"/>
                  <a:pt x="6270191" y="6522691"/>
                </a:cubicBezTo>
                <a:cubicBezTo>
                  <a:pt x="6274191" y="6522691"/>
                  <a:pt x="6278051" y="6521783"/>
                  <a:pt x="6281772" y="6519969"/>
                </a:cubicBezTo>
                <a:cubicBezTo>
                  <a:pt x="6285492" y="6518155"/>
                  <a:pt x="6289073" y="6515457"/>
                  <a:pt x="6292515" y="6511876"/>
                </a:cubicBezTo>
                <a:cubicBezTo>
                  <a:pt x="6292841" y="6515412"/>
                  <a:pt x="6293538" y="6518458"/>
                  <a:pt x="6294608" y="6521016"/>
                </a:cubicBezTo>
                <a:lnTo>
                  <a:pt x="6305352" y="6521016"/>
                </a:lnTo>
                <a:cubicBezTo>
                  <a:pt x="6304049" y="6518133"/>
                  <a:pt x="6303177" y="6515168"/>
                  <a:pt x="6302735" y="6512121"/>
                </a:cubicBezTo>
                <a:cubicBezTo>
                  <a:pt x="6302294" y="6509075"/>
                  <a:pt x="6302073" y="6501692"/>
                  <a:pt x="6302073" y="6489972"/>
                </a:cubicBezTo>
                <a:lnTo>
                  <a:pt x="6302073" y="6473228"/>
                </a:lnTo>
                <a:cubicBezTo>
                  <a:pt x="6302073" y="6466438"/>
                  <a:pt x="6301596" y="6461276"/>
                  <a:pt x="6300643" y="6457741"/>
                </a:cubicBezTo>
                <a:cubicBezTo>
                  <a:pt x="6299689" y="6454206"/>
                  <a:pt x="6297399" y="6451241"/>
                  <a:pt x="6293771" y="6448846"/>
                </a:cubicBezTo>
                <a:cubicBezTo>
                  <a:pt x="6290143" y="6446451"/>
                  <a:pt x="6285143" y="6445253"/>
                  <a:pt x="6278772" y="6445253"/>
                </a:cubicBezTo>
                <a:close/>
                <a:moveTo>
                  <a:pt x="6157704" y="6445253"/>
                </a:moveTo>
                <a:cubicBezTo>
                  <a:pt x="6153525" y="6445253"/>
                  <a:pt x="6149822" y="6446259"/>
                  <a:pt x="6146596" y="6448271"/>
                </a:cubicBezTo>
                <a:cubicBezTo>
                  <a:pt x="6143369" y="6450283"/>
                  <a:pt x="6140642" y="6453324"/>
                  <a:pt x="6138413" y="6457393"/>
                </a:cubicBezTo>
                <a:lnTo>
                  <a:pt x="6138413" y="6446928"/>
                </a:lnTo>
                <a:lnTo>
                  <a:pt x="6129134" y="6446928"/>
                </a:lnTo>
                <a:lnTo>
                  <a:pt x="6129134" y="6521016"/>
                </a:lnTo>
                <a:lnTo>
                  <a:pt x="6139390" y="6521016"/>
                </a:lnTo>
                <a:lnTo>
                  <a:pt x="6139390" y="6480510"/>
                </a:lnTo>
                <a:cubicBezTo>
                  <a:pt x="6139390" y="6471571"/>
                  <a:pt x="6140855" y="6465262"/>
                  <a:pt x="6143785" y="6461584"/>
                </a:cubicBezTo>
                <a:cubicBezTo>
                  <a:pt x="6146715" y="6457906"/>
                  <a:pt x="6150645" y="6456067"/>
                  <a:pt x="6155575" y="6456067"/>
                </a:cubicBezTo>
                <a:cubicBezTo>
                  <a:pt x="6158179" y="6456067"/>
                  <a:pt x="6160470" y="6456753"/>
                  <a:pt x="6162446" y="6458127"/>
                </a:cubicBezTo>
                <a:cubicBezTo>
                  <a:pt x="6164423" y="6459500"/>
                  <a:pt x="6165876" y="6461444"/>
                  <a:pt x="6166807" y="6463958"/>
                </a:cubicBezTo>
                <a:cubicBezTo>
                  <a:pt x="6167737" y="6466472"/>
                  <a:pt x="6168202" y="6470453"/>
                  <a:pt x="6168202" y="6475901"/>
                </a:cubicBezTo>
                <a:lnTo>
                  <a:pt x="6168202" y="6521016"/>
                </a:lnTo>
                <a:lnTo>
                  <a:pt x="6178457" y="6521016"/>
                </a:lnTo>
                <a:lnTo>
                  <a:pt x="6178457" y="6475461"/>
                </a:lnTo>
                <a:cubicBezTo>
                  <a:pt x="6178457" y="6468624"/>
                  <a:pt x="6178039" y="6463555"/>
                  <a:pt x="6177203" y="6460253"/>
                </a:cubicBezTo>
                <a:cubicBezTo>
                  <a:pt x="6176368" y="6456950"/>
                  <a:pt x="6175103" y="6454265"/>
                  <a:pt x="6173408" y="6452195"/>
                </a:cubicBezTo>
                <a:cubicBezTo>
                  <a:pt x="6171713" y="6450125"/>
                  <a:pt x="6169485" y="6448451"/>
                  <a:pt x="6166722" y="6447172"/>
                </a:cubicBezTo>
                <a:cubicBezTo>
                  <a:pt x="6163960" y="6445893"/>
                  <a:pt x="6160953" y="6445253"/>
                  <a:pt x="6157704" y="6445253"/>
                </a:cubicBezTo>
                <a:close/>
                <a:moveTo>
                  <a:pt x="6087367" y="6445253"/>
                </a:moveTo>
                <a:cubicBezTo>
                  <a:pt x="6079136" y="6445253"/>
                  <a:pt x="6072333" y="6448614"/>
                  <a:pt x="6066962" y="6455334"/>
                </a:cubicBezTo>
                <a:cubicBezTo>
                  <a:pt x="6061591" y="6462055"/>
                  <a:pt x="6058901" y="6471810"/>
                  <a:pt x="6058901" y="6484600"/>
                </a:cubicBezTo>
                <a:cubicBezTo>
                  <a:pt x="6058901" y="6496925"/>
                  <a:pt x="6061564" y="6506354"/>
                  <a:pt x="6066893" y="6512889"/>
                </a:cubicBezTo>
                <a:cubicBezTo>
                  <a:pt x="6072218" y="6519423"/>
                  <a:pt x="6079182" y="6522691"/>
                  <a:pt x="6087783" y="6522691"/>
                </a:cubicBezTo>
                <a:cubicBezTo>
                  <a:pt x="6094622" y="6522691"/>
                  <a:pt x="6100352" y="6520679"/>
                  <a:pt x="6104980" y="6516656"/>
                </a:cubicBezTo>
                <a:cubicBezTo>
                  <a:pt x="6109608" y="6512633"/>
                  <a:pt x="6112805" y="6506668"/>
                  <a:pt x="6114573" y="6498762"/>
                </a:cubicBezTo>
                <a:lnTo>
                  <a:pt x="6103969" y="6497157"/>
                </a:lnTo>
                <a:cubicBezTo>
                  <a:pt x="6100945" y="6507296"/>
                  <a:pt x="6095574" y="6512366"/>
                  <a:pt x="6087853" y="6512366"/>
                </a:cubicBezTo>
                <a:cubicBezTo>
                  <a:pt x="6082926" y="6512366"/>
                  <a:pt x="6078737" y="6510249"/>
                  <a:pt x="6075296" y="6506017"/>
                </a:cubicBezTo>
                <a:cubicBezTo>
                  <a:pt x="6071858" y="6501785"/>
                  <a:pt x="6069924" y="6495506"/>
                  <a:pt x="6069506" y="6487181"/>
                </a:cubicBezTo>
                <a:lnTo>
                  <a:pt x="6114852" y="6487181"/>
                </a:lnTo>
                <a:lnTo>
                  <a:pt x="6114921" y="6483832"/>
                </a:lnTo>
                <a:cubicBezTo>
                  <a:pt x="6114921" y="6471322"/>
                  <a:pt x="6112294" y="6461764"/>
                  <a:pt x="6107038" y="6455160"/>
                </a:cubicBezTo>
                <a:cubicBezTo>
                  <a:pt x="6101783" y="6448556"/>
                  <a:pt x="6095225" y="6445253"/>
                  <a:pt x="6087367" y="6445253"/>
                </a:cubicBezTo>
                <a:close/>
                <a:moveTo>
                  <a:pt x="5900531" y="6445253"/>
                </a:moveTo>
                <a:cubicBezTo>
                  <a:pt x="5896351" y="6445253"/>
                  <a:pt x="5892648" y="6446259"/>
                  <a:pt x="5889422" y="6448271"/>
                </a:cubicBezTo>
                <a:cubicBezTo>
                  <a:pt x="5886194" y="6450283"/>
                  <a:pt x="5883469" y="6453324"/>
                  <a:pt x="5881238" y="6457393"/>
                </a:cubicBezTo>
                <a:lnTo>
                  <a:pt x="5881238" y="6446928"/>
                </a:lnTo>
                <a:lnTo>
                  <a:pt x="5871961" y="6446928"/>
                </a:lnTo>
                <a:lnTo>
                  <a:pt x="5871961" y="6521016"/>
                </a:lnTo>
                <a:lnTo>
                  <a:pt x="5882218" y="6521016"/>
                </a:lnTo>
                <a:lnTo>
                  <a:pt x="5882218" y="6480510"/>
                </a:lnTo>
                <a:cubicBezTo>
                  <a:pt x="5882218" y="6471571"/>
                  <a:pt x="5883681" y="6465262"/>
                  <a:pt x="5886612" y="6461584"/>
                </a:cubicBezTo>
                <a:cubicBezTo>
                  <a:pt x="5889540" y="6457906"/>
                  <a:pt x="5893471" y="6456067"/>
                  <a:pt x="5898402" y="6456067"/>
                </a:cubicBezTo>
                <a:cubicBezTo>
                  <a:pt x="5901009" y="6456067"/>
                  <a:pt x="5903296" y="6456753"/>
                  <a:pt x="5905276" y="6458127"/>
                </a:cubicBezTo>
                <a:cubicBezTo>
                  <a:pt x="5907250" y="6459500"/>
                  <a:pt x="5908702" y="6461444"/>
                  <a:pt x="5909633" y="6463958"/>
                </a:cubicBezTo>
                <a:cubicBezTo>
                  <a:pt x="5910564" y="6466472"/>
                  <a:pt x="5911030" y="6470453"/>
                  <a:pt x="5911030" y="6475901"/>
                </a:cubicBezTo>
                <a:lnTo>
                  <a:pt x="5911030" y="6521016"/>
                </a:lnTo>
                <a:lnTo>
                  <a:pt x="5921285" y="6521016"/>
                </a:lnTo>
                <a:lnTo>
                  <a:pt x="5921285" y="6475461"/>
                </a:lnTo>
                <a:cubicBezTo>
                  <a:pt x="5921285" y="6468624"/>
                  <a:pt x="5920866" y="6463555"/>
                  <a:pt x="5920030" y="6460253"/>
                </a:cubicBezTo>
                <a:cubicBezTo>
                  <a:pt x="5919194" y="6456950"/>
                  <a:pt x="5917929" y="6454265"/>
                  <a:pt x="5916235" y="6452195"/>
                </a:cubicBezTo>
                <a:cubicBezTo>
                  <a:pt x="5914540" y="6450125"/>
                  <a:pt x="5912313" y="6448451"/>
                  <a:pt x="5909549" y="6447172"/>
                </a:cubicBezTo>
                <a:cubicBezTo>
                  <a:pt x="5906787" y="6445893"/>
                  <a:pt x="5903781" y="6445253"/>
                  <a:pt x="5900531" y="6445253"/>
                </a:cubicBezTo>
                <a:close/>
                <a:moveTo>
                  <a:pt x="5829842" y="6445253"/>
                </a:moveTo>
                <a:cubicBezTo>
                  <a:pt x="5821611" y="6445253"/>
                  <a:pt x="5814808" y="6448509"/>
                  <a:pt x="5809436" y="6455020"/>
                </a:cubicBezTo>
                <a:cubicBezTo>
                  <a:pt x="5804066" y="6461532"/>
                  <a:pt x="5801380" y="6471182"/>
                  <a:pt x="5801380" y="6483972"/>
                </a:cubicBezTo>
                <a:cubicBezTo>
                  <a:pt x="5801380" y="6496715"/>
                  <a:pt x="5804089" y="6506354"/>
                  <a:pt x="5809506" y="6512889"/>
                </a:cubicBezTo>
                <a:cubicBezTo>
                  <a:pt x="5814925" y="6519423"/>
                  <a:pt x="5821705" y="6522691"/>
                  <a:pt x="5829842" y="6522691"/>
                </a:cubicBezTo>
                <a:cubicBezTo>
                  <a:pt x="5838120" y="6522691"/>
                  <a:pt x="5844934" y="6519435"/>
                  <a:pt x="5850285" y="6512924"/>
                </a:cubicBezTo>
                <a:cubicBezTo>
                  <a:pt x="5855632" y="6506412"/>
                  <a:pt x="5858305" y="6496506"/>
                  <a:pt x="5858305" y="6483205"/>
                </a:cubicBezTo>
                <a:cubicBezTo>
                  <a:pt x="5858305" y="6470926"/>
                  <a:pt x="5855587" y="6461532"/>
                  <a:pt x="5850143" y="6455020"/>
                </a:cubicBezTo>
                <a:cubicBezTo>
                  <a:pt x="5844702" y="6448509"/>
                  <a:pt x="5837938" y="6445253"/>
                  <a:pt x="5829842" y="6445253"/>
                </a:cubicBezTo>
                <a:close/>
                <a:moveTo>
                  <a:pt x="2714271" y="6445253"/>
                </a:moveTo>
                <a:cubicBezTo>
                  <a:pt x="2710094" y="6445253"/>
                  <a:pt x="2706388" y="6446259"/>
                  <a:pt x="2703162" y="6448271"/>
                </a:cubicBezTo>
                <a:cubicBezTo>
                  <a:pt x="2699936" y="6450283"/>
                  <a:pt x="2697209" y="6453324"/>
                  <a:pt x="2694979" y="6457393"/>
                </a:cubicBezTo>
                <a:lnTo>
                  <a:pt x="2694979" y="6446928"/>
                </a:lnTo>
                <a:lnTo>
                  <a:pt x="2685702" y="6446928"/>
                </a:lnTo>
                <a:lnTo>
                  <a:pt x="2685702" y="6521016"/>
                </a:lnTo>
                <a:lnTo>
                  <a:pt x="2695956" y="6521016"/>
                </a:lnTo>
                <a:lnTo>
                  <a:pt x="2695956" y="6480510"/>
                </a:lnTo>
                <a:cubicBezTo>
                  <a:pt x="2695956" y="6471571"/>
                  <a:pt x="2697421" y="6465262"/>
                  <a:pt x="2700353" y="6461584"/>
                </a:cubicBezTo>
                <a:cubicBezTo>
                  <a:pt x="2703282" y="6457906"/>
                  <a:pt x="2707212" y="6456067"/>
                  <a:pt x="2712140" y="6456067"/>
                </a:cubicBezTo>
                <a:cubicBezTo>
                  <a:pt x="2714745" y="6456067"/>
                  <a:pt x="2717037" y="6456753"/>
                  <a:pt x="2719012" y="6458127"/>
                </a:cubicBezTo>
                <a:cubicBezTo>
                  <a:pt x="2720992" y="6459500"/>
                  <a:pt x="2722442" y="6461444"/>
                  <a:pt x="2723374" y="6463958"/>
                </a:cubicBezTo>
                <a:cubicBezTo>
                  <a:pt x="2724302" y="6466472"/>
                  <a:pt x="2724768" y="6470453"/>
                  <a:pt x="2724768" y="6475901"/>
                </a:cubicBezTo>
                <a:lnTo>
                  <a:pt x="2724768" y="6521016"/>
                </a:lnTo>
                <a:lnTo>
                  <a:pt x="2735023" y="6521016"/>
                </a:lnTo>
                <a:lnTo>
                  <a:pt x="2735023" y="6475461"/>
                </a:lnTo>
                <a:cubicBezTo>
                  <a:pt x="2735023" y="6468624"/>
                  <a:pt x="2734605" y="6463555"/>
                  <a:pt x="2733768" y="6460253"/>
                </a:cubicBezTo>
                <a:cubicBezTo>
                  <a:pt x="2732936" y="6456950"/>
                  <a:pt x="2731669" y="6454265"/>
                  <a:pt x="2729976" y="6452195"/>
                </a:cubicBezTo>
                <a:cubicBezTo>
                  <a:pt x="2728278" y="6450125"/>
                  <a:pt x="2726053" y="6448451"/>
                  <a:pt x="2723290" y="6447172"/>
                </a:cubicBezTo>
                <a:cubicBezTo>
                  <a:pt x="2720528" y="6445893"/>
                  <a:pt x="2717521" y="6445253"/>
                  <a:pt x="2714271" y="6445253"/>
                </a:cubicBezTo>
                <a:close/>
                <a:moveTo>
                  <a:pt x="2644839" y="6445253"/>
                </a:moveTo>
                <a:cubicBezTo>
                  <a:pt x="2636651" y="6445253"/>
                  <a:pt x="2630365" y="6447067"/>
                  <a:pt x="2625967" y="6450695"/>
                </a:cubicBezTo>
                <a:cubicBezTo>
                  <a:pt x="2621573" y="6454323"/>
                  <a:pt x="2618653" y="6460113"/>
                  <a:pt x="2617211" y="6468066"/>
                </a:cubicBezTo>
                <a:lnTo>
                  <a:pt x="2627327" y="6469740"/>
                </a:lnTo>
                <a:cubicBezTo>
                  <a:pt x="2628444" y="6464272"/>
                  <a:pt x="2630187" y="6460544"/>
                  <a:pt x="2632562" y="6458558"/>
                </a:cubicBezTo>
                <a:cubicBezTo>
                  <a:pt x="2634933" y="6456572"/>
                  <a:pt x="2638514" y="6455578"/>
                  <a:pt x="2643303" y="6455578"/>
                </a:cubicBezTo>
                <a:cubicBezTo>
                  <a:pt x="2648605" y="6455578"/>
                  <a:pt x="2652535" y="6457067"/>
                  <a:pt x="2655093" y="6460043"/>
                </a:cubicBezTo>
                <a:cubicBezTo>
                  <a:pt x="2656907" y="6462090"/>
                  <a:pt x="2657815" y="6465648"/>
                  <a:pt x="2657815" y="6470717"/>
                </a:cubicBezTo>
                <a:lnTo>
                  <a:pt x="2657744" y="6473926"/>
                </a:lnTo>
                <a:cubicBezTo>
                  <a:pt x="2653837" y="6475627"/>
                  <a:pt x="2647697" y="6477092"/>
                  <a:pt x="2639327" y="6478321"/>
                </a:cubicBezTo>
                <a:cubicBezTo>
                  <a:pt x="2633095" y="6479205"/>
                  <a:pt x="2628444" y="6480577"/>
                  <a:pt x="2625374" y="6482437"/>
                </a:cubicBezTo>
                <a:cubicBezTo>
                  <a:pt x="2622305" y="6484298"/>
                  <a:pt x="2619888" y="6486879"/>
                  <a:pt x="2618117" y="6490181"/>
                </a:cubicBezTo>
                <a:cubicBezTo>
                  <a:pt x="2616351" y="6493483"/>
                  <a:pt x="2615466" y="6497274"/>
                  <a:pt x="2615466" y="6501552"/>
                </a:cubicBezTo>
                <a:cubicBezTo>
                  <a:pt x="2615466" y="6508017"/>
                  <a:pt x="2617352" y="6513156"/>
                  <a:pt x="2621117" y="6516970"/>
                </a:cubicBezTo>
                <a:cubicBezTo>
                  <a:pt x="2624885" y="6520784"/>
                  <a:pt x="2629931" y="6522691"/>
                  <a:pt x="2636258" y="6522691"/>
                </a:cubicBezTo>
                <a:cubicBezTo>
                  <a:pt x="2640257" y="6522691"/>
                  <a:pt x="2644116" y="6521783"/>
                  <a:pt x="2647837" y="6519969"/>
                </a:cubicBezTo>
                <a:cubicBezTo>
                  <a:pt x="2651557" y="6518155"/>
                  <a:pt x="2655138" y="6515457"/>
                  <a:pt x="2658582" y="6511876"/>
                </a:cubicBezTo>
                <a:cubicBezTo>
                  <a:pt x="2658907" y="6515412"/>
                  <a:pt x="2659605" y="6518458"/>
                  <a:pt x="2660674" y="6521016"/>
                </a:cubicBezTo>
                <a:lnTo>
                  <a:pt x="2671419" y="6521016"/>
                </a:lnTo>
                <a:cubicBezTo>
                  <a:pt x="2670114" y="6518133"/>
                  <a:pt x="2669242" y="6515168"/>
                  <a:pt x="2668802" y="6512121"/>
                </a:cubicBezTo>
                <a:cubicBezTo>
                  <a:pt x="2668359" y="6509075"/>
                  <a:pt x="2668139" y="6501692"/>
                  <a:pt x="2668139" y="6489972"/>
                </a:cubicBezTo>
                <a:lnTo>
                  <a:pt x="2668139" y="6473228"/>
                </a:lnTo>
                <a:cubicBezTo>
                  <a:pt x="2668139" y="6466438"/>
                  <a:pt x="2667663" y="6461276"/>
                  <a:pt x="2666708" y="6457741"/>
                </a:cubicBezTo>
                <a:cubicBezTo>
                  <a:pt x="2665757" y="6454206"/>
                  <a:pt x="2663466" y="6451241"/>
                  <a:pt x="2659837" y="6448846"/>
                </a:cubicBezTo>
                <a:cubicBezTo>
                  <a:pt x="2656209" y="6446451"/>
                  <a:pt x="2651208" y="6445253"/>
                  <a:pt x="2644839" y="6445253"/>
                </a:cubicBezTo>
                <a:close/>
                <a:moveTo>
                  <a:pt x="2574815" y="6445253"/>
                </a:moveTo>
                <a:cubicBezTo>
                  <a:pt x="2572348" y="6445253"/>
                  <a:pt x="2570128" y="6446102"/>
                  <a:pt x="2568151" y="6447800"/>
                </a:cubicBezTo>
                <a:cubicBezTo>
                  <a:pt x="2566174" y="6449497"/>
                  <a:pt x="2564001" y="6452951"/>
                  <a:pt x="2561629" y="6458160"/>
                </a:cubicBezTo>
                <a:lnTo>
                  <a:pt x="2561629" y="6446928"/>
                </a:lnTo>
                <a:lnTo>
                  <a:pt x="2552350" y="6446928"/>
                </a:lnTo>
                <a:lnTo>
                  <a:pt x="2552350" y="6521016"/>
                </a:lnTo>
                <a:lnTo>
                  <a:pt x="2562605" y="6521016"/>
                </a:lnTo>
                <a:lnTo>
                  <a:pt x="2562605" y="6482228"/>
                </a:lnTo>
                <a:cubicBezTo>
                  <a:pt x="2562605" y="6476833"/>
                  <a:pt x="2563260" y="6471740"/>
                  <a:pt x="2564558" y="6466950"/>
                </a:cubicBezTo>
                <a:cubicBezTo>
                  <a:pt x="2565303" y="6464206"/>
                  <a:pt x="2566582" y="6462066"/>
                  <a:pt x="2568395" y="6460532"/>
                </a:cubicBezTo>
                <a:cubicBezTo>
                  <a:pt x="2570209" y="6458997"/>
                  <a:pt x="2572211" y="6458229"/>
                  <a:pt x="2574395" y="6458229"/>
                </a:cubicBezTo>
                <a:cubicBezTo>
                  <a:pt x="2576814" y="6458229"/>
                  <a:pt x="2579304" y="6459136"/>
                  <a:pt x="2581860" y="6460950"/>
                </a:cubicBezTo>
                <a:lnTo>
                  <a:pt x="2585348" y="6449300"/>
                </a:lnTo>
                <a:cubicBezTo>
                  <a:pt x="2581767" y="6446602"/>
                  <a:pt x="2578257" y="6445253"/>
                  <a:pt x="2574815" y="6445253"/>
                </a:cubicBezTo>
                <a:close/>
                <a:moveTo>
                  <a:pt x="2510583" y="6445253"/>
                </a:moveTo>
                <a:cubicBezTo>
                  <a:pt x="2502349" y="6445253"/>
                  <a:pt x="2495548" y="6448614"/>
                  <a:pt x="2490178" y="6455334"/>
                </a:cubicBezTo>
                <a:cubicBezTo>
                  <a:pt x="2484802" y="6462055"/>
                  <a:pt x="2482119" y="6471810"/>
                  <a:pt x="2482119" y="6484600"/>
                </a:cubicBezTo>
                <a:cubicBezTo>
                  <a:pt x="2482119" y="6496925"/>
                  <a:pt x="2484780" y="6506354"/>
                  <a:pt x="2490104" y="6512889"/>
                </a:cubicBezTo>
                <a:cubicBezTo>
                  <a:pt x="2495431" y="6519423"/>
                  <a:pt x="2502398" y="6522691"/>
                  <a:pt x="2511000" y="6522691"/>
                </a:cubicBezTo>
                <a:cubicBezTo>
                  <a:pt x="2517838" y="6522691"/>
                  <a:pt x="2523569" y="6520679"/>
                  <a:pt x="2528195" y="6516656"/>
                </a:cubicBezTo>
                <a:cubicBezTo>
                  <a:pt x="2532826" y="6512633"/>
                  <a:pt x="2536021" y="6506668"/>
                  <a:pt x="2537790" y="6498762"/>
                </a:cubicBezTo>
                <a:lnTo>
                  <a:pt x="2527186" y="6497157"/>
                </a:lnTo>
                <a:cubicBezTo>
                  <a:pt x="2524162" y="6507296"/>
                  <a:pt x="2518789" y="6512366"/>
                  <a:pt x="2511068" y="6512366"/>
                </a:cubicBezTo>
                <a:cubicBezTo>
                  <a:pt x="2506139" y="6512366"/>
                  <a:pt x="2501953" y="6510249"/>
                  <a:pt x="2498511" y="6506017"/>
                </a:cubicBezTo>
                <a:cubicBezTo>
                  <a:pt x="2495071" y="6501785"/>
                  <a:pt x="2493141" y="6495506"/>
                  <a:pt x="2492723" y="6487181"/>
                </a:cubicBezTo>
                <a:lnTo>
                  <a:pt x="2538068" y="6487181"/>
                </a:lnTo>
                <a:lnTo>
                  <a:pt x="2538139" y="6483832"/>
                </a:lnTo>
                <a:cubicBezTo>
                  <a:pt x="2538139" y="6471322"/>
                  <a:pt x="2535510" y="6461764"/>
                  <a:pt x="2530255" y="6455160"/>
                </a:cubicBezTo>
                <a:cubicBezTo>
                  <a:pt x="2525001" y="6448556"/>
                  <a:pt x="2518440" y="6445253"/>
                  <a:pt x="2510583" y="6445253"/>
                </a:cubicBezTo>
                <a:close/>
                <a:moveTo>
                  <a:pt x="1942743" y="6445253"/>
                </a:moveTo>
                <a:cubicBezTo>
                  <a:pt x="1938564" y="6445253"/>
                  <a:pt x="1934861" y="6446259"/>
                  <a:pt x="1931635" y="6448271"/>
                </a:cubicBezTo>
                <a:cubicBezTo>
                  <a:pt x="1928408" y="6450283"/>
                  <a:pt x="1925681" y="6453324"/>
                  <a:pt x="1923452" y="6457393"/>
                </a:cubicBezTo>
                <a:lnTo>
                  <a:pt x="1923452" y="6446928"/>
                </a:lnTo>
                <a:lnTo>
                  <a:pt x="1914173" y="6446928"/>
                </a:lnTo>
                <a:lnTo>
                  <a:pt x="1914173" y="6521016"/>
                </a:lnTo>
                <a:lnTo>
                  <a:pt x="1924429" y="6521016"/>
                </a:lnTo>
                <a:lnTo>
                  <a:pt x="1924429" y="6480510"/>
                </a:lnTo>
                <a:cubicBezTo>
                  <a:pt x="1924429" y="6471571"/>
                  <a:pt x="1925894" y="6465262"/>
                  <a:pt x="1928824" y="6461584"/>
                </a:cubicBezTo>
                <a:cubicBezTo>
                  <a:pt x="1931754" y="6457906"/>
                  <a:pt x="1935684" y="6456067"/>
                  <a:pt x="1940614" y="6456067"/>
                </a:cubicBezTo>
                <a:cubicBezTo>
                  <a:pt x="1943218" y="6456067"/>
                  <a:pt x="1945509" y="6456753"/>
                  <a:pt x="1947485" y="6458127"/>
                </a:cubicBezTo>
                <a:cubicBezTo>
                  <a:pt x="1949462" y="6459500"/>
                  <a:pt x="1950915" y="6461444"/>
                  <a:pt x="1951846" y="6463958"/>
                </a:cubicBezTo>
                <a:cubicBezTo>
                  <a:pt x="1952776" y="6466472"/>
                  <a:pt x="1953242" y="6470453"/>
                  <a:pt x="1953242" y="6475901"/>
                </a:cubicBezTo>
                <a:lnTo>
                  <a:pt x="1953242" y="6521016"/>
                </a:lnTo>
                <a:lnTo>
                  <a:pt x="1963497" y="6521016"/>
                </a:lnTo>
                <a:lnTo>
                  <a:pt x="1963497" y="6475461"/>
                </a:lnTo>
                <a:cubicBezTo>
                  <a:pt x="1963497" y="6468624"/>
                  <a:pt x="1963078" y="6463555"/>
                  <a:pt x="1962243" y="6460253"/>
                </a:cubicBezTo>
                <a:cubicBezTo>
                  <a:pt x="1961407" y="6456950"/>
                  <a:pt x="1960142" y="6454265"/>
                  <a:pt x="1958447" y="6452195"/>
                </a:cubicBezTo>
                <a:cubicBezTo>
                  <a:pt x="1956752" y="6450125"/>
                  <a:pt x="1954524" y="6448451"/>
                  <a:pt x="1951761" y="6447172"/>
                </a:cubicBezTo>
                <a:cubicBezTo>
                  <a:pt x="1948998" y="6445893"/>
                  <a:pt x="1945992" y="6445253"/>
                  <a:pt x="1942743" y="6445253"/>
                </a:cubicBezTo>
                <a:close/>
                <a:moveTo>
                  <a:pt x="1872055" y="6445253"/>
                </a:moveTo>
                <a:cubicBezTo>
                  <a:pt x="1863823" y="6445253"/>
                  <a:pt x="1857021" y="6448509"/>
                  <a:pt x="1851649" y="6455020"/>
                </a:cubicBezTo>
                <a:cubicBezTo>
                  <a:pt x="1846277" y="6461532"/>
                  <a:pt x="1843593" y="6471182"/>
                  <a:pt x="1843593" y="6483972"/>
                </a:cubicBezTo>
                <a:cubicBezTo>
                  <a:pt x="1843593" y="6496715"/>
                  <a:pt x="1846301" y="6506354"/>
                  <a:pt x="1851719" y="6512889"/>
                </a:cubicBezTo>
                <a:cubicBezTo>
                  <a:pt x="1857137" y="6519423"/>
                  <a:pt x="1863916" y="6522691"/>
                  <a:pt x="1872055" y="6522691"/>
                </a:cubicBezTo>
                <a:cubicBezTo>
                  <a:pt x="1880334" y="6522691"/>
                  <a:pt x="1887147" y="6519435"/>
                  <a:pt x="1892496" y="6512924"/>
                </a:cubicBezTo>
                <a:cubicBezTo>
                  <a:pt x="1897844" y="6506412"/>
                  <a:pt x="1900519" y="6496506"/>
                  <a:pt x="1900519" y="6483205"/>
                </a:cubicBezTo>
                <a:cubicBezTo>
                  <a:pt x="1900519" y="6470926"/>
                  <a:pt x="1897798" y="6461532"/>
                  <a:pt x="1892356" y="6455020"/>
                </a:cubicBezTo>
                <a:cubicBezTo>
                  <a:pt x="1886915" y="6448509"/>
                  <a:pt x="1880148" y="6445253"/>
                  <a:pt x="1872055" y="6445253"/>
                </a:cubicBezTo>
                <a:close/>
                <a:moveTo>
                  <a:pt x="1803287" y="6445253"/>
                </a:moveTo>
                <a:cubicBezTo>
                  <a:pt x="1800822" y="6445253"/>
                  <a:pt x="1798602" y="6446102"/>
                  <a:pt x="1796625" y="6447800"/>
                </a:cubicBezTo>
                <a:cubicBezTo>
                  <a:pt x="1794648" y="6449497"/>
                  <a:pt x="1792474" y="6452951"/>
                  <a:pt x="1790103" y="6458160"/>
                </a:cubicBezTo>
                <a:lnTo>
                  <a:pt x="1790103" y="6446928"/>
                </a:lnTo>
                <a:lnTo>
                  <a:pt x="1780823" y="6446928"/>
                </a:lnTo>
                <a:lnTo>
                  <a:pt x="1780823" y="6521016"/>
                </a:lnTo>
                <a:lnTo>
                  <a:pt x="1791079" y="6521016"/>
                </a:lnTo>
                <a:lnTo>
                  <a:pt x="1791079" y="6482228"/>
                </a:lnTo>
                <a:cubicBezTo>
                  <a:pt x="1791079" y="6476833"/>
                  <a:pt x="1791730" y="6471740"/>
                  <a:pt x="1793032" y="6466950"/>
                </a:cubicBezTo>
                <a:cubicBezTo>
                  <a:pt x="1793776" y="6464206"/>
                  <a:pt x="1795056" y="6462066"/>
                  <a:pt x="1796869" y="6460532"/>
                </a:cubicBezTo>
                <a:cubicBezTo>
                  <a:pt x="1798683" y="6458997"/>
                  <a:pt x="1800683" y="6458229"/>
                  <a:pt x="1802869" y="6458229"/>
                </a:cubicBezTo>
                <a:cubicBezTo>
                  <a:pt x="1805287" y="6458229"/>
                  <a:pt x="1807775" y="6459136"/>
                  <a:pt x="1810333" y="6460950"/>
                </a:cubicBezTo>
                <a:lnTo>
                  <a:pt x="1813822" y="6449300"/>
                </a:lnTo>
                <a:cubicBezTo>
                  <a:pt x="1810240" y="6446602"/>
                  <a:pt x="1806729" y="6445253"/>
                  <a:pt x="1803287" y="6445253"/>
                </a:cubicBezTo>
                <a:close/>
                <a:moveTo>
                  <a:pt x="1715748" y="6445253"/>
                </a:moveTo>
                <a:cubicBezTo>
                  <a:pt x="1708586" y="6445253"/>
                  <a:pt x="1702982" y="6447230"/>
                  <a:pt x="1698935" y="6451183"/>
                </a:cubicBezTo>
                <a:cubicBezTo>
                  <a:pt x="1694889" y="6455137"/>
                  <a:pt x="1692866" y="6460276"/>
                  <a:pt x="1692866" y="6466601"/>
                </a:cubicBezTo>
                <a:cubicBezTo>
                  <a:pt x="1692866" y="6470275"/>
                  <a:pt x="1693610" y="6473554"/>
                  <a:pt x="1695099" y="6476438"/>
                </a:cubicBezTo>
                <a:cubicBezTo>
                  <a:pt x="1696587" y="6479321"/>
                  <a:pt x="1698680" y="6481623"/>
                  <a:pt x="1701377" y="6483344"/>
                </a:cubicBezTo>
                <a:cubicBezTo>
                  <a:pt x="1704075" y="6485065"/>
                  <a:pt x="1709423" y="6487158"/>
                  <a:pt x="1717423" y="6489623"/>
                </a:cubicBezTo>
                <a:cubicBezTo>
                  <a:pt x="1722957" y="6491297"/>
                  <a:pt x="1726445" y="6492692"/>
                  <a:pt x="1727887" y="6493809"/>
                </a:cubicBezTo>
                <a:cubicBezTo>
                  <a:pt x="1729980" y="6495436"/>
                  <a:pt x="1731026" y="6497715"/>
                  <a:pt x="1731026" y="6500645"/>
                </a:cubicBezTo>
                <a:cubicBezTo>
                  <a:pt x="1731026" y="6504041"/>
                  <a:pt x="1729810" y="6506843"/>
                  <a:pt x="1727373" y="6509052"/>
                </a:cubicBezTo>
                <a:cubicBezTo>
                  <a:pt x="1724937" y="6511261"/>
                  <a:pt x="1721491" y="6512366"/>
                  <a:pt x="1717037" y="6512366"/>
                </a:cubicBezTo>
                <a:cubicBezTo>
                  <a:pt x="1712583" y="6512366"/>
                  <a:pt x="1709010" y="6511092"/>
                  <a:pt x="1706319" y="6508546"/>
                </a:cubicBezTo>
                <a:cubicBezTo>
                  <a:pt x="1703628" y="6506000"/>
                  <a:pt x="1701980" y="6502110"/>
                  <a:pt x="1701377" y="6496878"/>
                </a:cubicBezTo>
                <a:lnTo>
                  <a:pt x="1691122" y="6498832"/>
                </a:lnTo>
                <a:cubicBezTo>
                  <a:pt x="1693447" y="6514738"/>
                  <a:pt x="1701889" y="6522691"/>
                  <a:pt x="1716446" y="6522691"/>
                </a:cubicBezTo>
                <a:cubicBezTo>
                  <a:pt x="1724213" y="6522691"/>
                  <a:pt x="1730340" y="6520501"/>
                  <a:pt x="1734829" y="6516121"/>
                </a:cubicBezTo>
                <a:cubicBezTo>
                  <a:pt x="1739317" y="6511742"/>
                  <a:pt x="1741562" y="6506011"/>
                  <a:pt x="1741562" y="6498930"/>
                </a:cubicBezTo>
                <a:cubicBezTo>
                  <a:pt x="1741562" y="6495109"/>
                  <a:pt x="1740866" y="6491813"/>
                  <a:pt x="1739475" y="6489041"/>
                </a:cubicBezTo>
                <a:cubicBezTo>
                  <a:pt x="1738085" y="6486269"/>
                  <a:pt x="1736139" y="6484080"/>
                  <a:pt x="1733637" y="6482472"/>
                </a:cubicBezTo>
                <a:cubicBezTo>
                  <a:pt x="1731135" y="6480865"/>
                  <a:pt x="1725623" y="6478709"/>
                  <a:pt x="1717100" y="6476005"/>
                </a:cubicBezTo>
                <a:cubicBezTo>
                  <a:pt x="1710904" y="6473967"/>
                  <a:pt x="1707175" y="6472485"/>
                  <a:pt x="1705917" y="6471559"/>
                </a:cubicBezTo>
                <a:cubicBezTo>
                  <a:pt x="1703821" y="6469984"/>
                  <a:pt x="1702772" y="6467830"/>
                  <a:pt x="1702772" y="6465097"/>
                </a:cubicBezTo>
                <a:cubicBezTo>
                  <a:pt x="1702772" y="6462318"/>
                  <a:pt x="1703865" y="6460037"/>
                  <a:pt x="1706052" y="6458253"/>
                </a:cubicBezTo>
                <a:cubicBezTo>
                  <a:pt x="1708237" y="6456470"/>
                  <a:pt x="1711563" y="6455578"/>
                  <a:pt x="1716027" y="6455578"/>
                </a:cubicBezTo>
                <a:cubicBezTo>
                  <a:pt x="1723887" y="6455578"/>
                  <a:pt x="1728282" y="6459625"/>
                  <a:pt x="1729213" y="6467717"/>
                </a:cubicBezTo>
                <a:lnTo>
                  <a:pt x="1739260" y="6466043"/>
                </a:lnTo>
                <a:cubicBezTo>
                  <a:pt x="1738561" y="6460927"/>
                  <a:pt x="1737305" y="6456997"/>
                  <a:pt x="1735491" y="6454253"/>
                </a:cubicBezTo>
                <a:cubicBezTo>
                  <a:pt x="1733677" y="6451509"/>
                  <a:pt x="1731061" y="6449323"/>
                  <a:pt x="1727643" y="6447695"/>
                </a:cubicBezTo>
                <a:cubicBezTo>
                  <a:pt x="1724225" y="6446067"/>
                  <a:pt x="1720260" y="6445253"/>
                  <a:pt x="1715748" y="6445253"/>
                </a:cubicBezTo>
                <a:close/>
                <a:moveTo>
                  <a:pt x="1656992" y="6445253"/>
                </a:moveTo>
                <a:cubicBezTo>
                  <a:pt x="1652814" y="6445253"/>
                  <a:pt x="1649111" y="6446259"/>
                  <a:pt x="1645885" y="6448271"/>
                </a:cubicBezTo>
                <a:cubicBezTo>
                  <a:pt x="1642658" y="6450283"/>
                  <a:pt x="1639931" y="6453324"/>
                  <a:pt x="1637702" y="6457393"/>
                </a:cubicBezTo>
                <a:lnTo>
                  <a:pt x="1637702" y="6446928"/>
                </a:lnTo>
                <a:lnTo>
                  <a:pt x="1628424" y="6446928"/>
                </a:lnTo>
                <a:lnTo>
                  <a:pt x="1628424" y="6521016"/>
                </a:lnTo>
                <a:lnTo>
                  <a:pt x="1638679" y="6521016"/>
                </a:lnTo>
                <a:lnTo>
                  <a:pt x="1638679" y="6480510"/>
                </a:lnTo>
                <a:cubicBezTo>
                  <a:pt x="1638679" y="6471571"/>
                  <a:pt x="1640144" y="6465262"/>
                  <a:pt x="1643074" y="6461584"/>
                </a:cubicBezTo>
                <a:cubicBezTo>
                  <a:pt x="1646004" y="6457906"/>
                  <a:pt x="1649934" y="6456067"/>
                  <a:pt x="1654864" y="6456067"/>
                </a:cubicBezTo>
                <a:cubicBezTo>
                  <a:pt x="1657468" y="6456067"/>
                  <a:pt x="1659759" y="6456753"/>
                  <a:pt x="1661735" y="6458127"/>
                </a:cubicBezTo>
                <a:cubicBezTo>
                  <a:pt x="1663712" y="6459500"/>
                  <a:pt x="1665165" y="6461444"/>
                  <a:pt x="1666095" y="6463958"/>
                </a:cubicBezTo>
                <a:cubicBezTo>
                  <a:pt x="1667026" y="6466472"/>
                  <a:pt x="1667491" y="6470453"/>
                  <a:pt x="1667491" y="6475901"/>
                </a:cubicBezTo>
                <a:lnTo>
                  <a:pt x="1667491" y="6521016"/>
                </a:lnTo>
                <a:lnTo>
                  <a:pt x="1677746" y="6521016"/>
                </a:lnTo>
                <a:lnTo>
                  <a:pt x="1677746" y="6475461"/>
                </a:lnTo>
                <a:cubicBezTo>
                  <a:pt x="1677746" y="6468624"/>
                  <a:pt x="1677328" y="6463555"/>
                  <a:pt x="1676493" y="6460253"/>
                </a:cubicBezTo>
                <a:cubicBezTo>
                  <a:pt x="1675657" y="6456950"/>
                  <a:pt x="1674392" y="6454265"/>
                  <a:pt x="1672697" y="6452195"/>
                </a:cubicBezTo>
                <a:cubicBezTo>
                  <a:pt x="1671002" y="6450125"/>
                  <a:pt x="1668774" y="6448451"/>
                  <a:pt x="1666011" y="6447172"/>
                </a:cubicBezTo>
                <a:cubicBezTo>
                  <a:pt x="1663248" y="6445893"/>
                  <a:pt x="1660242" y="6445253"/>
                  <a:pt x="1656992" y="6445253"/>
                </a:cubicBezTo>
                <a:close/>
                <a:moveTo>
                  <a:pt x="1586654" y="6445253"/>
                </a:moveTo>
                <a:cubicBezTo>
                  <a:pt x="1578422" y="6445253"/>
                  <a:pt x="1571620" y="6448614"/>
                  <a:pt x="1566248" y="6455334"/>
                </a:cubicBezTo>
                <a:cubicBezTo>
                  <a:pt x="1560876" y="6462055"/>
                  <a:pt x="1558191" y="6471810"/>
                  <a:pt x="1558191" y="6484600"/>
                </a:cubicBezTo>
                <a:cubicBezTo>
                  <a:pt x="1558191" y="6496925"/>
                  <a:pt x="1560853" y="6506354"/>
                  <a:pt x="1566178" y="6512889"/>
                </a:cubicBezTo>
                <a:cubicBezTo>
                  <a:pt x="1571504" y="6519423"/>
                  <a:pt x="1578468" y="6522691"/>
                  <a:pt x="1587073" y="6522691"/>
                </a:cubicBezTo>
                <a:cubicBezTo>
                  <a:pt x="1593909" y="6522691"/>
                  <a:pt x="1599643" y="6520679"/>
                  <a:pt x="1604269" y="6516656"/>
                </a:cubicBezTo>
                <a:cubicBezTo>
                  <a:pt x="1608897" y="6512633"/>
                  <a:pt x="1612095" y="6506668"/>
                  <a:pt x="1613862" y="6498762"/>
                </a:cubicBezTo>
                <a:lnTo>
                  <a:pt x="1603258" y="6497157"/>
                </a:lnTo>
                <a:cubicBezTo>
                  <a:pt x="1600235" y="6507296"/>
                  <a:pt x="1594863" y="6512366"/>
                  <a:pt x="1587142" y="6512366"/>
                </a:cubicBezTo>
                <a:cubicBezTo>
                  <a:pt x="1582212" y="6512366"/>
                  <a:pt x="1578027" y="6510249"/>
                  <a:pt x="1574585" y="6506017"/>
                </a:cubicBezTo>
                <a:cubicBezTo>
                  <a:pt x="1571143" y="6501785"/>
                  <a:pt x="1569213" y="6495506"/>
                  <a:pt x="1568795" y="6487181"/>
                </a:cubicBezTo>
                <a:lnTo>
                  <a:pt x="1614140" y="6487181"/>
                </a:lnTo>
                <a:lnTo>
                  <a:pt x="1614210" y="6483832"/>
                </a:lnTo>
                <a:cubicBezTo>
                  <a:pt x="1614210" y="6471322"/>
                  <a:pt x="1611583" y="6461764"/>
                  <a:pt x="1606327" y="6455160"/>
                </a:cubicBezTo>
                <a:cubicBezTo>
                  <a:pt x="1601072" y="6448556"/>
                  <a:pt x="1594514" y="6445253"/>
                  <a:pt x="1586654" y="6445253"/>
                </a:cubicBezTo>
                <a:close/>
                <a:moveTo>
                  <a:pt x="1317373" y="6445253"/>
                </a:moveTo>
                <a:cubicBezTo>
                  <a:pt x="1312489" y="6445253"/>
                  <a:pt x="1308082" y="6446649"/>
                  <a:pt x="1304152" y="6449439"/>
                </a:cubicBezTo>
                <a:cubicBezTo>
                  <a:pt x="1300222" y="6452230"/>
                  <a:pt x="1297048" y="6456602"/>
                  <a:pt x="1294630" y="6462555"/>
                </a:cubicBezTo>
                <a:cubicBezTo>
                  <a:pt x="1292211" y="6468508"/>
                  <a:pt x="1291002" y="6475461"/>
                  <a:pt x="1291002" y="6483414"/>
                </a:cubicBezTo>
                <a:cubicBezTo>
                  <a:pt x="1291002" y="6495274"/>
                  <a:pt x="1293746" y="6504738"/>
                  <a:pt x="1299234" y="6511808"/>
                </a:cubicBezTo>
                <a:cubicBezTo>
                  <a:pt x="1304025" y="6517947"/>
                  <a:pt x="1310047" y="6521016"/>
                  <a:pt x="1317303" y="6521016"/>
                </a:cubicBezTo>
                <a:cubicBezTo>
                  <a:pt x="1320698" y="6521016"/>
                  <a:pt x="1323791" y="6520208"/>
                  <a:pt x="1326581" y="6518591"/>
                </a:cubicBezTo>
                <a:cubicBezTo>
                  <a:pt x="1329372" y="6516974"/>
                  <a:pt x="1331883" y="6514572"/>
                  <a:pt x="1334116" y="6511385"/>
                </a:cubicBezTo>
                <a:cubicBezTo>
                  <a:pt x="1334116" y="6519758"/>
                  <a:pt x="1333813" y="6525246"/>
                  <a:pt x="1333209" y="6527851"/>
                </a:cubicBezTo>
                <a:cubicBezTo>
                  <a:pt x="1332232" y="6532130"/>
                  <a:pt x="1330407" y="6535352"/>
                  <a:pt x="1327732" y="6537515"/>
                </a:cubicBezTo>
                <a:cubicBezTo>
                  <a:pt x="1325058" y="6539678"/>
                  <a:pt x="1321466" y="6540759"/>
                  <a:pt x="1316954" y="6540759"/>
                </a:cubicBezTo>
                <a:cubicBezTo>
                  <a:pt x="1312815" y="6540759"/>
                  <a:pt x="1309583" y="6539788"/>
                  <a:pt x="1307257" y="6537847"/>
                </a:cubicBezTo>
                <a:cubicBezTo>
                  <a:pt x="1304931" y="6535905"/>
                  <a:pt x="1303536" y="6532946"/>
                  <a:pt x="1303071" y="6528969"/>
                </a:cubicBezTo>
                <a:lnTo>
                  <a:pt x="1293025" y="6527155"/>
                </a:lnTo>
                <a:cubicBezTo>
                  <a:pt x="1292886" y="6534643"/>
                  <a:pt x="1294932" y="6540503"/>
                  <a:pt x="1299164" y="6544736"/>
                </a:cubicBezTo>
                <a:cubicBezTo>
                  <a:pt x="1303397" y="6548968"/>
                  <a:pt x="1309443" y="6551084"/>
                  <a:pt x="1317303" y="6551084"/>
                </a:cubicBezTo>
                <a:cubicBezTo>
                  <a:pt x="1323256" y="6551084"/>
                  <a:pt x="1328349" y="6549677"/>
                  <a:pt x="1332581" y="6546864"/>
                </a:cubicBezTo>
                <a:cubicBezTo>
                  <a:pt x="1336813" y="6544050"/>
                  <a:pt x="1339860" y="6540213"/>
                  <a:pt x="1341720" y="6535353"/>
                </a:cubicBezTo>
                <a:cubicBezTo>
                  <a:pt x="1343580" y="6530492"/>
                  <a:pt x="1344510" y="6522365"/>
                  <a:pt x="1344510" y="6510970"/>
                </a:cubicBezTo>
                <a:lnTo>
                  <a:pt x="1344510" y="6446928"/>
                </a:lnTo>
                <a:lnTo>
                  <a:pt x="1335023" y="6446928"/>
                </a:lnTo>
                <a:lnTo>
                  <a:pt x="1335023" y="6455788"/>
                </a:lnTo>
                <a:cubicBezTo>
                  <a:pt x="1332744" y="6452276"/>
                  <a:pt x="1330128" y="6449643"/>
                  <a:pt x="1327174" y="6447887"/>
                </a:cubicBezTo>
                <a:cubicBezTo>
                  <a:pt x="1324221" y="6446131"/>
                  <a:pt x="1320954" y="6445253"/>
                  <a:pt x="1317373" y="6445253"/>
                </a:cubicBezTo>
                <a:close/>
                <a:moveTo>
                  <a:pt x="1250837" y="6445253"/>
                </a:moveTo>
                <a:cubicBezTo>
                  <a:pt x="1248372" y="6445253"/>
                  <a:pt x="1246151" y="6446102"/>
                  <a:pt x="1244175" y="6447800"/>
                </a:cubicBezTo>
                <a:cubicBezTo>
                  <a:pt x="1242198" y="6449497"/>
                  <a:pt x="1240024" y="6452951"/>
                  <a:pt x="1237652" y="6458160"/>
                </a:cubicBezTo>
                <a:lnTo>
                  <a:pt x="1237652" y="6446928"/>
                </a:lnTo>
                <a:lnTo>
                  <a:pt x="1230699" y="6446928"/>
                </a:lnTo>
                <a:lnTo>
                  <a:pt x="1228373" y="6446928"/>
                </a:lnTo>
                <a:lnTo>
                  <a:pt x="1220375" y="6446928"/>
                </a:lnTo>
                <a:lnTo>
                  <a:pt x="1207398" y="6490087"/>
                </a:lnTo>
                <a:cubicBezTo>
                  <a:pt x="1205770" y="6495572"/>
                  <a:pt x="1204375" y="6501197"/>
                  <a:pt x="1203212" y="6506961"/>
                </a:cubicBezTo>
                <a:cubicBezTo>
                  <a:pt x="1201863" y="6500872"/>
                  <a:pt x="1200398" y="6495155"/>
                  <a:pt x="1198817" y="6489809"/>
                </a:cubicBezTo>
                <a:lnTo>
                  <a:pt x="1186120" y="6446928"/>
                </a:lnTo>
                <a:lnTo>
                  <a:pt x="1175028" y="6446928"/>
                </a:lnTo>
                <a:lnTo>
                  <a:pt x="1198138" y="6521126"/>
                </a:lnTo>
                <a:cubicBezTo>
                  <a:pt x="1195762" y="6528679"/>
                  <a:pt x="1194412" y="6532781"/>
                  <a:pt x="1194086" y="6533432"/>
                </a:cubicBezTo>
                <a:cubicBezTo>
                  <a:pt x="1193155" y="6535293"/>
                  <a:pt x="1191980" y="6536666"/>
                  <a:pt x="1190560" y="6537550"/>
                </a:cubicBezTo>
                <a:cubicBezTo>
                  <a:pt x="1189140" y="6538434"/>
                  <a:pt x="1187336" y="6538876"/>
                  <a:pt x="1185149" y="6538876"/>
                </a:cubicBezTo>
                <a:cubicBezTo>
                  <a:pt x="1183520" y="6538876"/>
                  <a:pt x="1181565" y="6538504"/>
                  <a:pt x="1179283" y="6537759"/>
                </a:cubicBezTo>
                <a:lnTo>
                  <a:pt x="1180400" y="6549549"/>
                </a:lnTo>
                <a:cubicBezTo>
                  <a:pt x="1182868" y="6550573"/>
                  <a:pt x="1185081" y="6551084"/>
                  <a:pt x="1187038" y="6551084"/>
                </a:cubicBezTo>
                <a:cubicBezTo>
                  <a:pt x="1189833" y="6551084"/>
                  <a:pt x="1192337" y="6550363"/>
                  <a:pt x="1194549" y="6548922"/>
                </a:cubicBezTo>
                <a:cubicBezTo>
                  <a:pt x="1196762" y="6547480"/>
                  <a:pt x="1198742" y="6545119"/>
                  <a:pt x="1200489" y="6541841"/>
                </a:cubicBezTo>
                <a:cubicBezTo>
                  <a:pt x="1202235" y="6538562"/>
                  <a:pt x="1204623" y="6532039"/>
                  <a:pt x="1207651" y="6522272"/>
                </a:cubicBezTo>
                <a:lnTo>
                  <a:pt x="1228373" y="6454530"/>
                </a:lnTo>
                <a:lnTo>
                  <a:pt x="1228373" y="6521016"/>
                </a:lnTo>
                <a:lnTo>
                  <a:pt x="1238629" y="6521016"/>
                </a:lnTo>
                <a:lnTo>
                  <a:pt x="1238629" y="6482228"/>
                </a:lnTo>
                <a:cubicBezTo>
                  <a:pt x="1238629" y="6476833"/>
                  <a:pt x="1239280" y="6471740"/>
                  <a:pt x="1240582" y="6466950"/>
                </a:cubicBezTo>
                <a:cubicBezTo>
                  <a:pt x="1241326" y="6464206"/>
                  <a:pt x="1242605" y="6462066"/>
                  <a:pt x="1244419" y="6460532"/>
                </a:cubicBezTo>
                <a:cubicBezTo>
                  <a:pt x="1246233" y="6458997"/>
                  <a:pt x="1248233" y="6458229"/>
                  <a:pt x="1250419" y="6458229"/>
                </a:cubicBezTo>
                <a:cubicBezTo>
                  <a:pt x="1252837" y="6458229"/>
                  <a:pt x="1255325" y="6459136"/>
                  <a:pt x="1257883" y="6460950"/>
                </a:cubicBezTo>
                <a:lnTo>
                  <a:pt x="1261371" y="6449300"/>
                </a:lnTo>
                <a:cubicBezTo>
                  <a:pt x="1257790" y="6446602"/>
                  <a:pt x="1254279" y="6445253"/>
                  <a:pt x="1250837" y="6445253"/>
                </a:cubicBezTo>
                <a:close/>
                <a:moveTo>
                  <a:pt x="1141043" y="6445253"/>
                </a:moveTo>
                <a:cubicBezTo>
                  <a:pt x="1137375" y="6445253"/>
                  <a:pt x="1134125" y="6446137"/>
                  <a:pt x="1131292" y="6447904"/>
                </a:cubicBezTo>
                <a:cubicBezTo>
                  <a:pt x="1128460" y="6449672"/>
                  <a:pt x="1125883" y="6452555"/>
                  <a:pt x="1123561" y="6456555"/>
                </a:cubicBezTo>
                <a:lnTo>
                  <a:pt x="1123561" y="6446928"/>
                </a:lnTo>
                <a:lnTo>
                  <a:pt x="1114073" y="6446928"/>
                </a:lnTo>
                <a:lnTo>
                  <a:pt x="1114073" y="6549410"/>
                </a:lnTo>
                <a:lnTo>
                  <a:pt x="1124329" y="6549410"/>
                </a:lnTo>
                <a:lnTo>
                  <a:pt x="1124329" y="6513342"/>
                </a:lnTo>
                <a:cubicBezTo>
                  <a:pt x="1126328" y="6516319"/>
                  <a:pt x="1128700" y="6518621"/>
                  <a:pt x="1131444" y="6520249"/>
                </a:cubicBezTo>
                <a:cubicBezTo>
                  <a:pt x="1134188" y="6521877"/>
                  <a:pt x="1137142" y="6522691"/>
                  <a:pt x="1140304" y="6522691"/>
                </a:cubicBezTo>
                <a:cubicBezTo>
                  <a:pt x="1147420" y="6522691"/>
                  <a:pt x="1153618" y="6519284"/>
                  <a:pt x="1158896" y="6512470"/>
                </a:cubicBezTo>
                <a:cubicBezTo>
                  <a:pt x="1164175" y="6505657"/>
                  <a:pt x="1166814" y="6495948"/>
                  <a:pt x="1166814" y="6483344"/>
                </a:cubicBezTo>
                <a:cubicBezTo>
                  <a:pt x="1166814" y="6475205"/>
                  <a:pt x="1165642" y="6468240"/>
                  <a:pt x="1163297" y="6462450"/>
                </a:cubicBezTo>
                <a:cubicBezTo>
                  <a:pt x="1160952" y="6456660"/>
                  <a:pt x="1157852" y="6452346"/>
                  <a:pt x="1153999" y="6449509"/>
                </a:cubicBezTo>
                <a:cubicBezTo>
                  <a:pt x="1150145" y="6446672"/>
                  <a:pt x="1145827" y="6445253"/>
                  <a:pt x="1141043" y="6445253"/>
                </a:cubicBezTo>
                <a:close/>
                <a:moveTo>
                  <a:pt x="1071955" y="6445253"/>
                </a:moveTo>
                <a:cubicBezTo>
                  <a:pt x="1063723" y="6445253"/>
                  <a:pt x="1056921" y="6448509"/>
                  <a:pt x="1051549" y="6455020"/>
                </a:cubicBezTo>
                <a:cubicBezTo>
                  <a:pt x="1046178" y="6461532"/>
                  <a:pt x="1043492" y="6471182"/>
                  <a:pt x="1043492" y="6483972"/>
                </a:cubicBezTo>
                <a:cubicBezTo>
                  <a:pt x="1043492" y="6496715"/>
                  <a:pt x="1046201" y="6506354"/>
                  <a:pt x="1051619" y="6512889"/>
                </a:cubicBezTo>
                <a:cubicBezTo>
                  <a:pt x="1057037" y="6519423"/>
                  <a:pt x="1063816" y="6522691"/>
                  <a:pt x="1071955" y="6522691"/>
                </a:cubicBezTo>
                <a:cubicBezTo>
                  <a:pt x="1080234" y="6522691"/>
                  <a:pt x="1087047" y="6519435"/>
                  <a:pt x="1092396" y="6512924"/>
                </a:cubicBezTo>
                <a:cubicBezTo>
                  <a:pt x="1097744" y="6506412"/>
                  <a:pt x="1100419" y="6496506"/>
                  <a:pt x="1100419" y="6483205"/>
                </a:cubicBezTo>
                <a:cubicBezTo>
                  <a:pt x="1100419" y="6470926"/>
                  <a:pt x="1097698" y="6461532"/>
                  <a:pt x="1092256" y="6455020"/>
                </a:cubicBezTo>
                <a:cubicBezTo>
                  <a:pt x="1086815" y="6448509"/>
                  <a:pt x="1080048" y="6445253"/>
                  <a:pt x="1071955" y="6445253"/>
                </a:cubicBezTo>
                <a:close/>
                <a:moveTo>
                  <a:pt x="883898" y="6440021"/>
                </a:moveTo>
                <a:cubicBezTo>
                  <a:pt x="876956" y="6440021"/>
                  <a:pt x="871354" y="6442562"/>
                  <a:pt x="867092" y="6447643"/>
                </a:cubicBezTo>
                <a:cubicBezTo>
                  <a:pt x="862829" y="6452725"/>
                  <a:pt x="860698" y="6460114"/>
                  <a:pt x="860698" y="6469810"/>
                </a:cubicBezTo>
                <a:cubicBezTo>
                  <a:pt x="860698" y="6479506"/>
                  <a:pt x="862853" y="6486942"/>
                  <a:pt x="867162" y="6492116"/>
                </a:cubicBezTo>
                <a:cubicBezTo>
                  <a:pt x="871471" y="6497291"/>
                  <a:pt x="876886" y="6499878"/>
                  <a:pt x="883407" y="6499878"/>
                </a:cubicBezTo>
                <a:cubicBezTo>
                  <a:pt x="888485" y="6499878"/>
                  <a:pt x="892923" y="6498192"/>
                  <a:pt x="896719" y="6494820"/>
                </a:cubicBezTo>
                <a:cubicBezTo>
                  <a:pt x="900515" y="6491448"/>
                  <a:pt x="902996" y="6486763"/>
                  <a:pt x="904161" y="6480763"/>
                </a:cubicBezTo>
                <a:lnTo>
                  <a:pt x="897184" y="6478251"/>
                </a:lnTo>
                <a:cubicBezTo>
                  <a:pt x="896299" y="6482530"/>
                  <a:pt x="894527" y="6485844"/>
                  <a:pt x="891869" y="6488193"/>
                </a:cubicBezTo>
                <a:cubicBezTo>
                  <a:pt x="889212" y="6490541"/>
                  <a:pt x="886205" y="6491716"/>
                  <a:pt x="882848" y="6491716"/>
                </a:cubicBezTo>
                <a:cubicBezTo>
                  <a:pt x="878745" y="6491716"/>
                  <a:pt x="875318" y="6489919"/>
                  <a:pt x="872568" y="6486327"/>
                </a:cubicBezTo>
                <a:cubicBezTo>
                  <a:pt x="869817" y="6482735"/>
                  <a:pt x="868442" y="6477392"/>
                  <a:pt x="868442" y="6470301"/>
                </a:cubicBezTo>
                <a:cubicBezTo>
                  <a:pt x="868442" y="6462882"/>
                  <a:pt x="869887" y="6457283"/>
                  <a:pt x="872778" y="6453503"/>
                </a:cubicBezTo>
                <a:cubicBezTo>
                  <a:pt x="875669" y="6449724"/>
                  <a:pt x="879282" y="6447835"/>
                  <a:pt x="883619" y="6447835"/>
                </a:cubicBezTo>
                <a:cubicBezTo>
                  <a:pt x="886510" y="6447835"/>
                  <a:pt x="889085" y="6448730"/>
                  <a:pt x="891347" y="6450521"/>
                </a:cubicBezTo>
                <a:cubicBezTo>
                  <a:pt x="893608" y="6452311"/>
                  <a:pt x="895321" y="6454974"/>
                  <a:pt x="896487" y="6458508"/>
                </a:cubicBezTo>
                <a:lnTo>
                  <a:pt x="903324" y="6456485"/>
                </a:lnTo>
                <a:cubicBezTo>
                  <a:pt x="902066" y="6451276"/>
                  <a:pt x="899713" y="6447230"/>
                  <a:pt x="896266" y="6444347"/>
                </a:cubicBezTo>
                <a:cubicBezTo>
                  <a:pt x="892819" y="6441463"/>
                  <a:pt x="888696" y="6440021"/>
                  <a:pt x="883898" y="6440021"/>
                </a:cubicBezTo>
                <a:close/>
                <a:moveTo>
                  <a:pt x="2030141" y="6429487"/>
                </a:moveTo>
                <a:cubicBezTo>
                  <a:pt x="2031396" y="6434928"/>
                  <a:pt x="2033373" y="6441998"/>
                  <a:pt x="2036069" y="6450695"/>
                </a:cubicBezTo>
                <a:lnTo>
                  <a:pt x="2044784" y="6479019"/>
                </a:lnTo>
                <a:lnTo>
                  <a:pt x="2016217" y="6479019"/>
                </a:lnTo>
                <a:lnTo>
                  <a:pt x="2025546" y="6449021"/>
                </a:lnTo>
                <a:cubicBezTo>
                  <a:pt x="2027526" y="6442556"/>
                  <a:pt x="2029057" y="6436045"/>
                  <a:pt x="2030141" y="6429487"/>
                </a:cubicBezTo>
                <a:close/>
                <a:moveTo>
                  <a:pt x="883232" y="6425650"/>
                </a:moveTo>
                <a:cubicBezTo>
                  <a:pt x="892720" y="6425650"/>
                  <a:pt x="900952" y="6429680"/>
                  <a:pt x="907928" y="6437739"/>
                </a:cubicBezTo>
                <a:cubicBezTo>
                  <a:pt x="915462" y="6446402"/>
                  <a:pt x="919230" y="6457046"/>
                  <a:pt x="919230" y="6469671"/>
                </a:cubicBezTo>
                <a:cubicBezTo>
                  <a:pt x="919230" y="6481410"/>
                  <a:pt x="915927" y="6491495"/>
                  <a:pt x="909323" y="6499926"/>
                </a:cubicBezTo>
                <a:cubicBezTo>
                  <a:pt x="902161" y="6509056"/>
                  <a:pt x="893464" y="6513621"/>
                  <a:pt x="883232" y="6513621"/>
                </a:cubicBezTo>
                <a:cubicBezTo>
                  <a:pt x="873744" y="6513621"/>
                  <a:pt x="865512" y="6509615"/>
                  <a:pt x="858536" y="6501604"/>
                </a:cubicBezTo>
                <a:cubicBezTo>
                  <a:pt x="851001" y="6492939"/>
                  <a:pt x="847234" y="6482295"/>
                  <a:pt x="847234" y="6469671"/>
                </a:cubicBezTo>
                <a:cubicBezTo>
                  <a:pt x="847234" y="6457931"/>
                  <a:pt x="850536" y="6447823"/>
                  <a:pt x="857140" y="6439345"/>
                </a:cubicBezTo>
                <a:cubicBezTo>
                  <a:pt x="864256" y="6430215"/>
                  <a:pt x="872953" y="6425650"/>
                  <a:pt x="883232" y="6425650"/>
                </a:cubicBezTo>
                <a:close/>
                <a:moveTo>
                  <a:pt x="6208297" y="6421046"/>
                </a:moveTo>
                <a:lnTo>
                  <a:pt x="6198042" y="6428580"/>
                </a:lnTo>
                <a:lnTo>
                  <a:pt x="6198042" y="6446928"/>
                </a:lnTo>
                <a:lnTo>
                  <a:pt x="6190507" y="6446928"/>
                </a:lnTo>
                <a:lnTo>
                  <a:pt x="6190507" y="6456695"/>
                </a:lnTo>
                <a:lnTo>
                  <a:pt x="6198042" y="6456695"/>
                </a:lnTo>
                <a:lnTo>
                  <a:pt x="6198042" y="6499320"/>
                </a:lnTo>
                <a:cubicBezTo>
                  <a:pt x="6198042" y="6506668"/>
                  <a:pt x="6198449" y="6511575"/>
                  <a:pt x="6199263" y="6514040"/>
                </a:cubicBezTo>
                <a:cubicBezTo>
                  <a:pt x="6200077" y="6516505"/>
                  <a:pt x="6201577" y="6518447"/>
                  <a:pt x="6203762" y="6519865"/>
                </a:cubicBezTo>
                <a:cubicBezTo>
                  <a:pt x="6205948" y="6521284"/>
                  <a:pt x="6208832" y="6521993"/>
                  <a:pt x="6212413" y="6521993"/>
                </a:cubicBezTo>
                <a:cubicBezTo>
                  <a:pt x="6214692" y="6521993"/>
                  <a:pt x="6217250" y="6521621"/>
                  <a:pt x="6220087" y="6520877"/>
                </a:cubicBezTo>
                <a:lnTo>
                  <a:pt x="6218692" y="6509784"/>
                </a:lnTo>
                <a:cubicBezTo>
                  <a:pt x="6216831" y="6510110"/>
                  <a:pt x="6215320" y="6510273"/>
                  <a:pt x="6214157" y="6510273"/>
                </a:cubicBezTo>
                <a:cubicBezTo>
                  <a:pt x="6211739" y="6510273"/>
                  <a:pt x="6210088" y="6509436"/>
                  <a:pt x="6209204" y="6507761"/>
                </a:cubicBezTo>
                <a:cubicBezTo>
                  <a:pt x="6208599" y="6506599"/>
                  <a:pt x="6208297" y="6504017"/>
                  <a:pt x="6208297" y="6500018"/>
                </a:cubicBezTo>
                <a:lnTo>
                  <a:pt x="6208297" y="6456695"/>
                </a:lnTo>
                <a:lnTo>
                  <a:pt x="6218692" y="6456695"/>
                </a:lnTo>
                <a:lnTo>
                  <a:pt x="6218692" y="6446928"/>
                </a:lnTo>
                <a:lnTo>
                  <a:pt x="6208297" y="6446928"/>
                </a:lnTo>
                <a:close/>
                <a:moveTo>
                  <a:pt x="2421963" y="6421046"/>
                </a:moveTo>
                <a:lnTo>
                  <a:pt x="2411708" y="6428580"/>
                </a:lnTo>
                <a:lnTo>
                  <a:pt x="2411708" y="6446928"/>
                </a:lnTo>
                <a:lnTo>
                  <a:pt x="2404176" y="6446928"/>
                </a:lnTo>
                <a:lnTo>
                  <a:pt x="2404176" y="6456695"/>
                </a:lnTo>
                <a:lnTo>
                  <a:pt x="2411708" y="6456695"/>
                </a:lnTo>
                <a:lnTo>
                  <a:pt x="2411708" y="6499320"/>
                </a:lnTo>
                <a:cubicBezTo>
                  <a:pt x="2411708" y="6506668"/>
                  <a:pt x="2412117" y="6511575"/>
                  <a:pt x="2412932" y="6514040"/>
                </a:cubicBezTo>
                <a:cubicBezTo>
                  <a:pt x="2413745" y="6516505"/>
                  <a:pt x="2415246" y="6518447"/>
                  <a:pt x="2417431" y="6519865"/>
                </a:cubicBezTo>
                <a:cubicBezTo>
                  <a:pt x="2419616" y="6521284"/>
                  <a:pt x="2422501" y="6521993"/>
                  <a:pt x="2426082" y="6521993"/>
                </a:cubicBezTo>
                <a:lnTo>
                  <a:pt x="2432793" y="6521016"/>
                </a:lnTo>
                <a:lnTo>
                  <a:pt x="2486537" y="6521016"/>
                </a:lnTo>
                <a:lnTo>
                  <a:pt x="2486537" y="6510203"/>
                </a:lnTo>
                <a:lnTo>
                  <a:pt x="2458413" y="6510203"/>
                </a:lnTo>
                <a:cubicBezTo>
                  <a:pt x="2454366" y="6510203"/>
                  <a:pt x="2450037" y="6510412"/>
                  <a:pt x="2445434" y="6510831"/>
                </a:cubicBezTo>
                <a:lnTo>
                  <a:pt x="2451797" y="6502250"/>
                </a:lnTo>
                <a:lnTo>
                  <a:pt x="2484792" y="6455230"/>
                </a:lnTo>
                <a:lnTo>
                  <a:pt x="2484792" y="6446928"/>
                </a:lnTo>
                <a:lnTo>
                  <a:pt x="2435051" y="6446928"/>
                </a:lnTo>
                <a:lnTo>
                  <a:pt x="2435051" y="6457113"/>
                </a:lnTo>
                <a:lnTo>
                  <a:pt x="2459836" y="6457113"/>
                </a:lnTo>
                <a:cubicBezTo>
                  <a:pt x="2463190" y="6457113"/>
                  <a:pt x="2467073" y="6456974"/>
                  <a:pt x="2471498" y="6456695"/>
                </a:cubicBezTo>
                <a:lnTo>
                  <a:pt x="2432747" y="6510831"/>
                </a:lnTo>
                <a:lnTo>
                  <a:pt x="2432747" y="6512890"/>
                </a:lnTo>
                <a:lnTo>
                  <a:pt x="2432359" y="6509784"/>
                </a:lnTo>
                <a:cubicBezTo>
                  <a:pt x="2430497" y="6510110"/>
                  <a:pt x="2428986" y="6510273"/>
                  <a:pt x="2427824" y="6510273"/>
                </a:cubicBezTo>
                <a:cubicBezTo>
                  <a:pt x="2425405" y="6510273"/>
                  <a:pt x="2423753" y="6509436"/>
                  <a:pt x="2422869" y="6507761"/>
                </a:cubicBezTo>
                <a:cubicBezTo>
                  <a:pt x="2422267" y="6506599"/>
                  <a:pt x="2421963" y="6504017"/>
                  <a:pt x="2421963" y="6500018"/>
                </a:cubicBezTo>
                <a:lnTo>
                  <a:pt x="2421963" y="6456695"/>
                </a:lnTo>
                <a:lnTo>
                  <a:pt x="2432359" y="6456695"/>
                </a:lnTo>
                <a:lnTo>
                  <a:pt x="2432359" y="6446928"/>
                </a:lnTo>
                <a:lnTo>
                  <a:pt x="2421963" y="6446928"/>
                </a:lnTo>
                <a:close/>
                <a:moveTo>
                  <a:pt x="1440886" y="6421046"/>
                </a:moveTo>
                <a:lnTo>
                  <a:pt x="1430631" y="6428580"/>
                </a:lnTo>
                <a:lnTo>
                  <a:pt x="1430631" y="6446928"/>
                </a:lnTo>
                <a:lnTo>
                  <a:pt x="1423097" y="6446928"/>
                </a:lnTo>
                <a:lnTo>
                  <a:pt x="1423097" y="6456695"/>
                </a:lnTo>
                <a:lnTo>
                  <a:pt x="1430631" y="6456695"/>
                </a:lnTo>
                <a:lnTo>
                  <a:pt x="1430631" y="6499320"/>
                </a:lnTo>
                <a:cubicBezTo>
                  <a:pt x="1430631" y="6506668"/>
                  <a:pt x="1431038" y="6511575"/>
                  <a:pt x="1431852" y="6514040"/>
                </a:cubicBezTo>
                <a:cubicBezTo>
                  <a:pt x="1432666" y="6516505"/>
                  <a:pt x="1434165" y="6518447"/>
                  <a:pt x="1436352" y="6519865"/>
                </a:cubicBezTo>
                <a:cubicBezTo>
                  <a:pt x="1438537" y="6521284"/>
                  <a:pt x="1441421" y="6521993"/>
                  <a:pt x="1445002" y="6521993"/>
                </a:cubicBezTo>
                <a:cubicBezTo>
                  <a:pt x="1447281" y="6521993"/>
                  <a:pt x="1449839" y="6521621"/>
                  <a:pt x="1452676" y="6520877"/>
                </a:cubicBezTo>
                <a:lnTo>
                  <a:pt x="1451281" y="6509784"/>
                </a:lnTo>
                <a:cubicBezTo>
                  <a:pt x="1449420" y="6510110"/>
                  <a:pt x="1447909" y="6510273"/>
                  <a:pt x="1446746" y="6510273"/>
                </a:cubicBezTo>
                <a:cubicBezTo>
                  <a:pt x="1444328" y="6510273"/>
                  <a:pt x="1442677" y="6509436"/>
                  <a:pt x="1441793" y="6507761"/>
                </a:cubicBezTo>
                <a:cubicBezTo>
                  <a:pt x="1441188" y="6506599"/>
                  <a:pt x="1440886" y="6504017"/>
                  <a:pt x="1440886" y="6500018"/>
                </a:cubicBezTo>
                <a:lnTo>
                  <a:pt x="1440886" y="6456695"/>
                </a:lnTo>
                <a:lnTo>
                  <a:pt x="1451281" y="6456695"/>
                </a:lnTo>
                <a:lnTo>
                  <a:pt x="1451281" y="6446928"/>
                </a:lnTo>
                <a:lnTo>
                  <a:pt x="1440886" y="6446928"/>
                </a:lnTo>
                <a:close/>
                <a:moveTo>
                  <a:pt x="6319286" y="6418743"/>
                </a:moveTo>
                <a:lnTo>
                  <a:pt x="6319286" y="6521016"/>
                </a:lnTo>
                <a:lnTo>
                  <a:pt x="6329541" y="6521016"/>
                </a:lnTo>
                <a:lnTo>
                  <a:pt x="6329541" y="6418743"/>
                </a:lnTo>
                <a:close/>
                <a:moveTo>
                  <a:pt x="6224384" y="6418743"/>
                </a:moveTo>
                <a:lnTo>
                  <a:pt x="6224384" y="6433184"/>
                </a:lnTo>
                <a:lnTo>
                  <a:pt x="6234640" y="6433184"/>
                </a:lnTo>
                <a:lnTo>
                  <a:pt x="6234640" y="6418743"/>
                </a:lnTo>
                <a:close/>
                <a:moveTo>
                  <a:pt x="6034363" y="6418743"/>
                </a:moveTo>
                <a:lnTo>
                  <a:pt x="6034363" y="6455439"/>
                </a:lnTo>
                <a:cubicBezTo>
                  <a:pt x="6032461" y="6452230"/>
                  <a:pt x="6030058" y="6449730"/>
                  <a:pt x="6027156" y="6447939"/>
                </a:cubicBezTo>
                <a:cubicBezTo>
                  <a:pt x="6024254" y="6446149"/>
                  <a:pt x="6021108" y="6445253"/>
                  <a:pt x="6017719" y="6445253"/>
                </a:cubicBezTo>
                <a:cubicBezTo>
                  <a:pt x="6012983" y="6445253"/>
                  <a:pt x="6008677" y="6446672"/>
                  <a:pt x="6004799" y="6449509"/>
                </a:cubicBezTo>
                <a:cubicBezTo>
                  <a:pt x="6000921" y="6452346"/>
                  <a:pt x="5997822" y="6456695"/>
                  <a:pt x="5995500" y="6462555"/>
                </a:cubicBezTo>
                <a:cubicBezTo>
                  <a:pt x="5993178" y="6468415"/>
                  <a:pt x="5992018" y="6475554"/>
                  <a:pt x="5992018" y="6483972"/>
                </a:cubicBezTo>
                <a:cubicBezTo>
                  <a:pt x="5992018" y="6496250"/>
                  <a:pt x="5994634" y="6505773"/>
                  <a:pt x="5999866" y="6512540"/>
                </a:cubicBezTo>
                <a:cubicBezTo>
                  <a:pt x="6005100" y="6519307"/>
                  <a:pt x="6011295" y="6522691"/>
                  <a:pt x="6018459" y="6522691"/>
                </a:cubicBezTo>
                <a:cubicBezTo>
                  <a:pt x="6021854" y="6522691"/>
                  <a:pt x="6025016" y="6521749"/>
                  <a:pt x="6027948" y="6519865"/>
                </a:cubicBezTo>
                <a:cubicBezTo>
                  <a:pt x="6030877" y="6517982"/>
                  <a:pt x="6033272" y="6515249"/>
                  <a:pt x="6035132" y="6511668"/>
                </a:cubicBezTo>
                <a:lnTo>
                  <a:pt x="6035132" y="6521016"/>
                </a:lnTo>
                <a:lnTo>
                  <a:pt x="6044761" y="6521016"/>
                </a:lnTo>
                <a:lnTo>
                  <a:pt x="6044761" y="6418743"/>
                </a:lnTo>
                <a:close/>
                <a:moveTo>
                  <a:pt x="2790954" y="6418743"/>
                </a:moveTo>
                <a:lnTo>
                  <a:pt x="2790954" y="6455439"/>
                </a:lnTo>
                <a:cubicBezTo>
                  <a:pt x="2789051" y="6452230"/>
                  <a:pt x="2786647" y="6449730"/>
                  <a:pt x="2783745" y="6447939"/>
                </a:cubicBezTo>
                <a:cubicBezTo>
                  <a:pt x="2780842" y="6446149"/>
                  <a:pt x="2777697" y="6445253"/>
                  <a:pt x="2774311" y="6445253"/>
                </a:cubicBezTo>
                <a:cubicBezTo>
                  <a:pt x="2769573" y="6445253"/>
                  <a:pt x="2765268" y="6446672"/>
                  <a:pt x="2761389" y="6449509"/>
                </a:cubicBezTo>
                <a:cubicBezTo>
                  <a:pt x="2757512" y="6452346"/>
                  <a:pt x="2754414" y="6456695"/>
                  <a:pt x="2752089" y="6462555"/>
                </a:cubicBezTo>
                <a:cubicBezTo>
                  <a:pt x="2749769" y="6468415"/>
                  <a:pt x="2748607" y="6475554"/>
                  <a:pt x="2748607" y="6483972"/>
                </a:cubicBezTo>
                <a:cubicBezTo>
                  <a:pt x="2748607" y="6496250"/>
                  <a:pt x="2751223" y="6505773"/>
                  <a:pt x="2756457" y="6512540"/>
                </a:cubicBezTo>
                <a:cubicBezTo>
                  <a:pt x="2761691" y="6519307"/>
                  <a:pt x="2767884" y="6522691"/>
                  <a:pt x="2775051" y="6522691"/>
                </a:cubicBezTo>
                <a:cubicBezTo>
                  <a:pt x="2778443" y="6522691"/>
                  <a:pt x="2781605" y="6521749"/>
                  <a:pt x="2784536" y="6519865"/>
                </a:cubicBezTo>
                <a:cubicBezTo>
                  <a:pt x="2787466" y="6517982"/>
                  <a:pt x="2789863" y="6515249"/>
                  <a:pt x="2791721" y="6511668"/>
                </a:cubicBezTo>
                <a:lnTo>
                  <a:pt x="2791721" y="6521016"/>
                </a:lnTo>
                <a:lnTo>
                  <a:pt x="2801352" y="6521016"/>
                </a:lnTo>
                <a:lnTo>
                  <a:pt x="2801352" y="6418743"/>
                </a:lnTo>
                <a:close/>
                <a:moveTo>
                  <a:pt x="2590102" y="6418743"/>
                </a:moveTo>
                <a:lnTo>
                  <a:pt x="2590102" y="6521016"/>
                </a:lnTo>
                <a:lnTo>
                  <a:pt x="2600357" y="6521016"/>
                </a:lnTo>
                <a:lnTo>
                  <a:pt x="2600357" y="6418743"/>
                </a:lnTo>
                <a:close/>
                <a:moveTo>
                  <a:pt x="2380902" y="6418743"/>
                </a:moveTo>
                <a:lnTo>
                  <a:pt x="2380902" y="6433184"/>
                </a:lnTo>
                <a:lnTo>
                  <a:pt x="2391160" y="6433184"/>
                </a:lnTo>
                <a:lnTo>
                  <a:pt x="2391160" y="6418743"/>
                </a:lnTo>
                <a:close/>
                <a:moveTo>
                  <a:pt x="2024499" y="6418743"/>
                </a:moveTo>
                <a:lnTo>
                  <a:pt x="1992155" y="6521016"/>
                </a:lnTo>
                <a:lnTo>
                  <a:pt x="2003857" y="6521016"/>
                </a:lnTo>
                <a:lnTo>
                  <a:pt x="2012973" y="6490041"/>
                </a:lnTo>
                <a:lnTo>
                  <a:pt x="2048255" y="6490041"/>
                </a:lnTo>
                <a:lnTo>
                  <a:pt x="2058010" y="6521016"/>
                </a:lnTo>
                <a:lnTo>
                  <a:pt x="2070709" y="6521016"/>
                </a:lnTo>
                <a:lnTo>
                  <a:pt x="2036363" y="6418743"/>
                </a:lnTo>
                <a:close/>
                <a:moveTo>
                  <a:pt x="1818925" y="6418743"/>
                </a:moveTo>
                <a:lnTo>
                  <a:pt x="1818925" y="6433184"/>
                </a:lnTo>
                <a:lnTo>
                  <a:pt x="1829180" y="6433184"/>
                </a:lnTo>
                <a:lnTo>
                  <a:pt x="1829180" y="6418743"/>
                </a:lnTo>
                <a:close/>
                <a:moveTo>
                  <a:pt x="1752248" y="6418743"/>
                </a:moveTo>
                <a:lnTo>
                  <a:pt x="1752248" y="6433184"/>
                </a:lnTo>
                <a:lnTo>
                  <a:pt x="1762504" y="6433184"/>
                </a:lnTo>
                <a:lnTo>
                  <a:pt x="1762504" y="6418743"/>
                </a:lnTo>
                <a:close/>
                <a:moveTo>
                  <a:pt x="1361723" y="6418743"/>
                </a:moveTo>
                <a:lnTo>
                  <a:pt x="1361723" y="6521016"/>
                </a:lnTo>
                <a:lnTo>
                  <a:pt x="1371979" y="6521016"/>
                </a:lnTo>
                <a:lnTo>
                  <a:pt x="1371979" y="6480484"/>
                </a:lnTo>
                <a:cubicBezTo>
                  <a:pt x="1371979" y="6471368"/>
                  <a:pt x="1373548" y="6465020"/>
                  <a:pt x="1376688" y="6461438"/>
                </a:cubicBezTo>
                <a:cubicBezTo>
                  <a:pt x="1379827" y="6457857"/>
                  <a:pt x="1383629" y="6456067"/>
                  <a:pt x="1388094" y="6456067"/>
                </a:cubicBezTo>
                <a:cubicBezTo>
                  <a:pt x="1392094" y="6456067"/>
                  <a:pt x="1395233" y="6457462"/>
                  <a:pt x="1397512" y="6460253"/>
                </a:cubicBezTo>
                <a:cubicBezTo>
                  <a:pt x="1399791" y="6463043"/>
                  <a:pt x="1400930" y="6467647"/>
                  <a:pt x="1400930" y="6474066"/>
                </a:cubicBezTo>
                <a:lnTo>
                  <a:pt x="1400930" y="6521016"/>
                </a:lnTo>
                <a:lnTo>
                  <a:pt x="1411186" y="6521016"/>
                </a:lnTo>
                <a:lnTo>
                  <a:pt x="1411186" y="6474066"/>
                </a:lnTo>
                <a:cubicBezTo>
                  <a:pt x="1411186" y="6463090"/>
                  <a:pt x="1409314" y="6455543"/>
                  <a:pt x="1405570" y="6451427"/>
                </a:cubicBezTo>
                <a:cubicBezTo>
                  <a:pt x="1401826" y="6447311"/>
                  <a:pt x="1396721" y="6445253"/>
                  <a:pt x="1390256" y="6445253"/>
                </a:cubicBezTo>
                <a:cubicBezTo>
                  <a:pt x="1386582" y="6445253"/>
                  <a:pt x="1383222" y="6446102"/>
                  <a:pt x="1380176" y="6447800"/>
                </a:cubicBezTo>
                <a:cubicBezTo>
                  <a:pt x="1377129" y="6449497"/>
                  <a:pt x="1374397" y="6452044"/>
                  <a:pt x="1371979" y="6455439"/>
                </a:cubicBezTo>
                <a:lnTo>
                  <a:pt x="1371979" y="6418743"/>
                </a:lnTo>
                <a:close/>
                <a:moveTo>
                  <a:pt x="1266473" y="6418743"/>
                </a:moveTo>
                <a:lnTo>
                  <a:pt x="1266473" y="6433184"/>
                </a:lnTo>
                <a:lnTo>
                  <a:pt x="1276729" y="6433184"/>
                </a:lnTo>
                <a:lnTo>
                  <a:pt x="1276729" y="6418743"/>
                </a:lnTo>
                <a:close/>
                <a:moveTo>
                  <a:pt x="10863258" y="6418259"/>
                </a:moveTo>
                <a:lnTo>
                  <a:pt x="10904541" y="6418259"/>
                </a:lnTo>
                <a:cubicBezTo>
                  <a:pt x="10924644" y="6418259"/>
                  <a:pt x="10934695" y="6421247"/>
                  <a:pt x="10934695" y="6433947"/>
                </a:cubicBezTo>
                <a:cubicBezTo>
                  <a:pt x="10934695" y="6446647"/>
                  <a:pt x="10924644" y="6450009"/>
                  <a:pt x="10904541" y="6450009"/>
                </a:cubicBezTo>
                <a:lnTo>
                  <a:pt x="10863258" y="6450009"/>
                </a:lnTo>
                <a:close/>
                <a:moveTo>
                  <a:pt x="5958284" y="6416999"/>
                </a:moveTo>
                <a:cubicBezTo>
                  <a:pt x="5954507" y="6416999"/>
                  <a:pt x="5951372" y="6417767"/>
                  <a:pt x="5948876" y="6419302"/>
                </a:cubicBezTo>
                <a:cubicBezTo>
                  <a:pt x="5946380" y="6420836"/>
                  <a:pt x="5944526" y="6423057"/>
                  <a:pt x="5943316" y="6425964"/>
                </a:cubicBezTo>
                <a:cubicBezTo>
                  <a:pt x="5942101" y="6428871"/>
                  <a:pt x="5941497" y="6433231"/>
                  <a:pt x="5941497" y="6439045"/>
                </a:cubicBezTo>
                <a:lnTo>
                  <a:pt x="5941497" y="6446928"/>
                </a:lnTo>
                <a:lnTo>
                  <a:pt x="5932359" y="6446928"/>
                </a:lnTo>
                <a:lnTo>
                  <a:pt x="5932359" y="6456695"/>
                </a:lnTo>
                <a:lnTo>
                  <a:pt x="5941497" y="6456695"/>
                </a:lnTo>
                <a:lnTo>
                  <a:pt x="5941497" y="6521016"/>
                </a:lnTo>
                <a:lnTo>
                  <a:pt x="5951752" y="6521016"/>
                </a:lnTo>
                <a:lnTo>
                  <a:pt x="5951752" y="6456695"/>
                </a:lnTo>
                <a:lnTo>
                  <a:pt x="5963612" y="6456695"/>
                </a:lnTo>
                <a:lnTo>
                  <a:pt x="5963612" y="6446928"/>
                </a:lnTo>
                <a:lnTo>
                  <a:pt x="5951752" y="6446928"/>
                </a:lnTo>
                <a:lnTo>
                  <a:pt x="5951752" y="6440091"/>
                </a:lnTo>
                <a:cubicBezTo>
                  <a:pt x="5951752" y="6435580"/>
                  <a:pt x="5952415" y="6432522"/>
                  <a:pt x="5953740" y="6430917"/>
                </a:cubicBezTo>
                <a:cubicBezTo>
                  <a:pt x="5955066" y="6429313"/>
                  <a:pt x="5957263" y="6428510"/>
                  <a:pt x="5960331" y="6428510"/>
                </a:cubicBezTo>
                <a:cubicBezTo>
                  <a:pt x="5962240" y="6428510"/>
                  <a:pt x="5964261" y="6428743"/>
                  <a:pt x="5966402" y="6429208"/>
                </a:cubicBezTo>
                <a:lnTo>
                  <a:pt x="5967211" y="6423470"/>
                </a:lnTo>
                <a:lnTo>
                  <a:pt x="5967211" y="6433184"/>
                </a:lnTo>
                <a:lnTo>
                  <a:pt x="5977467" y="6433184"/>
                </a:lnTo>
                <a:lnTo>
                  <a:pt x="5977467" y="6418743"/>
                </a:lnTo>
                <a:lnTo>
                  <a:pt x="5967879" y="6418743"/>
                </a:lnTo>
                <a:lnTo>
                  <a:pt x="5967935" y="6418325"/>
                </a:lnTo>
                <a:cubicBezTo>
                  <a:pt x="5964439" y="6417441"/>
                  <a:pt x="5961221" y="6416999"/>
                  <a:pt x="5958284" y="6416999"/>
                </a:cubicBezTo>
                <a:close/>
                <a:moveTo>
                  <a:pt x="883232" y="6416999"/>
                </a:moveTo>
                <a:cubicBezTo>
                  <a:pt x="875883" y="6416999"/>
                  <a:pt x="868895" y="6419197"/>
                  <a:pt x="862268" y="6423592"/>
                </a:cubicBezTo>
                <a:cubicBezTo>
                  <a:pt x="855640" y="6427987"/>
                  <a:pt x="850280" y="6434301"/>
                  <a:pt x="846187" y="6442533"/>
                </a:cubicBezTo>
                <a:cubicBezTo>
                  <a:pt x="842095" y="6450765"/>
                  <a:pt x="840048" y="6459811"/>
                  <a:pt x="840048" y="6469671"/>
                </a:cubicBezTo>
                <a:cubicBezTo>
                  <a:pt x="840048" y="6483763"/>
                  <a:pt x="844188" y="6496053"/>
                  <a:pt x="852466" y="6506540"/>
                </a:cubicBezTo>
                <a:cubicBezTo>
                  <a:pt x="860745" y="6517028"/>
                  <a:pt x="871000" y="6522272"/>
                  <a:pt x="883232" y="6522272"/>
                </a:cubicBezTo>
                <a:cubicBezTo>
                  <a:pt x="890580" y="6522272"/>
                  <a:pt x="897568" y="6520074"/>
                  <a:pt x="904196" y="6515679"/>
                </a:cubicBezTo>
                <a:cubicBezTo>
                  <a:pt x="910823" y="6511284"/>
                  <a:pt x="916183" y="6504971"/>
                  <a:pt x="920276" y="6496739"/>
                </a:cubicBezTo>
                <a:cubicBezTo>
                  <a:pt x="924369" y="6488507"/>
                  <a:pt x="926415" y="6479484"/>
                  <a:pt x="926415" y="6469671"/>
                </a:cubicBezTo>
                <a:cubicBezTo>
                  <a:pt x="926415" y="6455578"/>
                  <a:pt x="922276" y="6443277"/>
                  <a:pt x="913997" y="6432766"/>
                </a:cubicBezTo>
                <a:cubicBezTo>
                  <a:pt x="905719" y="6422255"/>
                  <a:pt x="895464" y="6416999"/>
                  <a:pt x="883232" y="6416999"/>
                </a:cubicBezTo>
                <a:close/>
                <a:moveTo>
                  <a:pt x="5757201" y="6416930"/>
                </a:moveTo>
                <a:cubicBezTo>
                  <a:pt x="5749800" y="6416930"/>
                  <a:pt x="5743096" y="6418919"/>
                  <a:pt x="5737090" y="6422898"/>
                </a:cubicBezTo>
                <a:cubicBezTo>
                  <a:pt x="5731085" y="6426877"/>
                  <a:pt x="5726326" y="6432764"/>
                  <a:pt x="5722810" y="6440560"/>
                </a:cubicBezTo>
                <a:cubicBezTo>
                  <a:pt x="5719297" y="6448355"/>
                  <a:pt x="5717538" y="6457884"/>
                  <a:pt x="5717538" y="6469147"/>
                </a:cubicBezTo>
                <a:cubicBezTo>
                  <a:pt x="5717538" y="6480549"/>
                  <a:pt x="5719295" y="6490439"/>
                  <a:pt x="5722804" y="6498816"/>
                </a:cubicBezTo>
                <a:cubicBezTo>
                  <a:pt x="5726318" y="6507193"/>
                  <a:pt x="5730829" y="6513278"/>
                  <a:pt x="5736339" y="6517071"/>
                </a:cubicBezTo>
                <a:cubicBezTo>
                  <a:pt x="5741851" y="6520864"/>
                  <a:pt x="5748490" y="6522760"/>
                  <a:pt x="5756258" y="6522760"/>
                </a:cubicBezTo>
                <a:cubicBezTo>
                  <a:pt x="5765094" y="6522760"/>
                  <a:pt x="5772593" y="6519935"/>
                  <a:pt x="5778755" y="6514284"/>
                </a:cubicBezTo>
                <a:cubicBezTo>
                  <a:pt x="5784918" y="6508633"/>
                  <a:pt x="5789232" y="6500064"/>
                  <a:pt x="5791698" y="6488576"/>
                </a:cubicBezTo>
                <a:lnTo>
                  <a:pt x="5780536" y="6485158"/>
                </a:lnTo>
                <a:cubicBezTo>
                  <a:pt x="5779047" y="6493902"/>
                  <a:pt x="5776104" y="6500424"/>
                  <a:pt x="5771710" y="6504727"/>
                </a:cubicBezTo>
                <a:cubicBezTo>
                  <a:pt x="5767314" y="6509029"/>
                  <a:pt x="5762094" y="6511180"/>
                  <a:pt x="5756048" y="6511180"/>
                </a:cubicBezTo>
                <a:cubicBezTo>
                  <a:pt x="5747861" y="6511180"/>
                  <a:pt x="5741304" y="6507677"/>
                  <a:pt x="5736375" y="6500672"/>
                </a:cubicBezTo>
                <a:cubicBezTo>
                  <a:pt x="5731443" y="6493666"/>
                  <a:pt x="5728981" y="6483158"/>
                  <a:pt x="5728981" y="6469146"/>
                </a:cubicBezTo>
                <a:cubicBezTo>
                  <a:pt x="5728981" y="6459884"/>
                  <a:pt x="5730202" y="6452227"/>
                  <a:pt x="5732647" y="6446176"/>
                </a:cubicBezTo>
                <a:cubicBezTo>
                  <a:pt x="5735094" y="6440124"/>
                  <a:pt x="5738363" y="6435667"/>
                  <a:pt x="5742462" y="6432805"/>
                </a:cubicBezTo>
                <a:cubicBezTo>
                  <a:pt x="5746560" y="6429942"/>
                  <a:pt x="5751404" y="6428510"/>
                  <a:pt x="5756996" y="6428510"/>
                </a:cubicBezTo>
                <a:cubicBezTo>
                  <a:pt x="5768218" y="6428510"/>
                  <a:pt x="5775694" y="6435603"/>
                  <a:pt x="5779417" y="6449788"/>
                </a:cubicBezTo>
                <a:lnTo>
                  <a:pt x="5790300" y="6446649"/>
                </a:lnTo>
                <a:cubicBezTo>
                  <a:pt x="5787973" y="6436904"/>
                  <a:pt x="5783900" y="6429515"/>
                  <a:pt x="5778080" y="6424481"/>
                </a:cubicBezTo>
                <a:cubicBezTo>
                  <a:pt x="5772261" y="6419447"/>
                  <a:pt x="5765304" y="6416930"/>
                  <a:pt x="5757201" y="6416930"/>
                </a:cubicBezTo>
                <a:close/>
                <a:moveTo>
                  <a:pt x="2249532" y="6416930"/>
                </a:moveTo>
                <a:cubicBezTo>
                  <a:pt x="2240467" y="6416930"/>
                  <a:pt x="2233254" y="6419557"/>
                  <a:pt x="2227909" y="6424813"/>
                </a:cubicBezTo>
                <a:cubicBezTo>
                  <a:pt x="2222556" y="6430068"/>
                  <a:pt x="2219883" y="6436835"/>
                  <a:pt x="2219883" y="6445114"/>
                </a:cubicBezTo>
                <a:cubicBezTo>
                  <a:pt x="2219883" y="6449718"/>
                  <a:pt x="2220813" y="6453846"/>
                  <a:pt x="2222671" y="6457497"/>
                </a:cubicBezTo>
                <a:cubicBezTo>
                  <a:pt x="2224536" y="6461148"/>
                  <a:pt x="2227140" y="6464159"/>
                  <a:pt x="2230487" y="6466531"/>
                </a:cubicBezTo>
                <a:cubicBezTo>
                  <a:pt x="2233835" y="6468903"/>
                  <a:pt x="2239465" y="6471263"/>
                  <a:pt x="2247373" y="6473610"/>
                </a:cubicBezTo>
                <a:cubicBezTo>
                  <a:pt x="2256256" y="6476239"/>
                  <a:pt x="2262035" y="6478273"/>
                  <a:pt x="2264706" y="6479712"/>
                </a:cubicBezTo>
                <a:cubicBezTo>
                  <a:pt x="2267380" y="6481151"/>
                  <a:pt x="2269378" y="6482996"/>
                  <a:pt x="2270706" y="6485247"/>
                </a:cubicBezTo>
                <a:cubicBezTo>
                  <a:pt x="2272029" y="6487498"/>
                  <a:pt x="2272693" y="6490132"/>
                  <a:pt x="2272693" y="6493148"/>
                </a:cubicBezTo>
                <a:cubicBezTo>
                  <a:pt x="2272693" y="6498300"/>
                  <a:pt x="2270867" y="6502488"/>
                  <a:pt x="2267221" y="6505714"/>
                </a:cubicBezTo>
                <a:cubicBezTo>
                  <a:pt x="2263568" y="6508939"/>
                  <a:pt x="2258441" y="6510552"/>
                  <a:pt x="2251834" y="6510552"/>
                </a:cubicBezTo>
                <a:cubicBezTo>
                  <a:pt x="2247228" y="6510552"/>
                  <a:pt x="2243090" y="6509598"/>
                  <a:pt x="2239420" y="6507691"/>
                </a:cubicBezTo>
                <a:cubicBezTo>
                  <a:pt x="2235745" y="6505785"/>
                  <a:pt x="2232919" y="6503262"/>
                  <a:pt x="2230941" y="6500122"/>
                </a:cubicBezTo>
                <a:cubicBezTo>
                  <a:pt x="2228964" y="6496983"/>
                  <a:pt x="2227697" y="6492599"/>
                  <a:pt x="2227140" y="6486972"/>
                </a:cubicBezTo>
                <a:lnTo>
                  <a:pt x="2216673" y="6488088"/>
                </a:lnTo>
                <a:cubicBezTo>
                  <a:pt x="2216905" y="6498739"/>
                  <a:pt x="2220105" y="6507180"/>
                  <a:pt x="2226270" y="6513412"/>
                </a:cubicBezTo>
                <a:cubicBezTo>
                  <a:pt x="2232430" y="6519644"/>
                  <a:pt x="2240699" y="6522760"/>
                  <a:pt x="2251071" y="6522760"/>
                </a:cubicBezTo>
                <a:cubicBezTo>
                  <a:pt x="2257717" y="6522760"/>
                  <a:pt x="2263407" y="6521506"/>
                  <a:pt x="2268127" y="6518997"/>
                </a:cubicBezTo>
                <a:cubicBezTo>
                  <a:pt x="2272847" y="6516488"/>
                  <a:pt x="2276579" y="6512829"/>
                  <a:pt x="2279325" y="6508021"/>
                </a:cubicBezTo>
                <a:cubicBezTo>
                  <a:pt x="2282067" y="6503213"/>
                  <a:pt x="2283436" y="6497882"/>
                  <a:pt x="2283436" y="6492029"/>
                </a:cubicBezTo>
                <a:cubicBezTo>
                  <a:pt x="2283436" y="6486128"/>
                  <a:pt x="2282132" y="6481052"/>
                  <a:pt x="2279522" y="6476801"/>
                </a:cubicBezTo>
                <a:cubicBezTo>
                  <a:pt x="2276914" y="6472550"/>
                  <a:pt x="2273050" y="6469117"/>
                  <a:pt x="2267938" y="6466501"/>
                </a:cubicBezTo>
                <a:cubicBezTo>
                  <a:pt x="2264591" y="6464819"/>
                  <a:pt x="2258781" y="6462833"/>
                  <a:pt x="2250508" y="6460544"/>
                </a:cubicBezTo>
                <a:cubicBezTo>
                  <a:pt x="2242041" y="6458208"/>
                  <a:pt x="2236603" y="6455901"/>
                  <a:pt x="2234185" y="6453622"/>
                </a:cubicBezTo>
                <a:cubicBezTo>
                  <a:pt x="2231767" y="6451344"/>
                  <a:pt x="2230560" y="6448135"/>
                  <a:pt x="2230560" y="6443996"/>
                </a:cubicBezTo>
                <a:cubicBezTo>
                  <a:pt x="2230560" y="6439531"/>
                  <a:pt x="2232208" y="6435893"/>
                  <a:pt x="2235513" y="6433079"/>
                </a:cubicBezTo>
                <a:cubicBezTo>
                  <a:pt x="2238811" y="6430266"/>
                  <a:pt x="2243603" y="6428859"/>
                  <a:pt x="2249881" y="6428859"/>
                </a:cubicBezTo>
                <a:cubicBezTo>
                  <a:pt x="2256067" y="6428859"/>
                  <a:pt x="2260872" y="6430464"/>
                  <a:pt x="2264286" y="6433673"/>
                </a:cubicBezTo>
                <a:cubicBezTo>
                  <a:pt x="2267706" y="6436882"/>
                  <a:pt x="2269693" y="6441812"/>
                  <a:pt x="2270252" y="6448463"/>
                </a:cubicBezTo>
                <a:lnTo>
                  <a:pt x="2280928" y="6447486"/>
                </a:lnTo>
                <a:cubicBezTo>
                  <a:pt x="2280741" y="6441254"/>
                  <a:pt x="2279357" y="6435835"/>
                  <a:pt x="2276778" y="6431231"/>
                </a:cubicBezTo>
                <a:cubicBezTo>
                  <a:pt x="2274194" y="6426627"/>
                  <a:pt x="2270569" y="6423092"/>
                  <a:pt x="2265892" y="6420627"/>
                </a:cubicBezTo>
                <a:cubicBezTo>
                  <a:pt x="2261221" y="6418162"/>
                  <a:pt x="2255762" y="6416930"/>
                  <a:pt x="2249532" y="6416930"/>
                </a:cubicBezTo>
                <a:close/>
                <a:moveTo>
                  <a:pt x="2107530" y="6416930"/>
                </a:moveTo>
                <a:cubicBezTo>
                  <a:pt x="2099203" y="6416930"/>
                  <a:pt x="2091990" y="6418896"/>
                  <a:pt x="2085898" y="6422828"/>
                </a:cubicBezTo>
                <a:cubicBezTo>
                  <a:pt x="2079805" y="6426761"/>
                  <a:pt x="2074875" y="6432869"/>
                  <a:pt x="2071108" y="6441153"/>
                </a:cubicBezTo>
                <a:cubicBezTo>
                  <a:pt x="2067341" y="6449437"/>
                  <a:pt x="2065457" y="6459164"/>
                  <a:pt x="2065457" y="6470333"/>
                </a:cubicBezTo>
                <a:cubicBezTo>
                  <a:pt x="2065457" y="6481363"/>
                  <a:pt x="2067329" y="6490811"/>
                  <a:pt x="2071073" y="6498676"/>
                </a:cubicBezTo>
                <a:cubicBezTo>
                  <a:pt x="2074817" y="6506542"/>
                  <a:pt x="2079898" y="6512522"/>
                  <a:pt x="2086316" y="6516617"/>
                </a:cubicBezTo>
                <a:cubicBezTo>
                  <a:pt x="2092736" y="6520713"/>
                  <a:pt x="2100043" y="6522760"/>
                  <a:pt x="2108228" y="6522760"/>
                </a:cubicBezTo>
                <a:cubicBezTo>
                  <a:pt x="2114364" y="6522760"/>
                  <a:pt x="2120344" y="6521423"/>
                  <a:pt x="2126153" y="6518749"/>
                </a:cubicBezTo>
                <a:cubicBezTo>
                  <a:pt x="2131971" y="6516075"/>
                  <a:pt x="2137595" y="6512087"/>
                  <a:pt x="2143038" y="6506785"/>
                </a:cubicBezTo>
                <a:lnTo>
                  <a:pt x="2143038" y="6468764"/>
                </a:lnTo>
                <a:lnTo>
                  <a:pt x="2107530" y="6468833"/>
                </a:lnTo>
                <a:lnTo>
                  <a:pt x="2107530" y="6480902"/>
                </a:lnTo>
                <a:lnTo>
                  <a:pt x="2132151" y="6480902"/>
                </a:lnTo>
                <a:lnTo>
                  <a:pt x="2132151" y="6499948"/>
                </a:lnTo>
                <a:cubicBezTo>
                  <a:pt x="2129458" y="6502831"/>
                  <a:pt x="2125816" y="6505320"/>
                  <a:pt x="2121238" y="6507412"/>
                </a:cubicBezTo>
                <a:cubicBezTo>
                  <a:pt x="2116657" y="6509505"/>
                  <a:pt x="2112179" y="6510552"/>
                  <a:pt x="2107806" y="6510552"/>
                </a:cubicBezTo>
                <a:cubicBezTo>
                  <a:pt x="2098646" y="6510552"/>
                  <a:pt x="2091200" y="6507142"/>
                  <a:pt x="2085479" y="6500323"/>
                </a:cubicBezTo>
                <a:cubicBezTo>
                  <a:pt x="2079759" y="6493503"/>
                  <a:pt x="2076898" y="6483251"/>
                  <a:pt x="2076898" y="6469566"/>
                </a:cubicBezTo>
                <a:cubicBezTo>
                  <a:pt x="2076898" y="6460582"/>
                  <a:pt x="2078235" y="6452972"/>
                  <a:pt x="2080910" y="6446734"/>
                </a:cubicBezTo>
                <a:cubicBezTo>
                  <a:pt x="2083584" y="6440497"/>
                  <a:pt x="2087119" y="6435900"/>
                  <a:pt x="2091514" y="6432944"/>
                </a:cubicBezTo>
                <a:cubicBezTo>
                  <a:pt x="2095909" y="6429988"/>
                  <a:pt x="2101156" y="6428510"/>
                  <a:pt x="2107247" y="6428510"/>
                </a:cubicBezTo>
                <a:cubicBezTo>
                  <a:pt x="2111432" y="6428510"/>
                  <a:pt x="2115200" y="6429324"/>
                  <a:pt x="2118547" y="6430952"/>
                </a:cubicBezTo>
                <a:cubicBezTo>
                  <a:pt x="2121898" y="6432580"/>
                  <a:pt x="2124598" y="6434824"/>
                  <a:pt x="2126643" y="6437684"/>
                </a:cubicBezTo>
                <a:cubicBezTo>
                  <a:pt x="2128689" y="6440544"/>
                  <a:pt x="2130387" y="6444858"/>
                  <a:pt x="2131738" y="6450625"/>
                </a:cubicBezTo>
                <a:lnTo>
                  <a:pt x="2141711" y="6447277"/>
                </a:lnTo>
                <a:cubicBezTo>
                  <a:pt x="2140221" y="6439975"/>
                  <a:pt x="2137990" y="6434231"/>
                  <a:pt x="2135015" y="6430045"/>
                </a:cubicBezTo>
                <a:cubicBezTo>
                  <a:pt x="2132036" y="6425859"/>
                  <a:pt x="2128247" y="6422627"/>
                  <a:pt x="2123643" y="6420348"/>
                </a:cubicBezTo>
                <a:cubicBezTo>
                  <a:pt x="2119038" y="6418069"/>
                  <a:pt x="2113665" y="6416930"/>
                  <a:pt x="2107530" y="6416930"/>
                </a:cubicBezTo>
                <a:close/>
                <a:moveTo>
                  <a:pt x="1516105" y="6416930"/>
                </a:moveTo>
                <a:cubicBezTo>
                  <a:pt x="1507035" y="6416930"/>
                  <a:pt x="1499827" y="6419557"/>
                  <a:pt x="1494478" y="6424813"/>
                </a:cubicBezTo>
                <a:cubicBezTo>
                  <a:pt x="1489130" y="6430068"/>
                  <a:pt x="1486455" y="6436835"/>
                  <a:pt x="1486455" y="6445114"/>
                </a:cubicBezTo>
                <a:cubicBezTo>
                  <a:pt x="1486455" y="6449718"/>
                  <a:pt x="1487385" y="6453846"/>
                  <a:pt x="1489246" y="6457497"/>
                </a:cubicBezTo>
                <a:cubicBezTo>
                  <a:pt x="1491106" y="6461148"/>
                  <a:pt x="1493711" y="6464159"/>
                  <a:pt x="1497059" y="6466531"/>
                </a:cubicBezTo>
                <a:cubicBezTo>
                  <a:pt x="1500408" y="6468903"/>
                  <a:pt x="1506035" y="6471263"/>
                  <a:pt x="1513942" y="6473610"/>
                </a:cubicBezTo>
                <a:cubicBezTo>
                  <a:pt x="1522825" y="6476239"/>
                  <a:pt x="1528604" y="6478273"/>
                  <a:pt x="1531278" y="6479712"/>
                </a:cubicBezTo>
                <a:cubicBezTo>
                  <a:pt x="1533953" y="6481151"/>
                  <a:pt x="1535952" y="6482996"/>
                  <a:pt x="1537278" y="6485247"/>
                </a:cubicBezTo>
                <a:cubicBezTo>
                  <a:pt x="1538603" y="6487498"/>
                  <a:pt x="1539266" y="6490132"/>
                  <a:pt x="1539266" y="6493148"/>
                </a:cubicBezTo>
                <a:cubicBezTo>
                  <a:pt x="1539266" y="6498300"/>
                  <a:pt x="1537441" y="6502488"/>
                  <a:pt x="1533790" y="6505714"/>
                </a:cubicBezTo>
                <a:cubicBezTo>
                  <a:pt x="1530139" y="6508939"/>
                  <a:pt x="1525011" y="6510552"/>
                  <a:pt x="1518407" y="6510552"/>
                </a:cubicBezTo>
                <a:cubicBezTo>
                  <a:pt x="1513802" y="6510552"/>
                  <a:pt x="1509663" y="6509598"/>
                  <a:pt x="1505989" y="6507691"/>
                </a:cubicBezTo>
                <a:cubicBezTo>
                  <a:pt x="1502315" y="6505785"/>
                  <a:pt x="1499490" y="6503262"/>
                  <a:pt x="1497513" y="6500122"/>
                </a:cubicBezTo>
                <a:cubicBezTo>
                  <a:pt x="1495536" y="6496983"/>
                  <a:pt x="1494269" y="6492599"/>
                  <a:pt x="1493711" y="6486972"/>
                </a:cubicBezTo>
                <a:lnTo>
                  <a:pt x="1483246" y="6488088"/>
                </a:lnTo>
                <a:cubicBezTo>
                  <a:pt x="1483479" y="6498739"/>
                  <a:pt x="1486676" y="6507180"/>
                  <a:pt x="1492839" y="6513412"/>
                </a:cubicBezTo>
                <a:cubicBezTo>
                  <a:pt x="1499001" y="6519644"/>
                  <a:pt x="1507268" y="6522760"/>
                  <a:pt x="1517639" y="6522760"/>
                </a:cubicBezTo>
                <a:cubicBezTo>
                  <a:pt x="1524290" y="6522760"/>
                  <a:pt x="1529976" y="6521506"/>
                  <a:pt x="1534697" y="6518997"/>
                </a:cubicBezTo>
                <a:cubicBezTo>
                  <a:pt x="1539417" y="6516488"/>
                  <a:pt x="1543151" y="6512829"/>
                  <a:pt x="1545894" y="6508021"/>
                </a:cubicBezTo>
                <a:cubicBezTo>
                  <a:pt x="1548638" y="6503213"/>
                  <a:pt x="1550010" y="6497882"/>
                  <a:pt x="1550010" y="6492029"/>
                </a:cubicBezTo>
                <a:cubicBezTo>
                  <a:pt x="1550010" y="6486128"/>
                  <a:pt x="1548705" y="6481052"/>
                  <a:pt x="1546095" y="6476801"/>
                </a:cubicBezTo>
                <a:cubicBezTo>
                  <a:pt x="1543485" y="6472550"/>
                  <a:pt x="1539623" y="6469117"/>
                  <a:pt x="1534510" y="6466501"/>
                </a:cubicBezTo>
                <a:cubicBezTo>
                  <a:pt x="1531163" y="6464819"/>
                  <a:pt x="1525351" y="6462833"/>
                  <a:pt x="1517077" y="6460544"/>
                </a:cubicBezTo>
                <a:cubicBezTo>
                  <a:pt x="1508616" y="6458208"/>
                  <a:pt x="1503176" y="6455901"/>
                  <a:pt x="1500758" y="6453622"/>
                </a:cubicBezTo>
                <a:cubicBezTo>
                  <a:pt x="1498339" y="6451344"/>
                  <a:pt x="1497129" y="6448135"/>
                  <a:pt x="1497129" y="6443996"/>
                </a:cubicBezTo>
                <a:cubicBezTo>
                  <a:pt x="1497129" y="6439531"/>
                  <a:pt x="1498780" y="6435893"/>
                  <a:pt x="1502082" y="6433079"/>
                </a:cubicBezTo>
                <a:cubicBezTo>
                  <a:pt x="1505385" y="6430266"/>
                  <a:pt x="1510175" y="6428859"/>
                  <a:pt x="1516453" y="6428859"/>
                </a:cubicBezTo>
                <a:cubicBezTo>
                  <a:pt x="1522639" y="6428859"/>
                  <a:pt x="1527441" y="6430464"/>
                  <a:pt x="1530860" y="6433673"/>
                </a:cubicBezTo>
                <a:cubicBezTo>
                  <a:pt x="1534278" y="6436882"/>
                  <a:pt x="1536266" y="6441812"/>
                  <a:pt x="1536824" y="6448463"/>
                </a:cubicBezTo>
                <a:lnTo>
                  <a:pt x="1547498" y="6447486"/>
                </a:lnTo>
                <a:cubicBezTo>
                  <a:pt x="1547312" y="6441254"/>
                  <a:pt x="1545928" y="6435835"/>
                  <a:pt x="1543347" y="6431231"/>
                </a:cubicBezTo>
                <a:cubicBezTo>
                  <a:pt x="1540766" y="6426627"/>
                  <a:pt x="1537138" y="6423092"/>
                  <a:pt x="1532464" y="6420627"/>
                </a:cubicBezTo>
                <a:cubicBezTo>
                  <a:pt x="1527790" y="6418162"/>
                  <a:pt x="1522337" y="6416930"/>
                  <a:pt x="1516105" y="6416930"/>
                </a:cubicBezTo>
                <a:close/>
                <a:moveTo>
                  <a:pt x="999314" y="6416930"/>
                </a:moveTo>
                <a:cubicBezTo>
                  <a:pt x="991912" y="6416930"/>
                  <a:pt x="985208" y="6418919"/>
                  <a:pt x="979202" y="6422898"/>
                </a:cubicBezTo>
                <a:cubicBezTo>
                  <a:pt x="973197" y="6426877"/>
                  <a:pt x="968437" y="6432764"/>
                  <a:pt x="964922" y="6440560"/>
                </a:cubicBezTo>
                <a:cubicBezTo>
                  <a:pt x="961408" y="6448355"/>
                  <a:pt x="959650" y="6457884"/>
                  <a:pt x="959650" y="6469147"/>
                </a:cubicBezTo>
                <a:cubicBezTo>
                  <a:pt x="959650" y="6480549"/>
                  <a:pt x="961406" y="6490439"/>
                  <a:pt x="964918" y="6498816"/>
                </a:cubicBezTo>
                <a:cubicBezTo>
                  <a:pt x="968429" y="6507193"/>
                  <a:pt x="972940" y="6513278"/>
                  <a:pt x="978452" y="6517071"/>
                </a:cubicBezTo>
                <a:cubicBezTo>
                  <a:pt x="983963" y="6520864"/>
                  <a:pt x="990602" y="6522760"/>
                  <a:pt x="998369" y="6522760"/>
                </a:cubicBezTo>
                <a:cubicBezTo>
                  <a:pt x="1007205" y="6522760"/>
                  <a:pt x="1014705" y="6519935"/>
                  <a:pt x="1020867" y="6514284"/>
                </a:cubicBezTo>
                <a:cubicBezTo>
                  <a:pt x="1027030" y="6508633"/>
                  <a:pt x="1031344" y="6500064"/>
                  <a:pt x="1033809" y="6488576"/>
                </a:cubicBezTo>
                <a:lnTo>
                  <a:pt x="1022646" y="6485158"/>
                </a:lnTo>
                <a:cubicBezTo>
                  <a:pt x="1021158" y="6493902"/>
                  <a:pt x="1018216" y="6500424"/>
                  <a:pt x="1013821" y="6504727"/>
                </a:cubicBezTo>
                <a:cubicBezTo>
                  <a:pt x="1009426" y="6509029"/>
                  <a:pt x="1004206" y="6511180"/>
                  <a:pt x="998160" y="6511180"/>
                </a:cubicBezTo>
                <a:cubicBezTo>
                  <a:pt x="989974" y="6511180"/>
                  <a:pt x="983416" y="6507677"/>
                  <a:pt x="978486" y="6500672"/>
                </a:cubicBezTo>
                <a:cubicBezTo>
                  <a:pt x="973556" y="6493666"/>
                  <a:pt x="971092" y="6483158"/>
                  <a:pt x="971092" y="6469146"/>
                </a:cubicBezTo>
                <a:cubicBezTo>
                  <a:pt x="971092" y="6459884"/>
                  <a:pt x="972314" y="6452227"/>
                  <a:pt x="974759" y="6446176"/>
                </a:cubicBezTo>
                <a:cubicBezTo>
                  <a:pt x="977204" y="6440124"/>
                  <a:pt x="980476" y="6435667"/>
                  <a:pt x="984574" y="6432805"/>
                </a:cubicBezTo>
                <a:cubicBezTo>
                  <a:pt x="988673" y="6429942"/>
                  <a:pt x="993517" y="6428510"/>
                  <a:pt x="999106" y="6428510"/>
                </a:cubicBezTo>
                <a:cubicBezTo>
                  <a:pt x="1010330" y="6428510"/>
                  <a:pt x="1017805" y="6435603"/>
                  <a:pt x="1021530" y="6449788"/>
                </a:cubicBezTo>
                <a:lnTo>
                  <a:pt x="1032413" y="6446649"/>
                </a:lnTo>
                <a:cubicBezTo>
                  <a:pt x="1030086" y="6436904"/>
                  <a:pt x="1026012" y="6429515"/>
                  <a:pt x="1020193" y="6424481"/>
                </a:cubicBezTo>
                <a:cubicBezTo>
                  <a:pt x="1014374" y="6419447"/>
                  <a:pt x="1007414" y="6416930"/>
                  <a:pt x="999314" y="6416930"/>
                </a:cubicBezTo>
                <a:close/>
                <a:moveTo>
                  <a:pt x="11136920" y="6415084"/>
                </a:moveTo>
                <a:cubicBezTo>
                  <a:pt x="11166990" y="6415084"/>
                  <a:pt x="11180757" y="6429263"/>
                  <a:pt x="11180757" y="6458741"/>
                </a:cubicBezTo>
                <a:cubicBezTo>
                  <a:pt x="11180757" y="6488218"/>
                  <a:pt x="11166990" y="6502397"/>
                  <a:pt x="11136920" y="6502397"/>
                </a:cubicBezTo>
                <a:cubicBezTo>
                  <a:pt x="11106487" y="6502397"/>
                  <a:pt x="11093445" y="6488218"/>
                  <a:pt x="11093445" y="6457621"/>
                </a:cubicBezTo>
                <a:cubicBezTo>
                  <a:pt x="11093445" y="6429263"/>
                  <a:pt x="11107574" y="6415084"/>
                  <a:pt x="11136920" y="6415084"/>
                </a:cubicBezTo>
                <a:close/>
                <a:moveTo>
                  <a:pt x="11241084" y="6397622"/>
                </a:moveTo>
                <a:lnTo>
                  <a:pt x="11241084" y="6521447"/>
                </a:lnTo>
                <a:lnTo>
                  <a:pt x="11276259" y="6521447"/>
                </a:lnTo>
                <a:lnTo>
                  <a:pt x="11274446" y="6427562"/>
                </a:lnTo>
                <a:lnTo>
                  <a:pt x="11344433" y="6521447"/>
                </a:lnTo>
                <a:lnTo>
                  <a:pt x="11383959" y="6521447"/>
                </a:lnTo>
                <a:lnTo>
                  <a:pt x="11383959" y="6397622"/>
                </a:lnTo>
                <a:lnTo>
                  <a:pt x="11349147" y="6397622"/>
                </a:lnTo>
                <a:lnTo>
                  <a:pt x="11350597" y="6486702"/>
                </a:lnTo>
                <a:lnTo>
                  <a:pt x="11284237" y="6397622"/>
                </a:lnTo>
                <a:close/>
                <a:moveTo>
                  <a:pt x="10998196" y="6397622"/>
                </a:moveTo>
                <a:lnTo>
                  <a:pt x="10998196" y="6521447"/>
                </a:lnTo>
                <a:lnTo>
                  <a:pt x="11033121" y="6521447"/>
                </a:lnTo>
                <a:lnTo>
                  <a:pt x="11033121" y="6397622"/>
                </a:lnTo>
                <a:close/>
                <a:moveTo>
                  <a:pt x="10760071" y="6397622"/>
                </a:moveTo>
                <a:lnTo>
                  <a:pt x="10760071" y="6521447"/>
                </a:lnTo>
                <a:lnTo>
                  <a:pt x="10794996" y="6521447"/>
                </a:lnTo>
                <a:lnTo>
                  <a:pt x="10794996" y="6397622"/>
                </a:lnTo>
                <a:close/>
                <a:moveTo>
                  <a:pt x="10637569" y="6397622"/>
                </a:moveTo>
                <a:cubicBezTo>
                  <a:pt x="10599162" y="6397622"/>
                  <a:pt x="10580684" y="6408341"/>
                  <a:pt x="10580684" y="6435324"/>
                </a:cubicBezTo>
                <a:cubicBezTo>
                  <a:pt x="10580684" y="6460459"/>
                  <a:pt x="10597713" y="6471178"/>
                  <a:pt x="10634670" y="6471178"/>
                </a:cubicBezTo>
                <a:lnTo>
                  <a:pt x="10674888" y="6471178"/>
                </a:lnTo>
                <a:cubicBezTo>
                  <a:pt x="10691555" y="6471178"/>
                  <a:pt x="10699163" y="6474135"/>
                  <a:pt x="10699163" y="6485224"/>
                </a:cubicBezTo>
                <a:cubicBezTo>
                  <a:pt x="10699163" y="6495943"/>
                  <a:pt x="10690830" y="6499270"/>
                  <a:pt x="10672714" y="6499270"/>
                </a:cubicBezTo>
                <a:lnTo>
                  <a:pt x="10587206" y="6499270"/>
                </a:lnTo>
                <a:lnTo>
                  <a:pt x="10587206" y="6521447"/>
                </a:lnTo>
                <a:lnTo>
                  <a:pt x="10678149" y="6521447"/>
                </a:lnTo>
                <a:cubicBezTo>
                  <a:pt x="10716555" y="6521447"/>
                  <a:pt x="10734671" y="6510358"/>
                  <a:pt x="10734671" y="6484115"/>
                </a:cubicBezTo>
                <a:cubicBezTo>
                  <a:pt x="10734671" y="6458241"/>
                  <a:pt x="10719091" y="6449370"/>
                  <a:pt x="10683221" y="6449370"/>
                </a:cubicBezTo>
                <a:lnTo>
                  <a:pt x="10637931" y="6449370"/>
                </a:lnTo>
                <a:cubicBezTo>
                  <a:pt x="10623800" y="6449370"/>
                  <a:pt x="10616554" y="6444934"/>
                  <a:pt x="10616554" y="6435694"/>
                </a:cubicBezTo>
                <a:cubicBezTo>
                  <a:pt x="10616554" y="6424235"/>
                  <a:pt x="10624887" y="6419430"/>
                  <a:pt x="10642641" y="6419430"/>
                </a:cubicBezTo>
                <a:lnTo>
                  <a:pt x="10726700" y="6419430"/>
                </a:lnTo>
                <a:lnTo>
                  <a:pt x="10726700" y="6397622"/>
                </a:lnTo>
                <a:close/>
                <a:moveTo>
                  <a:pt x="10413996" y="6397622"/>
                </a:moveTo>
                <a:lnTo>
                  <a:pt x="10413996" y="6521447"/>
                </a:lnTo>
                <a:lnTo>
                  <a:pt x="10448897" y="6521447"/>
                </a:lnTo>
                <a:lnTo>
                  <a:pt x="10447443" y="6427562"/>
                </a:lnTo>
                <a:lnTo>
                  <a:pt x="10517608" y="6521447"/>
                </a:lnTo>
                <a:lnTo>
                  <a:pt x="10556871" y="6521447"/>
                </a:lnTo>
                <a:lnTo>
                  <a:pt x="10556871" y="6397622"/>
                </a:lnTo>
                <a:lnTo>
                  <a:pt x="10522334" y="6397622"/>
                </a:lnTo>
                <a:lnTo>
                  <a:pt x="10523788" y="6486702"/>
                </a:lnTo>
                <a:lnTo>
                  <a:pt x="10457258" y="6397622"/>
                </a:lnTo>
                <a:close/>
                <a:moveTo>
                  <a:pt x="10327466" y="6397622"/>
                </a:moveTo>
                <a:cubicBezTo>
                  <a:pt x="10276126" y="6397622"/>
                  <a:pt x="10252071" y="6417952"/>
                  <a:pt x="10252071" y="6461568"/>
                </a:cubicBezTo>
                <a:cubicBezTo>
                  <a:pt x="10252071" y="6484115"/>
                  <a:pt x="10259970" y="6500379"/>
                  <a:pt x="10276844" y="6510358"/>
                </a:cubicBezTo>
                <a:cubicBezTo>
                  <a:pt x="10292282" y="6520338"/>
                  <a:pt x="10307361" y="6521447"/>
                  <a:pt x="10326748" y="6521447"/>
                </a:cubicBezTo>
                <a:lnTo>
                  <a:pt x="10383833" y="6521447"/>
                </a:lnTo>
                <a:lnTo>
                  <a:pt x="10383833" y="6499639"/>
                </a:lnTo>
                <a:lnTo>
                  <a:pt x="10328184" y="6499639"/>
                </a:lnTo>
                <a:cubicBezTo>
                  <a:pt x="10301616" y="6499639"/>
                  <a:pt x="10290128" y="6491877"/>
                  <a:pt x="10290128" y="6469330"/>
                </a:cubicBezTo>
                <a:lnTo>
                  <a:pt x="10383833" y="6469330"/>
                </a:lnTo>
                <a:lnTo>
                  <a:pt x="10383833" y="6447892"/>
                </a:lnTo>
                <a:lnTo>
                  <a:pt x="10290128" y="6447892"/>
                </a:lnTo>
                <a:cubicBezTo>
                  <a:pt x="10291564" y="6428301"/>
                  <a:pt x="10303771" y="6419061"/>
                  <a:pt x="10328184" y="6419061"/>
                </a:cubicBezTo>
                <a:lnTo>
                  <a:pt x="10383833" y="6419061"/>
                </a:lnTo>
                <a:lnTo>
                  <a:pt x="10383833" y="6397622"/>
                </a:lnTo>
                <a:close/>
                <a:moveTo>
                  <a:pt x="10139094" y="6397622"/>
                </a:moveTo>
                <a:cubicBezTo>
                  <a:pt x="10100325" y="6397622"/>
                  <a:pt x="10082209" y="6408341"/>
                  <a:pt x="10082209" y="6435324"/>
                </a:cubicBezTo>
                <a:cubicBezTo>
                  <a:pt x="10082209" y="6460459"/>
                  <a:pt x="10099238" y="6471178"/>
                  <a:pt x="10136195" y="6471178"/>
                </a:cubicBezTo>
                <a:lnTo>
                  <a:pt x="10176413" y="6471178"/>
                </a:lnTo>
                <a:cubicBezTo>
                  <a:pt x="10192717" y="6471178"/>
                  <a:pt x="10200326" y="6474135"/>
                  <a:pt x="10200326" y="6485224"/>
                </a:cubicBezTo>
                <a:cubicBezTo>
                  <a:pt x="10200326" y="6495943"/>
                  <a:pt x="10191993" y="6499270"/>
                  <a:pt x="10173877" y="6499270"/>
                </a:cubicBezTo>
                <a:lnTo>
                  <a:pt x="10088731" y="6499270"/>
                </a:lnTo>
                <a:lnTo>
                  <a:pt x="10088731" y="6521447"/>
                </a:lnTo>
                <a:lnTo>
                  <a:pt x="10179311" y="6521447"/>
                </a:lnTo>
                <a:cubicBezTo>
                  <a:pt x="10217718" y="6521447"/>
                  <a:pt x="10236196" y="6510358"/>
                  <a:pt x="10236196" y="6484115"/>
                </a:cubicBezTo>
                <a:cubicBezTo>
                  <a:pt x="10236196" y="6458241"/>
                  <a:pt x="10220616" y="6449370"/>
                  <a:pt x="10184384" y="6449370"/>
                </a:cubicBezTo>
                <a:lnTo>
                  <a:pt x="10139456" y="6449370"/>
                </a:lnTo>
                <a:cubicBezTo>
                  <a:pt x="10124963" y="6449370"/>
                  <a:pt x="10117717" y="6444934"/>
                  <a:pt x="10117717" y="6435694"/>
                </a:cubicBezTo>
                <a:cubicBezTo>
                  <a:pt x="10117717" y="6424235"/>
                  <a:pt x="10126050" y="6419430"/>
                  <a:pt x="10144166" y="6419430"/>
                </a:cubicBezTo>
                <a:lnTo>
                  <a:pt x="10228225" y="6419430"/>
                </a:lnTo>
                <a:lnTo>
                  <a:pt x="10228225" y="6397622"/>
                </a:lnTo>
                <a:close/>
                <a:moveTo>
                  <a:pt x="10828333" y="6397621"/>
                </a:moveTo>
                <a:lnTo>
                  <a:pt x="10828333" y="6521446"/>
                </a:lnTo>
                <a:lnTo>
                  <a:pt x="10862629" y="6521446"/>
                </a:lnTo>
                <a:lnTo>
                  <a:pt x="10862629" y="6472655"/>
                </a:lnTo>
                <a:lnTo>
                  <a:pt x="10903128" y="6472655"/>
                </a:lnTo>
                <a:lnTo>
                  <a:pt x="10938884" y="6521446"/>
                </a:lnTo>
                <a:lnTo>
                  <a:pt x="10977558" y="6521446"/>
                </a:lnTo>
                <a:lnTo>
                  <a:pt x="10937059" y="6469698"/>
                </a:lnTo>
                <a:cubicBezTo>
                  <a:pt x="10958221" y="6466002"/>
                  <a:pt x="10969896" y="6453805"/>
                  <a:pt x="10969896" y="6434584"/>
                </a:cubicBezTo>
                <a:cubicBezTo>
                  <a:pt x="10969896" y="6408710"/>
                  <a:pt x="10951653" y="6397621"/>
                  <a:pt x="10912979" y="6397621"/>
                </a:cubicBezTo>
                <a:close/>
                <a:moveTo>
                  <a:pt x="11137895" y="6394446"/>
                </a:moveTo>
                <a:cubicBezTo>
                  <a:pt x="11083436" y="6394446"/>
                  <a:pt x="11056933" y="6415079"/>
                  <a:pt x="11056933" y="6457451"/>
                </a:cubicBezTo>
                <a:cubicBezTo>
                  <a:pt x="11056933" y="6502401"/>
                  <a:pt x="11081984" y="6523034"/>
                  <a:pt x="11137895" y="6523034"/>
                </a:cubicBezTo>
                <a:cubicBezTo>
                  <a:pt x="11193081" y="6523034"/>
                  <a:pt x="11218858" y="6502401"/>
                  <a:pt x="11218858" y="6458556"/>
                </a:cubicBezTo>
                <a:cubicBezTo>
                  <a:pt x="11218858" y="6415079"/>
                  <a:pt x="11193081" y="6394446"/>
                  <a:pt x="11137895" y="6394446"/>
                </a:cubicBezTo>
                <a:close/>
                <a:moveTo>
                  <a:pt x="0" y="0"/>
                </a:moveTo>
                <a:lnTo>
                  <a:pt x="12191996" y="0"/>
                </a:lnTo>
                <a:lnTo>
                  <a:pt x="12191996" y="6857997"/>
                </a:lnTo>
                <a:lnTo>
                  <a:pt x="0" y="6857997"/>
                </a:lnTo>
                <a:lnTo>
                  <a:pt x="0" y="6237283"/>
                </a:lnTo>
                <a:lnTo>
                  <a:pt x="6095995" y="6237283"/>
                </a:lnTo>
                <a:lnTo>
                  <a:pt x="6095995" y="3138970"/>
                </a:lnTo>
                <a:lnTo>
                  <a:pt x="0" y="3138970"/>
                </a:lnTo>
                <a:close/>
              </a:path>
            </a:pathLst>
          </a:custGeom>
          <a:noFill/>
        </p:spPr>
        <p:txBody>
          <a:bodyPr wrap="square">
            <a:noAutofit/>
          </a:bodyPr>
          <a:lstStyle>
            <a:lvl1pPr algn="ctr">
              <a:defRPr/>
            </a:lvl1pPr>
          </a:lstStyle>
          <a:p>
            <a:r>
              <a:rPr lang="en-US"/>
              <a:t>Click icon to add picture</a:t>
            </a:r>
            <a:endParaRPr lang="de-DE"/>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56519"/>
            <a:ext cx="5005854" cy="457200"/>
          </a:xfrm>
        </p:spPr>
        <p:txBody>
          <a:bodyPr/>
          <a:lstStyle>
            <a:lvl1pPr>
              <a:spcBef>
                <a:spcPts val="500"/>
              </a:spcBef>
              <a:defRPr sz="3100" b="1">
                <a:solidFill>
                  <a:srgbClr val="FFFFFF"/>
                </a:solidFill>
              </a:defRPr>
            </a:lvl1pPr>
          </a:lstStyle>
          <a:p>
            <a:pPr lvl="0"/>
            <a:r>
              <a:rPr lang="en-US"/>
              <a:t>Add </a:t>
            </a:r>
            <a:r>
              <a:rPr lang="en-US" noProof="0"/>
              <a:t>Title</a:t>
            </a:r>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a:t>Add Title </a:t>
            </a:r>
          </a:p>
        </p:txBody>
      </p:sp>
    </p:spTree>
    <p:extLst>
      <p:ext uri="{BB962C8B-B14F-4D97-AF65-F5344CB8AC3E}">
        <p14:creationId xmlns:p14="http://schemas.microsoft.com/office/powerpoint/2010/main" val="9810893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een, Title, Text">
    <p:spTree>
      <p:nvGrpSpPr>
        <p:cNvPr id="1" name=""/>
        <p:cNvGrpSpPr/>
        <p:nvPr/>
      </p:nvGrpSpPr>
      <p:grpSpPr>
        <a:xfrm>
          <a:off x="0" y="0"/>
          <a:ext cx="0" cy="0"/>
          <a:chOff x="0" y="0"/>
          <a:chExt cx="0" cy="0"/>
        </a:xfrm>
      </p:grpSpPr>
      <p:sp>
        <p:nvSpPr>
          <p:cNvPr id="2" name="Rechteck 1"/>
          <p:cNvSpPr/>
          <p:nvPr userDrawn="1"/>
        </p:nvSpPr>
        <p:spPr>
          <a:xfrm>
            <a:off x="0" y="0"/>
            <a:ext cx="12192000" cy="685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a:t>
            </a:r>
          </a:p>
        </p:txBody>
      </p:sp>
      <p:sp>
        <p:nvSpPr>
          <p:cNvPr id="13" name="Textplatzhalter 3"/>
          <p:cNvSpPr>
            <a:spLocks noGrp="1"/>
          </p:cNvSpPr>
          <p:nvPr>
            <p:ph type="body" sz="quarter" idx="10" hasCustomPrompt="1"/>
          </p:nvPr>
        </p:nvSpPr>
        <p:spPr>
          <a:xfrm>
            <a:off x="848931" y="917195"/>
            <a:ext cx="10539793" cy="5320093"/>
          </a:xfrm>
        </p:spPr>
        <p:txBody>
          <a:bodyPr/>
          <a:lstStyle>
            <a:lvl1pPr marL="0" indent="0">
              <a:buFontTx/>
              <a:buNone/>
              <a:defRPr b="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lvl="0"/>
            <a:r>
              <a:rPr lang="en-US"/>
              <a:t>Add text</a:t>
            </a:r>
          </a:p>
          <a:p>
            <a:pPr lvl="1"/>
            <a:r>
              <a:rPr lang="en-US"/>
              <a:t>First bullet</a:t>
            </a:r>
          </a:p>
          <a:p>
            <a:pPr lvl="2"/>
            <a:r>
              <a:rPr lang="en-US"/>
              <a:t>Second </a:t>
            </a:r>
            <a:r>
              <a:rPr lang="en-US" noProof="0"/>
              <a:t>bullet</a:t>
            </a:r>
          </a:p>
          <a:p>
            <a:pPr lvl="3"/>
            <a:r>
              <a:rPr lang="en-US" noProof="0"/>
              <a:t>Third</a:t>
            </a:r>
            <a:r>
              <a:rPr lang="en-US"/>
              <a:t> bullet</a:t>
            </a:r>
          </a:p>
          <a:p>
            <a:pPr lvl="4"/>
            <a:r>
              <a:rPr lang="en-US"/>
              <a:t>Fourth bullet</a:t>
            </a:r>
          </a:p>
        </p:txBody>
      </p:sp>
      <p:grpSp>
        <p:nvGrpSpPr>
          <p:cNvPr id="3" name="Gruppieren 2"/>
          <p:cNvGrpSpPr/>
          <p:nvPr userDrawn="1"/>
        </p:nvGrpSpPr>
        <p:grpSpPr>
          <a:xfrm>
            <a:off x="839769" y="6387669"/>
            <a:ext cx="10537315" cy="235359"/>
            <a:chOff x="839769" y="6387669"/>
            <a:chExt cx="10537315" cy="235359"/>
          </a:xfrm>
        </p:grpSpPr>
        <p:pic>
          <p:nvPicPr>
            <p:cNvPr id="18" name="Bild 6"/>
            <p:cNvPicPr>
              <a:picLocks noChangeAspect="1"/>
            </p:cNvPicPr>
            <p:nvPr userDrawn="1"/>
          </p:nvPicPr>
          <p:blipFill>
            <a:blip r:embed="rId2" cstate="print">
              <a:biLevel thresh="50000"/>
              <a:extLst>
                <a:ext uri="{28A0092B-C50C-407E-A947-70E740481C1C}">
                  <a14:useLocalDpi xmlns:a14="http://schemas.microsoft.com/office/drawing/2010/main" val="0"/>
                </a:ext>
              </a:extLst>
            </a:blip>
            <a:stretch>
              <a:fillRect/>
            </a:stretch>
          </p:blipFill>
          <p:spPr>
            <a:xfrm>
              <a:off x="10081084" y="6399258"/>
              <a:ext cx="1296000" cy="223770"/>
            </a:xfrm>
            <a:prstGeom prst="rect">
              <a:avLst/>
            </a:prstGeom>
          </p:spPr>
        </p:pic>
        <p:grpSp>
          <p:nvGrpSpPr>
            <p:cNvPr id="19" name="Gruppierung 1"/>
            <p:cNvGrpSpPr/>
            <p:nvPr userDrawn="1"/>
          </p:nvGrpSpPr>
          <p:grpSpPr>
            <a:xfrm>
              <a:off x="839769" y="6387669"/>
              <a:ext cx="7608907" cy="235359"/>
              <a:chOff x="839769" y="6369739"/>
              <a:chExt cx="7608907" cy="235359"/>
            </a:xfrm>
          </p:grpSpPr>
          <p:sp>
            <p:nvSpPr>
              <p:cNvPr id="21"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GB" sz="1100">
                    <a:solidFill>
                      <a:schemeClr val="bg1"/>
                    </a:solidFill>
                  </a:rPr>
                  <a:t>© Copyright Sensirion AG, </a:t>
                </a:r>
                <a:r>
                  <a:rPr lang="en-GB" sz="1100" noProof="0">
                    <a:solidFill>
                      <a:schemeClr val="bg1"/>
                    </a:solidFill>
                  </a:rPr>
                  <a:t>Switzerland</a:t>
                </a:r>
              </a:p>
            </p:txBody>
          </p:sp>
          <p:sp>
            <p:nvSpPr>
              <p:cNvPr id="22"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GB" sz="1100">
                    <a:solidFill>
                      <a:schemeClr val="bg1"/>
                    </a:solidFill>
                  </a:rPr>
                  <a:t>Confidential </a:t>
                </a:r>
              </a:p>
            </p:txBody>
          </p:sp>
        </p:grpSp>
      </p:grpSp>
    </p:spTree>
    <p:extLst>
      <p:ext uri="{BB962C8B-B14F-4D97-AF65-F5344CB8AC3E}">
        <p14:creationId xmlns:p14="http://schemas.microsoft.com/office/powerpoint/2010/main" val="6155514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5101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5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GB">
                <a:solidFill>
                  <a:schemeClr val="bg1"/>
                </a:solidFill>
              </a:rPr>
              <a:t>www.sensirion.com</a:t>
            </a:r>
          </a:p>
        </p:txBody>
      </p:sp>
      <p:pic>
        <p:nvPicPr>
          <p:cNvPr id="5"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19242" y="2466518"/>
            <a:ext cx="6953516" cy="1200607"/>
          </a:xfrm>
          <a:prstGeom prst="rect">
            <a:avLst/>
          </a:prstGeom>
        </p:spPr>
      </p:pic>
    </p:spTree>
    <p:extLst>
      <p:ext uri="{BB962C8B-B14F-4D97-AF65-F5344CB8AC3E}">
        <p14:creationId xmlns:p14="http://schemas.microsoft.com/office/powerpoint/2010/main" val="2244219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0984" y="296864"/>
            <a:ext cx="10843683" cy="1727980"/>
          </a:xfrm>
        </p:spPr>
        <p:txBody>
          <a:bodyPr wrap="square" anchor="b" anchorCtr="0"/>
          <a:lstStyle>
            <a:lvl1pPr>
              <a:defRPr sz="4400" b="0" baseline="0"/>
            </a:lvl1pPr>
          </a:lstStyle>
          <a:p>
            <a:r>
              <a:rPr lang="en-US" noProof="0"/>
              <a:t>Sensirion – The Sensor Company</a:t>
            </a:r>
          </a:p>
        </p:txBody>
      </p:sp>
      <p:sp>
        <p:nvSpPr>
          <p:cNvPr id="5" name="Line 6"/>
          <p:cNvSpPr>
            <a:spLocks noChangeShapeType="1"/>
          </p:cNvSpPr>
          <p:nvPr userDrawn="1"/>
        </p:nvSpPr>
        <p:spPr bwMode="auto">
          <a:xfrm rot="10800000" flipH="1">
            <a:off x="670984" y="2133600"/>
            <a:ext cx="10850033" cy="0"/>
          </a:xfrm>
          <a:prstGeom prst="line">
            <a:avLst/>
          </a:prstGeom>
          <a:noFill/>
          <a:ln w="22225">
            <a:solidFill>
              <a:srgbClr val="66CC33"/>
            </a:solidFill>
            <a:round/>
            <a:headEnd/>
            <a:tailEnd/>
          </a:ln>
          <a:extLst>
            <a:ext uri="{909E8E84-426E-40DD-AFC4-6F175D3DCCD1}">
              <a14:hiddenFill xmlns:a14="http://schemas.microsoft.com/office/drawing/2010/main">
                <a:noFill/>
              </a14:hiddenFill>
            </a:ext>
          </a:extLst>
        </p:spPr>
        <p:txBody>
          <a:bodyPr lIns="0" tIns="0" rIns="0" bIns="0"/>
          <a:lstStyle/>
          <a:p>
            <a:endParaRPr lang="en-US" sz="2000" noProof="0"/>
          </a:p>
        </p:txBody>
      </p:sp>
      <p:sp>
        <p:nvSpPr>
          <p:cNvPr id="7" name="Textplatzhalter 6"/>
          <p:cNvSpPr>
            <a:spLocks noGrp="1"/>
          </p:cNvSpPr>
          <p:nvPr>
            <p:ph type="body" sz="quarter" idx="11" hasCustomPrompt="1"/>
          </p:nvPr>
        </p:nvSpPr>
        <p:spPr>
          <a:xfrm>
            <a:off x="670985" y="2636838"/>
            <a:ext cx="10850033" cy="720154"/>
          </a:xfrm>
        </p:spPr>
        <p:txBody>
          <a:bodyPr/>
          <a:lstStyle>
            <a:lvl1pPr>
              <a:spcBef>
                <a:spcPts val="300"/>
              </a:spcBef>
              <a:tabLst/>
              <a:defRPr sz="2100" baseline="0">
                <a:solidFill>
                  <a:schemeClr val="tx1"/>
                </a:solidFill>
              </a:defRPr>
            </a:lvl1pPr>
          </a:lstStyle>
          <a:p>
            <a:pPr lvl="0"/>
            <a:r>
              <a:rPr lang="en-US" noProof="0"/>
              <a:t>Surname Name</a:t>
            </a:r>
            <a:br>
              <a:rPr lang="en-US" noProof="0"/>
            </a:br>
            <a:r>
              <a:rPr lang="en-US" noProof="0"/>
              <a:t>Function</a:t>
            </a:r>
          </a:p>
        </p:txBody>
      </p:sp>
      <p:sp>
        <p:nvSpPr>
          <p:cNvPr id="6" name="Textplatzhalter 6"/>
          <p:cNvSpPr>
            <a:spLocks noGrp="1"/>
          </p:cNvSpPr>
          <p:nvPr>
            <p:ph type="body" sz="quarter" idx="12" hasCustomPrompt="1"/>
          </p:nvPr>
        </p:nvSpPr>
        <p:spPr>
          <a:xfrm>
            <a:off x="670984" y="3539108"/>
            <a:ext cx="10850033" cy="576138"/>
          </a:xfrm>
        </p:spPr>
        <p:txBody>
          <a:bodyPr/>
          <a:lstStyle>
            <a:lvl1pPr>
              <a:spcBef>
                <a:spcPts val="300"/>
              </a:spcBef>
              <a:tabLst/>
              <a:defRPr sz="2100">
                <a:solidFill>
                  <a:schemeClr val="tx1"/>
                </a:solidFill>
              </a:defRPr>
            </a:lvl1pPr>
          </a:lstStyle>
          <a:p>
            <a:pPr lvl="0"/>
            <a:r>
              <a:rPr lang="en-US" noProof="0"/>
              <a:t>Date, Location</a:t>
            </a:r>
          </a:p>
        </p:txBody>
      </p:sp>
    </p:spTree>
    <p:extLst>
      <p:ext uri="{BB962C8B-B14F-4D97-AF65-F5344CB8AC3E}">
        <p14:creationId xmlns:p14="http://schemas.microsoft.com/office/powerpoint/2010/main" val="42105147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
        <p:nvSpPr>
          <p:cNvPr id="7" name="Textplatzhalter 2"/>
          <p:cNvSpPr>
            <a:spLocks noGrp="1"/>
          </p:cNvSpPr>
          <p:nvPr>
            <p:ph idx="1" hasCustomPrompt="1"/>
          </p:nvPr>
        </p:nvSpPr>
        <p:spPr>
          <a:xfrm>
            <a:off x="839788" y="908049"/>
            <a:ext cx="10547998" cy="5328000"/>
          </a:xfrm>
          <a:prstGeom prst="rect">
            <a:avLst/>
          </a:prstGeom>
        </p:spPr>
        <p:txBody>
          <a:bodyPr vert="horz" lIns="0" tIns="0" rIns="91440" bIns="0" rtlCol="0">
            <a:noAutofit/>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8952819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962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baseline="0">
                <a:solidFill>
                  <a:schemeClr val="tx1"/>
                </a:solidFill>
              </a:defRPr>
            </a:lvl1pPr>
          </a:lstStyle>
          <a:p>
            <a:r>
              <a:rPr lang="en-US"/>
              <a:t>Add Title / </a:t>
            </a:r>
            <a:r>
              <a:rPr lang="en-US" err="1"/>
              <a:t>Titel</a:t>
            </a:r>
            <a:r>
              <a:rPr lang="en-US"/>
              <a:t> </a:t>
            </a:r>
            <a:r>
              <a:rPr lang="en-US" err="1"/>
              <a:t>hinzufügen</a:t>
            </a:r>
            <a:endParaRPr lang="en-US"/>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10509842" cy="306000"/>
          </a:xfrm>
        </p:spPr>
        <p:txBody>
          <a:bodyPr/>
          <a:lstStyle>
            <a:lvl1pPr>
              <a:spcBef>
                <a:spcPts val="0"/>
              </a:spcBef>
              <a:defRPr baseline="0"/>
            </a:lvl1pPr>
          </a:lstStyle>
          <a:p>
            <a:pPr lvl="0"/>
            <a:r>
              <a:rPr lang="en-US"/>
              <a:t>First Name Last Name, Job Function / </a:t>
            </a:r>
            <a:r>
              <a:rPr lang="en-US" err="1"/>
              <a:t>Vorname</a:t>
            </a:r>
            <a:r>
              <a:rPr lang="en-US"/>
              <a:t> </a:t>
            </a:r>
            <a:r>
              <a:rPr lang="en-US" err="1"/>
              <a:t>Nachnachme</a:t>
            </a:r>
            <a:r>
              <a:rPr lang="en-US"/>
              <a:t>, </a:t>
            </a:r>
            <a:r>
              <a:rPr lang="en-US" err="1"/>
              <a:t>Funktion</a:t>
            </a:r>
            <a:endParaRPr lang="en-US"/>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10512426" cy="306000"/>
          </a:xfrm>
        </p:spPr>
        <p:txBody>
          <a:bodyPr/>
          <a:lstStyle>
            <a:lvl1pPr>
              <a:spcBef>
                <a:spcPts val="0"/>
              </a:spcBef>
              <a:defRPr baseline="0"/>
            </a:lvl1pPr>
          </a:lstStyle>
          <a:p>
            <a:pPr lvl="0"/>
            <a:r>
              <a:rPr lang="en-US"/>
              <a:t>City Country, Month Year / </a:t>
            </a:r>
            <a:r>
              <a:rPr lang="en-US" err="1"/>
              <a:t>Stadt</a:t>
            </a:r>
            <a:r>
              <a:rPr lang="en-US"/>
              <a:t> Land, </a:t>
            </a:r>
            <a:r>
              <a:rPr lang="en-US" err="1"/>
              <a:t>Monat</a:t>
            </a:r>
            <a:r>
              <a:rPr lang="en-US"/>
              <a:t> </a:t>
            </a:r>
            <a:r>
              <a:rPr lang="en-US" err="1"/>
              <a:t>Jahr</a:t>
            </a:r>
            <a:endParaRPr lang="en-US"/>
          </a:p>
        </p:txBody>
      </p:sp>
    </p:spTree>
    <p:extLst>
      <p:ext uri="{BB962C8B-B14F-4D97-AF65-F5344CB8AC3E}">
        <p14:creationId xmlns:p14="http://schemas.microsoft.com/office/powerpoint/2010/main" val="27228770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29931481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Text, Picture Lef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839788"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aseline="0"/>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en-US" noProof="0"/>
              <a:t>Add picture via icon / </a:t>
            </a:r>
            <a:r>
              <a:rPr lang="en-US" noProof="0" err="1"/>
              <a:t>Bild</a:t>
            </a:r>
            <a:r>
              <a:rPr lang="en-US" noProof="0"/>
              <a:t> </a:t>
            </a:r>
            <a:r>
              <a:rPr lang="en-US" noProof="0" err="1"/>
              <a:t>hinzufügen</a:t>
            </a:r>
            <a:r>
              <a:rPr lang="en-US" noProof="0"/>
              <a:t> via Symbol</a:t>
            </a:r>
          </a:p>
          <a:p>
            <a:endParaRPr lang="en-US"/>
          </a:p>
        </p:txBody>
      </p:sp>
      <p:sp>
        <p:nvSpPr>
          <p:cNvPr id="6" name="Text Placeholder 5"/>
          <p:cNvSpPr>
            <a:spLocks noGrp="1"/>
          </p:cNvSpPr>
          <p:nvPr>
            <p:ph type="body" sz="quarter" idx="11" hasCustomPrompt="1"/>
          </p:nvPr>
        </p:nvSpPr>
        <p:spPr>
          <a:xfrm>
            <a:off x="6212541" y="917882"/>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a:lvl1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0"/>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2301902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hasCustomPrompt="1"/>
          </p:nvPr>
        </p:nvSpPr>
        <p:spPr>
          <a:xfrm>
            <a:off x="6213297" y="908050"/>
            <a:ext cx="5148000" cy="5328000"/>
          </a:xfrm>
        </p:spPr>
        <p:txBody>
          <a:bodyPr/>
          <a:lstStyle>
            <a:lvl1pPr marL="0" marR="0" indent="0" algn="ctr" defTabSz="900000" rtl="0" eaLnBrk="1" fontAlgn="auto" latinLnBrk="0" hangingPunct="1">
              <a:lnSpc>
                <a:spcPct val="100000"/>
              </a:lnSpc>
              <a:spcBef>
                <a:spcPts val="600"/>
              </a:spcBef>
              <a:spcAft>
                <a:spcPts val="0"/>
              </a:spcAft>
              <a:buClrTx/>
              <a:buSzPct val="105000"/>
              <a:buFontTx/>
              <a:buNone/>
              <a:tabLst/>
              <a:defRPr>
                <a:solidFill>
                  <a:schemeClr val="tx1"/>
                </a:solidFill>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en-US" noProof="0"/>
              <a:t>Add picture via icon / </a:t>
            </a:r>
            <a:r>
              <a:rPr lang="en-US" noProof="0" err="1"/>
              <a:t>Bild</a:t>
            </a:r>
            <a:r>
              <a:rPr lang="en-US" noProof="0"/>
              <a:t> </a:t>
            </a:r>
            <a:r>
              <a:rPr lang="en-US" noProof="0" err="1"/>
              <a:t>hinzufügen</a:t>
            </a:r>
            <a:r>
              <a:rPr lang="en-US" noProof="0"/>
              <a:t> via Symbol</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70025289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Text (righ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655194A6-C5F3-4B72-BA38-14EABC8887B2}"/>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en-US"/>
              <a:t>Click icon to add picture</a:t>
            </a:r>
            <a:endParaRPr lang="de-CH" noProof="0"/>
          </a:p>
        </p:txBody>
      </p:sp>
      <p:sp>
        <p:nvSpPr>
          <p:cNvPr id="4" name="Textplatzhalter 3"/>
          <p:cNvSpPr>
            <a:spLocks noGrp="1"/>
          </p:cNvSpPr>
          <p:nvPr>
            <p:ph type="body" sz="quarter" idx="10" hasCustomPrompt="1"/>
          </p:nvPr>
        </p:nvSpPr>
        <p:spPr>
          <a:xfrm>
            <a:off x="6211925"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1192263449"/>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328524228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93" name="Gruppieren 92">
            <a:extLst>
              <a:ext uri="{FF2B5EF4-FFF2-40B4-BE49-F238E27FC236}">
                <a16:creationId xmlns:a16="http://schemas.microsoft.com/office/drawing/2014/main" id="{D2D03C95-7237-41B3-B3C3-68EDD984A661}"/>
              </a:ext>
            </a:extLst>
          </p:cNvPr>
          <p:cNvGrpSpPr/>
          <p:nvPr userDrawn="1"/>
        </p:nvGrpSpPr>
        <p:grpSpPr>
          <a:xfrm>
            <a:off x="731952" y="3106800"/>
            <a:ext cx="11457648" cy="3590562"/>
            <a:chOff x="731952" y="3106800"/>
            <a:chExt cx="11457648" cy="3590562"/>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5" name="Bildplatzhalter 94">
            <a:extLst>
              <a:ext uri="{FF2B5EF4-FFF2-40B4-BE49-F238E27FC236}">
                <a16:creationId xmlns:a16="http://schemas.microsoft.com/office/drawing/2014/main" id="{42A3661C-BE92-49BD-9361-69A1388F129F}"/>
              </a:ext>
            </a:extLst>
          </p:cNvPr>
          <p:cNvSpPr>
            <a:spLocks noGrp="1"/>
          </p:cNvSpPr>
          <p:nvPr>
            <p:ph type="pic" sz="quarter" idx="14"/>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3 w 12188819"/>
              <a:gd name="connsiteY231" fmla="*/ 6462728 h 6857997"/>
              <a:gd name="connsiteX232" fmla="*/ 6035359 w 12188819"/>
              <a:gd name="connsiteY232" fmla="*/ 6485436 h 6857997"/>
              <a:gd name="connsiteX233" fmla="*/ 6030543 w 12188819"/>
              <a:gd name="connsiteY233" fmla="*/ 6505667 h 6857997"/>
              <a:gd name="connsiteX234" fmla="*/ 6019164 w 12188819"/>
              <a:gd name="connsiteY234" fmla="*/ 6512365 h 6857997"/>
              <a:gd name="connsiteX235" fmla="*/ 6007541 w 12188819"/>
              <a:gd name="connsiteY235" fmla="*/ 6505388 h 6857997"/>
              <a:gd name="connsiteX236" fmla="*/ 6002550 w 12188819"/>
              <a:gd name="connsiteY236" fmla="*/ 6484041 h 6857997"/>
              <a:gd name="connsiteX237" fmla="*/ 6007227 w 12188819"/>
              <a:gd name="connsiteY237" fmla="*/ 6462449 h 6857997"/>
              <a:gd name="connsiteX238" fmla="*/ 6018396 w 12188819"/>
              <a:gd name="connsiteY238" fmla="*/ 6455577 h 6857997"/>
              <a:gd name="connsiteX239" fmla="*/ 5829561 w 12188819"/>
              <a:gd name="connsiteY239" fmla="*/ 6455577 h 6857997"/>
              <a:gd name="connsiteX240" fmla="*/ 5842536 w 12188819"/>
              <a:gd name="connsiteY240" fmla="*/ 6462597 h 6857997"/>
              <a:gd name="connsiteX241" fmla="*/ 5847769 w 12188819"/>
              <a:gd name="connsiteY241" fmla="*/ 6483936 h 6857997"/>
              <a:gd name="connsiteX242" fmla="*/ 5842571 w 12188819"/>
              <a:gd name="connsiteY242" fmla="*/ 6505275 h 6857997"/>
              <a:gd name="connsiteX243" fmla="*/ 5830118 w 12188819"/>
              <a:gd name="connsiteY243" fmla="*/ 6512365 h 6857997"/>
              <a:gd name="connsiteX244" fmla="*/ 5817142 w 12188819"/>
              <a:gd name="connsiteY244" fmla="*/ 6505345 h 6857997"/>
              <a:gd name="connsiteX245" fmla="*/ 5811910 w 12188819"/>
              <a:gd name="connsiteY245" fmla="*/ 6483936 h 6857997"/>
              <a:gd name="connsiteX246" fmla="*/ 5817072 w 12188819"/>
              <a:gd name="connsiteY246" fmla="*/ 6462632 h 6857997"/>
              <a:gd name="connsiteX247" fmla="*/ 5829561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4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1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4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70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3 w 12188819"/>
              <a:gd name="connsiteY428" fmla="*/ 6455019 h 6857997"/>
              <a:gd name="connsiteX429" fmla="*/ 5801376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2 w 12188819"/>
              <a:gd name="connsiteY808" fmla="*/ 6418742 h 6857997"/>
              <a:gd name="connsiteX809" fmla="*/ 6034362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2 w 12188819"/>
              <a:gd name="connsiteY880" fmla="*/ 6416998 h 6857997"/>
              <a:gd name="connsiteX881" fmla="*/ 5948872 w 12188819"/>
              <a:gd name="connsiteY881" fmla="*/ 6419301 h 6857997"/>
              <a:gd name="connsiteX882" fmla="*/ 5943312 w 12188819"/>
              <a:gd name="connsiteY882" fmla="*/ 6425963 h 6857997"/>
              <a:gd name="connsiteX883" fmla="*/ 5941493 w 12188819"/>
              <a:gd name="connsiteY883" fmla="*/ 6439044 h 6857997"/>
              <a:gd name="connsiteX884" fmla="*/ 5941493 w 12188819"/>
              <a:gd name="connsiteY884" fmla="*/ 6446927 h 6857997"/>
              <a:gd name="connsiteX885" fmla="*/ 5932355 w 12188819"/>
              <a:gd name="connsiteY885" fmla="*/ 6446927 h 6857997"/>
              <a:gd name="connsiteX886" fmla="*/ 5932355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8 w 12188819"/>
              <a:gd name="connsiteY891" fmla="*/ 6456694 h 6857997"/>
              <a:gd name="connsiteX892" fmla="*/ 5963608 w 12188819"/>
              <a:gd name="connsiteY892" fmla="*/ 6446927 h 6857997"/>
              <a:gd name="connsiteX893" fmla="*/ 5951748 w 12188819"/>
              <a:gd name="connsiteY893" fmla="*/ 6446927 h 6857997"/>
              <a:gd name="connsiteX894" fmla="*/ 5951748 w 12188819"/>
              <a:gd name="connsiteY894" fmla="*/ 6440090 h 6857997"/>
              <a:gd name="connsiteX895" fmla="*/ 5953736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2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9 w 12188819"/>
              <a:gd name="connsiteY916" fmla="*/ 6416929 h 6857997"/>
              <a:gd name="connsiteX917" fmla="*/ 5737087 w 12188819"/>
              <a:gd name="connsiteY917" fmla="*/ 6422897 h 6857997"/>
              <a:gd name="connsiteX918" fmla="*/ 5722806 w 12188819"/>
              <a:gd name="connsiteY918" fmla="*/ 6440559 h 6857997"/>
              <a:gd name="connsiteX919" fmla="*/ 5717535 w 12188819"/>
              <a:gd name="connsiteY919" fmla="*/ 6469146 h 6857997"/>
              <a:gd name="connsiteX920" fmla="*/ 5722801 w 12188819"/>
              <a:gd name="connsiteY920" fmla="*/ 6498815 h 6857997"/>
              <a:gd name="connsiteX921" fmla="*/ 5736336 w 12188819"/>
              <a:gd name="connsiteY921" fmla="*/ 6517070 h 6857997"/>
              <a:gd name="connsiteX922" fmla="*/ 5756253 w 12188819"/>
              <a:gd name="connsiteY922" fmla="*/ 6522759 h 6857997"/>
              <a:gd name="connsiteX923" fmla="*/ 5778752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5 w 12188819"/>
              <a:gd name="connsiteY927" fmla="*/ 6511179 h 6857997"/>
              <a:gd name="connsiteX928" fmla="*/ 5736370 w 12188819"/>
              <a:gd name="connsiteY928" fmla="*/ 6500671 h 6857997"/>
              <a:gd name="connsiteX929" fmla="*/ 5728975 w 12188819"/>
              <a:gd name="connsiteY929" fmla="*/ 6469145 h 6857997"/>
              <a:gd name="connsiteX930" fmla="*/ 5732644 w 12188819"/>
              <a:gd name="connsiteY930" fmla="*/ 6446175 h 6857997"/>
              <a:gd name="connsiteX931" fmla="*/ 5742458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7 w 12188819"/>
              <a:gd name="connsiteY935" fmla="*/ 6424480 h 6857997"/>
              <a:gd name="connsiteX936" fmla="*/ 5757199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3141659 h 6857997"/>
              <a:gd name="connsiteX1154" fmla="*/ 6095995 w 12188819"/>
              <a:gd name="connsiteY1154" fmla="*/ 3141659 h 6857997"/>
              <a:gd name="connsiteX1155" fmla="*/ 6095995 w 12188819"/>
              <a:gd name="connsiteY1155" fmla="*/ 6237284 h 6857997"/>
              <a:gd name="connsiteX1156" fmla="*/ 12188819 w 12188819"/>
              <a:gd name="connsiteY1156" fmla="*/ 6237284 h 6857997"/>
              <a:gd name="connsiteX1157" fmla="*/ 12188819 w 12188819"/>
              <a:gd name="connsiteY1157" fmla="*/ 6857997 h 6857997"/>
              <a:gd name="connsiteX1158" fmla="*/ 0 w 12188819"/>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3" y="6462728"/>
                </a:cubicBezTo>
                <a:cubicBezTo>
                  <a:pt x="6033753" y="6467495"/>
                  <a:pt x="6035359" y="6475065"/>
                  <a:pt x="6035359" y="6485436"/>
                </a:cubicBezTo>
                <a:cubicBezTo>
                  <a:pt x="6035359" y="6494459"/>
                  <a:pt x="6033753" y="6501203"/>
                  <a:pt x="6030543" y="6505667"/>
                </a:cubicBezTo>
                <a:cubicBezTo>
                  <a:pt x="6027331" y="6510132"/>
                  <a:pt x="6023538" y="6512365"/>
                  <a:pt x="6019164" y="6512365"/>
                </a:cubicBezTo>
                <a:cubicBezTo>
                  <a:pt x="6014743" y="6512365"/>
                  <a:pt x="6010869" y="6510039"/>
                  <a:pt x="6007541" y="6505388"/>
                </a:cubicBezTo>
                <a:cubicBezTo>
                  <a:pt x="6004213" y="6500737"/>
                  <a:pt x="6002550" y="6493622"/>
                  <a:pt x="6002550" y="6484041"/>
                </a:cubicBezTo>
                <a:cubicBezTo>
                  <a:pt x="6002550" y="6474227"/>
                  <a:pt x="6004109" y="6467030"/>
                  <a:pt x="6007227" y="6462449"/>
                </a:cubicBezTo>
                <a:cubicBezTo>
                  <a:pt x="6010345" y="6457868"/>
                  <a:pt x="6014068" y="6455577"/>
                  <a:pt x="6018396" y="6455577"/>
                </a:cubicBezTo>
                <a:close/>
                <a:moveTo>
                  <a:pt x="5829561" y="6455577"/>
                </a:moveTo>
                <a:cubicBezTo>
                  <a:pt x="5834723" y="6455577"/>
                  <a:pt x="5839048" y="6457917"/>
                  <a:pt x="5842536" y="6462597"/>
                </a:cubicBezTo>
                <a:cubicBezTo>
                  <a:pt x="5846024" y="6467277"/>
                  <a:pt x="5847769" y="6474390"/>
                  <a:pt x="5847769" y="6483936"/>
                </a:cubicBezTo>
                <a:cubicBezTo>
                  <a:pt x="5847769" y="6493436"/>
                  <a:pt x="5846036" y="6500548"/>
                  <a:pt x="5842571" y="6505275"/>
                </a:cubicBezTo>
                <a:cubicBezTo>
                  <a:pt x="5839106" y="6510001"/>
                  <a:pt x="5834956" y="6512365"/>
                  <a:pt x="5830118" y="6512365"/>
                </a:cubicBezTo>
                <a:cubicBezTo>
                  <a:pt x="5824957" y="6512365"/>
                  <a:pt x="5820630" y="6510025"/>
                  <a:pt x="5817142" y="6505345"/>
                </a:cubicBezTo>
                <a:cubicBezTo>
                  <a:pt x="5813655" y="6500665"/>
                  <a:pt x="5811910" y="6493529"/>
                  <a:pt x="5811910" y="6483936"/>
                </a:cubicBezTo>
                <a:cubicBezTo>
                  <a:pt x="5811910" y="6474437"/>
                  <a:pt x="5813631" y="6467335"/>
                  <a:pt x="5817072" y="6462632"/>
                </a:cubicBezTo>
                <a:cubicBezTo>
                  <a:pt x="5820514" y="6457929"/>
                  <a:pt x="5824677" y="6455577"/>
                  <a:pt x="5829561"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4"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9"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4"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3" y="6456066"/>
                  <a:pt x="5903293" y="6456752"/>
                  <a:pt x="5905270" y="6458126"/>
                </a:cubicBezTo>
                <a:cubicBezTo>
                  <a:pt x="5907247"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7"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6" y="6506353"/>
                  <a:pt x="5809503" y="6512888"/>
                </a:cubicBezTo>
                <a:cubicBezTo>
                  <a:pt x="5814922"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2" y="6418742"/>
                </a:moveTo>
                <a:lnTo>
                  <a:pt x="6034362"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4"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2" y="6416998"/>
                </a:moveTo>
                <a:cubicBezTo>
                  <a:pt x="5954503" y="6416998"/>
                  <a:pt x="5951368" y="6417766"/>
                  <a:pt x="5948872" y="6419301"/>
                </a:cubicBezTo>
                <a:cubicBezTo>
                  <a:pt x="5946378" y="6420835"/>
                  <a:pt x="5944525" y="6423056"/>
                  <a:pt x="5943312" y="6425963"/>
                </a:cubicBezTo>
                <a:cubicBezTo>
                  <a:pt x="5942099" y="6428870"/>
                  <a:pt x="5941493" y="6433230"/>
                  <a:pt x="5941493" y="6439044"/>
                </a:cubicBezTo>
                <a:lnTo>
                  <a:pt x="5941493" y="6446927"/>
                </a:lnTo>
                <a:lnTo>
                  <a:pt x="5932355" y="6446927"/>
                </a:lnTo>
                <a:lnTo>
                  <a:pt x="5932355"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1"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2"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2" y="6418918"/>
                  <a:pt x="5737087" y="6422897"/>
                </a:cubicBezTo>
                <a:cubicBezTo>
                  <a:pt x="5731081" y="6426876"/>
                  <a:pt x="5726322" y="6432763"/>
                  <a:pt x="5722806" y="6440559"/>
                </a:cubicBezTo>
                <a:cubicBezTo>
                  <a:pt x="5719292" y="6448354"/>
                  <a:pt x="5717535" y="6457883"/>
                  <a:pt x="5717535" y="6469146"/>
                </a:cubicBezTo>
                <a:cubicBezTo>
                  <a:pt x="5717535" y="6480548"/>
                  <a:pt x="5719290" y="6490438"/>
                  <a:pt x="5722801" y="6498815"/>
                </a:cubicBezTo>
                <a:cubicBezTo>
                  <a:pt x="5726313" y="6507192"/>
                  <a:pt x="5730824" y="6513277"/>
                  <a:pt x="5736336" y="6517070"/>
                </a:cubicBezTo>
                <a:cubicBezTo>
                  <a:pt x="5741847" y="6520863"/>
                  <a:pt x="5748486" y="6522759"/>
                  <a:pt x="5756253" y="6522759"/>
                </a:cubicBezTo>
                <a:cubicBezTo>
                  <a:pt x="5765090" y="6522759"/>
                  <a:pt x="5772590" y="6519934"/>
                  <a:pt x="5778752" y="6514283"/>
                </a:cubicBezTo>
                <a:cubicBezTo>
                  <a:pt x="5784914" y="6508632"/>
                  <a:pt x="5789229" y="6500063"/>
                  <a:pt x="5791693" y="6488575"/>
                </a:cubicBezTo>
                <a:lnTo>
                  <a:pt x="5780530" y="6485157"/>
                </a:lnTo>
                <a:cubicBezTo>
                  <a:pt x="5779042" y="6493901"/>
                  <a:pt x="5776101" y="6500423"/>
                  <a:pt x="5771705" y="6504726"/>
                </a:cubicBezTo>
                <a:cubicBezTo>
                  <a:pt x="5767311" y="6509028"/>
                  <a:pt x="5762090" y="6511179"/>
                  <a:pt x="5756045" y="6511179"/>
                </a:cubicBezTo>
                <a:cubicBezTo>
                  <a:pt x="5747858" y="6511179"/>
                  <a:pt x="5741301" y="6507676"/>
                  <a:pt x="5736370" y="6500671"/>
                </a:cubicBezTo>
                <a:cubicBezTo>
                  <a:pt x="5731441" y="6493665"/>
                  <a:pt x="5728975" y="6483157"/>
                  <a:pt x="5728975" y="6469145"/>
                </a:cubicBezTo>
                <a:cubicBezTo>
                  <a:pt x="5728975" y="6459883"/>
                  <a:pt x="5730198" y="6452226"/>
                  <a:pt x="5732644"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3141659"/>
                </a:lnTo>
                <a:lnTo>
                  <a:pt x="6095995" y="3141659"/>
                </a:lnTo>
                <a:lnTo>
                  <a:pt x="6095995" y="6237284"/>
                </a:lnTo>
                <a:lnTo>
                  <a:pt x="12188819" y="6237284"/>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4969342"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0" name="Textplatzhalter 2"/>
          <p:cNvSpPr>
            <a:spLocks noGrp="1"/>
          </p:cNvSpPr>
          <p:nvPr userDrawn="1">
            <p:ph type="body" sz="quarter" idx="11" hasCustomPrompt="1"/>
          </p:nvPr>
        </p:nvSpPr>
        <p:spPr>
          <a:xfrm>
            <a:off x="6395432" y="3994289"/>
            <a:ext cx="4956781" cy="1980000"/>
          </a:xfrm>
        </p:spPr>
        <p:txBody>
          <a:bodyPr/>
          <a:lstStyle>
            <a:lvl1pPr>
              <a:defRPr baseline="0">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userDrawn="1">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1520455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510315" cy="3590562"/>
            <a:chOff x="4" y="3106800"/>
            <a:chExt cx="11510315" cy="3590562"/>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Bildplatzhalter 13">
            <a:extLst>
              <a:ext uri="{FF2B5EF4-FFF2-40B4-BE49-F238E27FC236}">
                <a16:creationId xmlns:a16="http://schemas.microsoft.com/office/drawing/2014/main" id="{B74CB024-9D05-4A4D-A9E1-BE90ECA58008}"/>
              </a:ext>
            </a:extLst>
          </p:cNvPr>
          <p:cNvSpPr>
            <a:spLocks noGrp="1"/>
          </p:cNvSpPr>
          <p:nvPr>
            <p:ph type="pic" sz="quarter" idx="14"/>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2 w 12188819"/>
              <a:gd name="connsiteY231" fmla="*/ 6462728 h 6857997"/>
              <a:gd name="connsiteX232" fmla="*/ 6035359 w 12188819"/>
              <a:gd name="connsiteY232" fmla="*/ 6485436 h 6857997"/>
              <a:gd name="connsiteX233" fmla="*/ 6030542 w 12188819"/>
              <a:gd name="connsiteY233" fmla="*/ 6505667 h 6857997"/>
              <a:gd name="connsiteX234" fmla="*/ 6019164 w 12188819"/>
              <a:gd name="connsiteY234" fmla="*/ 6512365 h 6857997"/>
              <a:gd name="connsiteX235" fmla="*/ 6007542 w 12188819"/>
              <a:gd name="connsiteY235" fmla="*/ 6505388 h 6857997"/>
              <a:gd name="connsiteX236" fmla="*/ 6002549 w 12188819"/>
              <a:gd name="connsiteY236" fmla="*/ 6484041 h 6857997"/>
              <a:gd name="connsiteX237" fmla="*/ 6007227 w 12188819"/>
              <a:gd name="connsiteY237" fmla="*/ 6462449 h 6857997"/>
              <a:gd name="connsiteX238" fmla="*/ 6018396 w 12188819"/>
              <a:gd name="connsiteY238" fmla="*/ 6455577 h 6857997"/>
              <a:gd name="connsiteX239" fmla="*/ 5829560 w 12188819"/>
              <a:gd name="connsiteY239" fmla="*/ 6455577 h 6857997"/>
              <a:gd name="connsiteX240" fmla="*/ 5842536 w 12188819"/>
              <a:gd name="connsiteY240" fmla="*/ 6462597 h 6857997"/>
              <a:gd name="connsiteX241" fmla="*/ 5847768 w 12188819"/>
              <a:gd name="connsiteY241" fmla="*/ 6483936 h 6857997"/>
              <a:gd name="connsiteX242" fmla="*/ 5842571 w 12188819"/>
              <a:gd name="connsiteY242" fmla="*/ 6505275 h 6857997"/>
              <a:gd name="connsiteX243" fmla="*/ 5830118 w 12188819"/>
              <a:gd name="connsiteY243" fmla="*/ 6512365 h 6857997"/>
              <a:gd name="connsiteX244" fmla="*/ 5817143 w 12188819"/>
              <a:gd name="connsiteY244" fmla="*/ 6505345 h 6857997"/>
              <a:gd name="connsiteX245" fmla="*/ 5811910 w 12188819"/>
              <a:gd name="connsiteY245" fmla="*/ 6483936 h 6857997"/>
              <a:gd name="connsiteX246" fmla="*/ 5817072 w 12188819"/>
              <a:gd name="connsiteY246" fmla="*/ 6462632 h 6857997"/>
              <a:gd name="connsiteX247" fmla="*/ 5829560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3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2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3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69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4 w 12188819"/>
              <a:gd name="connsiteY428" fmla="*/ 6455019 h 6857997"/>
              <a:gd name="connsiteX429" fmla="*/ 5801377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1 w 12188819"/>
              <a:gd name="connsiteY808" fmla="*/ 6418742 h 6857997"/>
              <a:gd name="connsiteX809" fmla="*/ 6034361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1 w 12188819"/>
              <a:gd name="connsiteY880" fmla="*/ 6416998 h 6857997"/>
              <a:gd name="connsiteX881" fmla="*/ 5948873 w 12188819"/>
              <a:gd name="connsiteY881" fmla="*/ 6419301 h 6857997"/>
              <a:gd name="connsiteX882" fmla="*/ 5943311 w 12188819"/>
              <a:gd name="connsiteY882" fmla="*/ 6425963 h 6857997"/>
              <a:gd name="connsiteX883" fmla="*/ 5941493 w 12188819"/>
              <a:gd name="connsiteY883" fmla="*/ 6439044 h 6857997"/>
              <a:gd name="connsiteX884" fmla="*/ 5941493 w 12188819"/>
              <a:gd name="connsiteY884" fmla="*/ 6446927 h 6857997"/>
              <a:gd name="connsiteX885" fmla="*/ 5932354 w 12188819"/>
              <a:gd name="connsiteY885" fmla="*/ 6446927 h 6857997"/>
              <a:gd name="connsiteX886" fmla="*/ 5932354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9 w 12188819"/>
              <a:gd name="connsiteY891" fmla="*/ 6456694 h 6857997"/>
              <a:gd name="connsiteX892" fmla="*/ 5963609 w 12188819"/>
              <a:gd name="connsiteY892" fmla="*/ 6446927 h 6857997"/>
              <a:gd name="connsiteX893" fmla="*/ 5951748 w 12188819"/>
              <a:gd name="connsiteY893" fmla="*/ 6446927 h 6857997"/>
              <a:gd name="connsiteX894" fmla="*/ 5951748 w 12188819"/>
              <a:gd name="connsiteY894" fmla="*/ 6440090 h 6857997"/>
              <a:gd name="connsiteX895" fmla="*/ 5953737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1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8 w 12188819"/>
              <a:gd name="connsiteY916" fmla="*/ 6416929 h 6857997"/>
              <a:gd name="connsiteX917" fmla="*/ 5737087 w 12188819"/>
              <a:gd name="connsiteY917" fmla="*/ 6422897 h 6857997"/>
              <a:gd name="connsiteX918" fmla="*/ 5722806 w 12188819"/>
              <a:gd name="connsiteY918" fmla="*/ 6440559 h 6857997"/>
              <a:gd name="connsiteX919" fmla="*/ 5717534 w 12188819"/>
              <a:gd name="connsiteY919" fmla="*/ 6469146 h 6857997"/>
              <a:gd name="connsiteX920" fmla="*/ 5722801 w 12188819"/>
              <a:gd name="connsiteY920" fmla="*/ 6498815 h 6857997"/>
              <a:gd name="connsiteX921" fmla="*/ 5736335 w 12188819"/>
              <a:gd name="connsiteY921" fmla="*/ 6517070 h 6857997"/>
              <a:gd name="connsiteX922" fmla="*/ 5756253 w 12188819"/>
              <a:gd name="connsiteY922" fmla="*/ 6522759 h 6857997"/>
              <a:gd name="connsiteX923" fmla="*/ 5778751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4 w 12188819"/>
              <a:gd name="connsiteY927" fmla="*/ 6511179 h 6857997"/>
              <a:gd name="connsiteX928" fmla="*/ 5736370 w 12188819"/>
              <a:gd name="connsiteY928" fmla="*/ 6500671 h 6857997"/>
              <a:gd name="connsiteX929" fmla="*/ 5728975 w 12188819"/>
              <a:gd name="connsiteY929" fmla="*/ 6469145 h 6857997"/>
              <a:gd name="connsiteX930" fmla="*/ 5732643 w 12188819"/>
              <a:gd name="connsiteY930" fmla="*/ 6446175 h 6857997"/>
              <a:gd name="connsiteX931" fmla="*/ 5742459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8 w 12188819"/>
              <a:gd name="connsiteY935" fmla="*/ 6424480 h 6857997"/>
              <a:gd name="connsiteX936" fmla="*/ 5757198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6857997 h 6857997"/>
              <a:gd name="connsiteX1154" fmla="*/ 0 w 12188819"/>
              <a:gd name="connsiteY1154" fmla="*/ 6857997 h 6857997"/>
              <a:gd name="connsiteX1155" fmla="*/ 0 w 12188819"/>
              <a:gd name="connsiteY1155" fmla="*/ 6237284 h 6857997"/>
              <a:gd name="connsiteX1156" fmla="*/ 6095994 w 12188819"/>
              <a:gd name="connsiteY1156" fmla="*/ 6237284 h 6857997"/>
              <a:gd name="connsiteX1157" fmla="*/ 6095994 w 12188819"/>
              <a:gd name="connsiteY1157" fmla="*/ 3141659 h 6857997"/>
              <a:gd name="connsiteX1158" fmla="*/ 0 w 12188819"/>
              <a:gd name="connsiteY1158" fmla="*/ 3141659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8"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2"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7" y="6512365"/>
                  <a:pt x="5820630" y="6510025"/>
                  <a:pt x="5817143"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2"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2"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4"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9"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1"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6" y="6445252"/>
                  <a:pt x="5900527" y="6445252"/>
                </a:cubicBezTo>
                <a:close/>
                <a:moveTo>
                  <a:pt x="5829839" y="6445252"/>
                </a:moveTo>
                <a:cubicBezTo>
                  <a:pt x="5821608" y="6445252"/>
                  <a:pt x="5814806" y="6448508"/>
                  <a:pt x="5809434" y="6455019"/>
                </a:cubicBezTo>
                <a:cubicBezTo>
                  <a:pt x="5804062" y="6461531"/>
                  <a:pt x="5801377" y="6471181"/>
                  <a:pt x="5801377" y="6483971"/>
                </a:cubicBezTo>
                <a:cubicBezTo>
                  <a:pt x="5801377" y="6496714"/>
                  <a:pt x="5804085" y="6506353"/>
                  <a:pt x="5809503" y="6512888"/>
                </a:cubicBezTo>
                <a:cubicBezTo>
                  <a:pt x="5814921" y="6519422"/>
                  <a:pt x="5821701" y="6522690"/>
                  <a:pt x="5829839" y="6522690"/>
                </a:cubicBezTo>
                <a:cubicBezTo>
                  <a:pt x="5838119" y="6522690"/>
                  <a:pt x="5844931" y="6519434"/>
                  <a:pt x="5850280" y="6512923"/>
                </a:cubicBezTo>
                <a:cubicBezTo>
                  <a:pt x="5855629"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4" y="6416998"/>
                  <a:pt x="5951368" y="6417766"/>
                  <a:pt x="5948873"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9" y="6456694"/>
                </a:lnTo>
                <a:lnTo>
                  <a:pt x="5963609" y="6446927"/>
                </a:lnTo>
                <a:lnTo>
                  <a:pt x="5951748" y="6446927"/>
                </a:lnTo>
                <a:lnTo>
                  <a:pt x="5951748" y="6440090"/>
                </a:lnTo>
                <a:cubicBezTo>
                  <a:pt x="5951748" y="6435579"/>
                  <a:pt x="5952411" y="6432521"/>
                  <a:pt x="5953737"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8" y="6520863"/>
                  <a:pt x="5748486" y="6522759"/>
                  <a:pt x="5756253" y="6522759"/>
                </a:cubicBezTo>
                <a:cubicBezTo>
                  <a:pt x="5765090" y="6522759"/>
                  <a:pt x="5772590" y="6519934"/>
                  <a:pt x="5778751" y="6514283"/>
                </a:cubicBezTo>
                <a:cubicBezTo>
                  <a:pt x="5784915"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2" y="6493665"/>
                  <a:pt x="5728975" y="6483157"/>
                  <a:pt x="5728975" y="6469145"/>
                </a:cubicBezTo>
                <a:cubicBezTo>
                  <a:pt x="5728975" y="6459883"/>
                  <a:pt x="5730198" y="6452226"/>
                  <a:pt x="5732643" y="6446175"/>
                </a:cubicBezTo>
                <a:cubicBezTo>
                  <a:pt x="5735088" y="6440123"/>
                  <a:pt x="5738360" y="6435666"/>
                  <a:pt x="5742459"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8" y="6424480"/>
                </a:cubicBezTo>
                <a:cubicBezTo>
                  <a:pt x="5772259" y="6419446"/>
                  <a:pt x="5765298" y="6416929"/>
                  <a:pt x="5757198"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lnTo>
                  <a:pt x="0" y="6237284"/>
                </a:lnTo>
                <a:lnTo>
                  <a:pt x="6095994" y="6237284"/>
                </a:lnTo>
                <a:lnTo>
                  <a:pt x="6095994" y="3141659"/>
                </a:lnTo>
                <a:lnTo>
                  <a:pt x="0" y="3141659"/>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en-US" noProof="0"/>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 Text </a:t>
            </a:r>
            <a:r>
              <a:rPr lang="en-US" noProof="0" err="1"/>
              <a:t>hinzufügen</a:t>
            </a:r>
            <a:endParaRPr lang="en-US" noProof="0"/>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noProof="0"/>
              <a:t>Add Title / </a:t>
            </a:r>
            <a:r>
              <a:rPr lang="en-US" noProof="0" err="1"/>
              <a:t>Titel</a:t>
            </a:r>
            <a:r>
              <a:rPr lang="en-US" noProof="0"/>
              <a:t> </a:t>
            </a:r>
            <a:r>
              <a:rPr lang="en-US" noProof="0" err="1"/>
              <a:t>hinzufügen</a:t>
            </a:r>
            <a:r>
              <a:rPr lang="en-US" noProof="0"/>
              <a:t> </a:t>
            </a:r>
            <a:endParaRPr lang="en-US"/>
          </a:p>
        </p:txBody>
      </p:sp>
    </p:spTree>
    <p:extLst>
      <p:ext uri="{BB962C8B-B14F-4D97-AF65-F5344CB8AC3E}">
        <p14:creationId xmlns:p14="http://schemas.microsoft.com/office/powerpoint/2010/main" val="37316963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Text (righ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655194A6-C5F3-4B72-BA38-14EABC8887B2}"/>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pPr marL="0" marR="0" lvl="0" indent="0" algn="ctr" defTabSz="900000" rtl="0" eaLnBrk="1" fontAlgn="auto" latinLnBrk="0" hangingPunct="1">
              <a:lnSpc>
                <a:spcPct val="100000"/>
              </a:lnSpc>
              <a:spcBef>
                <a:spcPts val="600"/>
              </a:spcBef>
              <a:spcAft>
                <a:spcPts val="0"/>
              </a:spcAft>
              <a:buClrTx/>
              <a:buSzPct val="105000"/>
              <a:buFontTx/>
              <a:buNone/>
              <a:tabLst/>
              <a:defRPr/>
            </a:pPr>
            <a:r>
              <a:rPr lang="en-US"/>
              <a:t>Click icon to add picture</a:t>
            </a:r>
            <a:endParaRPr lang="en-US" noProof="0"/>
          </a:p>
        </p:txBody>
      </p:sp>
      <p:sp>
        <p:nvSpPr>
          <p:cNvPr id="4" name="Textplatzhalter 3"/>
          <p:cNvSpPr>
            <a:spLocks noGrp="1"/>
          </p:cNvSpPr>
          <p:nvPr>
            <p:ph type="body" sz="quarter" idx="10" hasCustomPrompt="1"/>
          </p:nvPr>
        </p:nvSpPr>
        <p:spPr>
          <a:xfrm>
            <a:off x="6211925"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270158255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4B8017E0-7B42-4795-A00A-DFBF191C97A1}"/>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en-US" noProof="0"/>
          </a:p>
        </p:txBody>
      </p:sp>
      <p:sp>
        <p:nvSpPr>
          <p:cNvPr id="4" name="Textplatzhalter 3"/>
          <p:cNvSpPr>
            <a:spLocks noGrp="1"/>
          </p:cNvSpPr>
          <p:nvPr>
            <p:ph type="body" sz="quarter" idx="10" hasCustomPrompt="1"/>
          </p:nvPr>
        </p:nvSpPr>
        <p:spPr>
          <a:xfrm>
            <a:off x="848931"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183191952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Green, Title, Text">
    <p:bg>
      <p:bgPr>
        <a:solidFill>
          <a:srgbClr val="66CC33"/>
        </a:solidFill>
        <a:effectLst/>
      </p:bgPr>
    </p:bg>
    <p:spTree>
      <p:nvGrpSpPr>
        <p:cNvPr id="1" name=""/>
        <p:cNvGrpSpPr/>
        <p:nvPr/>
      </p:nvGrpSpPr>
      <p:grpSpPr>
        <a:xfrm>
          <a:off x="0" y="0"/>
          <a:ext cx="0" cy="0"/>
          <a:chOff x="0" y="0"/>
          <a:chExt cx="0" cy="0"/>
        </a:xfrm>
      </p:grpSpPr>
      <p:sp>
        <p:nvSpPr>
          <p:cNvPr id="10"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 / </a:t>
            </a:r>
            <a:r>
              <a:rPr lang="en-US" noProof="0" err="1"/>
              <a:t>Titel</a:t>
            </a:r>
            <a:r>
              <a:rPr lang="en-US" noProof="0"/>
              <a:t> </a:t>
            </a:r>
            <a:r>
              <a:rPr lang="en-US" noProof="0" err="1"/>
              <a:t>hinzufügen</a:t>
            </a:r>
            <a:endParaRPr lang="en-US" noProof="0"/>
          </a:p>
        </p:txBody>
      </p:sp>
      <p:sp>
        <p:nvSpPr>
          <p:cNvPr id="13" name="Textplatzhalter 3"/>
          <p:cNvSpPr>
            <a:spLocks noGrp="1"/>
          </p:cNvSpPr>
          <p:nvPr>
            <p:ph type="body" sz="quarter" idx="10" hasCustomPrompt="1"/>
          </p:nvPr>
        </p:nvSpPr>
        <p:spPr>
          <a:xfrm>
            <a:off x="839098" y="907362"/>
            <a:ext cx="10512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baseline="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1"/>
            <a:r>
              <a:rPr lang="en-US" noProof="0"/>
              <a:t>First bullet</a:t>
            </a:r>
          </a:p>
          <a:p>
            <a:pPr lvl="2"/>
            <a:r>
              <a:rPr lang="en-US" noProof="0"/>
              <a:t>Second bullet</a:t>
            </a:r>
          </a:p>
          <a:p>
            <a:pPr lvl="3"/>
            <a:r>
              <a:rPr lang="en-US" noProof="0"/>
              <a:t>Third bullet</a:t>
            </a:r>
          </a:p>
          <a:p>
            <a:pPr lvl="4"/>
            <a:r>
              <a:rPr lang="en-US" noProof="0"/>
              <a:t>Fourth bullet</a:t>
            </a:r>
          </a:p>
        </p:txBody>
      </p:sp>
      <p:pic>
        <p:nvPicPr>
          <p:cNvPr id="5" name="Grafik 4">
            <a:extLst>
              <a:ext uri="{FF2B5EF4-FFF2-40B4-BE49-F238E27FC236}">
                <a16:creationId xmlns:a16="http://schemas.microsoft.com/office/drawing/2014/main" id="{AF036631-25D0-4B0E-A1BD-EBA4A12F99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Tree>
    <p:extLst>
      <p:ext uri="{BB962C8B-B14F-4D97-AF65-F5344CB8AC3E}">
        <p14:creationId xmlns:p14="http://schemas.microsoft.com/office/powerpoint/2010/main" val="13529258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8855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inal Slide ">
    <p:spTree>
      <p:nvGrpSpPr>
        <p:cNvPr id="1" name=""/>
        <p:cNvGrpSpPr/>
        <p:nvPr/>
      </p:nvGrpSpPr>
      <p:grpSpPr>
        <a:xfrm>
          <a:off x="0" y="0"/>
          <a:ext cx="0" cy="0"/>
          <a:chOff x="0" y="0"/>
          <a:chExt cx="0" cy="0"/>
        </a:xfrm>
      </p:grpSpPr>
      <p:sp>
        <p:nvSpPr>
          <p:cNvPr id="3" name="Rechteck 2"/>
          <p:cNvSpPr/>
          <p:nvPr userDrawn="1"/>
        </p:nvSpPr>
        <p:spPr>
          <a:xfrm>
            <a:off x="0" y="-560"/>
            <a:ext cx="12192000" cy="6876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CC33"/>
              </a:solidFill>
            </a:endParaRPr>
          </a:p>
        </p:txBody>
      </p:sp>
      <p:sp>
        <p:nvSpPr>
          <p:cNvPr id="4" name="Textfeld 3"/>
          <p:cNvSpPr txBox="1"/>
          <p:nvPr userDrawn="1"/>
        </p:nvSpPr>
        <p:spPr>
          <a:xfrm>
            <a:off x="839788" y="5929511"/>
            <a:ext cx="1847851" cy="307777"/>
          </a:xfrm>
          <a:prstGeom prst="rect">
            <a:avLst/>
          </a:prstGeom>
          <a:noFill/>
        </p:spPr>
        <p:txBody>
          <a:bodyPr wrap="square" lIns="0" tIns="0" rIns="0" bIns="0" rtlCol="0">
            <a:spAutoFit/>
          </a:bodyPr>
          <a:lstStyle/>
          <a:p>
            <a:pPr algn="ctr"/>
            <a:r>
              <a:rPr lang="en-US">
                <a:solidFill>
                  <a:schemeClr val="bg1"/>
                </a:solidFill>
              </a:rPr>
              <a:t>www.sensirion.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0900" y="2464725"/>
            <a:ext cx="6961858" cy="1202400"/>
          </a:xfrm>
          <a:prstGeom prst="rect">
            <a:avLst/>
          </a:prstGeom>
        </p:spPr>
      </p:pic>
    </p:spTree>
    <p:extLst>
      <p:ext uri="{BB962C8B-B14F-4D97-AF65-F5344CB8AC3E}">
        <p14:creationId xmlns:p14="http://schemas.microsoft.com/office/powerpoint/2010/main" val="2428400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
        <p:nvSpPr>
          <p:cNvPr id="7" name="Textplatzhalter 2"/>
          <p:cNvSpPr>
            <a:spLocks noGrp="1"/>
          </p:cNvSpPr>
          <p:nvPr>
            <p:ph idx="1" hasCustomPrompt="1"/>
          </p:nvPr>
        </p:nvSpPr>
        <p:spPr>
          <a:xfrm>
            <a:off x="839788" y="908049"/>
            <a:ext cx="10547998" cy="5328000"/>
          </a:xfrm>
          <a:prstGeom prst="rect">
            <a:avLst/>
          </a:prstGeom>
        </p:spPr>
        <p:txBody>
          <a:bodyPr vert="horz" lIns="0" tIns="0" rIns="91440" bIns="0" rtlCol="0">
            <a:noAutofit/>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40470510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icago_Title Slide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2" y="0"/>
            <a:ext cx="12187076" cy="6858000"/>
          </a:xfrm>
          <a:prstGeom prst="rect">
            <a:avLst/>
          </a:prstGeom>
        </p:spPr>
      </p:pic>
      <p:sp>
        <p:nvSpPr>
          <p:cNvPr id="6" name="Rechteck 5"/>
          <p:cNvSpPr/>
          <p:nvPr userDrawn="1"/>
        </p:nvSpPr>
        <p:spPr>
          <a:xfrm>
            <a:off x="9353550" y="6143625"/>
            <a:ext cx="2206947" cy="720169"/>
          </a:xfrm>
          <a:prstGeom prst="rect">
            <a:avLst/>
          </a:prstGeom>
          <a:solidFill>
            <a:srgbClr val="66CC3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9629" y="6358967"/>
            <a:ext cx="1800000" cy="308899"/>
          </a:xfrm>
          <a:prstGeom prst="rect">
            <a:avLst/>
          </a:prstGeom>
        </p:spPr>
      </p:pic>
      <p:sp>
        <p:nvSpPr>
          <p:cNvPr id="5" name="Titel 4">
            <a:extLst>
              <a:ext uri="{FF2B5EF4-FFF2-40B4-BE49-F238E27FC236}">
                <a16:creationId xmlns:a16="http://schemas.microsoft.com/office/drawing/2014/main" id="{21E5CE9E-B30F-4010-925B-E48D382A38BE}"/>
              </a:ext>
            </a:extLst>
          </p:cNvPr>
          <p:cNvSpPr>
            <a:spLocks noGrp="1"/>
          </p:cNvSpPr>
          <p:nvPr>
            <p:ph type="title" hasCustomPrompt="1"/>
          </p:nvPr>
        </p:nvSpPr>
        <p:spPr/>
        <p:txBody>
          <a:bodyPr/>
          <a:lstStyle>
            <a:lvl1pPr>
              <a:defRPr>
                <a:solidFill>
                  <a:schemeClr val="tx1"/>
                </a:solidFill>
              </a:defRPr>
            </a:lvl1pPr>
          </a:lstStyle>
          <a:p>
            <a:r>
              <a:rPr lang="en-US"/>
              <a:t>Add Title</a:t>
            </a:r>
          </a:p>
        </p:txBody>
      </p:sp>
      <p:sp>
        <p:nvSpPr>
          <p:cNvPr id="11" name="Textplatzhalter 10">
            <a:extLst>
              <a:ext uri="{FF2B5EF4-FFF2-40B4-BE49-F238E27FC236}">
                <a16:creationId xmlns:a16="http://schemas.microsoft.com/office/drawing/2014/main" id="{FAFE4B4B-5972-498B-9AA9-D2A843AACA15}"/>
              </a:ext>
            </a:extLst>
          </p:cNvPr>
          <p:cNvSpPr>
            <a:spLocks noGrp="1"/>
          </p:cNvSpPr>
          <p:nvPr>
            <p:ph type="body" sz="quarter" idx="10" hasCustomPrompt="1"/>
          </p:nvPr>
        </p:nvSpPr>
        <p:spPr>
          <a:xfrm>
            <a:off x="839787" y="908050"/>
            <a:ext cx="5256213" cy="306000"/>
          </a:xfrm>
        </p:spPr>
        <p:txBody>
          <a:bodyPr/>
          <a:lstStyle>
            <a:lvl1pPr>
              <a:spcBef>
                <a:spcPts val="0"/>
              </a:spcBef>
              <a:defRPr/>
            </a:lvl1pPr>
          </a:lstStyle>
          <a:p>
            <a:pPr lvl="0"/>
            <a:r>
              <a:rPr lang="en-US"/>
              <a:t>First Name Last Name, Job Function</a:t>
            </a:r>
          </a:p>
        </p:txBody>
      </p:sp>
      <p:sp>
        <p:nvSpPr>
          <p:cNvPr id="12" name="Textplatzhalter 10">
            <a:extLst>
              <a:ext uri="{FF2B5EF4-FFF2-40B4-BE49-F238E27FC236}">
                <a16:creationId xmlns:a16="http://schemas.microsoft.com/office/drawing/2014/main" id="{D42BB81B-5D02-4F37-8877-6505104BB1D7}"/>
              </a:ext>
            </a:extLst>
          </p:cNvPr>
          <p:cNvSpPr>
            <a:spLocks noGrp="1"/>
          </p:cNvSpPr>
          <p:nvPr>
            <p:ph type="body" sz="quarter" idx="11" hasCustomPrompt="1"/>
          </p:nvPr>
        </p:nvSpPr>
        <p:spPr>
          <a:xfrm>
            <a:off x="839787" y="1209863"/>
            <a:ext cx="5256213" cy="306000"/>
          </a:xfrm>
        </p:spPr>
        <p:txBody>
          <a:bodyPr/>
          <a:lstStyle>
            <a:lvl1pPr>
              <a:spcBef>
                <a:spcPts val="0"/>
              </a:spcBef>
              <a:defRPr/>
            </a:lvl1pPr>
          </a:lstStyle>
          <a:p>
            <a:pPr lvl="0"/>
            <a:r>
              <a:rPr lang="en-US"/>
              <a:t>City Country, Month Year</a:t>
            </a:r>
          </a:p>
        </p:txBody>
      </p:sp>
    </p:spTree>
    <p:extLst>
      <p:ext uri="{BB962C8B-B14F-4D97-AF65-F5344CB8AC3E}">
        <p14:creationId xmlns:p14="http://schemas.microsoft.com/office/powerpoint/2010/main" val="23533100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4B8017E0-7B42-4795-A00A-DFBF191C97A1}"/>
              </a:ext>
            </a:extLst>
          </p:cNvPr>
          <p:cNvSpPr>
            <a:spLocks noGrp="1"/>
          </p:cNvSpPr>
          <p:nvPr>
            <p:ph type="pic" sz="quarter" idx="14"/>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marL="0" marR="0" indent="0" algn="ctr" defTabSz="900000" rtl="0" eaLnBrk="1" fontAlgn="auto" latinLnBrk="0" hangingPunct="1">
              <a:lnSpc>
                <a:spcPct val="100000"/>
              </a:lnSpc>
              <a:spcBef>
                <a:spcPts val="600"/>
              </a:spcBef>
              <a:spcAft>
                <a:spcPts val="0"/>
              </a:spcAft>
              <a:buClrTx/>
              <a:buSzPct val="105000"/>
              <a:buFontTx/>
              <a:buNone/>
              <a:tabLst/>
              <a:defRPr/>
            </a:lvl1pPr>
          </a:lstStyle>
          <a:p>
            <a:r>
              <a:rPr lang="en-US"/>
              <a:t>Click icon to add picture</a:t>
            </a:r>
            <a:endParaRPr lang="de-CH" noProof="0"/>
          </a:p>
        </p:txBody>
      </p:sp>
      <p:sp>
        <p:nvSpPr>
          <p:cNvPr id="4" name="Textplatzhalter 3"/>
          <p:cNvSpPr>
            <a:spLocks noGrp="1"/>
          </p:cNvSpPr>
          <p:nvPr>
            <p:ph type="body" sz="quarter" idx="10" hasCustomPrompt="1"/>
          </p:nvPr>
        </p:nvSpPr>
        <p:spPr>
          <a:xfrm>
            <a:off x="848931" y="914398"/>
            <a:ext cx="5148000" cy="5328000"/>
          </a:xfr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 </a:t>
            </a:r>
            <a:r>
              <a:rPr lang="en-US" noProof="0" err="1"/>
              <a:t>Titel</a:t>
            </a:r>
            <a:r>
              <a:rPr lang="en-US" noProof="0"/>
              <a:t> </a:t>
            </a:r>
            <a:r>
              <a:rPr lang="en-US" noProof="0" err="1"/>
              <a:t>hinzufügen</a:t>
            </a:r>
            <a:r>
              <a:rPr lang="en-US" noProof="0"/>
              <a:t> </a:t>
            </a:r>
          </a:p>
        </p:txBody>
      </p:sp>
    </p:spTree>
    <p:extLst>
      <p:ext uri="{BB962C8B-B14F-4D97-AF65-F5344CB8AC3E}">
        <p14:creationId xmlns:p14="http://schemas.microsoft.com/office/powerpoint/2010/main" val="4067086470"/>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6" name="Rectangle 2"/>
          <p:cNvSpPr>
            <a:spLocks noGrp="1" noChangeArrowheads="1"/>
          </p:cNvSpPr>
          <p:nvPr>
            <p:ph type="title" hasCustomPrompt="1"/>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
        <p:nvSpPr>
          <p:cNvPr id="7" name="Textplatzhalter 2"/>
          <p:cNvSpPr>
            <a:spLocks noGrp="1"/>
          </p:cNvSpPr>
          <p:nvPr>
            <p:ph idx="1" hasCustomPrompt="1"/>
          </p:nvPr>
        </p:nvSpPr>
        <p:spPr>
          <a:xfrm>
            <a:off x="839788" y="908049"/>
            <a:ext cx="10512426" cy="5328000"/>
          </a:xfrm>
          <a:prstGeom prst="rect">
            <a:avLst/>
          </a:prstGeom>
        </p:spPr>
        <p:txBody>
          <a:bodyPr vert="horz" lIns="0" tIns="0" rIns="91440" bIns="0" rtlCol="0">
            <a:noAutofit/>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14042503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Text, Picture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dd Title </a:t>
            </a:r>
          </a:p>
        </p:txBody>
      </p:sp>
      <p:sp>
        <p:nvSpPr>
          <p:cNvPr id="4" name="Picture Placeholder 3"/>
          <p:cNvSpPr>
            <a:spLocks noGrp="1"/>
          </p:cNvSpPr>
          <p:nvPr>
            <p:ph type="pic" sz="quarter" idx="10"/>
          </p:nvPr>
        </p:nvSpPr>
        <p:spPr>
          <a:xfrm>
            <a:off x="839788" y="917882"/>
            <a:ext cx="5148000" cy="5328000"/>
          </a:xfrm>
        </p:spPr>
        <p:txBody>
          <a:bodyPr/>
          <a:lstStyle>
            <a:lvl1pPr algn="ctr">
              <a:defRPr/>
            </a:lvl1pPr>
          </a:lstStyle>
          <a:p>
            <a:r>
              <a:rPr lang="en-US"/>
              <a:t>Click icon to add picture</a:t>
            </a:r>
          </a:p>
        </p:txBody>
      </p:sp>
      <p:sp>
        <p:nvSpPr>
          <p:cNvPr id="6" name="Text Placeholder 5"/>
          <p:cNvSpPr>
            <a:spLocks noGrp="1"/>
          </p:cNvSpPr>
          <p:nvPr>
            <p:ph type="body" sz="quarter" idx="11" hasCustomPrompt="1"/>
          </p:nvPr>
        </p:nvSpPr>
        <p:spPr>
          <a:xfrm>
            <a:off x="6212541" y="917882"/>
            <a:ext cx="5148000" cy="5328000"/>
          </a:xfrm>
        </p:spPr>
        <p:txBody>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Tree>
    <p:extLst>
      <p:ext uri="{BB962C8B-B14F-4D97-AF65-F5344CB8AC3E}">
        <p14:creationId xmlns:p14="http://schemas.microsoft.com/office/powerpoint/2010/main" val="28962680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Text, Picture Righ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48932" y="914398"/>
            <a:ext cx="5148000" cy="5328000"/>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6" name="Bildplatzhalter 5"/>
          <p:cNvSpPr>
            <a:spLocks noGrp="1"/>
          </p:cNvSpPr>
          <p:nvPr>
            <p:ph type="pic" sz="quarter" idx="11"/>
          </p:nvPr>
        </p:nvSpPr>
        <p:spPr>
          <a:xfrm>
            <a:off x="6213297" y="908050"/>
            <a:ext cx="5148000" cy="5328000"/>
          </a:xfrm>
        </p:spPr>
        <p:txBody>
          <a:bodyPr/>
          <a:lstStyle>
            <a:lvl1pPr marL="0" indent="0" algn="ctr">
              <a:buFontTx/>
              <a:buNone/>
              <a:defRPr>
                <a:solidFill>
                  <a:schemeClr val="tx1"/>
                </a:solidFill>
              </a:defRPr>
            </a:lvl1pPr>
          </a:lstStyle>
          <a:p>
            <a:r>
              <a:rPr lang="en-US"/>
              <a:t>Click icon to add picture</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4630753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without Text ">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a:t>
            </a:r>
          </a:p>
        </p:txBody>
      </p:sp>
    </p:spTree>
    <p:extLst>
      <p:ext uri="{BB962C8B-B14F-4D97-AF65-F5344CB8AC3E}">
        <p14:creationId xmlns:p14="http://schemas.microsoft.com/office/powerpoint/2010/main" val="23412394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right)">
    <p:spTree>
      <p:nvGrpSpPr>
        <p:cNvPr id="1" name=""/>
        <p:cNvGrpSpPr/>
        <p:nvPr/>
      </p:nvGrpSpPr>
      <p:grpSpPr>
        <a:xfrm>
          <a:off x="0" y="0"/>
          <a:ext cx="0" cy="0"/>
          <a:chOff x="0" y="0"/>
          <a:chExt cx="0" cy="0"/>
        </a:xfrm>
      </p:grpSpPr>
      <p:grpSp>
        <p:nvGrpSpPr>
          <p:cNvPr id="93" name="Gruppieren 92">
            <a:extLst>
              <a:ext uri="{FF2B5EF4-FFF2-40B4-BE49-F238E27FC236}">
                <a16:creationId xmlns:a16="http://schemas.microsoft.com/office/drawing/2014/main" id="{D2D03C95-7237-41B3-B3C3-68EDD984A661}"/>
              </a:ext>
            </a:extLst>
          </p:cNvPr>
          <p:cNvGrpSpPr/>
          <p:nvPr userDrawn="1"/>
        </p:nvGrpSpPr>
        <p:grpSpPr>
          <a:xfrm>
            <a:off x="731952" y="3106800"/>
            <a:ext cx="11457648" cy="3590562"/>
            <a:chOff x="731952" y="3106800"/>
            <a:chExt cx="11457648" cy="3590562"/>
          </a:xfrm>
        </p:grpSpPr>
        <p:sp>
          <p:nvSpPr>
            <p:cNvPr id="12" name="Rechteck 11">
              <a:extLst>
                <a:ext uri="{FF2B5EF4-FFF2-40B4-BE49-F238E27FC236}">
                  <a16:creationId xmlns:a16="http://schemas.microsoft.com/office/drawing/2014/main" id="{AADA444F-D770-40C6-9562-F48CAD0BD698}"/>
                </a:ext>
              </a:extLst>
            </p:cNvPr>
            <p:cNvSpPr/>
            <p:nvPr userDrawn="1"/>
          </p:nvSpPr>
          <p:spPr>
            <a:xfrm>
              <a:off x="6058800"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51D3746-567F-4A9D-A7A3-724A52315701}"/>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0423C9EE-044B-4B9E-9612-DBE268BCF144}"/>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5" name="Bildplatzhalter 94">
            <a:extLst>
              <a:ext uri="{FF2B5EF4-FFF2-40B4-BE49-F238E27FC236}">
                <a16:creationId xmlns:a16="http://schemas.microsoft.com/office/drawing/2014/main" id="{42A3661C-BE92-49BD-9361-69A1388F129F}"/>
              </a:ext>
            </a:extLst>
          </p:cNvPr>
          <p:cNvSpPr>
            <a:spLocks noGrp="1"/>
          </p:cNvSpPr>
          <p:nvPr>
            <p:ph type="pic" sz="quarter" idx="14" hasCustomPrompt="1"/>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3 w 12188819"/>
              <a:gd name="connsiteY231" fmla="*/ 6462728 h 6857997"/>
              <a:gd name="connsiteX232" fmla="*/ 6035359 w 12188819"/>
              <a:gd name="connsiteY232" fmla="*/ 6485436 h 6857997"/>
              <a:gd name="connsiteX233" fmla="*/ 6030543 w 12188819"/>
              <a:gd name="connsiteY233" fmla="*/ 6505667 h 6857997"/>
              <a:gd name="connsiteX234" fmla="*/ 6019164 w 12188819"/>
              <a:gd name="connsiteY234" fmla="*/ 6512365 h 6857997"/>
              <a:gd name="connsiteX235" fmla="*/ 6007541 w 12188819"/>
              <a:gd name="connsiteY235" fmla="*/ 6505388 h 6857997"/>
              <a:gd name="connsiteX236" fmla="*/ 6002550 w 12188819"/>
              <a:gd name="connsiteY236" fmla="*/ 6484041 h 6857997"/>
              <a:gd name="connsiteX237" fmla="*/ 6007227 w 12188819"/>
              <a:gd name="connsiteY237" fmla="*/ 6462449 h 6857997"/>
              <a:gd name="connsiteX238" fmla="*/ 6018396 w 12188819"/>
              <a:gd name="connsiteY238" fmla="*/ 6455577 h 6857997"/>
              <a:gd name="connsiteX239" fmla="*/ 5829561 w 12188819"/>
              <a:gd name="connsiteY239" fmla="*/ 6455577 h 6857997"/>
              <a:gd name="connsiteX240" fmla="*/ 5842536 w 12188819"/>
              <a:gd name="connsiteY240" fmla="*/ 6462597 h 6857997"/>
              <a:gd name="connsiteX241" fmla="*/ 5847769 w 12188819"/>
              <a:gd name="connsiteY241" fmla="*/ 6483936 h 6857997"/>
              <a:gd name="connsiteX242" fmla="*/ 5842571 w 12188819"/>
              <a:gd name="connsiteY242" fmla="*/ 6505275 h 6857997"/>
              <a:gd name="connsiteX243" fmla="*/ 5830118 w 12188819"/>
              <a:gd name="connsiteY243" fmla="*/ 6512365 h 6857997"/>
              <a:gd name="connsiteX244" fmla="*/ 5817142 w 12188819"/>
              <a:gd name="connsiteY244" fmla="*/ 6505345 h 6857997"/>
              <a:gd name="connsiteX245" fmla="*/ 5811910 w 12188819"/>
              <a:gd name="connsiteY245" fmla="*/ 6483936 h 6857997"/>
              <a:gd name="connsiteX246" fmla="*/ 5817072 w 12188819"/>
              <a:gd name="connsiteY246" fmla="*/ 6462632 h 6857997"/>
              <a:gd name="connsiteX247" fmla="*/ 5829561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4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1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4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70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3 w 12188819"/>
              <a:gd name="connsiteY428" fmla="*/ 6455019 h 6857997"/>
              <a:gd name="connsiteX429" fmla="*/ 5801376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2 w 12188819"/>
              <a:gd name="connsiteY808" fmla="*/ 6418742 h 6857997"/>
              <a:gd name="connsiteX809" fmla="*/ 6034362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2 w 12188819"/>
              <a:gd name="connsiteY880" fmla="*/ 6416998 h 6857997"/>
              <a:gd name="connsiteX881" fmla="*/ 5948872 w 12188819"/>
              <a:gd name="connsiteY881" fmla="*/ 6419301 h 6857997"/>
              <a:gd name="connsiteX882" fmla="*/ 5943312 w 12188819"/>
              <a:gd name="connsiteY882" fmla="*/ 6425963 h 6857997"/>
              <a:gd name="connsiteX883" fmla="*/ 5941493 w 12188819"/>
              <a:gd name="connsiteY883" fmla="*/ 6439044 h 6857997"/>
              <a:gd name="connsiteX884" fmla="*/ 5941493 w 12188819"/>
              <a:gd name="connsiteY884" fmla="*/ 6446927 h 6857997"/>
              <a:gd name="connsiteX885" fmla="*/ 5932355 w 12188819"/>
              <a:gd name="connsiteY885" fmla="*/ 6446927 h 6857997"/>
              <a:gd name="connsiteX886" fmla="*/ 5932355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8 w 12188819"/>
              <a:gd name="connsiteY891" fmla="*/ 6456694 h 6857997"/>
              <a:gd name="connsiteX892" fmla="*/ 5963608 w 12188819"/>
              <a:gd name="connsiteY892" fmla="*/ 6446927 h 6857997"/>
              <a:gd name="connsiteX893" fmla="*/ 5951748 w 12188819"/>
              <a:gd name="connsiteY893" fmla="*/ 6446927 h 6857997"/>
              <a:gd name="connsiteX894" fmla="*/ 5951748 w 12188819"/>
              <a:gd name="connsiteY894" fmla="*/ 6440090 h 6857997"/>
              <a:gd name="connsiteX895" fmla="*/ 5953736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2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9 w 12188819"/>
              <a:gd name="connsiteY916" fmla="*/ 6416929 h 6857997"/>
              <a:gd name="connsiteX917" fmla="*/ 5737087 w 12188819"/>
              <a:gd name="connsiteY917" fmla="*/ 6422897 h 6857997"/>
              <a:gd name="connsiteX918" fmla="*/ 5722806 w 12188819"/>
              <a:gd name="connsiteY918" fmla="*/ 6440559 h 6857997"/>
              <a:gd name="connsiteX919" fmla="*/ 5717535 w 12188819"/>
              <a:gd name="connsiteY919" fmla="*/ 6469146 h 6857997"/>
              <a:gd name="connsiteX920" fmla="*/ 5722801 w 12188819"/>
              <a:gd name="connsiteY920" fmla="*/ 6498815 h 6857997"/>
              <a:gd name="connsiteX921" fmla="*/ 5736336 w 12188819"/>
              <a:gd name="connsiteY921" fmla="*/ 6517070 h 6857997"/>
              <a:gd name="connsiteX922" fmla="*/ 5756253 w 12188819"/>
              <a:gd name="connsiteY922" fmla="*/ 6522759 h 6857997"/>
              <a:gd name="connsiteX923" fmla="*/ 5778752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5 w 12188819"/>
              <a:gd name="connsiteY927" fmla="*/ 6511179 h 6857997"/>
              <a:gd name="connsiteX928" fmla="*/ 5736370 w 12188819"/>
              <a:gd name="connsiteY928" fmla="*/ 6500671 h 6857997"/>
              <a:gd name="connsiteX929" fmla="*/ 5728975 w 12188819"/>
              <a:gd name="connsiteY929" fmla="*/ 6469145 h 6857997"/>
              <a:gd name="connsiteX930" fmla="*/ 5732644 w 12188819"/>
              <a:gd name="connsiteY930" fmla="*/ 6446175 h 6857997"/>
              <a:gd name="connsiteX931" fmla="*/ 5742458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7 w 12188819"/>
              <a:gd name="connsiteY935" fmla="*/ 6424480 h 6857997"/>
              <a:gd name="connsiteX936" fmla="*/ 5757199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3141659 h 6857997"/>
              <a:gd name="connsiteX1154" fmla="*/ 6095995 w 12188819"/>
              <a:gd name="connsiteY1154" fmla="*/ 3141659 h 6857997"/>
              <a:gd name="connsiteX1155" fmla="*/ 6095995 w 12188819"/>
              <a:gd name="connsiteY1155" fmla="*/ 6237284 h 6857997"/>
              <a:gd name="connsiteX1156" fmla="*/ 12188819 w 12188819"/>
              <a:gd name="connsiteY1156" fmla="*/ 6237284 h 6857997"/>
              <a:gd name="connsiteX1157" fmla="*/ 12188819 w 12188819"/>
              <a:gd name="connsiteY1157" fmla="*/ 6857997 h 6857997"/>
              <a:gd name="connsiteX1158" fmla="*/ 0 w 12188819"/>
              <a:gd name="connsiteY1158"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3" y="6462728"/>
                </a:cubicBezTo>
                <a:cubicBezTo>
                  <a:pt x="6033753" y="6467495"/>
                  <a:pt x="6035359" y="6475065"/>
                  <a:pt x="6035359" y="6485436"/>
                </a:cubicBezTo>
                <a:cubicBezTo>
                  <a:pt x="6035359" y="6494459"/>
                  <a:pt x="6033753" y="6501203"/>
                  <a:pt x="6030543" y="6505667"/>
                </a:cubicBezTo>
                <a:cubicBezTo>
                  <a:pt x="6027331" y="6510132"/>
                  <a:pt x="6023538" y="6512365"/>
                  <a:pt x="6019164" y="6512365"/>
                </a:cubicBezTo>
                <a:cubicBezTo>
                  <a:pt x="6014743" y="6512365"/>
                  <a:pt x="6010869" y="6510039"/>
                  <a:pt x="6007541" y="6505388"/>
                </a:cubicBezTo>
                <a:cubicBezTo>
                  <a:pt x="6004213" y="6500737"/>
                  <a:pt x="6002550" y="6493622"/>
                  <a:pt x="6002550" y="6484041"/>
                </a:cubicBezTo>
                <a:cubicBezTo>
                  <a:pt x="6002550" y="6474227"/>
                  <a:pt x="6004109" y="6467030"/>
                  <a:pt x="6007227" y="6462449"/>
                </a:cubicBezTo>
                <a:cubicBezTo>
                  <a:pt x="6010345" y="6457868"/>
                  <a:pt x="6014068" y="6455577"/>
                  <a:pt x="6018396" y="6455577"/>
                </a:cubicBezTo>
                <a:close/>
                <a:moveTo>
                  <a:pt x="5829561" y="6455577"/>
                </a:moveTo>
                <a:cubicBezTo>
                  <a:pt x="5834723" y="6455577"/>
                  <a:pt x="5839048" y="6457917"/>
                  <a:pt x="5842536" y="6462597"/>
                </a:cubicBezTo>
                <a:cubicBezTo>
                  <a:pt x="5846024" y="6467277"/>
                  <a:pt x="5847769" y="6474390"/>
                  <a:pt x="5847769" y="6483936"/>
                </a:cubicBezTo>
                <a:cubicBezTo>
                  <a:pt x="5847769" y="6493436"/>
                  <a:pt x="5846036" y="6500548"/>
                  <a:pt x="5842571" y="6505275"/>
                </a:cubicBezTo>
                <a:cubicBezTo>
                  <a:pt x="5839106" y="6510001"/>
                  <a:pt x="5834956" y="6512365"/>
                  <a:pt x="5830118" y="6512365"/>
                </a:cubicBezTo>
                <a:cubicBezTo>
                  <a:pt x="5824957" y="6512365"/>
                  <a:pt x="5820630" y="6510025"/>
                  <a:pt x="5817142" y="6505345"/>
                </a:cubicBezTo>
                <a:cubicBezTo>
                  <a:pt x="5813655" y="6500665"/>
                  <a:pt x="5811910" y="6493529"/>
                  <a:pt x="5811910" y="6483936"/>
                </a:cubicBezTo>
                <a:cubicBezTo>
                  <a:pt x="5811910" y="6474437"/>
                  <a:pt x="5813631" y="6467335"/>
                  <a:pt x="5817072" y="6462632"/>
                </a:cubicBezTo>
                <a:cubicBezTo>
                  <a:pt x="5820514" y="6457929"/>
                  <a:pt x="5824677" y="6455577"/>
                  <a:pt x="5829561"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4"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9"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4"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3" y="6456066"/>
                  <a:pt x="5903293" y="6456752"/>
                  <a:pt x="5905270" y="6458126"/>
                </a:cubicBezTo>
                <a:cubicBezTo>
                  <a:pt x="5907247"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7"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6" y="6506353"/>
                  <a:pt x="5809503" y="6512888"/>
                </a:cubicBezTo>
                <a:cubicBezTo>
                  <a:pt x="5814922"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2" y="6418742"/>
                </a:moveTo>
                <a:lnTo>
                  <a:pt x="6034362"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4"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2" y="6416998"/>
                </a:moveTo>
                <a:cubicBezTo>
                  <a:pt x="5954503" y="6416998"/>
                  <a:pt x="5951368" y="6417766"/>
                  <a:pt x="5948872" y="6419301"/>
                </a:cubicBezTo>
                <a:cubicBezTo>
                  <a:pt x="5946378" y="6420835"/>
                  <a:pt x="5944525" y="6423056"/>
                  <a:pt x="5943312" y="6425963"/>
                </a:cubicBezTo>
                <a:cubicBezTo>
                  <a:pt x="5942099" y="6428870"/>
                  <a:pt x="5941493" y="6433230"/>
                  <a:pt x="5941493" y="6439044"/>
                </a:cubicBezTo>
                <a:lnTo>
                  <a:pt x="5941493" y="6446927"/>
                </a:lnTo>
                <a:lnTo>
                  <a:pt x="5932355" y="6446927"/>
                </a:lnTo>
                <a:lnTo>
                  <a:pt x="5932355"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1"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2"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9" y="6416929"/>
                </a:moveTo>
                <a:cubicBezTo>
                  <a:pt x="5749796" y="6416929"/>
                  <a:pt x="5743092" y="6418918"/>
                  <a:pt x="5737087" y="6422897"/>
                </a:cubicBezTo>
                <a:cubicBezTo>
                  <a:pt x="5731081" y="6426876"/>
                  <a:pt x="5726322" y="6432763"/>
                  <a:pt x="5722806" y="6440559"/>
                </a:cubicBezTo>
                <a:cubicBezTo>
                  <a:pt x="5719292" y="6448354"/>
                  <a:pt x="5717535" y="6457883"/>
                  <a:pt x="5717535" y="6469146"/>
                </a:cubicBezTo>
                <a:cubicBezTo>
                  <a:pt x="5717535" y="6480548"/>
                  <a:pt x="5719290" y="6490438"/>
                  <a:pt x="5722801" y="6498815"/>
                </a:cubicBezTo>
                <a:cubicBezTo>
                  <a:pt x="5726313" y="6507192"/>
                  <a:pt x="5730824" y="6513277"/>
                  <a:pt x="5736336" y="6517070"/>
                </a:cubicBezTo>
                <a:cubicBezTo>
                  <a:pt x="5741847" y="6520863"/>
                  <a:pt x="5748486" y="6522759"/>
                  <a:pt x="5756253" y="6522759"/>
                </a:cubicBezTo>
                <a:cubicBezTo>
                  <a:pt x="5765090" y="6522759"/>
                  <a:pt x="5772590" y="6519934"/>
                  <a:pt x="5778752" y="6514283"/>
                </a:cubicBezTo>
                <a:cubicBezTo>
                  <a:pt x="5784914" y="6508632"/>
                  <a:pt x="5789229" y="6500063"/>
                  <a:pt x="5791693" y="6488575"/>
                </a:cubicBezTo>
                <a:lnTo>
                  <a:pt x="5780530" y="6485157"/>
                </a:lnTo>
                <a:cubicBezTo>
                  <a:pt x="5779042" y="6493901"/>
                  <a:pt x="5776101" y="6500423"/>
                  <a:pt x="5771705" y="6504726"/>
                </a:cubicBezTo>
                <a:cubicBezTo>
                  <a:pt x="5767311" y="6509028"/>
                  <a:pt x="5762090" y="6511179"/>
                  <a:pt x="5756045" y="6511179"/>
                </a:cubicBezTo>
                <a:cubicBezTo>
                  <a:pt x="5747858" y="6511179"/>
                  <a:pt x="5741301" y="6507676"/>
                  <a:pt x="5736370" y="6500671"/>
                </a:cubicBezTo>
                <a:cubicBezTo>
                  <a:pt x="5731441" y="6493665"/>
                  <a:pt x="5728975" y="6483157"/>
                  <a:pt x="5728975" y="6469145"/>
                </a:cubicBezTo>
                <a:cubicBezTo>
                  <a:pt x="5728975" y="6459883"/>
                  <a:pt x="5730198" y="6452226"/>
                  <a:pt x="5732644"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9"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3141659"/>
                </a:lnTo>
                <a:lnTo>
                  <a:pt x="6095995" y="3141659"/>
                </a:lnTo>
                <a:lnTo>
                  <a:pt x="6095995" y="6237284"/>
                </a:lnTo>
                <a:lnTo>
                  <a:pt x="12188819" y="6237284"/>
                </a:lnTo>
                <a:lnTo>
                  <a:pt x="12188819" y="6857997"/>
                </a:lnTo>
                <a:lnTo>
                  <a:pt x="0" y="6857997"/>
                </a:lnTo>
                <a:close/>
              </a:path>
            </a:pathLst>
          </a:custGeom>
        </p:spPr>
        <p:txBody>
          <a:bodyPr wrap="square">
            <a:noAutofit/>
          </a:bodyPr>
          <a:lstStyle>
            <a:lvl1pPr algn="ctr">
              <a:defRPr/>
            </a:lvl1pPr>
          </a:lstStyle>
          <a:p>
            <a:r>
              <a:rPr lang="en-US"/>
              <a:t>Click icon to add picture</a:t>
            </a:r>
          </a:p>
        </p:txBody>
      </p:sp>
      <p:sp>
        <p:nvSpPr>
          <p:cNvPr id="7" name="Textplatzhalter 6">
            <a:extLst>
              <a:ext uri="{FF2B5EF4-FFF2-40B4-BE49-F238E27FC236}">
                <a16:creationId xmlns:a16="http://schemas.microsoft.com/office/drawing/2014/main" id="{9DBB9C15-AC85-427A-8A08-5DBF3932B078}"/>
              </a:ext>
            </a:extLst>
          </p:cNvPr>
          <p:cNvSpPr>
            <a:spLocks noGrp="1"/>
          </p:cNvSpPr>
          <p:nvPr userDrawn="1">
            <p:ph type="body" sz="quarter" idx="13" hasCustomPrompt="1"/>
          </p:nvPr>
        </p:nvSpPr>
        <p:spPr>
          <a:xfrm>
            <a:off x="6382871" y="3265484"/>
            <a:ext cx="4969342" cy="457200"/>
          </a:xfrm>
        </p:spPr>
        <p:txBody>
          <a:bodyPr/>
          <a:lstStyle>
            <a:lvl1pPr>
              <a:spcBef>
                <a:spcPts val="500"/>
              </a:spcBef>
              <a:defRPr sz="3100" b="1">
                <a:solidFill>
                  <a:srgbClr val="FFFFFF"/>
                </a:solidFill>
              </a:defRPr>
            </a:lvl1pPr>
          </a:lstStyle>
          <a:p>
            <a:pPr lvl="0"/>
            <a:r>
              <a:rPr lang="en-US" noProof="0"/>
              <a:t>Add Title</a:t>
            </a:r>
          </a:p>
        </p:txBody>
      </p:sp>
      <p:sp>
        <p:nvSpPr>
          <p:cNvPr id="10" name="Textplatzhalter 2"/>
          <p:cNvSpPr>
            <a:spLocks noGrp="1"/>
          </p:cNvSpPr>
          <p:nvPr userDrawn="1">
            <p:ph type="body" sz="quarter" idx="11" hasCustomPrompt="1"/>
          </p:nvPr>
        </p:nvSpPr>
        <p:spPr>
          <a:xfrm>
            <a:off x="6395432" y="3994289"/>
            <a:ext cx="4956781"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2" name="Title 1"/>
          <p:cNvSpPr>
            <a:spLocks noGrp="1"/>
          </p:cNvSpPr>
          <p:nvPr userDrawn="1">
            <p:ph type="title" hasCustomPrompt="1"/>
          </p:nvPr>
        </p:nvSpPr>
        <p:spPr/>
        <p:txBody>
          <a:bodyPr/>
          <a:lstStyle>
            <a:lvl1pPr>
              <a:defRPr/>
            </a:lvl1pPr>
          </a:lstStyle>
          <a:p>
            <a:r>
              <a:rPr lang="en-US"/>
              <a:t>Add Title</a:t>
            </a:r>
          </a:p>
        </p:txBody>
      </p:sp>
    </p:spTree>
    <p:extLst>
      <p:ext uri="{BB962C8B-B14F-4D97-AF65-F5344CB8AC3E}">
        <p14:creationId xmlns:p14="http://schemas.microsoft.com/office/powerpoint/2010/main" val="37912028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Picture (big) and Text Box (left)">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D1363E3C-C1E3-4118-8EF2-9F8DBB34DB3A}"/>
              </a:ext>
            </a:extLst>
          </p:cNvPr>
          <p:cNvGrpSpPr/>
          <p:nvPr userDrawn="1"/>
        </p:nvGrpSpPr>
        <p:grpSpPr>
          <a:xfrm>
            <a:off x="4" y="3106800"/>
            <a:ext cx="11510315" cy="3590562"/>
            <a:chOff x="4" y="3106800"/>
            <a:chExt cx="11510315" cy="3590562"/>
          </a:xfrm>
        </p:grpSpPr>
        <p:sp>
          <p:nvSpPr>
            <p:cNvPr id="15" name="Rechteck 14">
              <a:extLst>
                <a:ext uri="{FF2B5EF4-FFF2-40B4-BE49-F238E27FC236}">
                  <a16:creationId xmlns:a16="http://schemas.microsoft.com/office/drawing/2014/main" id="{1FA4CF6F-55B8-47F1-9CC1-6186CB347971}"/>
                </a:ext>
              </a:extLst>
            </p:cNvPr>
            <p:cNvSpPr/>
            <p:nvPr userDrawn="1"/>
          </p:nvSpPr>
          <p:spPr>
            <a:xfrm>
              <a:off x="4" y="3106800"/>
              <a:ext cx="6130800" cy="316800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8A6E549F-C5F7-4D94-89B2-21D406FB1D7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BFE5B68D-ABAC-4C1B-89DB-CD0C6950824B}"/>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Bildplatzhalter 13">
            <a:extLst>
              <a:ext uri="{FF2B5EF4-FFF2-40B4-BE49-F238E27FC236}">
                <a16:creationId xmlns:a16="http://schemas.microsoft.com/office/drawing/2014/main" id="{B74CB024-9D05-4A4D-A9E1-BE90ECA58008}"/>
              </a:ext>
            </a:extLst>
          </p:cNvPr>
          <p:cNvSpPr>
            <a:spLocks noGrp="1"/>
          </p:cNvSpPr>
          <p:nvPr>
            <p:ph type="pic" sz="quarter" idx="14" hasCustomPrompt="1"/>
          </p:nvPr>
        </p:nvSpPr>
        <p:spPr>
          <a:xfrm>
            <a:off x="6" y="4"/>
            <a:ext cx="12188819" cy="6857997"/>
          </a:xfrm>
          <a:custGeom>
            <a:avLst/>
            <a:gdLst>
              <a:gd name="connsiteX0" fmla="*/ 11165506 w 12188819"/>
              <a:gd name="connsiteY0" fmla="*/ 6580185 h 6857997"/>
              <a:gd name="connsiteX1" fmla="*/ 11175994 w 12188819"/>
              <a:gd name="connsiteY1" fmla="*/ 6599235 h 6857997"/>
              <a:gd name="connsiteX2" fmla="*/ 11155357 w 12188819"/>
              <a:gd name="connsiteY2" fmla="*/ 6599235 h 6857997"/>
              <a:gd name="connsiteX3" fmla="*/ 11082332 w 12188819"/>
              <a:gd name="connsiteY3" fmla="*/ 6580185 h 6857997"/>
              <a:gd name="connsiteX4" fmla="*/ 11099587 w 12188819"/>
              <a:gd name="connsiteY4" fmla="*/ 6580185 h 6857997"/>
              <a:gd name="connsiteX5" fmla="*/ 11114082 w 12188819"/>
              <a:gd name="connsiteY5" fmla="*/ 6586535 h 6857997"/>
              <a:gd name="connsiteX6" fmla="*/ 11100623 w 12188819"/>
              <a:gd name="connsiteY6" fmla="*/ 6592885 h 6857997"/>
              <a:gd name="connsiteX7" fmla="*/ 11082332 w 12188819"/>
              <a:gd name="connsiteY7" fmla="*/ 6592885 h 6857997"/>
              <a:gd name="connsiteX8" fmla="*/ 10714032 w 12188819"/>
              <a:gd name="connsiteY8" fmla="*/ 6580185 h 6857997"/>
              <a:gd name="connsiteX9" fmla="*/ 10733599 w 12188819"/>
              <a:gd name="connsiteY9" fmla="*/ 6580185 h 6857997"/>
              <a:gd name="connsiteX10" fmla="*/ 10747369 w 12188819"/>
              <a:gd name="connsiteY10" fmla="*/ 6585573 h 6857997"/>
              <a:gd name="connsiteX11" fmla="*/ 10733599 w 12188819"/>
              <a:gd name="connsiteY11" fmla="*/ 6591298 h 6857997"/>
              <a:gd name="connsiteX12" fmla="*/ 10714032 w 12188819"/>
              <a:gd name="connsiteY12" fmla="*/ 6591298 h 6857997"/>
              <a:gd name="connsiteX13" fmla="*/ 10918204 w 12188819"/>
              <a:gd name="connsiteY13" fmla="*/ 6578597 h 6857997"/>
              <a:gd name="connsiteX14" fmla="*/ 10937869 w 12188819"/>
              <a:gd name="connsiteY14" fmla="*/ 6595449 h 6857997"/>
              <a:gd name="connsiteX15" fmla="*/ 10918204 w 12188819"/>
              <a:gd name="connsiteY15" fmla="*/ 6611935 h 6857997"/>
              <a:gd name="connsiteX16" fmla="*/ 10898182 w 12188819"/>
              <a:gd name="connsiteY16" fmla="*/ 6595083 h 6857997"/>
              <a:gd name="connsiteX17" fmla="*/ 10918204 w 12188819"/>
              <a:gd name="connsiteY17" fmla="*/ 6578597 h 6857997"/>
              <a:gd name="connsiteX18" fmla="*/ 10651147 w 12188819"/>
              <a:gd name="connsiteY18" fmla="*/ 6578597 h 6857997"/>
              <a:gd name="connsiteX19" fmla="*/ 10671169 w 12188819"/>
              <a:gd name="connsiteY19" fmla="*/ 6595449 h 6857997"/>
              <a:gd name="connsiteX20" fmla="*/ 10651147 w 12188819"/>
              <a:gd name="connsiteY20" fmla="*/ 6611935 h 6857997"/>
              <a:gd name="connsiteX21" fmla="*/ 10631482 w 12188819"/>
              <a:gd name="connsiteY21" fmla="*/ 6595083 h 6857997"/>
              <a:gd name="connsiteX22" fmla="*/ 10651147 w 12188819"/>
              <a:gd name="connsiteY22" fmla="*/ 6578597 h 6857997"/>
              <a:gd name="connsiteX23" fmla="*/ 11280769 w 12188819"/>
              <a:gd name="connsiteY23" fmla="*/ 6570660 h 6857997"/>
              <a:gd name="connsiteX24" fmla="*/ 11309328 w 12188819"/>
              <a:gd name="connsiteY24" fmla="*/ 6598084 h 6857997"/>
              <a:gd name="connsiteX25" fmla="*/ 11309328 w 12188819"/>
              <a:gd name="connsiteY25" fmla="*/ 6619873 h 6857997"/>
              <a:gd name="connsiteX26" fmla="*/ 11324873 w 12188819"/>
              <a:gd name="connsiteY26" fmla="*/ 6619873 h 6857997"/>
              <a:gd name="connsiteX27" fmla="*/ 11324873 w 12188819"/>
              <a:gd name="connsiteY27" fmla="*/ 6598084 h 6857997"/>
              <a:gd name="connsiteX28" fmla="*/ 11353794 w 12188819"/>
              <a:gd name="connsiteY28" fmla="*/ 6570660 h 6857997"/>
              <a:gd name="connsiteX29" fmla="*/ 11335719 w 12188819"/>
              <a:gd name="connsiteY29" fmla="*/ 6570660 h 6857997"/>
              <a:gd name="connsiteX30" fmla="*/ 11316920 w 12188819"/>
              <a:gd name="connsiteY30" fmla="*/ 6589444 h 6857997"/>
              <a:gd name="connsiteX31" fmla="*/ 11298483 w 12188819"/>
              <a:gd name="connsiteY31" fmla="*/ 6570660 h 6857997"/>
              <a:gd name="connsiteX32" fmla="*/ 11210919 w 12188819"/>
              <a:gd name="connsiteY32" fmla="*/ 6570660 h 6857997"/>
              <a:gd name="connsiteX33" fmla="*/ 11210919 w 12188819"/>
              <a:gd name="connsiteY33" fmla="*/ 6619873 h 6857997"/>
              <a:gd name="connsiteX34" fmla="*/ 11227405 w 12188819"/>
              <a:gd name="connsiteY34" fmla="*/ 6619873 h 6857997"/>
              <a:gd name="connsiteX35" fmla="*/ 11226672 w 12188819"/>
              <a:gd name="connsiteY35" fmla="*/ 6582682 h 6857997"/>
              <a:gd name="connsiteX36" fmla="*/ 11259277 w 12188819"/>
              <a:gd name="connsiteY36" fmla="*/ 6619873 h 6857997"/>
              <a:gd name="connsiteX37" fmla="*/ 11277594 w 12188819"/>
              <a:gd name="connsiteY37" fmla="*/ 6619873 h 6857997"/>
              <a:gd name="connsiteX38" fmla="*/ 11277594 w 12188819"/>
              <a:gd name="connsiteY38" fmla="*/ 6570660 h 6857997"/>
              <a:gd name="connsiteX39" fmla="*/ 11261475 w 12188819"/>
              <a:gd name="connsiteY39" fmla="*/ 6570660 h 6857997"/>
              <a:gd name="connsiteX40" fmla="*/ 11262207 w 12188819"/>
              <a:gd name="connsiteY40" fmla="*/ 6605973 h 6857997"/>
              <a:gd name="connsiteX41" fmla="*/ 11231068 w 12188819"/>
              <a:gd name="connsiteY41" fmla="*/ 6570660 h 6857997"/>
              <a:gd name="connsiteX42" fmla="*/ 11158246 w 12188819"/>
              <a:gd name="connsiteY42" fmla="*/ 6570660 h 6857997"/>
              <a:gd name="connsiteX43" fmla="*/ 11126782 w 12188819"/>
              <a:gd name="connsiteY43" fmla="*/ 6619873 h 6857997"/>
              <a:gd name="connsiteX44" fmla="*/ 11143229 w 12188819"/>
              <a:gd name="connsiteY44" fmla="*/ 6619873 h 6857997"/>
              <a:gd name="connsiteX45" fmla="*/ 11150022 w 12188819"/>
              <a:gd name="connsiteY45" fmla="*/ 6608227 h 6857997"/>
              <a:gd name="connsiteX46" fmla="*/ 11181844 w 12188819"/>
              <a:gd name="connsiteY46" fmla="*/ 6608227 h 6857997"/>
              <a:gd name="connsiteX47" fmla="*/ 11188637 w 12188819"/>
              <a:gd name="connsiteY47" fmla="*/ 6619873 h 6857997"/>
              <a:gd name="connsiteX48" fmla="*/ 11206157 w 12188819"/>
              <a:gd name="connsiteY48" fmla="*/ 6619873 h 6857997"/>
              <a:gd name="connsiteX49" fmla="*/ 11174693 w 12188819"/>
              <a:gd name="connsiteY49" fmla="*/ 6570660 h 6857997"/>
              <a:gd name="connsiteX50" fmla="*/ 11066457 w 12188819"/>
              <a:gd name="connsiteY50" fmla="*/ 6570660 h 6857997"/>
              <a:gd name="connsiteX51" fmla="*/ 11066457 w 12188819"/>
              <a:gd name="connsiteY51" fmla="*/ 6619873 h 6857997"/>
              <a:gd name="connsiteX52" fmla="*/ 11081751 w 12188819"/>
              <a:gd name="connsiteY52" fmla="*/ 6619873 h 6857997"/>
              <a:gd name="connsiteX53" fmla="*/ 11081751 w 12188819"/>
              <a:gd name="connsiteY53" fmla="*/ 6602592 h 6857997"/>
              <a:gd name="connsiteX54" fmla="*/ 11100601 w 12188819"/>
              <a:gd name="connsiteY54" fmla="*/ 6602592 h 6857997"/>
              <a:gd name="connsiteX55" fmla="*/ 11123008 w 12188819"/>
              <a:gd name="connsiteY55" fmla="*/ 6599587 h 6857997"/>
              <a:gd name="connsiteX56" fmla="*/ 11131544 w 12188819"/>
              <a:gd name="connsiteY56" fmla="*/ 6586814 h 6857997"/>
              <a:gd name="connsiteX57" fmla="*/ 11121585 w 12188819"/>
              <a:gd name="connsiteY57" fmla="*/ 6573290 h 6857997"/>
              <a:gd name="connsiteX58" fmla="*/ 11099890 w 12188819"/>
              <a:gd name="connsiteY58" fmla="*/ 6570660 h 6857997"/>
              <a:gd name="connsiteX59" fmla="*/ 10966444 w 12188819"/>
              <a:gd name="connsiteY59" fmla="*/ 6570660 h 6857997"/>
              <a:gd name="connsiteX60" fmla="*/ 10966444 w 12188819"/>
              <a:gd name="connsiteY60" fmla="*/ 6619873 h 6857997"/>
              <a:gd name="connsiteX61" fmla="*/ 10982333 w 12188819"/>
              <a:gd name="connsiteY61" fmla="*/ 6619873 h 6857997"/>
              <a:gd name="connsiteX62" fmla="*/ 10980888 w 12188819"/>
              <a:gd name="connsiteY62" fmla="*/ 6581179 h 6857997"/>
              <a:gd name="connsiteX63" fmla="*/ 11000749 w 12188819"/>
              <a:gd name="connsiteY63" fmla="*/ 6619873 h 6857997"/>
              <a:gd name="connsiteX64" fmla="*/ 11017360 w 12188819"/>
              <a:gd name="connsiteY64" fmla="*/ 6619873 h 6857997"/>
              <a:gd name="connsiteX65" fmla="*/ 11036498 w 12188819"/>
              <a:gd name="connsiteY65" fmla="*/ 6581555 h 6857997"/>
              <a:gd name="connsiteX66" fmla="*/ 11035054 w 12188819"/>
              <a:gd name="connsiteY66" fmla="*/ 6619873 h 6857997"/>
              <a:gd name="connsiteX67" fmla="*/ 11050581 w 12188819"/>
              <a:gd name="connsiteY67" fmla="*/ 6619873 h 6857997"/>
              <a:gd name="connsiteX68" fmla="*/ 11050581 w 12188819"/>
              <a:gd name="connsiteY68" fmla="*/ 6570660 h 6857997"/>
              <a:gd name="connsiteX69" fmla="*/ 11027470 w 12188819"/>
              <a:gd name="connsiteY69" fmla="*/ 6570660 h 6857997"/>
              <a:gd name="connsiteX70" fmla="*/ 11008693 w 12188819"/>
              <a:gd name="connsiteY70" fmla="*/ 6608227 h 6857997"/>
              <a:gd name="connsiteX71" fmla="*/ 10989555 w 12188819"/>
              <a:gd name="connsiteY71" fmla="*/ 6570660 h 6857997"/>
              <a:gd name="connsiteX72" fmla="*/ 10918025 w 12188819"/>
              <a:gd name="connsiteY72" fmla="*/ 6570660 h 6857997"/>
              <a:gd name="connsiteX73" fmla="*/ 10880719 w 12188819"/>
              <a:gd name="connsiteY73" fmla="*/ 6594543 h 6857997"/>
              <a:gd name="connsiteX74" fmla="*/ 10918025 w 12188819"/>
              <a:gd name="connsiteY74" fmla="*/ 6619873 h 6857997"/>
              <a:gd name="connsiteX75" fmla="*/ 10955331 w 12188819"/>
              <a:gd name="connsiteY75" fmla="*/ 6595267 h 6857997"/>
              <a:gd name="connsiteX76" fmla="*/ 10918025 w 12188819"/>
              <a:gd name="connsiteY76" fmla="*/ 6570660 h 6857997"/>
              <a:gd name="connsiteX77" fmla="*/ 10848147 w 12188819"/>
              <a:gd name="connsiteY77" fmla="*/ 6570660 h 6857997"/>
              <a:gd name="connsiteX78" fmla="*/ 10812457 w 12188819"/>
              <a:gd name="connsiteY78" fmla="*/ 6596206 h 6857997"/>
              <a:gd name="connsiteX79" fmla="*/ 10824111 w 12188819"/>
              <a:gd name="connsiteY79" fmla="*/ 6615365 h 6857997"/>
              <a:gd name="connsiteX80" fmla="*/ 10847419 w 12188819"/>
              <a:gd name="connsiteY80" fmla="*/ 6619873 h 6857997"/>
              <a:gd name="connsiteX81" fmla="*/ 10874369 w 12188819"/>
              <a:gd name="connsiteY81" fmla="*/ 6619873 h 6857997"/>
              <a:gd name="connsiteX82" fmla="*/ 10874369 w 12188819"/>
              <a:gd name="connsiteY82" fmla="*/ 6611233 h 6857997"/>
              <a:gd name="connsiteX83" fmla="*/ 10848147 w 12188819"/>
              <a:gd name="connsiteY83" fmla="*/ 6611233 h 6857997"/>
              <a:gd name="connsiteX84" fmla="*/ 10829938 w 12188819"/>
              <a:gd name="connsiteY84" fmla="*/ 6596582 h 6857997"/>
              <a:gd name="connsiteX85" fmla="*/ 10848147 w 12188819"/>
              <a:gd name="connsiteY85" fmla="*/ 6579301 h 6857997"/>
              <a:gd name="connsiteX86" fmla="*/ 10874369 w 12188819"/>
              <a:gd name="connsiteY86" fmla="*/ 6579301 h 6857997"/>
              <a:gd name="connsiteX87" fmla="*/ 10874369 w 12188819"/>
              <a:gd name="connsiteY87" fmla="*/ 6570660 h 6857997"/>
              <a:gd name="connsiteX88" fmla="*/ 10698157 w 12188819"/>
              <a:gd name="connsiteY88" fmla="*/ 6570660 h 6857997"/>
              <a:gd name="connsiteX89" fmla="*/ 10698157 w 12188819"/>
              <a:gd name="connsiteY89" fmla="*/ 6619873 h 6857997"/>
              <a:gd name="connsiteX90" fmla="*/ 10714049 w 12188819"/>
              <a:gd name="connsiteY90" fmla="*/ 6619873 h 6857997"/>
              <a:gd name="connsiteX91" fmla="*/ 10714049 w 12188819"/>
              <a:gd name="connsiteY91" fmla="*/ 6600714 h 6857997"/>
              <a:gd name="connsiteX92" fmla="*/ 10733267 w 12188819"/>
              <a:gd name="connsiteY92" fmla="*/ 6600714 h 6857997"/>
              <a:gd name="connsiteX93" fmla="*/ 10749898 w 12188819"/>
              <a:gd name="connsiteY93" fmla="*/ 6619873 h 6857997"/>
              <a:gd name="connsiteX94" fmla="*/ 10768007 w 12188819"/>
              <a:gd name="connsiteY94" fmla="*/ 6619873 h 6857997"/>
              <a:gd name="connsiteX95" fmla="*/ 10749159 w 12188819"/>
              <a:gd name="connsiteY95" fmla="*/ 6599211 h 6857997"/>
              <a:gd name="connsiteX96" fmla="*/ 10764311 w 12188819"/>
              <a:gd name="connsiteY96" fmla="*/ 6585687 h 6857997"/>
              <a:gd name="connsiteX97" fmla="*/ 10737702 w 12188819"/>
              <a:gd name="connsiteY97" fmla="*/ 6570660 h 6857997"/>
              <a:gd name="connsiteX98" fmla="*/ 10651325 w 12188819"/>
              <a:gd name="connsiteY98" fmla="*/ 6570660 h 6857997"/>
              <a:gd name="connsiteX99" fmla="*/ 10614019 w 12188819"/>
              <a:gd name="connsiteY99" fmla="*/ 6594543 h 6857997"/>
              <a:gd name="connsiteX100" fmla="*/ 10651325 w 12188819"/>
              <a:gd name="connsiteY100" fmla="*/ 6619873 h 6857997"/>
              <a:gd name="connsiteX101" fmla="*/ 10688631 w 12188819"/>
              <a:gd name="connsiteY101" fmla="*/ 6595267 h 6857997"/>
              <a:gd name="connsiteX102" fmla="*/ 10651325 w 12188819"/>
              <a:gd name="connsiteY102" fmla="*/ 6570660 h 6857997"/>
              <a:gd name="connsiteX103" fmla="*/ 10561891 w 12188819"/>
              <a:gd name="connsiteY103" fmla="*/ 6570660 h 6857997"/>
              <a:gd name="connsiteX104" fmla="*/ 10536232 w 12188819"/>
              <a:gd name="connsiteY104" fmla="*/ 6585687 h 6857997"/>
              <a:gd name="connsiteX105" fmla="*/ 10560822 w 12188819"/>
              <a:gd name="connsiteY105" fmla="*/ 6599963 h 6857997"/>
              <a:gd name="connsiteX106" fmla="*/ 10578997 w 12188819"/>
              <a:gd name="connsiteY106" fmla="*/ 6599963 h 6857997"/>
              <a:gd name="connsiteX107" fmla="*/ 10590045 w 12188819"/>
              <a:gd name="connsiteY107" fmla="*/ 6605598 h 6857997"/>
              <a:gd name="connsiteX108" fmla="*/ 10577928 w 12188819"/>
              <a:gd name="connsiteY108" fmla="*/ 6611233 h 6857997"/>
              <a:gd name="connsiteX109" fmla="*/ 10539083 w 12188819"/>
              <a:gd name="connsiteY109" fmla="*/ 6611233 h 6857997"/>
              <a:gd name="connsiteX110" fmla="*/ 10539083 w 12188819"/>
              <a:gd name="connsiteY110" fmla="*/ 6619873 h 6857997"/>
              <a:gd name="connsiteX111" fmla="*/ 10580423 w 12188819"/>
              <a:gd name="connsiteY111" fmla="*/ 6619873 h 6857997"/>
              <a:gd name="connsiteX112" fmla="*/ 10606082 w 12188819"/>
              <a:gd name="connsiteY112" fmla="*/ 6605222 h 6857997"/>
              <a:gd name="connsiteX113" fmla="*/ 10582561 w 12188819"/>
              <a:gd name="connsiteY113" fmla="*/ 6591322 h 6857997"/>
              <a:gd name="connsiteX114" fmla="*/ 10562248 w 12188819"/>
              <a:gd name="connsiteY114" fmla="*/ 6591322 h 6857997"/>
              <a:gd name="connsiteX115" fmla="*/ 10552269 w 12188819"/>
              <a:gd name="connsiteY115" fmla="*/ 6586063 h 6857997"/>
              <a:gd name="connsiteX116" fmla="*/ 10564386 w 12188819"/>
              <a:gd name="connsiteY116" fmla="*/ 6579676 h 6857997"/>
              <a:gd name="connsiteX117" fmla="*/ 10602518 w 12188819"/>
              <a:gd name="connsiteY117" fmla="*/ 6579676 h 6857997"/>
              <a:gd name="connsiteX118" fmla="*/ 10602518 w 12188819"/>
              <a:gd name="connsiteY118" fmla="*/ 6570660 h 6857997"/>
              <a:gd name="connsiteX119" fmla="*/ 10458444 w 12188819"/>
              <a:gd name="connsiteY119" fmla="*/ 6570660 h 6857997"/>
              <a:gd name="connsiteX120" fmla="*/ 10458444 w 12188819"/>
              <a:gd name="connsiteY120" fmla="*/ 6619873 h 6857997"/>
              <a:gd name="connsiteX121" fmla="*/ 10474930 w 12188819"/>
              <a:gd name="connsiteY121" fmla="*/ 6619873 h 6857997"/>
              <a:gd name="connsiteX122" fmla="*/ 10474197 w 12188819"/>
              <a:gd name="connsiteY122" fmla="*/ 6582682 h 6857997"/>
              <a:gd name="connsiteX123" fmla="*/ 10506802 w 12188819"/>
              <a:gd name="connsiteY123" fmla="*/ 6619873 h 6857997"/>
              <a:gd name="connsiteX124" fmla="*/ 10525119 w 12188819"/>
              <a:gd name="connsiteY124" fmla="*/ 6619873 h 6857997"/>
              <a:gd name="connsiteX125" fmla="*/ 10525119 w 12188819"/>
              <a:gd name="connsiteY125" fmla="*/ 6570660 h 6857997"/>
              <a:gd name="connsiteX126" fmla="*/ 10509000 w 12188819"/>
              <a:gd name="connsiteY126" fmla="*/ 6570660 h 6857997"/>
              <a:gd name="connsiteX127" fmla="*/ 10509732 w 12188819"/>
              <a:gd name="connsiteY127" fmla="*/ 6605973 h 6857997"/>
              <a:gd name="connsiteX128" fmla="*/ 10478593 w 12188819"/>
              <a:gd name="connsiteY128" fmla="*/ 6570660 h 6857997"/>
              <a:gd name="connsiteX129" fmla="*/ 10418456 w 12188819"/>
              <a:gd name="connsiteY129" fmla="*/ 6570660 h 6857997"/>
              <a:gd name="connsiteX130" fmla="*/ 10383832 w 12188819"/>
              <a:gd name="connsiteY130" fmla="*/ 6596206 h 6857997"/>
              <a:gd name="connsiteX131" fmla="*/ 10395254 w 12188819"/>
              <a:gd name="connsiteY131" fmla="*/ 6615365 h 6857997"/>
              <a:gd name="connsiteX132" fmla="*/ 10418099 w 12188819"/>
              <a:gd name="connsiteY132" fmla="*/ 6619873 h 6857997"/>
              <a:gd name="connsiteX133" fmla="*/ 10444157 w 12188819"/>
              <a:gd name="connsiteY133" fmla="*/ 6619873 h 6857997"/>
              <a:gd name="connsiteX134" fmla="*/ 10444157 w 12188819"/>
              <a:gd name="connsiteY134" fmla="*/ 6611233 h 6857997"/>
              <a:gd name="connsiteX135" fmla="*/ 10418813 w 12188819"/>
              <a:gd name="connsiteY135" fmla="*/ 6611233 h 6857997"/>
              <a:gd name="connsiteX136" fmla="*/ 10401323 w 12188819"/>
              <a:gd name="connsiteY136" fmla="*/ 6599211 h 6857997"/>
              <a:gd name="connsiteX137" fmla="*/ 10444157 w 12188819"/>
              <a:gd name="connsiteY137" fmla="*/ 6599211 h 6857997"/>
              <a:gd name="connsiteX138" fmla="*/ 10444157 w 12188819"/>
              <a:gd name="connsiteY138" fmla="*/ 6590571 h 6857997"/>
              <a:gd name="connsiteX139" fmla="*/ 10401323 w 12188819"/>
              <a:gd name="connsiteY139" fmla="*/ 6590571 h 6857997"/>
              <a:gd name="connsiteX140" fmla="*/ 10418813 w 12188819"/>
              <a:gd name="connsiteY140" fmla="*/ 6579301 h 6857997"/>
              <a:gd name="connsiteX141" fmla="*/ 10444157 w 12188819"/>
              <a:gd name="connsiteY141" fmla="*/ 6579301 h 6857997"/>
              <a:gd name="connsiteX142" fmla="*/ 10444157 w 12188819"/>
              <a:gd name="connsiteY142" fmla="*/ 6570660 h 6857997"/>
              <a:gd name="connsiteX143" fmla="*/ 10332060 w 12188819"/>
              <a:gd name="connsiteY143" fmla="*/ 6570660 h 6857997"/>
              <a:gd name="connsiteX144" fmla="*/ 10306044 w 12188819"/>
              <a:gd name="connsiteY144" fmla="*/ 6585687 h 6857997"/>
              <a:gd name="connsiteX145" fmla="*/ 10330634 w 12188819"/>
              <a:gd name="connsiteY145" fmla="*/ 6599963 h 6857997"/>
              <a:gd name="connsiteX146" fmla="*/ 10348809 w 12188819"/>
              <a:gd name="connsiteY146" fmla="*/ 6599963 h 6857997"/>
              <a:gd name="connsiteX147" fmla="*/ 10359857 w 12188819"/>
              <a:gd name="connsiteY147" fmla="*/ 6605598 h 6857997"/>
              <a:gd name="connsiteX148" fmla="*/ 10347740 w 12188819"/>
              <a:gd name="connsiteY148" fmla="*/ 6611233 h 6857997"/>
              <a:gd name="connsiteX149" fmla="*/ 10308895 w 12188819"/>
              <a:gd name="connsiteY149" fmla="*/ 6611233 h 6857997"/>
              <a:gd name="connsiteX150" fmla="*/ 10308895 w 12188819"/>
              <a:gd name="connsiteY150" fmla="*/ 6619873 h 6857997"/>
              <a:gd name="connsiteX151" fmla="*/ 10350235 w 12188819"/>
              <a:gd name="connsiteY151" fmla="*/ 6619873 h 6857997"/>
              <a:gd name="connsiteX152" fmla="*/ 10375894 w 12188819"/>
              <a:gd name="connsiteY152" fmla="*/ 6605222 h 6857997"/>
              <a:gd name="connsiteX153" fmla="*/ 10352373 w 12188819"/>
              <a:gd name="connsiteY153" fmla="*/ 6591322 h 6857997"/>
              <a:gd name="connsiteX154" fmla="*/ 10332060 w 12188819"/>
              <a:gd name="connsiteY154" fmla="*/ 6591322 h 6857997"/>
              <a:gd name="connsiteX155" fmla="*/ 10322437 w 12188819"/>
              <a:gd name="connsiteY155" fmla="*/ 6586063 h 6857997"/>
              <a:gd name="connsiteX156" fmla="*/ 10334198 w 12188819"/>
              <a:gd name="connsiteY156" fmla="*/ 6579676 h 6857997"/>
              <a:gd name="connsiteX157" fmla="*/ 10372330 w 12188819"/>
              <a:gd name="connsiteY157" fmla="*/ 6579676 h 6857997"/>
              <a:gd name="connsiteX158" fmla="*/ 10372330 w 12188819"/>
              <a:gd name="connsiteY158" fmla="*/ 6570660 h 6857997"/>
              <a:gd name="connsiteX159" fmla="*/ 10229543 w 12188819"/>
              <a:gd name="connsiteY159" fmla="*/ 6570660 h 6857997"/>
              <a:gd name="connsiteX160" fmla="*/ 10194919 w 12188819"/>
              <a:gd name="connsiteY160" fmla="*/ 6596206 h 6857997"/>
              <a:gd name="connsiteX161" fmla="*/ 10205985 w 12188819"/>
              <a:gd name="connsiteY161" fmla="*/ 6615365 h 6857997"/>
              <a:gd name="connsiteX162" fmla="*/ 10229186 w 12188819"/>
              <a:gd name="connsiteY162" fmla="*/ 6619873 h 6857997"/>
              <a:gd name="connsiteX163" fmla="*/ 10255244 w 12188819"/>
              <a:gd name="connsiteY163" fmla="*/ 6619873 h 6857997"/>
              <a:gd name="connsiteX164" fmla="*/ 10255244 w 12188819"/>
              <a:gd name="connsiteY164" fmla="*/ 6611233 h 6857997"/>
              <a:gd name="connsiteX165" fmla="*/ 10229900 w 12188819"/>
              <a:gd name="connsiteY165" fmla="*/ 6611233 h 6857997"/>
              <a:gd name="connsiteX166" fmla="*/ 10212410 w 12188819"/>
              <a:gd name="connsiteY166" fmla="*/ 6599211 h 6857997"/>
              <a:gd name="connsiteX167" fmla="*/ 10255244 w 12188819"/>
              <a:gd name="connsiteY167" fmla="*/ 6599211 h 6857997"/>
              <a:gd name="connsiteX168" fmla="*/ 10255244 w 12188819"/>
              <a:gd name="connsiteY168" fmla="*/ 6590571 h 6857997"/>
              <a:gd name="connsiteX169" fmla="*/ 10212410 w 12188819"/>
              <a:gd name="connsiteY169" fmla="*/ 6590571 h 6857997"/>
              <a:gd name="connsiteX170" fmla="*/ 10229900 w 12188819"/>
              <a:gd name="connsiteY170" fmla="*/ 6579301 h 6857997"/>
              <a:gd name="connsiteX171" fmla="*/ 10255244 w 12188819"/>
              <a:gd name="connsiteY171" fmla="*/ 6579301 h 6857997"/>
              <a:gd name="connsiteX172" fmla="*/ 10255244 w 12188819"/>
              <a:gd name="connsiteY172" fmla="*/ 6570660 h 6857997"/>
              <a:gd name="connsiteX173" fmla="*/ 10123482 w 12188819"/>
              <a:gd name="connsiteY173" fmla="*/ 6570660 h 6857997"/>
              <a:gd name="connsiteX174" fmla="*/ 10123482 w 12188819"/>
              <a:gd name="connsiteY174" fmla="*/ 6619873 h 6857997"/>
              <a:gd name="connsiteX175" fmla="*/ 10139108 w 12188819"/>
              <a:gd name="connsiteY175" fmla="*/ 6619873 h 6857997"/>
              <a:gd name="connsiteX176" fmla="*/ 10139108 w 12188819"/>
              <a:gd name="connsiteY176" fmla="*/ 6599211 h 6857997"/>
              <a:gd name="connsiteX177" fmla="*/ 10168181 w 12188819"/>
              <a:gd name="connsiteY177" fmla="*/ 6599211 h 6857997"/>
              <a:gd name="connsiteX178" fmla="*/ 10168181 w 12188819"/>
              <a:gd name="connsiteY178" fmla="*/ 6619873 h 6857997"/>
              <a:gd name="connsiteX179" fmla="*/ 10183807 w 12188819"/>
              <a:gd name="connsiteY179" fmla="*/ 6619873 h 6857997"/>
              <a:gd name="connsiteX180" fmla="*/ 10183807 w 12188819"/>
              <a:gd name="connsiteY180" fmla="*/ 6570660 h 6857997"/>
              <a:gd name="connsiteX181" fmla="*/ 10168181 w 12188819"/>
              <a:gd name="connsiteY181" fmla="*/ 6570660 h 6857997"/>
              <a:gd name="connsiteX182" fmla="*/ 10168181 w 12188819"/>
              <a:gd name="connsiteY182" fmla="*/ 6590571 h 6857997"/>
              <a:gd name="connsiteX183" fmla="*/ 10139108 w 12188819"/>
              <a:gd name="connsiteY183" fmla="*/ 6590571 h 6857997"/>
              <a:gd name="connsiteX184" fmla="*/ 10139108 w 12188819"/>
              <a:gd name="connsiteY184" fmla="*/ 6570660 h 6857997"/>
              <a:gd name="connsiteX185" fmla="*/ 10050457 w 12188819"/>
              <a:gd name="connsiteY185" fmla="*/ 6570660 h 6857997"/>
              <a:gd name="connsiteX186" fmla="*/ 10050457 w 12188819"/>
              <a:gd name="connsiteY186" fmla="*/ 6578989 h 6857997"/>
              <a:gd name="connsiteX187" fmla="*/ 10074819 w 12188819"/>
              <a:gd name="connsiteY187" fmla="*/ 6578989 h 6857997"/>
              <a:gd name="connsiteX188" fmla="*/ 10074819 w 12188819"/>
              <a:gd name="connsiteY188" fmla="*/ 6619873 h 6857997"/>
              <a:gd name="connsiteX189" fmla="*/ 10090818 w 12188819"/>
              <a:gd name="connsiteY189" fmla="*/ 6619873 h 6857997"/>
              <a:gd name="connsiteX190" fmla="*/ 10090818 w 12188819"/>
              <a:gd name="connsiteY190" fmla="*/ 6578989 h 6857997"/>
              <a:gd name="connsiteX191" fmla="*/ 10115544 w 12188819"/>
              <a:gd name="connsiteY191" fmla="*/ 6578989 h 6857997"/>
              <a:gd name="connsiteX192" fmla="*/ 10115544 w 12188819"/>
              <a:gd name="connsiteY192" fmla="*/ 6570660 h 6857997"/>
              <a:gd name="connsiteX193" fmla="*/ 2164817 w 12188819"/>
              <a:gd name="connsiteY193" fmla="*/ 6506714 h 6857997"/>
              <a:gd name="connsiteX194" fmla="*/ 2164817 w 12188819"/>
              <a:gd name="connsiteY194" fmla="*/ 6521015 h 6857997"/>
              <a:gd name="connsiteX195" fmla="*/ 2170608 w 12188819"/>
              <a:gd name="connsiteY195" fmla="*/ 6521015 h 6857997"/>
              <a:gd name="connsiteX196" fmla="*/ 2168864 w 12188819"/>
              <a:gd name="connsiteY196" fmla="*/ 6530887 h 6857997"/>
              <a:gd name="connsiteX197" fmla="*/ 2164120 w 12188819"/>
              <a:gd name="connsiteY197" fmla="*/ 6535875 h 6857997"/>
              <a:gd name="connsiteX198" fmla="*/ 2166980 w 12188819"/>
              <a:gd name="connsiteY198" fmla="*/ 6541247 h 6857997"/>
              <a:gd name="connsiteX199" fmla="*/ 2174096 w 12188819"/>
              <a:gd name="connsiteY199" fmla="*/ 6534026 h 6857997"/>
              <a:gd name="connsiteX200" fmla="*/ 2176538 w 12188819"/>
              <a:gd name="connsiteY200" fmla="*/ 6521015 h 6857997"/>
              <a:gd name="connsiteX201" fmla="*/ 2176538 w 12188819"/>
              <a:gd name="connsiteY201" fmla="*/ 6506714 h 6857997"/>
              <a:gd name="connsiteX202" fmla="*/ 6291676 w 12188819"/>
              <a:gd name="connsiteY202" fmla="*/ 6483831 h 6857997"/>
              <a:gd name="connsiteX203" fmla="*/ 6291676 w 12188819"/>
              <a:gd name="connsiteY203" fmla="*/ 6488436 h 6857997"/>
              <a:gd name="connsiteX204" fmla="*/ 6289444 w 12188819"/>
              <a:gd name="connsiteY204" fmla="*/ 6502354 h 6857997"/>
              <a:gd name="connsiteX205" fmla="*/ 6282711 w 12188819"/>
              <a:gd name="connsiteY205" fmla="*/ 6509993 h 6857997"/>
              <a:gd name="connsiteX206" fmla="*/ 6272700 w 12188819"/>
              <a:gd name="connsiteY206" fmla="*/ 6512853 h 6857997"/>
              <a:gd name="connsiteX207" fmla="*/ 6263631 w 12188819"/>
              <a:gd name="connsiteY207" fmla="*/ 6509679 h 6857997"/>
              <a:gd name="connsiteX208" fmla="*/ 6260352 w 12188819"/>
              <a:gd name="connsiteY208" fmla="*/ 6501203 h 6857997"/>
              <a:gd name="connsiteX209" fmla="*/ 6261782 w 12188819"/>
              <a:gd name="connsiteY209" fmla="*/ 6495168 h 6857997"/>
              <a:gd name="connsiteX210" fmla="*/ 6265794 w 12188819"/>
              <a:gd name="connsiteY210" fmla="*/ 6491122 h 6857997"/>
              <a:gd name="connsiteX211" fmla="*/ 6274863 w 12188819"/>
              <a:gd name="connsiteY211" fmla="*/ 6488575 h 6857997"/>
              <a:gd name="connsiteX212" fmla="*/ 6291676 w 12188819"/>
              <a:gd name="connsiteY212" fmla="*/ 6483831 h 6857997"/>
              <a:gd name="connsiteX213" fmla="*/ 2657736 w 12188819"/>
              <a:gd name="connsiteY213" fmla="*/ 6483831 h 6857997"/>
              <a:gd name="connsiteX214" fmla="*/ 2657736 w 12188819"/>
              <a:gd name="connsiteY214" fmla="*/ 6488436 h 6857997"/>
              <a:gd name="connsiteX215" fmla="*/ 2655504 w 12188819"/>
              <a:gd name="connsiteY215" fmla="*/ 6502354 h 6857997"/>
              <a:gd name="connsiteX216" fmla="*/ 2648771 w 12188819"/>
              <a:gd name="connsiteY216" fmla="*/ 6509993 h 6857997"/>
              <a:gd name="connsiteX217" fmla="*/ 2638760 w 12188819"/>
              <a:gd name="connsiteY217" fmla="*/ 6512853 h 6857997"/>
              <a:gd name="connsiteX218" fmla="*/ 2629691 w 12188819"/>
              <a:gd name="connsiteY218" fmla="*/ 6509679 h 6857997"/>
              <a:gd name="connsiteX219" fmla="*/ 2626412 w 12188819"/>
              <a:gd name="connsiteY219" fmla="*/ 6501203 h 6857997"/>
              <a:gd name="connsiteX220" fmla="*/ 2627843 w 12188819"/>
              <a:gd name="connsiteY220" fmla="*/ 6495168 h 6857997"/>
              <a:gd name="connsiteX221" fmla="*/ 2631854 w 12188819"/>
              <a:gd name="connsiteY221" fmla="*/ 6491122 h 6857997"/>
              <a:gd name="connsiteX222" fmla="*/ 2640923 w 12188819"/>
              <a:gd name="connsiteY222" fmla="*/ 6488575 h 6857997"/>
              <a:gd name="connsiteX223" fmla="*/ 2657736 w 12188819"/>
              <a:gd name="connsiteY223" fmla="*/ 6483831 h 6857997"/>
              <a:gd name="connsiteX224" fmla="*/ 6087293 w 12188819"/>
              <a:gd name="connsiteY224" fmla="*/ 6455577 h 6857997"/>
              <a:gd name="connsiteX225" fmla="*/ 6099920 w 12188819"/>
              <a:gd name="connsiteY225" fmla="*/ 6462484 h 6857997"/>
              <a:gd name="connsiteX226" fmla="*/ 6104036 w 12188819"/>
              <a:gd name="connsiteY226" fmla="*/ 6476855 h 6857997"/>
              <a:gd name="connsiteX227" fmla="*/ 6070131 w 12188819"/>
              <a:gd name="connsiteY227" fmla="*/ 6476855 h 6857997"/>
              <a:gd name="connsiteX228" fmla="*/ 6075503 w 12188819"/>
              <a:gd name="connsiteY228" fmla="*/ 6461333 h 6857997"/>
              <a:gd name="connsiteX229" fmla="*/ 6087293 w 12188819"/>
              <a:gd name="connsiteY229" fmla="*/ 6455577 h 6857997"/>
              <a:gd name="connsiteX230" fmla="*/ 6018396 w 12188819"/>
              <a:gd name="connsiteY230" fmla="*/ 6455577 h 6857997"/>
              <a:gd name="connsiteX231" fmla="*/ 6030542 w 12188819"/>
              <a:gd name="connsiteY231" fmla="*/ 6462728 h 6857997"/>
              <a:gd name="connsiteX232" fmla="*/ 6035359 w 12188819"/>
              <a:gd name="connsiteY232" fmla="*/ 6485436 h 6857997"/>
              <a:gd name="connsiteX233" fmla="*/ 6030542 w 12188819"/>
              <a:gd name="connsiteY233" fmla="*/ 6505667 h 6857997"/>
              <a:gd name="connsiteX234" fmla="*/ 6019164 w 12188819"/>
              <a:gd name="connsiteY234" fmla="*/ 6512365 h 6857997"/>
              <a:gd name="connsiteX235" fmla="*/ 6007542 w 12188819"/>
              <a:gd name="connsiteY235" fmla="*/ 6505388 h 6857997"/>
              <a:gd name="connsiteX236" fmla="*/ 6002549 w 12188819"/>
              <a:gd name="connsiteY236" fmla="*/ 6484041 h 6857997"/>
              <a:gd name="connsiteX237" fmla="*/ 6007227 w 12188819"/>
              <a:gd name="connsiteY237" fmla="*/ 6462449 h 6857997"/>
              <a:gd name="connsiteX238" fmla="*/ 6018396 w 12188819"/>
              <a:gd name="connsiteY238" fmla="*/ 6455577 h 6857997"/>
              <a:gd name="connsiteX239" fmla="*/ 5829560 w 12188819"/>
              <a:gd name="connsiteY239" fmla="*/ 6455577 h 6857997"/>
              <a:gd name="connsiteX240" fmla="*/ 5842536 w 12188819"/>
              <a:gd name="connsiteY240" fmla="*/ 6462597 h 6857997"/>
              <a:gd name="connsiteX241" fmla="*/ 5847768 w 12188819"/>
              <a:gd name="connsiteY241" fmla="*/ 6483936 h 6857997"/>
              <a:gd name="connsiteX242" fmla="*/ 5842571 w 12188819"/>
              <a:gd name="connsiteY242" fmla="*/ 6505275 h 6857997"/>
              <a:gd name="connsiteX243" fmla="*/ 5830118 w 12188819"/>
              <a:gd name="connsiteY243" fmla="*/ 6512365 h 6857997"/>
              <a:gd name="connsiteX244" fmla="*/ 5817143 w 12188819"/>
              <a:gd name="connsiteY244" fmla="*/ 6505345 h 6857997"/>
              <a:gd name="connsiteX245" fmla="*/ 5811910 w 12188819"/>
              <a:gd name="connsiteY245" fmla="*/ 6483936 h 6857997"/>
              <a:gd name="connsiteX246" fmla="*/ 5817072 w 12188819"/>
              <a:gd name="connsiteY246" fmla="*/ 6462632 h 6857997"/>
              <a:gd name="connsiteX247" fmla="*/ 5829560 w 12188819"/>
              <a:gd name="connsiteY247" fmla="*/ 6455577 h 6857997"/>
              <a:gd name="connsiteX248" fmla="*/ 2774981 w 12188819"/>
              <a:gd name="connsiteY248" fmla="*/ 6455577 h 6857997"/>
              <a:gd name="connsiteX249" fmla="*/ 2787127 w 12188819"/>
              <a:gd name="connsiteY249" fmla="*/ 6462728 h 6857997"/>
              <a:gd name="connsiteX250" fmla="*/ 2791944 w 12188819"/>
              <a:gd name="connsiteY250" fmla="*/ 6485436 h 6857997"/>
              <a:gd name="connsiteX251" fmla="*/ 2787127 w 12188819"/>
              <a:gd name="connsiteY251" fmla="*/ 6505667 h 6857997"/>
              <a:gd name="connsiteX252" fmla="*/ 2775749 w 12188819"/>
              <a:gd name="connsiteY252" fmla="*/ 6512365 h 6857997"/>
              <a:gd name="connsiteX253" fmla="*/ 2764126 w 12188819"/>
              <a:gd name="connsiteY253" fmla="*/ 6505388 h 6857997"/>
              <a:gd name="connsiteX254" fmla="*/ 2759134 w 12188819"/>
              <a:gd name="connsiteY254" fmla="*/ 6484041 h 6857997"/>
              <a:gd name="connsiteX255" fmla="*/ 2763811 w 12188819"/>
              <a:gd name="connsiteY255" fmla="*/ 6462449 h 6857997"/>
              <a:gd name="connsiteX256" fmla="*/ 2774981 w 12188819"/>
              <a:gd name="connsiteY256" fmla="*/ 6455577 h 6857997"/>
              <a:gd name="connsiteX257" fmla="*/ 2510503 w 12188819"/>
              <a:gd name="connsiteY257" fmla="*/ 6455577 h 6857997"/>
              <a:gd name="connsiteX258" fmla="*/ 2523130 w 12188819"/>
              <a:gd name="connsiteY258" fmla="*/ 6462484 h 6857997"/>
              <a:gd name="connsiteX259" fmla="*/ 2527246 w 12188819"/>
              <a:gd name="connsiteY259" fmla="*/ 6476855 h 6857997"/>
              <a:gd name="connsiteX260" fmla="*/ 2493341 w 12188819"/>
              <a:gd name="connsiteY260" fmla="*/ 6476855 h 6857997"/>
              <a:gd name="connsiteX261" fmla="*/ 2498713 w 12188819"/>
              <a:gd name="connsiteY261" fmla="*/ 6461333 h 6857997"/>
              <a:gd name="connsiteX262" fmla="*/ 2510503 w 12188819"/>
              <a:gd name="connsiteY262" fmla="*/ 6455577 h 6857997"/>
              <a:gd name="connsiteX263" fmla="*/ 1871770 w 12188819"/>
              <a:gd name="connsiteY263" fmla="*/ 6455577 h 6857997"/>
              <a:gd name="connsiteX264" fmla="*/ 1884746 w 12188819"/>
              <a:gd name="connsiteY264" fmla="*/ 6462597 h 6857997"/>
              <a:gd name="connsiteX265" fmla="*/ 1889978 w 12188819"/>
              <a:gd name="connsiteY265" fmla="*/ 6483936 h 6857997"/>
              <a:gd name="connsiteX266" fmla="*/ 1884781 w 12188819"/>
              <a:gd name="connsiteY266" fmla="*/ 6505275 h 6857997"/>
              <a:gd name="connsiteX267" fmla="*/ 1872328 w 12188819"/>
              <a:gd name="connsiteY267" fmla="*/ 6512365 h 6857997"/>
              <a:gd name="connsiteX268" fmla="*/ 1859352 w 12188819"/>
              <a:gd name="connsiteY268" fmla="*/ 6505345 h 6857997"/>
              <a:gd name="connsiteX269" fmla="*/ 1854120 w 12188819"/>
              <a:gd name="connsiteY269" fmla="*/ 6483936 h 6857997"/>
              <a:gd name="connsiteX270" fmla="*/ 1859282 w 12188819"/>
              <a:gd name="connsiteY270" fmla="*/ 6462632 h 6857997"/>
              <a:gd name="connsiteX271" fmla="*/ 1871770 w 12188819"/>
              <a:gd name="connsiteY271" fmla="*/ 6455577 h 6857997"/>
              <a:gd name="connsiteX272" fmla="*/ 1586578 w 12188819"/>
              <a:gd name="connsiteY272" fmla="*/ 6455577 h 6857997"/>
              <a:gd name="connsiteX273" fmla="*/ 1599205 w 12188819"/>
              <a:gd name="connsiteY273" fmla="*/ 6462484 h 6857997"/>
              <a:gd name="connsiteX274" fmla="*/ 1603321 w 12188819"/>
              <a:gd name="connsiteY274" fmla="*/ 6476855 h 6857997"/>
              <a:gd name="connsiteX275" fmla="*/ 1569416 w 12188819"/>
              <a:gd name="connsiteY275" fmla="*/ 6476855 h 6857997"/>
              <a:gd name="connsiteX276" fmla="*/ 1574788 w 12188819"/>
              <a:gd name="connsiteY276" fmla="*/ 6461333 h 6857997"/>
              <a:gd name="connsiteX277" fmla="*/ 1586578 w 12188819"/>
              <a:gd name="connsiteY277" fmla="*/ 6455577 h 6857997"/>
              <a:gd name="connsiteX278" fmla="*/ 1317679 w 12188819"/>
              <a:gd name="connsiteY278" fmla="*/ 6455577 h 6857997"/>
              <a:gd name="connsiteX279" fmla="*/ 1329914 w 12188819"/>
              <a:gd name="connsiteY279" fmla="*/ 6462397 h 6857997"/>
              <a:gd name="connsiteX280" fmla="*/ 1334947 w 12188819"/>
              <a:gd name="connsiteY280" fmla="*/ 6483204 h 6857997"/>
              <a:gd name="connsiteX281" fmla="*/ 1330053 w 12188819"/>
              <a:gd name="connsiteY281" fmla="*/ 6504116 h 6857997"/>
              <a:gd name="connsiteX282" fmla="*/ 1318169 w 12188819"/>
              <a:gd name="connsiteY282" fmla="*/ 6510690 h 6857997"/>
              <a:gd name="connsiteX283" fmla="*/ 1306354 w 12188819"/>
              <a:gd name="connsiteY283" fmla="*/ 6503976 h 6857997"/>
              <a:gd name="connsiteX284" fmla="*/ 1301530 w 12188819"/>
              <a:gd name="connsiteY284" fmla="*/ 6482644 h 6857997"/>
              <a:gd name="connsiteX285" fmla="*/ 1306389 w 12188819"/>
              <a:gd name="connsiteY285" fmla="*/ 6462397 h 6857997"/>
              <a:gd name="connsiteX286" fmla="*/ 1317679 w 12188819"/>
              <a:gd name="connsiteY286" fmla="*/ 6455577 h 6857997"/>
              <a:gd name="connsiteX287" fmla="*/ 1071670 w 12188819"/>
              <a:gd name="connsiteY287" fmla="*/ 6455577 h 6857997"/>
              <a:gd name="connsiteX288" fmla="*/ 1084646 w 12188819"/>
              <a:gd name="connsiteY288" fmla="*/ 6462597 h 6857997"/>
              <a:gd name="connsiteX289" fmla="*/ 1089878 w 12188819"/>
              <a:gd name="connsiteY289" fmla="*/ 6483936 h 6857997"/>
              <a:gd name="connsiteX290" fmla="*/ 1084681 w 12188819"/>
              <a:gd name="connsiteY290" fmla="*/ 6505275 h 6857997"/>
              <a:gd name="connsiteX291" fmla="*/ 1072228 w 12188819"/>
              <a:gd name="connsiteY291" fmla="*/ 6512365 h 6857997"/>
              <a:gd name="connsiteX292" fmla="*/ 1059252 w 12188819"/>
              <a:gd name="connsiteY292" fmla="*/ 6505345 h 6857997"/>
              <a:gd name="connsiteX293" fmla="*/ 1054020 w 12188819"/>
              <a:gd name="connsiteY293" fmla="*/ 6483936 h 6857997"/>
              <a:gd name="connsiteX294" fmla="*/ 1059182 w 12188819"/>
              <a:gd name="connsiteY294" fmla="*/ 6462632 h 6857997"/>
              <a:gd name="connsiteX295" fmla="*/ 1071670 w 12188819"/>
              <a:gd name="connsiteY295" fmla="*/ 6455577 h 6857997"/>
              <a:gd name="connsiteX296" fmla="*/ 1139782 w 12188819"/>
              <a:gd name="connsiteY296" fmla="*/ 6455089 h 6857997"/>
              <a:gd name="connsiteX297" fmla="*/ 1151472 w 12188819"/>
              <a:gd name="connsiteY297" fmla="*/ 6462065 h 6857997"/>
              <a:gd name="connsiteX298" fmla="*/ 1156274 w 12188819"/>
              <a:gd name="connsiteY298" fmla="*/ 6483552 h 6857997"/>
              <a:gd name="connsiteX299" fmla="*/ 1151334 w 12188819"/>
              <a:gd name="connsiteY299" fmla="*/ 6505319 h 6857997"/>
              <a:gd name="connsiteX300" fmla="*/ 1139852 w 12188819"/>
              <a:gd name="connsiteY300" fmla="*/ 6512365 h 6857997"/>
              <a:gd name="connsiteX301" fmla="*/ 1128229 w 12188819"/>
              <a:gd name="connsiteY301" fmla="*/ 6505563 h 6857997"/>
              <a:gd name="connsiteX302" fmla="*/ 1123428 w 12188819"/>
              <a:gd name="connsiteY302" fmla="*/ 6484390 h 6857997"/>
              <a:gd name="connsiteX303" fmla="*/ 1128508 w 12188819"/>
              <a:gd name="connsiteY303" fmla="*/ 6462589 h 6857997"/>
              <a:gd name="connsiteX304" fmla="*/ 1139782 w 12188819"/>
              <a:gd name="connsiteY304" fmla="*/ 6455089 h 6857997"/>
              <a:gd name="connsiteX305" fmla="*/ 6224382 w 12188819"/>
              <a:gd name="connsiteY305" fmla="*/ 6446927 h 6857997"/>
              <a:gd name="connsiteX306" fmla="*/ 6224382 w 12188819"/>
              <a:gd name="connsiteY306" fmla="*/ 6521015 h 6857997"/>
              <a:gd name="connsiteX307" fmla="*/ 6234638 w 12188819"/>
              <a:gd name="connsiteY307" fmla="*/ 6521015 h 6857997"/>
              <a:gd name="connsiteX308" fmla="*/ 6234638 w 12188819"/>
              <a:gd name="connsiteY308" fmla="*/ 6446927 h 6857997"/>
              <a:gd name="connsiteX309" fmla="*/ 5967207 w 12188819"/>
              <a:gd name="connsiteY309" fmla="*/ 6446927 h 6857997"/>
              <a:gd name="connsiteX310" fmla="*/ 5967207 w 12188819"/>
              <a:gd name="connsiteY310" fmla="*/ 6521015 h 6857997"/>
              <a:gd name="connsiteX311" fmla="*/ 5977463 w 12188819"/>
              <a:gd name="connsiteY311" fmla="*/ 6521015 h 6857997"/>
              <a:gd name="connsiteX312" fmla="*/ 5977463 w 12188819"/>
              <a:gd name="connsiteY312" fmla="*/ 6446927 h 6857997"/>
              <a:gd name="connsiteX313" fmla="*/ 2380892 w 12188819"/>
              <a:gd name="connsiteY313" fmla="*/ 6446927 h 6857997"/>
              <a:gd name="connsiteX314" fmla="*/ 2380892 w 12188819"/>
              <a:gd name="connsiteY314" fmla="*/ 6521015 h 6857997"/>
              <a:gd name="connsiteX315" fmla="*/ 2391148 w 12188819"/>
              <a:gd name="connsiteY315" fmla="*/ 6521015 h 6857997"/>
              <a:gd name="connsiteX316" fmla="*/ 2391148 w 12188819"/>
              <a:gd name="connsiteY316" fmla="*/ 6446927 h 6857997"/>
              <a:gd name="connsiteX317" fmla="*/ 2287703 w 12188819"/>
              <a:gd name="connsiteY317" fmla="*/ 6446927 h 6857997"/>
              <a:gd name="connsiteX318" fmla="*/ 2306367 w 12188819"/>
              <a:gd name="connsiteY318" fmla="*/ 6521015 h 6857997"/>
              <a:gd name="connsiteX319" fmla="*/ 2317108 w 12188819"/>
              <a:gd name="connsiteY319" fmla="*/ 6521015 h 6857997"/>
              <a:gd name="connsiteX320" fmla="*/ 2329386 w 12188819"/>
              <a:gd name="connsiteY320" fmla="*/ 6464019 h 6857997"/>
              <a:gd name="connsiteX321" fmla="*/ 2331689 w 12188819"/>
              <a:gd name="connsiteY321" fmla="*/ 6476646 h 6857997"/>
              <a:gd name="connsiteX322" fmla="*/ 2341385 w 12188819"/>
              <a:gd name="connsiteY322" fmla="*/ 6521015 h 6857997"/>
              <a:gd name="connsiteX323" fmla="*/ 2352104 w 12188819"/>
              <a:gd name="connsiteY323" fmla="*/ 6521015 h 6857997"/>
              <a:gd name="connsiteX324" fmla="*/ 2371070 w 12188819"/>
              <a:gd name="connsiteY324" fmla="*/ 6446927 h 6857997"/>
              <a:gd name="connsiteX325" fmla="*/ 2361025 w 12188819"/>
              <a:gd name="connsiteY325" fmla="*/ 6446927 h 6857997"/>
              <a:gd name="connsiteX326" fmla="*/ 2350655 w 12188819"/>
              <a:gd name="connsiteY326" fmla="*/ 6489761 h 6857997"/>
              <a:gd name="connsiteX327" fmla="*/ 2347176 w 12188819"/>
              <a:gd name="connsiteY327" fmla="*/ 6504063 h 6857997"/>
              <a:gd name="connsiteX328" fmla="*/ 2344116 w 12188819"/>
              <a:gd name="connsiteY328" fmla="*/ 6489901 h 6857997"/>
              <a:gd name="connsiteX329" fmla="*/ 2335078 w 12188819"/>
              <a:gd name="connsiteY329" fmla="*/ 6446927 h 6857997"/>
              <a:gd name="connsiteX330" fmla="*/ 2324448 w 12188819"/>
              <a:gd name="connsiteY330" fmla="*/ 6446927 h 6857997"/>
              <a:gd name="connsiteX331" fmla="*/ 2314810 w 12188819"/>
              <a:gd name="connsiteY331" fmla="*/ 6490319 h 6857997"/>
              <a:gd name="connsiteX332" fmla="*/ 2311597 w 12188819"/>
              <a:gd name="connsiteY332" fmla="*/ 6505598 h 6857997"/>
              <a:gd name="connsiteX333" fmla="*/ 2308021 w 12188819"/>
              <a:gd name="connsiteY333" fmla="*/ 6489692 h 6857997"/>
              <a:gd name="connsiteX334" fmla="*/ 2298346 w 12188819"/>
              <a:gd name="connsiteY334" fmla="*/ 6446927 h 6857997"/>
              <a:gd name="connsiteX335" fmla="*/ 1818918 w 12188819"/>
              <a:gd name="connsiteY335" fmla="*/ 6446927 h 6857997"/>
              <a:gd name="connsiteX336" fmla="*/ 1818918 w 12188819"/>
              <a:gd name="connsiteY336" fmla="*/ 6521015 h 6857997"/>
              <a:gd name="connsiteX337" fmla="*/ 1829173 w 12188819"/>
              <a:gd name="connsiteY337" fmla="*/ 6521015 h 6857997"/>
              <a:gd name="connsiteX338" fmla="*/ 1829173 w 12188819"/>
              <a:gd name="connsiteY338" fmla="*/ 6446927 h 6857997"/>
              <a:gd name="connsiteX339" fmla="*/ 1752242 w 12188819"/>
              <a:gd name="connsiteY339" fmla="*/ 6446927 h 6857997"/>
              <a:gd name="connsiteX340" fmla="*/ 1752242 w 12188819"/>
              <a:gd name="connsiteY340" fmla="*/ 6521015 h 6857997"/>
              <a:gd name="connsiteX341" fmla="*/ 1762498 w 12188819"/>
              <a:gd name="connsiteY341" fmla="*/ 6521015 h 6857997"/>
              <a:gd name="connsiteX342" fmla="*/ 1762498 w 12188819"/>
              <a:gd name="connsiteY342" fmla="*/ 6446927 h 6857997"/>
              <a:gd name="connsiteX343" fmla="*/ 1266468 w 12188819"/>
              <a:gd name="connsiteY343" fmla="*/ 6446927 h 6857997"/>
              <a:gd name="connsiteX344" fmla="*/ 1266468 w 12188819"/>
              <a:gd name="connsiteY344" fmla="*/ 6521015 h 6857997"/>
              <a:gd name="connsiteX345" fmla="*/ 1276723 w 12188819"/>
              <a:gd name="connsiteY345" fmla="*/ 6521015 h 6857997"/>
              <a:gd name="connsiteX346" fmla="*/ 1276723 w 12188819"/>
              <a:gd name="connsiteY346" fmla="*/ 6446927 h 6857997"/>
              <a:gd name="connsiteX347" fmla="*/ 6278770 w 12188819"/>
              <a:gd name="connsiteY347" fmla="*/ 6445252 h 6857997"/>
              <a:gd name="connsiteX348" fmla="*/ 6259899 w 12188819"/>
              <a:gd name="connsiteY348" fmla="*/ 6450694 h 6857997"/>
              <a:gd name="connsiteX349" fmla="*/ 6251144 w 12188819"/>
              <a:gd name="connsiteY349" fmla="*/ 6468065 h 6857997"/>
              <a:gd name="connsiteX350" fmla="*/ 6261259 w 12188819"/>
              <a:gd name="connsiteY350" fmla="*/ 6469739 h 6857997"/>
              <a:gd name="connsiteX351" fmla="*/ 6266491 w 12188819"/>
              <a:gd name="connsiteY351" fmla="*/ 6458557 h 6857997"/>
              <a:gd name="connsiteX352" fmla="*/ 6277235 w 12188819"/>
              <a:gd name="connsiteY352" fmla="*/ 6455577 h 6857997"/>
              <a:gd name="connsiteX353" fmla="*/ 6289025 w 12188819"/>
              <a:gd name="connsiteY353" fmla="*/ 6460042 h 6857997"/>
              <a:gd name="connsiteX354" fmla="*/ 6291746 w 12188819"/>
              <a:gd name="connsiteY354" fmla="*/ 6470716 h 6857997"/>
              <a:gd name="connsiteX355" fmla="*/ 6291676 w 12188819"/>
              <a:gd name="connsiteY355" fmla="*/ 6473925 h 6857997"/>
              <a:gd name="connsiteX356" fmla="*/ 6273258 w 12188819"/>
              <a:gd name="connsiteY356" fmla="*/ 6478320 h 6857997"/>
              <a:gd name="connsiteX357" fmla="*/ 6259306 w 12188819"/>
              <a:gd name="connsiteY357" fmla="*/ 6482436 h 6857997"/>
              <a:gd name="connsiteX358" fmla="*/ 6252050 w 12188819"/>
              <a:gd name="connsiteY358" fmla="*/ 6490180 h 6857997"/>
              <a:gd name="connsiteX359" fmla="*/ 6249399 w 12188819"/>
              <a:gd name="connsiteY359" fmla="*/ 6501551 h 6857997"/>
              <a:gd name="connsiteX360" fmla="*/ 6255050 w 12188819"/>
              <a:gd name="connsiteY360" fmla="*/ 6516969 h 6857997"/>
              <a:gd name="connsiteX361" fmla="*/ 6270189 w 12188819"/>
              <a:gd name="connsiteY361" fmla="*/ 6522690 h 6857997"/>
              <a:gd name="connsiteX362" fmla="*/ 6281770 w 12188819"/>
              <a:gd name="connsiteY362" fmla="*/ 6519968 h 6857997"/>
              <a:gd name="connsiteX363" fmla="*/ 6292513 w 12188819"/>
              <a:gd name="connsiteY363" fmla="*/ 6511875 h 6857997"/>
              <a:gd name="connsiteX364" fmla="*/ 6294606 w 12188819"/>
              <a:gd name="connsiteY364" fmla="*/ 6521015 h 6857997"/>
              <a:gd name="connsiteX365" fmla="*/ 6305350 w 12188819"/>
              <a:gd name="connsiteY365" fmla="*/ 6521015 h 6857997"/>
              <a:gd name="connsiteX366" fmla="*/ 6302733 w 12188819"/>
              <a:gd name="connsiteY366" fmla="*/ 6512120 h 6857997"/>
              <a:gd name="connsiteX367" fmla="*/ 6302071 w 12188819"/>
              <a:gd name="connsiteY367" fmla="*/ 6489971 h 6857997"/>
              <a:gd name="connsiteX368" fmla="*/ 6302071 w 12188819"/>
              <a:gd name="connsiteY368" fmla="*/ 6473227 h 6857997"/>
              <a:gd name="connsiteX369" fmla="*/ 6300641 w 12188819"/>
              <a:gd name="connsiteY369" fmla="*/ 6457740 h 6857997"/>
              <a:gd name="connsiteX370" fmla="*/ 6293769 w 12188819"/>
              <a:gd name="connsiteY370" fmla="*/ 6448845 h 6857997"/>
              <a:gd name="connsiteX371" fmla="*/ 6278770 w 12188819"/>
              <a:gd name="connsiteY371" fmla="*/ 6445252 h 6857997"/>
              <a:gd name="connsiteX372" fmla="*/ 6157702 w 12188819"/>
              <a:gd name="connsiteY372" fmla="*/ 6445252 h 6857997"/>
              <a:gd name="connsiteX373" fmla="*/ 6146594 w 12188819"/>
              <a:gd name="connsiteY373" fmla="*/ 6448270 h 6857997"/>
              <a:gd name="connsiteX374" fmla="*/ 6138411 w 12188819"/>
              <a:gd name="connsiteY374" fmla="*/ 6457392 h 6857997"/>
              <a:gd name="connsiteX375" fmla="*/ 6138411 w 12188819"/>
              <a:gd name="connsiteY375" fmla="*/ 6446927 h 6857997"/>
              <a:gd name="connsiteX376" fmla="*/ 6129132 w 12188819"/>
              <a:gd name="connsiteY376" fmla="*/ 6446927 h 6857997"/>
              <a:gd name="connsiteX377" fmla="*/ 6129132 w 12188819"/>
              <a:gd name="connsiteY377" fmla="*/ 6521015 h 6857997"/>
              <a:gd name="connsiteX378" fmla="*/ 6139388 w 12188819"/>
              <a:gd name="connsiteY378" fmla="*/ 6521015 h 6857997"/>
              <a:gd name="connsiteX379" fmla="*/ 6139388 w 12188819"/>
              <a:gd name="connsiteY379" fmla="*/ 6480509 h 6857997"/>
              <a:gd name="connsiteX380" fmla="*/ 6143783 w 12188819"/>
              <a:gd name="connsiteY380" fmla="*/ 6461583 h 6857997"/>
              <a:gd name="connsiteX381" fmla="*/ 6155573 w 12188819"/>
              <a:gd name="connsiteY381" fmla="*/ 6456066 h 6857997"/>
              <a:gd name="connsiteX382" fmla="*/ 6162444 w 12188819"/>
              <a:gd name="connsiteY382" fmla="*/ 6458126 h 6857997"/>
              <a:gd name="connsiteX383" fmla="*/ 6166805 w 12188819"/>
              <a:gd name="connsiteY383" fmla="*/ 6463957 h 6857997"/>
              <a:gd name="connsiteX384" fmla="*/ 6168200 w 12188819"/>
              <a:gd name="connsiteY384" fmla="*/ 6475900 h 6857997"/>
              <a:gd name="connsiteX385" fmla="*/ 6168200 w 12188819"/>
              <a:gd name="connsiteY385" fmla="*/ 6521015 h 6857997"/>
              <a:gd name="connsiteX386" fmla="*/ 6178455 w 12188819"/>
              <a:gd name="connsiteY386" fmla="*/ 6521015 h 6857997"/>
              <a:gd name="connsiteX387" fmla="*/ 6178455 w 12188819"/>
              <a:gd name="connsiteY387" fmla="*/ 6475460 h 6857997"/>
              <a:gd name="connsiteX388" fmla="*/ 6177201 w 12188819"/>
              <a:gd name="connsiteY388" fmla="*/ 6460252 h 6857997"/>
              <a:gd name="connsiteX389" fmla="*/ 6173406 w 12188819"/>
              <a:gd name="connsiteY389" fmla="*/ 6452194 h 6857997"/>
              <a:gd name="connsiteX390" fmla="*/ 6166720 w 12188819"/>
              <a:gd name="connsiteY390" fmla="*/ 6447171 h 6857997"/>
              <a:gd name="connsiteX391" fmla="*/ 6157702 w 12188819"/>
              <a:gd name="connsiteY391" fmla="*/ 6445252 h 6857997"/>
              <a:gd name="connsiteX392" fmla="*/ 6087363 w 12188819"/>
              <a:gd name="connsiteY392" fmla="*/ 6445252 h 6857997"/>
              <a:gd name="connsiteX393" fmla="*/ 6066957 w 12188819"/>
              <a:gd name="connsiteY393" fmla="*/ 6455333 h 6857997"/>
              <a:gd name="connsiteX394" fmla="*/ 6058899 w 12188819"/>
              <a:gd name="connsiteY394" fmla="*/ 6484599 h 6857997"/>
              <a:gd name="connsiteX395" fmla="*/ 6066887 w 12188819"/>
              <a:gd name="connsiteY395" fmla="*/ 6512888 h 6857997"/>
              <a:gd name="connsiteX396" fmla="*/ 6087782 w 12188819"/>
              <a:gd name="connsiteY396" fmla="*/ 6522690 h 6857997"/>
              <a:gd name="connsiteX397" fmla="*/ 6104978 w 12188819"/>
              <a:gd name="connsiteY397" fmla="*/ 6516655 h 6857997"/>
              <a:gd name="connsiteX398" fmla="*/ 6114571 w 12188819"/>
              <a:gd name="connsiteY398" fmla="*/ 6498761 h 6857997"/>
              <a:gd name="connsiteX399" fmla="*/ 6103967 w 12188819"/>
              <a:gd name="connsiteY399" fmla="*/ 6497156 h 6857997"/>
              <a:gd name="connsiteX400" fmla="*/ 6087851 w 12188819"/>
              <a:gd name="connsiteY400" fmla="*/ 6512365 h 6857997"/>
              <a:gd name="connsiteX401" fmla="*/ 6075294 w 12188819"/>
              <a:gd name="connsiteY401" fmla="*/ 6506016 h 6857997"/>
              <a:gd name="connsiteX402" fmla="*/ 6069505 w 12188819"/>
              <a:gd name="connsiteY402" fmla="*/ 6487180 h 6857997"/>
              <a:gd name="connsiteX403" fmla="*/ 6114850 w 12188819"/>
              <a:gd name="connsiteY403" fmla="*/ 6487180 h 6857997"/>
              <a:gd name="connsiteX404" fmla="*/ 6114919 w 12188819"/>
              <a:gd name="connsiteY404" fmla="*/ 6483831 h 6857997"/>
              <a:gd name="connsiteX405" fmla="*/ 6107036 w 12188819"/>
              <a:gd name="connsiteY405" fmla="*/ 6455159 h 6857997"/>
              <a:gd name="connsiteX406" fmla="*/ 6087363 w 12188819"/>
              <a:gd name="connsiteY406" fmla="*/ 6445252 h 6857997"/>
              <a:gd name="connsiteX407" fmla="*/ 5900527 w 12188819"/>
              <a:gd name="connsiteY407" fmla="*/ 6445252 h 6857997"/>
              <a:gd name="connsiteX408" fmla="*/ 5889419 w 12188819"/>
              <a:gd name="connsiteY408" fmla="*/ 6448270 h 6857997"/>
              <a:gd name="connsiteX409" fmla="*/ 5881236 w 12188819"/>
              <a:gd name="connsiteY409" fmla="*/ 6457392 h 6857997"/>
              <a:gd name="connsiteX410" fmla="*/ 5881236 w 12188819"/>
              <a:gd name="connsiteY410" fmla="*/ 6446927 h 6857997"/>
              <a:gd name="connsiteX411" fmla="*/ 5871957 w 12188819"/>
              <a:gd name="connsiteY411" fmla="*/ 6446927 h 6857997"/>
              <a:gd name="connsiteX412" fmla="*/ 5871957 w 12188819"/>
              <a:gd name="connsiteY412" fmla="*/ 6521015 h 6857997"/>
              <a:gd name="connsiteX413" fmla="*/ 5882213 w 12188819"/>
              <a:gd name="connsiteY413" fmla="*/ 6521015 h 6857997"/>
              <a:gd name="connsiteX414" fmla="*/ 5882213 w 12188819"/>
              <a:gd name="connsiteY414" fmla="*/ 6480509 h 6857997"/>
              <a:gd name="connsiteX415" fmla="*/ 5886608 w 12188819"/>
              <a:gd name="connsiteY415" fmla="*/ 6461583 h 6857997"/>
              <a:gd name="connsiteX416" fmla="*/ 5898398 w 12188819"/>
              <a:gd name="connsiteY416" fmla="*/ 6456066 h 6857997"/>
              <a:gd name="connsiteX417" fmla="*/ 5905269 w 12188819"/>
              <a:gd name="connsiteY417" fmla="*/ 6458126 h 6857997"/>
              <a:gd name="connsiteX418" fmla="*/ 5909630 w 12188819"/>
              <a:gd name="connsiteY418" fmla="*/ 6463957 h 6857997"/>
              <a:gd name="connsiteX419" fmla="*/ 5911025 w 12188819"/>
              <a:gd name="connsiteY419" fmla="*/ 6475900 h 6857997"/>
              <a:gd name="connsiteX420" fmla="*/ 5911025 w 12188819"/>
              <a:gd name="connsiteY420" fmla="*/ 6521015 h 6857997"/>
              <a:gd name="connsiteX421" fmla="*/ 5921280 w 12188819"/>
              <a:gd name="connsiteY421" fmla="*/ 6521015 h 6857997"/>
              <a:gd name="connsiteX422" fmla="*/ 5921280 w 12188819"/>
              <a:gd name="connsiteY422" fmla="*/ 6475460 h 6857997"/>
              <a:gd name="connsiteX423" fmla="*/ 5920026 w 12188819"/>
              <a:gd name="connsiteY423" fmla="*/ 6460252 h 6857997"/>
              <a:gd name="connsiteX424" fmla="*/ 5916231 w 12188819"/>
              <a:gd name="connsiteY424" fmla="*/ 6452194 h 6857997"/>
              <a:gd name="connsiteX425" fmla="*/ 5909545 w 12188819"/>
              <a:gd name="connsiteY425" fmla="*/ 6447171 h 6857997"/>
              <a:gd name="connsiteX426" fmla="*/ 5900527 w 12188819"/>
              <a:gd name="connsiteY426" fmla="*/ 6445252 h 6857997"/>
              <a:gd name="connsiteX427" fmla="*/ 5829839 w 12188819"/>
              <a:gd name="connsiteY427" fmla="*/ 6445252 h 6857997"/>
              <a:gd name="connsiteX428" fmla="*/ 5809434 w 12188819"/>
              <a:gd name="connsiteY428" fmla="*/ 6455019 h 6857997"/>
              <a:gd name="connsiteX429" fmla="*/ 5801377 w 12188819"/>
              <a:gd name="connsiteY429" fmla="*/ 6483971 h 6857997"/>
              <a:gd name="connsiteX430" fmla="*/ 5809503 w 12188819"/>
              <a:gd name="connsiteY430" fmla="*/ 6512888 h 6857997"/>
              <a:gd name="connsiteX431" fmla="*/ 5829839 w 12188819"/>
              <a:gd name="connsiteY431" fmla="*/ 6522690 h 6857997"/>
              <a:gd name="connsiteX432" fmla="*/ 5850280 w 12188819"/>
              <a:gd name="connsiteY432" fmla="*/ 6512923 h 6857997"/>
              <a:gd name="connsiteX433" fmla="*/ 5858302 w 12188819"/>
              <a:gd name="connsiteY433" fmla="*/ 6483204 h 6857997"/>
              <a:gd name="connsiteX434" fmla="*/ 5850140 w 12188819"/>
              <a:gd name="connsiteY434" fmla="*/ 6455019 h 6857997"/>
              <a:gd name="connsiteX435" fmla="*/ 5829839 w 12188819"/>
              <a:gd name="connsiteY435" fmla="*/ 6445252 h 6857997"/>
              <a:gd name="connsiteX436" fmla="*/ 2714262 w 12188819"/>
              <a:gd name="connsiteY436" fmla="*/ 6445252 h 6857997"/>
              <a:gd name="connsiteX437" fmla="*/ 2703154 w 12188819"/>
              <a:gd name="connsiteY437" fmla="*/ 6448270 h 6857997"/>
              <a:gd name="connsiteX438" fmla="*/ 2694971 w 12188819"/>
              <a:gd name="connsiteY438" fmla="*/ 6457392 h 6857997"/>
              <a:gd name="connsiteX439" fmla="*/ 2694971 w 12188819"/>
              <a:gd name="connsiteY439" fmla="*/ 6446927 h 6857997"/>
              <a:gd name="connsiteX440" fmla="*/ 2685692 w 12188819"/>
              <a:gd name="connsiteY440" fmla="*/ 6446927 h 6857997"/>
              <a:gd name="connsiteX441" fmla="*/ 2685692 w 12188819"/>
              <a:gd name="connsiteY441" fmla="*/ 6521015 h 6857997"/>
              <a:gd name="connsiteX442" fmla="*/ 2695948 w 12188819"/>
              <a:gd name="connsiteY442" fmla="*/ 6521015 h 6857997"/>
              <a:gd name="connsiteX443" fmla="*/ 2695948 w 12188819"/>
              <a:gd name="connsiteY443" fmla="*/ 6480509 h 6857997"/>
              <a:gd name="connsiteX444" fmla="*/ 2700343 w 12188819"/>
              <a:gd name="connsiteY444" fmla="*/ 6461583 h 6857997"/>
              <a:gd name="connsiteX445" fmla="*/ 2712133 w 12188819"/>
              <a:gd name="connsiteY445" fmla="*/ 6456066 h 6857997"/>
              <a:gd name="connsiteX446" fmla="*/ 2719004 w 12188819"/>
              <a:gd name="connsiteY446" fmla="*/ 6458126 h 6857997"/>
              <a:gd name="connsiteX447" fmla="*/ 2723365 w 12188819"/>
              <a:gd name="connsiteY447" fmla="*/ 6463957 h 6857997"/>
              <a:gd name="connsiteX448" fmla="*/ 2724760 w 12188819"/>
              <a:gd name="connsiteY448" fmla="*/ 6475900 h 6857997"/>
              <a:gd name="connsiteX449" fmla="*/ 2724760 w 12188819"/>
              <a:gd name="connsiteY449" fmla="*/ 6521015 h 6857997"/>
              <a:gd name="connsiteX450" fmla="*/ 2735015 w 12188819"/>
              <a:gd name="connsiteY450" fmla="*/ 6521015 h 6857997"/>
              <a:gd name="connsiteX451" fmla="*/ 2735015 w 12188819"/>
              <a:gd name="connsiteY451" fmla="*/ 6475460 h 6857997"/>
              <a:gd name="connsiteX452" fmla="*/ 2733761 w 12188819"/>
              <a:gd name="connsiteY452" fmla="*/ 6460252 h 6857997"/>
              <a:gd name="connsiteX453" fmla="*/ 2729966 w 12188819"/>
              <a:gd name="connsiteY453" fmla="*/ 6452194 h 6857997"/>
              <a:gd name="connsiteX454" fmla="*/ 2723280 w 12188819"/>
              <a:gd name="connsiteY454" fmla="*/ 6447171 h 6857997"/>
              <a:gd name="connsiteX455" fmla="*/ 2714262 w 12188819"/>
              <a:gd name="connsiteY455" fmla="*/ 6445252 h 6857997"/>
              <a:gd name="connsiteX456" fmla="*/ 2644830 w 12188819"/>
              <a:gd name="connsiteY456" fmla="*/ 6445252 h 6857997"/>
              <a:gd name="connsiteX457" fmla="*/ 2625959 w 12188819"/>
              <a:gd name="connsiteY457" fmla="*/ 6450694 h 6857997"/>
              <a:gd name="connsiteX458" fmla="*/ 2617204 w 12188819"/>
              <a:gd name="connsiteY458" fmla="*/ 6468065 h 6857997"/>
              <a:gd name="connsiteX459" fmla="*/ 2627319 w 12188819"/>
              <a:gd name="connsiteY459" fmla="*/ 6469739 h 6857997"/>
              <a:gd name="connsiteX460" fmla="*/ 2632552 w 12188819"/>
              <a:gd name="connsiteY460" fmla="*/ 6458557 h 6857997"/>
              <a:gd name="connsiteX461" fmla="*/ 2643295 w 12188819"/>
              <a:gd name="connsiteY461" fmla="*/ 6455577 h 6857997"/>
              <a:gd name="connsiteX462" fmla="*/ 2655085 w 12188819"/>
              <a:gd name="connsiteY462" fmla="*/ 6460042 h 6857997"/>
              <a:gd name="connsiteX463" fmla="*/ 2657806 w 12188819"/>
              <a:gd name="connsiteY463" fmla="*/ 6470716 h 6857997"/>
              <a:gd name="connsiteX464" fmla="*/ 2657736 w 12188819"/>
              <a:gd name="connsiteY464" fmla="*/ 6473925 h 6857997"/>
              <a:gd name="connsiteX465" fmla="*/ 2639319 w 12188819"/>
              <a:gd name="connsiteY465" fmla="*/ 6478320 h 6857997"/>
              <a:gd name="connsiteX466" fmla="*/ 2625366 w 12188819"/>
              <a:gd name="connsiteY466" fmla="*/ 6482436 h 6857997"/>
              <a:gd name="connsiteX467" fmla="*/ 2618110 w 12188819"/>
              <a:gd name="connsiteY467" fmla="*/ 6490180 h 6857997"/>
              <a:gd name="connsiteX468" fmla="*/ 2615460 w 12188819"/>
              <a:gd name="connsiteY468" fmla="*/ 6501551 h 6857997"/>
              <a:gd name="connsiteX469" fmla="*/ 2621110 w 12188819"/>
              <a:gd name="connsiteY469" fmla="*/ 6516969 h 6857997"/>
              <a:gd name="connsiteX470" fmla="*/ 2636249 w 12188819"/>
              <a:gd name="connsiteY470" fmla="*/ 6522690 h 6857997"/>
              <a:gd name="connsiteX471" fmla="*/ 2647830 w 12188819"/>
              <a:gd name="connsiteY471" fmla="*/ 6519968 h 6857997"/>
              <a:gd name="connsiteX472" fmla="*/ 2658573 w 12188819"/>
              <a:gd name="connsiteY472" fmla="*/ 6511875 h 6857997"/>
              <a:gd name="connsiteX473" fmla="*/ 2660666 w 12188819"/>
              <a:gd name="connsiteY473" fmla="*/ 6521015 h 6857997"/>
              <a:gd name="connsiteX474" fmla="*/ 2671410 w 12188819"/>
              <a:gd name="connsiteY474" fmla="*/ 6521015 h 6857997"/>
              <a:gd name="connsiteX475" fmla="*/ 2668793 w 12188819"/>
              <a:gd name="connsiteY475" fmla="*/ 6512120 h 6857997"/>
              <a:gd name="connsiteX476" fmla="*/ 2668131 w 12188819"/>
              <a:gd name="connsiteY476" fmla="*/ 6489971 h 6857997"/>
              <a:gd name="connsiteX477" fmla="*/ 2668131 w 12188819"/>
              <a:gd name="connsiteY477" fmla="*/ 6473227 h 6857997"/>
              <a:gd name="connsiteX478" fmla="*/ 2666701 w 12188819"/>
              <a:gd name="connsiteY478" fmla="*/ 6457740 h 6857997"/>
              <a:gd name="connsiteX479" fmla="*/ 2659829 w 12188819"/>
              <a:gd name="connsiteY479" fmla="*/ 6448845 h 6857997"/>
              <a:gd name="connsiteX480" fmla="*/ 2644830 w 12188819"/>
              <a:gd name="connsiteY480" fmla="*/ 6445252 h 6857997"/>
              <a:gd name="connsiteX481" fmla="*/ 2574806 w 12188819"/>
              <a:gd name="connsiteY481" fmla="*/ 6445252 h 6857997"/>
              <a:gd name="connsiteX482" fmla="*/ 2568144 w 12188819"/>
              <a:gd name="connsiteY482" fmla="*/ 6447799 h 6857997"/>
              <a:gd name="connsiteX483" fmla="*/ 2561621 w 12188819"/>
              <a:gd name="connsiteY483" fmla="*/ 6458159 h 6857997"/>
              <a:gd name="connsiteX484" fmla="*/ 2561621 w 12188819"/>
              <a:gd name="connsiteY484" fmla="*/ 6446927 h 6857997"/>
              <a:gd name="connsiteX485" fmla="*/ 2552342 w 12188819"/>
              <a:gd name="connsiteY485" fmla="*/ 6446927 h 6857997"/>
              <a:gd name="connsiteX486" fmla="*/ 2552342 w 12188819"/>
              <a:gd name="connsiteY486" fmla="*/ 6521015 h 6857997"/>
              <a:gd name="connsiteX487" fmla="*/ 2562598 w 12188819"/>
              <a:gd name="connsiteY487" fmla="*/ 6521015 h 6857997"/>
              <a:gd name="connsiteX488" fmla="*/ 2562598 w 12188819"/>
              <a:gd name="connsiteY488" fmla="*/ 6482227 h 6857997"/>
              <a:gd name="connsiteX489" fmla="*/ 2564551 w 12188819"/>
              <a:gd name="connsiteY489" fmla="*/ 6466949 h 6857997"/>
              <a:gd name="connsiteX490" fmla="*/ 2568388 w 12188819"/>
              <a:gd name="connsiteY490" fmla="*/ 6460531 h 6857997"/>
              <a:gd name="connsiteX491" fmla="*/ 2574388 w 12188819"/>
              <a:gd name="connsiteY491" fmla="*/ 6458228 h 6857997"/>
              <a:gd name="connsiteX492" fmla="*/ 2581852 w 12188819"/>
              <a:gd name="connsiteY492" fmla="*/ 6460949 h 6857997"/>
              <a:gd name="connsiteX493" fmla="*/ 2585340 w 12188819"/>
              <a:gd name="connsiteY493" fmla="*/ 6449299 h 6857997"/>
              <a:gd name="connsiteX494" fmla="*/ 2574806 w 12188819"/>
              <a:gd name="connsiteY494" fmla="*/ 6445252 h 6857997"/>
              <a:gd name="connsiteX495" fmla="*/ 2510573 w 12188819"/>
              <a:gd name="connsiteY495" fmla="*/ 6445252 h 6857997"/>
              <a:gd name="connsiteX496" fmla="*/ 2490167 w 12188819"/>
              <a:gd name="connsiteY496" fmla="*/ 6455333 h 6857997"/>
              <a:gd name="connsiteX497" fmla="*/ 2482110 w 12188819"/>
              <a:gd name="connsiteY497" fmla="*/ 6484599 h 6857997"/>
              <a:gd name="connsiteX498" fmla="*/ 2490097 w 12188819"/>
              <a:gd name="connsiteY498" fmla="*/ 6512888 h 6857997"/>
              <a:gd name="connsiteX499" fmla="*/ 2510992 w 12188819"/>
              <a:gd name="connsiteY499" fmla="*/ 6522690 h 6857997"/>
              <a:gd name="connsiteX500" fmla="*/ 2528188 w 12188819"/>
              <a:gd name="connsiteY500" fmla="*/ 6516655 h 6857997"/>
              <a:gd name="connsiteX501" fmla="*/ 2537781 w 12188819"/>
              <a:gd name="connsiteY501" fmla="*/ 6498761 h 6857997"/>
              <a:gd name="connsiteX502" fmla="*/ 2527176 w 12188819"/>
              <a:gd name="connsiteY502" fmla="*/ 6497156 h 6857997"/>
              <a:gd name="connsiteX503" fmla="*/ 2511061 w 12188819"/>
              <a:gd name="connsiteY503" fmla="*/ 6512365 h 6857997"/>
              <a:gd name="connsiteX504" fmla="*/ 2498504 w 12188819"/>
              <a:gd name="connsiteY504" fmla="*/ 6506016 h 6857997"/>
              <a:gd name="connsiteX505" fmla="*/ 2492714 w 12188819"/>
              <a:gd name="connsiteY505" fmla="*/ 6487180 h 6857997"/>
              <a:gd name="connsiteX506" fmla="*/ 2538060 w 12188819"/>
              <a:gd name="connsiteY506" fmla="*/ 6487180 h 6857997"/>
              <a:gd name="connsiteX507" fmla="*/ 2538129 w 12188819"/>
              <a:gd name="connsiteY507" fmla="*/ 6483831 h 6857997"/>
              <a:gd name="connsiteX508" fmla="*/ 2530246 w 12188819"/>
              <a:gd name="connsiteY508" fmla="*/ 6455159 h 6857997"/>
              <a:gd name="connsiteX509" fmla="*/ 2510573 w 12188819"/>
              <a:gd name="connsiteY509" fmla="*/ 6445252 h 6857997"/>
              <a:gd name="connsiteX510" fmla="*/ 1942737 w 12188819"/>
              <a:gd name="connsiteY510" fmla="*/ 6445252 h 6857997"/>
              <a:gd name="connsiteX511" fmla="*/ 1931629 w 12188819"/>
              <a:gd name="connsiteY511" fmla="*/ 6448270 h 6857997"/>
              <a:gd name="connsiteX512" fmla="*/ 1923446 w 12188819"/>
              <a:gd name="connsiteY512" fmla="*/ 6457392 h 6857997"/>
              <a:gd name="connsiteX513" fmla="*/ 1923446 w 12188819"/>
              <a:gd name="connsiteY513" fmla="*/ 6446927 h 6857997"/>
              <a:gd name="connsiteX514" fmla="*/ 1914167 w 12188819"/>
              <a:gd name="connsiteY514" fmla="*/ 6446927 h 6857997"/>
              <a:gd name="connsiteX515" fmla="*/ 1914167 w 12188819"/>
              <a:gd name="connsiteY515" fmla="*/ 6521015 h 6857997"/>
              <a:gd name="connsiteX516" fmla="*/ 1924423 w 12188819"/>
              <a:gd name="connsiteY516" fmla="*/ 6521015 h 6857997"/>
              <a:gd name="connsiteX517" fmla="*/ 1924423 w 12188819"/>
              <a:gd name="connsiteY517" fmla="*/ 6480509 h 6857997"/>
              <a:gd name="connsiteX518" fmla="*/ 1928818 w 12188819"/>
              <a:gd name="connsiteY518" fmla="*/ 6461583 h 6857997"/>
              <a:gd name="connsiteX519" fmla="*/ 1940608 w 12188819"/>
              <a:gd name="connsiteY519" fmla="*/ 6456066 h 6857997"/>
              <a:gd name="connsiteX520" fmla="*/ 1947479 w 12188819"/>
              <a:gd name="connsiteY520" fmla="*/ 6458126 h 6857997"/>
              <a:gd name="connsiteX521" fmla="*/ 1951840 w 12188819"/>
              <a:gd name="connsiteY521" fmla="*/ 6463957 h 6857997"/>
              <a:gd name="connsiteX522" fmla="*/ 1953235 w 12188819"/>
              <a:gd name="connsiteY522" fmla="*/ 6475900 h 6857997"/>
              <a:gd name="connsiteX523" fmla="*/ 1953235 w 12188819"/>
              <a:gd name="connsiteY523" fmla="*/ 6521015 h 6857997"/>
              <a:gd name="connsiteX524" fmla="*/ 1963490 w 12188819"/>
              <a:gd name="connsiteY524" fmla="*/ 6521015 h 6857997"/>
              <a:gd name="connsiteX525" fmla="*/ 1963490 w 12188819"/>
              <a:gd name="connsiteY525" fmla="*/ 6475460 h 6857997"/>
              <a:gd name="connsiteX526" fmla="*/ 1962236 w 12188819"/>
              <a:gd name="connsiteY526" fmla="*/ 6460252 h 6857997"/>
              <a:gd name="connsiteX527" fmla="*/ 1958441 w 12188819"/>
              <a:gd name="connsiteY527" fmla="*/ 6452194 h 6857997"/>
              <a:gd name="connsiteX528" fmla="*/ 1951755 w 12188819"/>
              <a:gd name="connsiteY528" fmla="*/ 6447171 h 6857997"/>
              <a:gd name="connsiteX529" fmla="*/ 1942737 w 12188819"/>
              <a:gd name="connsiteY529" fmla="*/ 6445252 h 6857997"/>
              <a:gd name="connsiteX530" fmla="*/ 1872049 w 12188819"/>
              <a:gd name="connsiteY530" fmla="*/ 6445252 h 6857997"/>
              <a:gd name="connsiteX531" fmla="*/ 1851643 w 12188819"/>
              <a:gd name="connsiteY531" fmla="*/ 6455019 h 6857997"/>
              <a:gd name="connsiteX532" fmla="*/ 1843586 w 12188819"/>
              <a:gd name="connsiteY532" fmla="*/ 6483971 h 6857997"/>
              <a:gd name="connsiteX533" fmla="*/ 1851713 w 12188819"/>
              <a:gd name="connsiteY533" fmla="*/ 6512888 h 6857997"/>
              <a:gd name="connsiteX534" fmla="*/ 1872049 w 12188819"/>
              <a:gd name="connsiteY534" fmla="*/ 6522690 h 6857997"/>
              <a:gd name="connsiteX535" fmla="*/ 1892490 w 12188819"/>
              <a:gd name="connsiteY535" fmla="*/ 6512923 h 6857997"/>
              <a:gd name="connsiteX536" fmla="*/ 1900512 w 12188819"/>
              <a:gd name="connsiteY536" fmla="*/ 6483204 h 6857997"/>
              <a:gd name="connsiteX537" fmla="*/ 1892350 w 12188819"/>
              <a:gd name="connsiteY537" fmla="*/ 6455019 h 6857997"/>
              <a:gd name="connsiteX538" fmla="*/ 1872049 w 12188819"/>
              <a:gd name="connsiteY538" fmla="*/ 6445252 h 6857997"/>
              <a:gd name="connsiteX539" fmla="*/ 1803281 w 12188819"/>
              <a:gd name="connsiteY539" fmla="*/ 6445252 h 6857997"/>
              <a:gd name="connsiteX540" fmla="*/ 1796619 w 12188819"/>
              <a:gd name="connsiteY540" fmla="*/ 6447799 h 6857997"/>
              <a:gd name="connsiteX541" fmla="*/ 1790096 w 12188819"/>
              <a:gd name="connsiteY541" fmla="*/ 6458159 h 6857997"/>
              <a:gd name="connsiteX542" fmla="*/ 1790096 w 12188819"/>
              <a:gd name="connsiteY542" fmla="*/ 6446927 h 6857997"/>
              <a:gd name="connsiteX543" fmla="*/ 1780818 w 12188819"/>
              <a:gd name="connsiteY543" fmla="*/ 6446927 h 6857997"/>
              <a:gd name="connsiteX544" fmla="*/ 1780818 w 12188819"/>
              <a:gd name="connsiteY544" fmla="*/ 6521015 h 6857997"/>
              <a:gd name="connsiteX545" fmla="*/ 1791073 w 12188819"/>
              <a:gd name="connsiteY545" fmla="*/ 6521015 h 6857997"/>
              <a:gd name="connsiteX546" fmla="*/ 1791073 w 12188819"/>
              <a:gd name="connsiteY546" fmla="*/ 6482227 h 6857997"/>
              <a:gd name="connsiteX547" fmla="*/ 1793026 w 12188819"/>
              <a:gd name="connsiteY547" fmla="*/ 6466949 h 6857997"/>
              <a:gd name="connsiteX548" fmla="*/ 1796863 w 12188819"/>
              <a:gd name="connsiteY548" fmla="*/ 6460531 h 6857997"/>
              <a:gd name="connsiteX549" fmla="*/ 1802863 w 12188819"/>
              <a:gd name="connsiteY549" fmla="*/ 6458228 h 6857997"/>
              <a:gd name="connsiteX550" fmla="*/ 1810327 w 12188819"/>
              <a:gd name="connsiteY550" fmla="*/ 6460949 h 6857997"/>
              <a:gd name="connsiteX551" fmla="*/ 1813815 w 12188819"/>
              <a:gd name="connsiteY551" fmla="*/ 6449299 h 6857997"/>
              <a:gd name="connsiteX552" fmla="*/ 1803281 w 12188819"/>
              <a:gd name="connsiteY552" fmla="*/ 6445252 h 6857997"/>
              <a:gd name="connsiteX553" fmla="*/ 1715742 w 12188819"/>
              <a:gd name="connsiteY553" fmla="*/ 6445252 h 6857997"/>
              <a:gd name="connsiteX554" fmla="*/ 1698930 w 12188819"/>
              <a:gd name="connsiteY554" fmla="*/ 6451182 h 6857997"/>
              <a:gd name="connsiteX555" fmla="*/ 1692860 w 12188819"/>
              <a:gd name="connsiteY555" fmla="*/ 6466600 h 6857997"/>
              <a:gd name="connsiteX556" fmla="*/ 1695092 w 12188819"/>
              <a:gd name="connsiteY556" fmla="*/ 6476437 h 6857997"/>
              <a:gd name="connsiteX557" fmla="*/ 1701371 w 12188819"/>
              <a:gd name="connsiteY557" fmla="*/ 6483343 h 6857997"/>
              <a:gd name="connsiteX558" fmla="*/ 1717417 w 12188819"/>
              <a:gd name="connsiteY558" fmla="*/ 6489622 h 6857997"/>
              <a:gd name="connsiteX559" fmla="*/ 1727881 w 12188819"/>
              <a:gd name="connsiteY559" fmla="*/ 6493808 h 6857997"/>
              <a:gd name="connsiteX560" fmla="*/ 1731021 w 12188819"/>
              <a:gd name="connsiteY560" fmla="*/ 6500644 h 6857997"/>
              <a:gd name="connsiteX561" fmla="*/ 1727367 w 12188819"/>
              <a:gd name="connsiteY561" fmla="*/ 6509051 h 6857997"/>
              <a:gd name="connsiteX562" fmla="*/ 1717031 w 12188819"/>
              <a:gd name="connsiteY562" fmla="*/ 6512365 h 6857997"/>
              <a:gd name="connsiteX563" fmla="*/ 1706313 w 12188819"/>
              <a:gd name="connsiteY563" fmla="*/ 6508545 h 6857997"/>
              <a:gd name="connsiteX564" fmla="*/ 1701371 w 12188819"/>
              <a:gd name="connsiteY564" fmla="*/ 6496877 h 6857997"/>
              <a:gd name="connsiteX565" fmla="*/ 1691116 w 12188819"/>
              <a:gd name="connsiteY565" fmla="*/ 6498831 h 6857997"/>
              <a:gd name="connsiteX566" fmla="*/ 1716440 w 12188819"/>
              <a:gd name="connsiteY566" fmla="*/ 6522690 h 6857997"/>
              <a:gd name="connsiteX567" fmla="*/ 1734823 w 12188819"/>
              <a:gd name="connsiteY567" fmla="*/ 6516120 h 6857997"/>
              <a:gd name="connsiteX568" fmla="*/ 1741555 w 12188819"/>
              <a:gd name="connsiteY568" fmla="*/ 6498929 h 6857997"/>
              <a:gd name="connsiteX569" fmla="*/ 1739470 w 12188819"/>
              <a:gd name="connsiteY569" fmla="*/ 6489040 h 6857997"/>
              <a:gd name="connsiteX570" fmla="*/ 1733631 w 12188819"/>
              <a:gd name="connsiteY570" fmla="*/ 6482471 h 6857997"/>
              <a:gd name="connsiteX571" fmla="*/ 1717094 w 12188819"/>
              <a:gd name="connsiteY571" fmla="*/ 6476004 h 6857997"/>
              <a:gd name="connsiteX572" fmla="*/ 1705911 w 12188819"/>
              <a:gd name="connsiteY572" fmla="*/ 6471558 h 6857997"/>
              <a:gd name="connsiteX573" fmla="*/ 1702766 w 12188819"/>
              <a:gd name="connsiteY573" fmla="*/ 6465096 h 6857997"/>
              <a:gd name="connsiteX574" fmla="*/ 1706045 w 12188819"/>
              <a:gd name="connsiteY574" fmla="*/ 6458252 h 6857997"/>
              <a:gd name="connsiteX575" fmla="*/ 1716021 w 12188819"/>
              <a:gd name="connsiteY575" fmla="*/ 6455577 h 6857997"/>
              <a:gd name="connsiteX576" fmla="*/ 1729207 w 12188819"/>
              <a:gd name="connsiteY576" fmla="*/ 6467716 h 6857997"/>
              <a:gd name="connsiteX577" fmla="*/ 1739252 w 12188819"/>
              <a:gd name="connsiteY577" fmla="*/ 6466042 h 6857997"/>
              <a:gd name="connsiteX578" fmla="*/ 1735485 w 12188819"/>
              <a:gd name="connsiteY578" fmla="*/ 6454252 h 6857997"/>
              <a:gd name="connsiteX579" fmla="*/ 1727637 w 12188819"/>
              <a:gd name="connsiteY579" fmla="*/ 6447694 h 6857997"/>
              <a:gd name="connsiteX580" fmla="*/ 1715742 w 12188819"/>
              <a:gd name="connsiteY580" fmla="*/ 6445252 h 6857997"/>
              <a:gd name="connsiteX581" fmla="*/ 1656986 w 12188819"/>
              <a:gd name="connsiteY581" fmla="*/ 6445252 h 6857997"/>
              <a:gd name="connsiteX582" fmla="*/ 1645879 w 12188819"/>
              <a:gd name="connsiteY582" fmla="*/ 6448270 h 6857997"/>
              <a:gd name="connsiteX583" fmla="*/ 1637696 w 12188819"/>
              <a:gd name="connsiteY583" fmla="*/ 6457392 h 6857997"/>
              <a:gd name="connsiteX584" fmla="*/ 1637696 w 12188819"/>
              <a:gd name="connsiteY584" fmla="*/ 6446927 h 6857997"/>
              <a:gd name="connsiteX585" fmla="*/ 1628418 w 12188819"/>
              <a:gd name="connsiteY585" fmla="*/ 6446927 h 6857997"/>
              <a:gd name="connsiteX586" fmla="*/ 1628418 w 12188819"/>
              <a:gd name="connsiteY586" fmla="*/ 6521015 h 6857997"/>
              <a:gd name="connsiteX587" fmla="*/ 1638673 w 12188819"/>
              <a:gd name="connsiteY587" fmla="*/ 6521015 h 6857997"/>
              <a:gd name="connsiteX588" fmla="*/ 1638673 w 12188819"/>
              <a:gd name="connsiteY588" fmla="*/ 6480509 h 6857997"/>
              <a:gd name="connsiteX589" fmla="*/ 1643068 w 12188819"/>
              <a:gd name="connsiteY589" fmla="*/ 6461583 h 6857997"/>
              <a:gd name="connsiteX590" fmla="*/ 1654858 w 12188819"/>
              <a:gd name="connsiteY590" fmla="*/ 6456066 h 6857997"/>
              <a:gd name="connsiteX591" fmla="*/ 1661729 w 12188819"/>
              <a:gd name="connsiteY591" fmla="*/ 6458126 h 6857997"/>
              <a:gd name="connsiteX592" fmla="*/ 1666089 w 12188819"/>
              <a:gd name="connsiteY592" fmla="*/ 6463957 h 6857997"/>
              <a:gd name="connsiteX593" fmla="*/ 1667485 w 12188819"/>
              <a:gd name="connsiteY593" fmla="*/ 6475900 h 6857997"/>
              <a:gd name="connsiteX594" fmla="*/ 1667485 w 12188819"/>
              <a:gd name="connsiteY594" fmla="*/ 6521015 h 6857997"/>
              <a:gd name="connsiteX595" fmla="*/ 1677740 w 12188819"/>
              <a:gd name="connsiteY595" fmla="*/ 6521015 h 6857997"/>
              <a:gd name="connsiteX596" fmla="*/ 1677740 w 12188819"/>
              <a:gd name="connsiteY596" fmla="*/ 6475460 h 6857997"/>
              <a:gd name="connsiteX597" fmla="*/ 1676487 w 12188819"/>
              <a:gd name="connsiteY597" fmla="*/ 6460252 h 6857997"/>
              <a:gd name="connsiteX598" fmla="*/ 1672691 w 12188819"/>
              <a:gd name="connsiteY598" fmla="*/ 6452194 h 6857997"/>
              <a:gd name="connsiteX599" fmla="*/ 1666005 w 12188819"/>
              <a:gd name="connsiteY599" fmla="*/ 6447171 h 6857997"/>
              <a:gd name="connsiteX600" fmla="*/ 1656986 w 12188819"/>
              <a:gd name="connsiteY600" fmla="*/ 6445252 h 6857997"/>
              <a:gd name="connsiteX601" fmla="*/ 1586648 w 12188819"/>
              <a:gd name="connsiteY601" fmla="*/ 6445252 h 6857997"/>
              <a:gd name="connsiteX602" fmla="*/ 1566242 w 12188819"/>
              <a:gd name="connsiteY602" fmla="*/ 6455333 h 6857997"/>
              <a:gd name="connsiteX603" fmla="*/ 1558184 w 12188819"/>
              <a:gd name="connsiteY603" fmla="*/ 6484599 h 6857997"/>
              <a:gd name="connsiteX604" fmla="*/ 1566172 w 12188819"/>
              <a:gd name="connsiteY604" fmla="*/ 6512888 h 6857997"/>
              <a:gd name="connsiteX605" fmla="*/ 1587067 w 12188819"/>
              <a:gd name="connsiteY605" fmla="*/ 6522690 h 6857997"/>
              <a:gd name="connsiteX606" fmla="*/ 1604263 w 12188819"/>
              <a:gd name="connsiteY606" fmla="*/ 6516655 h 6857997"/>
              <a:gd name="connsiteX607" fmla="*/ 1613856 w 12188819"/>
              <a:gd name="connsiteY607" fmla="*/ 6498761 h 6857997"/>
              <a:gd name="connsiteX608" fmla="*/ 1603252 w 12188819"/>
              <a:gd name="connsiteY608" fmla="*/ 6497156 h 6857997"/>
              <a:gd name="connsiteX609" fmla="*/ 1587136 w 12188819"/>
              <a:gd name="connsiteY609" fmla="*/ 6512365 h 6857997"/>
              <a:gd name="connsiteX610" fmla="*/ 1574579 w 12188819"/>
              <a:gd name="connsiteY610" fmla="*/ 6506016 h 6857997"/>
              <a:gd name="connsiteX611" fmla="*/ 1568788 w 12188819"/>
              <a:gd name="connsiteY611" fmla="*/ 6487180 h 6857997"/>
              <a:gd name="connsiteX612" fmla="*/ 1614135 w 12188819"/>
              <a:gd name="connsiteY612" fmla="*/ 6487180 h 6857997"/>
              <a:gd name="connsiteX613" fmla="*/ 1614204 w 12188819"/>
              <a:gd name="connsiteY613" fmla="*/ 6483831 h 6857997"/>
              <a:gd name="connsiteX614" fmla="*/ 1606321 w 12188819"/>
              <a:gd name="connsiteY614" fmla="*/ 6455159 h 6857997"/>
              <a:gd name="connsiteX615" fmla="*/ 1586648 w 12188819"/>
              <a:gd name="connsiteY615" fmla="*/ 6445252 h 6857997"/>
              <a:gd name="connsiteX616" fmla="*/ 1317367 w 12188819"/>
              <a:gd name="connsiteY616" fmla="*/ 6445252 h 6857997"/>
              <a:gd name="connsiteX617" fmla="*/ 1304147 w 12188819"/>
              <a:gd name="connsiteY617" fmla="*/ 6449438 h 6857997"/>
              <a:gd name="connsiteX618" fmla="*/ 1294624 w 12188819"/>
              <a:gd name="connsiteY618" fmla="*/ 6462554 h 6857997"/>
              <a:gd name="connsiteX619" fmla="*/ 1290996 w 12188819"/>
              <a:gd name="connsiteY619" fmla="*/ 6483413 h 6857997"/>
              <a:gd name="connsiteX620" fmla="*/ 1299228 w 12188819"/>
              <a:gd name="connsiteY620" fmla="*/ 6511807 h 6857997"/>
              <a:gd name="connsiteX621" fmla="*/ 1317297 w 12188819"/>
              <a:gd name="connsiteY621" fmla="*/ 6521015 h 6857997"/>
              <a:gd name="connsiteX622" fmla="*/ 1326575 w 12188819"/>
              <a:gd name="connsiteY622" fmla="*/ 6518590 h 6857997"/>
              <a:gd name="connsiteX623" fmla="*/ 1334110 w 12188819"/>
              <a:gd name="connsiteY623" fmla="*/ 6511384 h 6857997"/>
              <a:gd name="connsiteX624" fmla="*/ 1333203 w 12188819"/>
              <a:gd name="connsiteY624" fmla="*/ 6527850 h 6857997"/>
              <a:gd name="connsiteX625" fmla="*/ 1327727 w 12188819"/>
              <a:gd name="connsiteY625" fmla="*/ 6537514 h 6857997"/>
              <a:gd name="connsiteX626" fmla="*/ 1316948 w 12188819"/>
              <a:gd name="connsiteY626" fmla="*/ 6540758 h 6857997"/>
              <a:gd name="connsiteX627" fmla="*/ 1307251 w 12188819"/>
              <a:gd name="connsiteY627" fmla="*/ 6537846 h 6857997"/>
              <a:gd name="connsiteX628" fmla="*/ 1303065 w 12188819"/>
              <a:gd name="connsiteY628" fmla="*/ 6528968 h 6857997"/>
              <a:gd name="connsiteX629" fmla="*/ 1293019 w 12188819"/>
              <a:gd name="connsiteY629" fmla="*/ 6527154 h 6857997"/>
              <a:gd name="connsiteX630" fmla="*/ 1299159 w 12188819"/>
              <a:gd name="connsiteY630" fmla="*/ 6544735 h 6857997"/>
              <a:gd name="connsiteX631" fmla="*/ 1317297 w 12188819"/>
              <a:gd name="connsiteY631" fmla="*/ 6551083 h 6857997"/>
              <a:gd name="connsiteX632" fmla="*/ 1332575 w 12188819"/>
              <a:gd name="connsiteY632" fmla="*/ 6546863 h 6857997"/>
              <a:gd name="connsiteX633" fmla="*/ 1341714 w 12188819"/>
              <a:gd name="connsiteY633" fmla="*/ 6535352 h 6857997"/>
              <a:gd name="connsiteX634" fmla="*/ 1344505 w 12188819"/>
              <a:gd name="connsiteY634" fmla="*/ 6510969 h 6857997"/>
              <a:gd name="connsiteX635" fmla="*/ 1344505 w 12188819"/>
              <a:gd name="connsiteY635" fmla="*/ 6446927 h 6857997"/>
              <a:gd name="connsiteX636" fmla="*/ 1335017 w 12188819"/>
              <a:gd name="connsiteY636" fmla="*/ 6446927 h 6857997"/>
              <a:gd name="connsiteX637" fmla="*/ 1335017 w 12188819"/>
              <a:gd name="connsiteY637" fmla="*/ 6455787 h 6857997"/>
              <a:gd name="connsiteX638" fmla="*/ 1327168 w 12188819"/>
              <a:gd name="connsiteY638" fmla="*/ 6447886 h 6857997"/>
              <a:gd name="connsiteX639" fmla="*/ 1317367 w 12188819"/>
              <a:gd name="connsiteY639" fmla="*/ 6445252 h 6857997"/>
              <a:gd name="connsiteX640" fmla="*/ 1250831 w 12188819"/>
              <a:gd name="connsiteY640" fmla="*/ 6445252 h 6857997"/>
              <a:gd name="connsiteX641" fmla="*/ 1244169 w 12188819"/>
              <a:gd name="connsiteY641" fmla="*/ 6447799 h 6857997"/>
              <a:gd name="connsiteX642" fmla="*/ 1237646 w 12188819"/>
              <a:gd name="connsiteY642" fmla="*/ 6458159 h 6857997"/>
              <a:gd name="connsiteX643" fmla="*/ 1237646 w 12188819"/>
              <a:gd name="connsiteY643" fmla="*/ 6446927 h 6857997"/>
              <a:gd name="connsiteX644" fmla="*/ 1230693 w 12188819"/>
              <a:gd name="connsiteY644" fmla="*/ 6446927 h 6857997"/>
              <a:gd name="connsiteX645" fmla="*/ 1228368 w 12188819"/>
              <a:gd name="connsiteY645" fmla="*/ 6446927 h 6857997"/>
              <a:gd name="connsiteX646" fmla="*/ 1220369 w 12188819"/>
              <a:gd name="connsiteY646" fmla="*/ 6446927 h 6857997"/>
              <a:gd name="connsiteX647" fmla="*/ 1207392 w 12188819"/>
              <a:gd name="connsiteY647" fmla="*/ 6490086 h 6857997"/>
              <a:gd name="connsiteX648" fmla="*/ 1203206 w 12188819"/>
              <a:gd name="connsiteY648" fmla="*/ 6506960 h 6857997"/>
              <a:gd name="connsiteX649" fmla="*/ 1198811 w 12188819"/>
              <a:gd name="connsiteY649" fmla="*/ 6489808 h 6857997"/>
              <a:gd name="connsiteX650" fmla="*/ 1186114 w 12188819"/>
              <a:gd name="connsiteY650" fmla="*/ 6446927 h 6857997"/>
              <a:gd name="connsiteX651" fmla="*/ 1175022 w 12188819"/>
              <a:gd name="connsiteY651" fmla="*/ 6446927 h 6857997"/>
              <a:gd name="connsiteX652" fmla="*/ 1198132 w 12188819"/>
              <a:gd name="connsiteY652" fmla="*/ 6521125 h 6857997"/>
              <a:gd name="connsiteX653" fmla="*/ 1194080 w 12188819"/>
              <a:gd name="connsiteY653" fmla="*/ 6533431 h 6857997"/>
              <a:gd name="connsiteX654" fmla="*/ 1190554 w 12188819"/>
              <a:gd name="connsiteY654" fmla="*/ 6537549 h 6857997"/>
              <a:gd name="connsiteX655" fmla="*/ 1185143 w 12188819"/>
              <a:gd name="connsiteY655" fmla="*/ 6538875 h 6857997"/>
              <a:gd name="connsiteX656" fmla="*/ 1179277 w 12188819"/>
              <a:gd name="connsiteY656" fmla="*/ 6537758 h 6857997"/>
              <a:gd name="connsiteX657" fmla="*/ 1180394 w 12188819"/>
              <a:gd name="connsiteY657" fmla="*/ 6549548 h 6857997"/>
              <a:gd name="connsiteX658" fmla="*/ 1187032 w 12188819"/>
              <a:gd name="connsiteY658" fmla="*/ 6551083 h 6857997"/>
              <a:gd name="connsiteX659" fmla="*/ 1194543 w 12188819"/>
              <a:gd name="connsiteY659" fmla="*/ 6548921 h 6857997"/>
              <a:gd name="connsiteX660" fmla="*/ 1200483 w 12188819"/>
              <a:gd name="connsiteY660" fmla="*/ 6541840 h 6857997"/>
              <a:gd name="connsiteX661" fmla="*/ 1207645 w 12188819"/>
              <a:gd name="connsiteY661" fmla="*/ 6522271 h 6857997"/>
              <a:gd name="connsiteX662" fmla="*/ 1228368 w 12188819"/>
              <a:gd name="connsiteY662" fmla="*/ 6454529 h 6857997"/>
              <a:gd name="connsiteX663" fmla="*/ 1228368 w 12188819"/>
              <a:gd name="connsiteY663" fmla="*/ 6521015 h 6857997"/>
              <a:gd name="connsiteX664" fmla="*/ 1238623 w 12188819"/>
              <a:gd name="connsiteY664" fmla="*/ 6521015 h 6857997"/>
              <a:gd name="connsiteX665" fmla="*/ 1238623 w 12188819"/>
              <a:gd name="connsiteY665" fmla="*/ 6482227 h 6857997"/>
              <a:gd name="connsiteX666" fmla="*/ 1240576 w 12188819"/>
              <a:gd name="connsiteY666" fmla="*/ 6466949 h 6857997"/>
              <a:gd name="connsiteX667" fmla="*/ 1244413 w 12188819"/>
              <a:gd name="connsiteY667" fmla="*/ 6460531 h 6857997"/>
              <a:gd name="connsiteX668" fmla="*/ 1250413 w 12188819"/>
              <a:gd name="connsiteY668" fmla="*/ 6458228 h 6857997"/>
              <a:gd name="connsiteX669" fmla="*/ 1257877 w 12188819"/>
              <a:gd name="connsiteY669" fmla="*/ 6460949 h 6857997"/>
              <a:gd name="connsiteX670" fmla="*/ 1261365 w 12188819"/>
              <a:gd name="connsiteY670" fmla="*/ 6449299 h 6857997"/>
              <a:gd name="connsiteX671" fmla="*/ 1250831 w 12188819"/>
              <a:gd name="connsiteY671" fmla="*/ 6445252 h 6857997"/>
              <a:gd name="connsiteX672" fmla="*/ 1141038 w 12188819"/>
              <a:gd name="connsiteY672" fmla="*/ 6445252 h 6857997"/>
              <a:gd name="connsiteX673" fmla="*/ 1131286 w 12188819"/>
              <a:gd name="connsiteY673" fmla="*/ 6447903 h 6857997"/>
              <a:gd name="connsiteX674" fmla="*/ 1123555 w 12188819"/>
              <a:gd name="connsiteY674" fmla="*/ 6456554 h 6857997"/>
              <a:gd name="connsiteX675" fmla="*/ 1123555 w 12188819"/>
              <a:gd name="connsiteY675" fmla="*/ 6446927 h 6857997"/>
              <a:gd name="connsiteX676" fmla="*/ 1114068 w 12188819"/>
              <a:gd name="connsiteY676" fmla="*/ 6446927 h 6857997"/>
              <a:gd name="connsiteX677" fmla="*/ 1114068 w 12188819"/>
              <a:gd name="connsiteY677" fmla="*/ 6549409 h 6857997"/>
              <a:gd name="connsiteX678" fmla="*/ 1124323 w 12188819"/>
              <a:gd name="connsiteY678" fmla="*/ 6549409 h 6857997"/>
              <a:gd name="connsiteX679" fmla="*/ 1124323 w 12188819"/>
              <a:gd name="connsiteY679" fmla="*/ 6513341 h 6857997"/>
              <a:gd name="connsiteX680" fmla="*/ 1131439 w 12188819"/>
              <a:gd name="connsiteY680" fmla="*/ 6520248 h 6857997"/>
              <a:gd name="connsiteX681" fmla="*/ 1140298 w 12188819"/>
              <a:gd name="connsiteY681" fmla="*/ 6522690 h 6857997"/>
              <a:gd name="connsiteX682" fmla="*/ 1158890 w 12188819"/>
              <a:gd name="connsiteY682" fmla="*/ 6512469 h 6857997"/>
              <a:gd name="connsiteX683" fmla="*/ 1166808 w 12188819"/>
              <a:gd name="connsiteY683" fmla="*/ 6483343 h 6857997"/>
              <a:gd name="connsiteX684" fmla="*/ 1163291 w 12188819"/>
              <a:gd name="connsiteY684" fmla="*/ 6462449 h 6857997"/>
              <a:gd name="connsiteX685" fmla="*/ 1153993 w 12188819"/>
              <a:gd name="connsiteY685" fmla="*/ 6449508 h 6857997"/>
              <a:gd name="connsiteX686" fmla="*/ 1141038 w 12188819"/>
              <a:gd name="connsiteY686" fmla="*/ 6445252 h 6857997"/>
              <a:gd name="connsiteX687" fmla="*/ 1071949 w 12188819"/>
              <a:gd name="connsiteY687" fmla="*/ 6445252 h 6857997"/>
              <a:gd name="connsiteX688" fmla="*/ 1051543 w 12188819"/>
              <a:gd name="connsiteY688" fmla="*/ 6455019 h 6857997"/>
              <a:gd name="connsiteX689" fmla="*/ 1043486 w 12188819"/>
              <a:gd name="connsiteY689" fmla="*/ 6483971 h 6857997"/>
              <a:gd name="connsiteX690" fmla="*/ 1051613 w 12188819"/>
              <a:gd name="connsiteY690" fmla="*/ 6512888 h 6857997"/>
              <a:gd name="connsiteX691" fmla="*/ 1071949 w 12188819"/>
              <a:gd name="connsiteY691" fmla="*/ 6522690 h 6857997"/>
              <a:gd name="connsiteX692" fmla="*/ 1092390 w 12188819"/>
              <a:gd name="connsiteY692" fmla="*/ 6512923 h 6857997"/>
              <a:gd name="connsiteX693" fmla="*/ 1100412 w 12188819"/>
              <a:gd name="connsiteY693" fmla="*/ 6483204 h 6857997"/>
              <a:gd name="connsiteX694" fmla="*/ 1092250 w 12188819"/>
              <a:gd name="connsiteY694" fmla="*/ 6455019 h 6857997"/>
              <a:gd name="connsiteX695" fmla="*/ 1071949 w 12188819"/>
              <a:gd name="connsiteY695" fmla="*/ 6445252 h 6857997"/>
              <a:gd name="connsiteX696" fmla="*/ 883892 w 12188819"/>
              <a:gd name="connsiteY696" fmla="*/ 6440020 h 6857997"/>
              <a:gd name="connsiteX697" fmla="*/ 867086 w 12188819"/>
              <a:gd name="connsiteY697" fmla="*/ 6447642 h 6857997"/>
              <a:gd name="connsiteX698" fmla="*/ 860692 w 12188819"/>
              <a:gd name="connsiteY698" fmla="*/ 6469809 h 6857997"/>
              <a:gd name="connsiteX699" fmla="*/ 867156 w 12188819"/>
              <a:gd name="connsiteY699" fmla="*/ 6492115 h 6857997"/>
              <a:gd name="connsiteX700" fmla="*/ 883401 w 12188819"/>
              <a:gd name="connsiteY700" fmla="*/ 6499877 h 6857997"/>
              <a:gd name="connsiteX701" fmla="*/ 896713 w 12188819"/>
              <a:gd name="connsiteY701" fmla="*/ 6494819 h 6857997"/>
              <a:gd name="connsiteX702" fmla="*/ 904155 w 12188819"/>
              <a:gd name="connsiteY702" fmla="*/ 6480762 h 6857997"/>
              <a:gd name="connsiteX703" fmla="*/ 897178 w 12188819"/>
              <a:gd name="connsiteY703" fmla="*/ 6478250 h 6857997"/>
              <a:gd name="connsiteX704" fmla="*/ 891863 w 12188819"/>
              <a:gd name="connsiteY704" fmla="*/ 6488192 h 6857997"/>
              <a:gd name="connsiteX705" fmla="*/ 882842 w 12188819"/>
              <a:gd name="connsiteY705" fmla="*/ 6491715 h 6857997"/>
              <a:gd name="connsiteX706" fmla="*/ 872562 w 12188819"/>
              <a:gd name="connsiteY706" fmla="*/ 6486326 h 6857997"/>
              <a:gd name="connsiteX707" fmla="*/ 868436 w 12188819"/>
              <a:gd name="connsiteY707" fmla="*/ 6470300 h 6857997"/>
              <a:gd name="connsiteX708" fmla="*/ 872772 w 12188819"/>
              <a:gd name="connsiteY708" fmla="*/ 6453502 h 6857997"/>
              <a:gd name="connsiteX709" fmla="*/ 883613 w 12188819"/>
              <a:gd name="connsiteY709" fmla="*/ 6447834 h 6857997"/>
              <a:gd name="connsiteX710" fmla="*/ 891341 w 12188819"/>
              <a:gd name="connsiteY710" fmla="*/ 6450520 h 6857997"/>
              <a:gd name="connsiteX711" fmla="*/ 896481 w 12188819"/>
              <a:gd name="connsiteY711" fmla="*/ 6458507 h 6857997"/>
              <a:gd name="connsiteX712" fmla="*/ 903317 w 12188819"/>
              <a:gd name="connsiteY712" fmla="*/ 6456484 h 6857997"/>
              <a:gd name="connsiteX713" fmla="*/ 896260 w 12188819"/>
              <a:gd name="connsiteY713" fmla="*/ 6444346 h 6857997"/>
              <a:gd name="connsiteX714" fmla="*/ 883892 w 12188819"/>
              <a:gd name="connsiteY714" fmla="*/ 6440020 h 6857997"/>
              <a:gd name="connsiteX715" fmla="*/ 2030135 w 12188819"/>
              <a:gd name="connsiteY715" fmla="*/ 6429486 h 6857997"/>
              <a:gd name="connsiteX716" fmla="*/ 2036063 w 12188819"/>
              <a:gd name="connsiteY716" fmla="*/ 6450694 h 6857997"/>
              <a:gd name="connsiteX717" fmla="*/ 2044779 w 12188819"/>
              <a:gd name="connsiteY717" fmla="*/ 6479018 h 6857997"/>
              <a:gd name="connsiteX718" fmla="*/ 2016211 w 12188819"/>
              <a:gd name="connsiteY718" fmla="*/ 6479018 h 6857997"/>
              <a:gd name="connsiteX719" fmla="*/ 2025540 w 12188819"/>
              <a:gd name="connsiteY719" fmla="*/ 6449020 h 6857997"/>
              <a:gd name="connsiteX720" fmla="*/ 2030135 w 12188819"/>
              <a:gd name="connsiteY720" fmla="*/ 6429486 h 6857997"/>
              <a:gd name="connsiteX721" fmla="*/ 883226 w 12188819"/>
              <a:gd name="connsiteY721" fmla="*/ 6425649 h 6857997"/>
              <a:gd name="connsiteX722" fmla="*/ 907922 w 12188819"/>
              <a:gd name="connsiteY722" fmla="*/ 6437738 h 6857997"/>
              <a:gd name="connsiteX723" fmla="*/ 919223 w 12188819"/>
              <a:gd name="connsiteY723" fmla="*/ 6469670 h 6857997"/>
              <a:gd name="connsiteX724" fmla="*/ 909317 w 12188819"/>
              <a:gd name="connsiteY724" fmla="*/ 6499925 h 6857997"/>
              <a:gd name="connsiteX725" fmla="*/ 883226 w 12188819"/>
              <a:gd name="connsiteY725" fmla="*/ 6513620 h 6857997"/>
              <a:gd name="connsiteX726" fmla="*/ 858530 w 12188819"/>
              <a:gd name="connsiteY726" fmla="*/ 6501603 h 6857997"/>
              <a:gd name="connsiteX727" fmla="*/ 847228 w 12188819"/>
              <a:gd name="connsiteY727" fmla="*/ 6469670 h 6857997"/>
              <a:gd name="connsiteX728" fmla="*/ 857134 w 12188819"/>
              <a:gd name="connsiteY728" fmla="*/ 6439344 h 6857997"/>
              <a:gd name="connsiteX729" fmla="*/ 883226 w 12188819"/>
              <a:gd name="connsiteY729" fmla="*/ 6425649 h 6857997"/>
              <a:gd name="connsiteX730" fmla="*/ 6208295 w 12188819"/>
              <a:gd name="connsiteY730" fmla="*/ 6421045 h 6857997"/>
              <a:gd name="connsiteX731" fmla="*/ 6198040 w 12188819"/>
              <a:gd name="connsiteY731" fmla="*/ 6428579 h 6857997"/>
              <a:gd name="connsiteX732" fmla="*/ 6198040 w 12188819"/>
              <a:gd name="connsiteY732" fmla="*/ 6446927 h 6857997"/>
              <a:gd name="connsiteX733" fmla="*/ 6190505 w 12188819"/>
              <a:gd name="connsiteY733" fmla="*/ 6446927 h 6857997"/>
              <a:gd name="connsiteX734" fmla="*/ 6190505 w 12188819"/>
              <a:gd name="connsiteY734" fmla="*/ 6456694 h 6857997"/>
              <a:gd name="connsiteX735" fmla="*/ 6198040 w 12188819"/>
              <a:gd name="connsiteY735" fmla="*/ 6456694 h 6857997"/>
              <a:gd name="connsiteX736" fmla="*/ 6198040 w 12188819"/>
              <a:gd name="connsiteY736" fmla="*/ 6499319 h 6857997"/>
              <a:gd name="connsiteX737" fmla="*/ 6199261 w 12188819"/>
              <a:gd name="connsiteY737" fmla="*/ 6514039 h 6857997"/>
              <a:gd name="connsiteX738" fmla="*/ 6203760 w 12188819"/>
              <a:gd name="connsiteY738" fmla="*/ 6519864 h 6857997"/>
              <a:gd name="connsiteX739" fmla="*/ 6212411 w 12188819"/>
              <a:gd name="connsiteY739" fmla="*/ 6521992 h 6857997"/>
              <a:gd name="connsiteX740" fmla="*/ 6220085 w 12188819"/>
              <a:gd name="connsiteY740" fmla="*/ 6520876 h 6857997"/>
              <a:gd name="connsiteX741" fmla="*/ 6218690 w 12188819"/>
              <a:gd name="connsiteY741" fmla="*/ 6509783 h 6857997"/>
              <a:gd name="connsiteX742" fmla="*/ 6214155 w 12188819"/>
              <a:gd name="connsiteY742" fmla="*/ 6510272 h 6857997"/>
              <a:gd name="connsiteX743" fmla="*/ 6209202 w 12188819"/>
              <a:gd name="connsiteY743" fmla="*/ 6507760 h 6857997"/>
              <a:gd name="connsiteX744" fmla="*/ 6208295 w 12188819"/>
              <a:gd name="connsiteY744" fmla="*/ 6500017 h 6857997"/>
              <a:gd name="connsiteX745" fmla="*/ 6208295 w 12188819"/>
              <a:gd name="connsiteY745" fmla="*/ 6456694 h 6857997"/>
              <a:gd name="connsiteX746" fmla="*/ 6218690 w 12188819"/>
              <a:gd name="connsiteY746" fmla="*/ 6456694 h 6857997"/>
              <a:gd name="connsiteX747" fmla="*/ 6218690 w 12188819"/>
              <a:gd name="connsiteY747" fmla="*/ 6446927 h 6857997"/>
              <a:gd name="connsiteX748" fmla="*/ 6208295 w 12188819"/>
              <a:gd name="connsiteY748" fmla="*/ 6446927 h 6857997"/>
              <a:gd name="connsiteX749" fmla="*/ 2421955 w 12188819"/>
              <a:gd name="connsiteY749" fmla="*/ 6421045 h 6857997"/>
              <a:gd name="connsiteX750" fmla="*/ 2411700 w 12188819"/>
              <a:gd name="connsiteY750" fmla="*/ 6428579 h 6857997"/>
              <a:gd name="connsiteX751" fmla="*/ 2411700 w 12188819"/>
              <a:gd name="connsiteY751" fmla="*/ 6446927 h 6857997"/>
              <a:gd name="connsiteX752" fmla="*/ 2404165 w 12188819"/>
              <a:gd name="connsiteY752" fmla="*/ 6446927 h 6857997"/>
              <a:gd name="connsiteX753" fmla="*/ 2404165 w 12188819"/>
              <a:gd name="connsiteY753" fmla="*/ 6456694 h 6857997"/>
              <a:gd name="connsiteX754" fmla="*/ 2411700 w 12188819"/>
              <a:gd name="connsiteY754" fmla="*/ 6456694 h 6857997"/>
              <a:gd name="connsiteX755" fmla="*/ 2411700 w 12188819"/>
              <a:gd name="connsiteY755" fmla="*/ 6499319 h 6857997"/>
              <a:gd name="connsiteX756" fmla="*/ 2412921 w 12188819"/>
              <a:gd name="connsiteY756" fmla="*/ 6514039 h 6857997"/>
              <a:gd name="connsiteX757" fmla="*/ 2417421 w 12188819"/>
              <a:gd name="connsiteY757" fmla="*/ 6519864 h 6857997"/>
              <a:gd name="connsiteX758" fmla="*/ 2426071 w 12188819"/>
              <a:gd name="connsiteY758" fmla="*/ 6521992 h 6857997"/>
              <a:gd name="connsiteX759" fmla="*/ 2432786 w 12188819"/>
              <a:gd name="connsiteY759" fmla="*/ 6521015 h 6857997"/>
              <a:gd name="connsiteX760" fmla="*/ 2486528 w 12188819"/>
              <a:gd name="connsiteY760" fmla="*/ 6521015 h 6857997"/>
              <a:gd name="connsiteX761" fmla="*/ 2486528 w 12188819"/>
              <a:gd name="connsiteY761" fmla="*/ 6510202 h 6857997"/>
              <a:gd name="connsiteX762" fmla="*/ 2458405 w 12188819"/>
              <a:gd name="connsiteY762" fmla="*/ 6510202 h 6857997"/>
              <a:gd name="connsiteX763" fmla="*/ 2445424 w 12188819"/>
              <a:gd name="connsiteY763" fmla="*/ 6510830 h 6857997"/>
              <a:gd name="connsiteX764" fmla="*/ 2451786 w 12188819"/>
              <a:gd name="connsiteY764" fmla="*/ 6502249 h 6857997"/>
              <a:gd name="connsiteX765" fmla="*/ 2484784 w 12188819"/>
              <a:gd name="connsiteY765" fmla="*/ 6455229 h 6857997"/>
              <a:gd name="connsiteX766" fmla="*/ 2484784 w 12188819"/>
              <a:gd name="connsiteY766" fmla="*/ 6446927 h 6857997"/>
              <a:gd name="connsiteX767" fmla="*/ 2435043 w 12188819"/>
              <a:gd name="connsiteY767" fmla="*/ 6446927 h 6857997"/>
              <a:gd name="connsiteX768" fmla="*/ 2435043 w 12188819"/>
              <a:gd name="connsiteY768" fmla="*/ 6457112 h 6857997"/>
              <a:gd name="connsiteX769" fmla="*/ 2459828 w 12188819"/>
              <a:gd name="connsiteY769" fmla="*/ 6457112 h 6857997"/>
              <a:gd name="connsiteX770" fmla="*/ 2471487 w 12188819"/>
              <a:gd name="connsiteY770" fmla="*/ 6456694 h 6857997"/>
              <a:gd name="connsiteX771" fmla="*/ 2432740 w 12188819"/>
              <a:gd name="connsiteY771" fmla="*/ 6510830 h 6857997"/>
              <a:gd name="connsiteX772" fmla="*/ 2432740 w 12188819"/>
              <a:gd name="connsiteY772" fmla="*/ 6512889 h 6857997"/>
              <a:gd name="connsiteX773" fmla="*/ 2432350 w 12188819"/>
              <a:gd name="connsiteY773" fmla="*/ 6509783 h 6857997"/>
              <a:gd name="connsiteX774" fmla="*/ 2427815 w 12188819"/>
              <a:gd name="connsiteY774" fmla="*/ 6510272 h 6857997"/>
              <a:gd name="connsiteX775" fmla="*/ 2422862 w 12188819"/>
              <a:gd name="connsiteY775" fmla="*/ 6507760 h 6857997"/>
              <a:gd name="connsiteX776" fmla="*/ 2421955 w 12188819"/>
              <a:gd name="connsiteY776" fmla="*/ 6500017 h 6857997"/>
              <a:gd name="connsiteX777" fmla="*/ 2421955 w 12188819"/>
              <a:gd name="connsiteY777" fmla="*/ 6456694 h 6857997"/>
              <a:gd name="connsiteX778" fmla="*/ 2432350 w 12188819"/>
              <a:gd name="connsiteY778" fmla="*/ 6456694 h 6857997"/>
              <a:gd name="connsiteX779" fmla="*/ 2432350 w 12188819"/>
              <a:gd name="connsiteY779" fmla="*/ 6446927 h 6857997"/>
              <a:gd name="connsiteX780" fmla="*/ 2421955 w 12188819"/>
              <a:gd name="connsiteY780" fmla="*/ 6446927 h 6857997"/>
              <a:gd name="connsiteX781" fmla="*/ 1440880 w 12188819"/>
              <a:gd name="connsiteY781" fmla="*/ 6421045 h 6857997"/>
              <a:gd name="connsiteX782" fmla="*/ 1430625 w 12188819"/>
              <a:gd name="connsiteY782" fmla="*/ 6428579 h 6857997"/>
              <a:gd name="connsiteX783" fmla="*/ 1430625 w 12188819"/>
              <a:gd name="connsiteY783" fmla="*/ 6446927 h 6857997"/>
              <a:gd name="connsiteX784" fmla="*/ 1423090 w 12188819"/>
              <a:gd name="connsiteY784" fmla="*/ 6446927 h 6857997"/>
              <a:gd name="connsiteX785" fmla="*/ 1423090 w 12188819"/>
              <a:gd name="connsiteY785" fmla="*/ 6456694 h 6857997"/>
              <a:gd name="connsiteX786" fmla="*/ 1430625 w 12188819"/>
              <a:gd name="connsiteY786" fmla="*/ 6456694 h 6857997"/>
              <a:gd name="connsiteX787" fmla="*/ 1430625 w 12188819"/>
              <a:gd name="connsiteY787" fmla="*/ 6499319 h 6857997"/>
              <a:gd name="connsiteX788" fmla="*/ 1431846 w 12188819"/>
              <a:gd name="connsiteY788" fmla="*/ 6514039 h 6857997"/>
              <a:gd name="connsiteX789" fmla="*/ 1436345 w 12188819"/>
              <a:gd name="connsiteY789" fmla="*/ 6519864 h 6857997"/>
              <a:gd name="connsiteX790" fmla="*/ 1444996 w 12188819"/>
              <a:gd name="connsiteY790" fmla="*/ 6521992 h 6857997"/>
              <a:gd name="connsiteX791" fmla="*/ 1452670 w 12188819"/>
              <a:gd name="connsiteY791" fmla="*/ 6520876 h 6857997"/>
              <a:gd name="connsiteX792" fmla="*/ 1451275 w 12188819"/>
              <a:gd name="connsiteY792" fmla="*/ 6509783 h 6857997"/>
              <a:gd name="connsiteX793" fmla="*/ 1446740 w 12188819"/>
              <a:gd name="connsiteY793" fmla="*/ 6510272 h 6857997"/>
              <a:gd name="connsiteX794" fmla="*/ 1441787 w 12188819"/>
              <a:gd name="connsiteY794" fmla="*/ 6507760 h 6857997"/>
              <a:gd name="connsiteX795" fmla="*/ 1440880 w 12188819"/>
              <a:gd name="connsiteY795" fmla="*/ 6500017 h 6857997"/>
              <a:gd name="connsiteX796" fmla="*/ 1440880 w 12188819"/>
              <a:gd name="connsiteY796" fmla="*/ 6456694 h 6857997"/>
              <a:gd name="connsiteX797" fmla="*/ 1451275 w 12188819"/>
              <a:gd name="connsiteY797" fmla="*/ 6456694 h 6857997"/>
              <a:gd name="connsiteX798" fmla="*/ 1451275 w 12188819"/>
              <a:gd name="connsiteY798" fmla="*/ 6446927 h 6857997"/>
              <a:gd name="connsiteX799" fmla="*/ 1440880 w 12188819"/>
              <a:gd name="connsiteY799" fmla="*/ 6446927 h 6857997"/>
              <a:gd name="connsiteX800" fmla="*/ 6319284 w 12188819"/>
              <a:gd name="connsiteY800" fmla="*/ 6418742 h 6857997"/>
              <a:gd name="connsiteX801" fmla="*/ 6319284 w 12188819"/>
              <a:gd name="connsiteY801" fmla="*/ 6521015 h 6857997"/>
              <a:gd name="connsiteX802" fmla="*/ 6329539 w 12188819"/>
              <a:gd name="connsiteY802" fmla="*/ 6521015 h 6857997"/>
              <a:gd name="connsiteX803" fmla="*/ 6329539 w 12188819"/>
              <a:gd name="connsiteY803" fmla="*/ 6418742 h 6857997"/>
              <a:gd name="connsiteX804" fmla="*/ 6224382 w 12188819"/>
              <a:gd name="connsiteY804" fmla="*/ 6418742 h 6857997"/>
              <a:gd name="connsiteX805" fmla="*/ 6224382 w 12188819"/>
              <a:gd name="connsiteY805" fmla="*/ 6433183 h 6857997"/>
              <a:gd name="connsiteX806" fmla="*/ 6234638 w 12188819"/>
              <a:gd name="connsiteY806" fmla="*/ 6433183 h 6857997"/>
              <a:gd name="connsiteX807" fmla="*/ 6234638 w 12188819"/>
              <a:gd name="connsiteY807" fmla="*/ 6418742 h 6857997"/>
              <a:gd name="connsiteX808" fmla="*/ 6034361 w 12188819"/>
              <a:gd name="connsiteY808" fmla="*/ 6418742 h 6857997"/>
              <a:gd name="connsiteX809" fmla="*/ 6034361 w 12188819"/>
              <a:gd name="connsiteY809" fmla="*/ 6455438 h 6857997"/>
              <a:gd name="connsiteX810" fmla="*/ 6027153 w 12188819"/>
              <a:gd name="connsiteY810" fmla="*/ 6447938 h 6857997"/>
              <a:gd name="connsiteX811" fmla="*/ 6017716 w 12188819"/>
              <a:gd name="connsiteY811" fmla="*/ 6445252 h 6857997"/>
              <a:gd name="connsiteX812" fmla="*/ 6004796 w 12188819"/>
              <a:gd name="connsiteY812" fmla="*/ 6449508 h 6857997"/>
              <a:gd name="connsiteX813" fmla="*/ 5995497 w 12188819"/>
              <a:gd name="connsiteY813" fmla="*/ 6462554 h 6857997"/>
              <a:gd name="connsiteX814" fmla="*/ 5992015 w 12188819"/>
              <a:gd name="connsiteY814" fmla="*/ 6483971 h 6857997"/>
              <a:gd name="connsiteX815" fmla="*/ 5999864 w 12188819"/>
              <a:gd name="connsiteY815" fmla="*/ 6512539 h 6857997"/>
              <a:gd name="connsiteX816" fmla="*/ 6018456 w 12188819"/>
              <a:gd name="connsiteY816" fmla="*/ 6522690 h 6857997"/>
              <a:gd name="connsiteX817" fmla="*/ 6027944 w 12188819"/>
              <a:gd name="connsiteY817" fmla="*/ 6519864 h 6857997"/>
              <a:gd name="connsiteX818" fmla="*/ 6035129 w 12188819"/>
              <a:gd name="connsiteY818" fmla="*/ 6511667 h 6857997"/>
              <a:gd name="connsiteX819" fmla="*/ 6035129 w 12188819"/>
              <a:gd name="connsiteY819" fmla="*/ 6521015 h 6857997"/>
              <a:gd name="connsiteX820" fmla="*/ 6044756 w 12188819"/>
              <a:gd name="connsiteY820" fmla="*/ 6521015 h 6857997"/>
              <a:gd name="connsiteX821" fmla="*/ 6044756 w 12188819"/>
              <a:gd name="connsiteY821" fmla="*/ 6418742 h 6857997"/>
              <a:gd name="connsiteX822" fmla="*/ 2790947 w 12188819"/>
              <a:gd name="connsiteY822" fmla="*/ 6418742 h 6857997"/>
              <a:gd name="connsiteX823" fmla="*/ 2790947 w 12188819"/>
              <a:gd name="connsiteY823" fmla="*/ 6455438 h 6857997"/>
              <a:gd name="connsiteX824" fmla="*/ 2783737 w 12188819"/>
              <a:gd name="connsiteY824" fmla="*/ 6447938 h 6857997"/>
              <a:gd name="connsiteX825" fmla="*/ 2774300 w 12188819"/>
              <a:gd name="connsiteY825" fmla="*/ 6445252 h 6857997"/>
              <a:gd name="connsiteX826" fmla="*/ 2761380 w 12188819"/>
              <a:gd name="connsiteY826" fmla="*/ 6449508 h 6857997"/>
              <a:gd name="connsiteX827" fmla="*/ 2752082 w 12188819"/>
              <a:gd name="connsiteY827" fmla="*/ 6462554 h 6857997"/>
              <a:gd name="connsiteX828" fmla="*/ 2748600 w 12188819"/>
              <a:gd name="connsiteY828" fmla="*/ 6483971 h 6857997"/>
              <a:gd name="connsiteX829" fmla="*/ 2756449 w 12188819"/>
              <a:gd name="connsiteY829" fmla="*/ 6512539 h 6857997"/>
              <a:gd name="connsiteX830" fmla="*/ 2775041 w 12188819"/>
              <a:gd name="connsiteY830" fmla="*/ 6522690 h 6857997"/>
              <a:gd name="connsiteX831" fmla="*/ 2784528 w 12188819"/>
              <a:gd name="connsiteY831" fmla="*/ 6519864 h 6857997"/>
              <a:gd name="connsiteX832" fmla="*/ 2791714 w 12188819"/>
              <a:gd name="connsiteY832" fmla="*/ 6511667 h 6857997"/>
              <a:gd name="connsiteX833" fmla="*/ 2791714 w 12188819"/>
              <a:gd name="connsiteY833" fmla="*/ 6521015 h 6857997"/>
              <a:gd name="connsiteX834" fmla="*/ 2801341 w 12188819"/>
              <a:gd name="connsiteY834" fmla="*/ 6521015 h 6857997"/>
              <a:gd name="connsiteX835" fmla="*/ 2801341 w 12188819"/>
              <a:gd name="connsiteY835" fmla="*/ 6418742 h 6857997"/>
              <a:gd name="connsiteX836" fmla="*/ 2590094 w 12188819"/>
              <a:gd name="connsiteY836" fmla="*/ 6418742 h 6857997"/>
              <a:gd name="connsiteX837" fmla="*/ 2590094 w 12188819"/>
              <a:gd name="connsiteY837" fmla="*/ 6521015 h 6857997"/>
              <a:gd name="connsiteX838" fmla="*/ 2600349 w 12188819"/>
              <a:gd name="connsiteY838" fmla="*/ 6521015 h 6857997"/>
              <a:gd name="connsiteX839" fmla="*/ 2600349 w 12188819"/>
              <a:gd name="connsiteY839" fmla="*/ 6418742 h 6857997"/>
              <a:gd name="connsiteX840" fmla="*/ 2380892 w 12188819"/>
              <a:gd name="connsiteY840" fmla="*/ 6418742 h 6857997"/>
              <a:gd name="connsiteX841" fmla="*/ 2380892 w 12188819"/>
              <a:gd name="connsiteY841" fmla="*/ 6433183 h 6857997"/>
              <a:gd name="connsiteX842" fmla="*/ 2391148 w 12188819"/>
              <a:gd name="connsiteY842" fmla="*/ 6433183 h 6857997"/>
              <a:gd name="connsiteX843" fmla="*/ 2391148 w 12188819"/>
              <a:gd name="connsiteY843" fmla="*/ 6418742 h 6857997"/>
              <a:gd name="connsiteX844" fmla="*/ 2024493 w 12188819"/>
              <a:gd name="connsiteY844" fmla="*/ 6418742 h 6857997"/>
              <a:gd name="connsiteX845" fmla="*/ 1992149 w 12188819"/>
              <a:gd name="connsiteY845" fmla="*/ 6521015 h 6857997"/>
              <a:gd name="connsiteX846" fmla="*/ 2003850 w 12188819"/>
              <a:gd name="connsiteY846" fmla="*/ 6521015 h 6857997"/>
              <a:gd name="connsiteX847" fmla="*/ 2012966 w 12188819"/>
              <a:gd name="connsiteY847" fmla="*/ 6490040 h 6857997"/>
              <a:gd name="connsiteX848" fmla="*/ 2048249 w 12188819"/>
              <a:gd name="connsiteY848" fmla="*/ 6490040 h 6857997"/>
              <a:gd name="connsiteX849" fmla="*/ 2058004 w 12188819"/>
              <a:gd name="connsiteY849" fmla="*/ 6521015 h 6857997"/>
              <a:gd name="connsiteX850" fmla="*/ 2070702 w 12188819"/>
              <a:gd name="connsiteY850" fmla="*/ 6521015 h 6857997"/>
              <a:gd name="connsiteX851" fmla="*/ 2036357 w 12188819"/>
              <a:gd name="connsiteY851" fmla="*/ 6418742 h 6857997"/>
              <a:gd name="connsiteX852" fmla="*/ 1818918 w 12188819"/>
              <a:gd name="connsiteY852" fmla="*/ 6418742 h 6857997"/>
              <a:gd name="connsiteX853" fmla="*/ 1818918 w 12188819"/>
              <a:gd name="connsiteY853" fmla="*/ 6433183 h 6857997"/>
              <a:gd name="connsiteX854" fmla="*/ 1829173 w 12188819"/>
              <a:gd name="connsiteY854" fmla="*/ 6433183 h 6857997"/>
              <a:gd name="connsiteX855" fmla="*/ 1829173 w 12188819"/>
              <a:gd name="connsiteY855" fmla="*/ 6418742 h 6857997"/>
              <a:gd name="connsiteX856" fmla="*/ 1752242 w 12188819"/>
              <a:gd name="connsiteY856" fmla="*/ 6418742 h 6857997"/>
              <a:gd name="connsiteX857" fmla="*/ 1752242 w 12188819"/>
              <a:gd name="connsiteY857" fmla="*/ 6433183 h 6857997"/>
              <a:gd name="connsiteX858" fmla="*/ 1762498 w 12188819"/>
              <a:gd name="connsiteY858" fmla="*/ 6433183 h 6857997"/>
              <a:gd name="connsiteX859" fmla="*/ 1762498 w 12188819"/>
              <a:gd name="connsiteY859" fmla="*/ 6418742 h 6857997"/>
              <a:gd name="connsiteX860" fmla="*/ 1361717 w 12188819"/>
              <a:gd name="connsiteY860" fmla="*/ 6418742 h 6857997"/>
              <a:gd name="connsiteX861" fmla="*/ 1361717 w 12188819"/>
              <a:gd name="connsiteY861" fmla="*/ 6521015 h 6857997"/>
              <a:gd name="connsiteX862" fmla="*/ 1371973 w 12188819"/>
              <a:gd name="connsiteY862" fmla="*/ 6521015 h 6857997"/>
              <a:gd name="connsiteX863" fmla="*/ 1371973 w 12188819"/>
              <a:gd name="connsiteY863" fmla="*/ 6480483 h 6857997"/>
              <a:gd name="connsiteX864" fmla="*/ 1376682 w 12188819"/>
              <a:gd name="connsiteY864" fmla="*/ 6461437 h 6857997"/>
              <a:gd name="connsiteX865" fmla="*/ 1388088 w 12188819"/>
              <a:gd name="connsiteY865" fmla="*/ 6456066 h 6857997"/>
              <a:gd name="connsiteX866" fmla="*/ 1397506 w 12188819"/>
              <a:gd name="connsiteY866" fmla="*/ 6460252 h 6857997"/>
              <a:gd name="connsiteX867" fmla="*/ 1400924 w 12188819"/>
              <a:gd name="connsiteY867" fmla="*/ 6474065 h 6857997"/>
              <a:gd name="connsiteX868" fmla="*/ 1400924 w 12188819"/>
              <a:gd name="connsiteY868" fmla="*/ 6521015 h 6857997"/>
              <a:gd name="connsiteX869" fmla="*/ 1411180 w 12188819"/>
              <a:gd name="connsiteY869" fmla="*/ 6521015 h 6857997"/>
              <a:gd name="connsiteX870" fmla="*/ 1411180 w 12188819"/>
              <a:gd name="connsiteY870" fmla="*/ 6474065 h 6857997"/>
              <a:gd name="connsiteX871" fmla="*/ 1405564 w 12188819"/>
              <a:gd name="connsiteY871" fmla="*/ 6451426 h 6857997"/>
              <a:gd name="connsiteX872" fmla="*/ 1390251 w 12188819"/>
              <a:gd name="connsiteY872" fmla="*/ 6445252 h 6857997"/>
              <a:gd name="connsiteX873" fmla="*/ 1380170 w 12188819"/>
              <a:gd name="connsiteY873" fmla="*/ 6447799 h 6857997"/>
              <a:gd name="connsiteX874" fmla="*/ 1371973 w 12188819"/>
              <a:gd name="connsiteY874" fmla="*/ 6455438 h 6857997"/>
              <a:gd name="connsiteX875" fmla="*/ 1371973 w 12188819"/>
              <a:gd name="connsiteY875" fmla="*/ 6418742 h 6857997"/>
              <a:gd name="connsiteX876" fmla="*/ 1266468 w 12188819"/>
              <a:gd name="connsiteY876" fmla="*/ 6418742 h 6857997"/>
              <a:gd name="connsiteX877" fmla="*/ 1266468 w 12188819"/>
              <a:gd name="connsiteY877" fmla="*/ 6433183 h 6857997"/>
              <a:gd name="connsiteX878" fmla="*/ 1276723 w 12188819"/>
              <a:gd name="connsiteY878" fmla="*/ 6433183 h 6857997"/>
              <a:gd name="connsiteX879" fmla="*/ 1276723 w 12188819"/>
              <a:gd name="connsiteY879" fmla="*/ 6418742 h 6857997"/>
              <a:gd name="connsiteX880" fmla="*/ 5958281 w 12188819"/>
              <a:gd name="connsiteY880" fmla="*/ 6416998 h 6857997"/>
              <a:gd name="connsiteX881" fmla="*/ 5948873 w 12188819"/>
              <a:gd name="connsiteY881" fmla="*/ 6419301 h 6857997"/>
              <a:gd name="connsiteX882" fmla="*/ 5943311 w 12188819"/>
              <a:gd name="connsiteY882" fmla="*/ 6425963 h 6857997"/>
              <a:gd name="connsiteX883" fmla="*/ 5941493 w 12188819"/>
              <a:gd name="connsiteY883" fmla="*/ 6439044 h 6857997"/>
              <a:gd name="connsiteX884" fmla="*/ 5941493 w 12188819"/>
              <a:gd name="connsiteY884" fmla="*/ 6446927 h 6857997"/>
              <a:gd name="connsiteX885" fmla="*/ 5932354 w 12188819"/>
              <a:gd name="connsiteY885" fmla="*/ 6446927 h 6857997"/>
              <a:gd name="connsiteX886" fmla="*/ 5932354 w 12188819"/>
              <a:gd name="connsiteY886" fmla="*/ 6456694 h 6857997"/>
              <a:gd name="connsiteX887" fmla="*/ 5941493 w 12188819"/>
              <a:gd name="connsiteY887" fmla="*/ 6456694 h 6857997"/>
              <a:gd name="connsiteX888" fmla="*/ 5941493 w 12188819"/>
              <a:gd name="connsiteY888" fmla="*/ 6521015 h 6857997"/>
              <a:gd name="connsiteX889" fmla="*/ 5951748 w 12188819"/>
              <a:gd name="connsiteY889" fmla="*/ 6521015 h 6857997"/>
              <a:gd name="connsiteX890" fmla="*/ 5951748 w 12188819"/>
              <a:gd name="connsiteY890" fmla="*/ 6456694 h 6857997"/>
              <a:gd name="connsiteX891" fmla="*/ 5963609 w 12188819"/>
              <a:gd name="connsiteY891" fmla="*/ 6456694 h 6857997"/>
              <a:gd name="connsiteX892" fmla="*/ 5963609 w 12188819"/>
              <a:gd name="connsiteY892" fmla="*/ 6446927 h 6857997"/>
              <a:gd name="connsiteX893" fmla="*/ 5951748 w 12188819"/>
              <a:gd name="connsiteY893" fmla="*/ 6446927 h 6857997"/>
              <a:gd name="connsiteX894" fmla="*/ 5951748 w 12188819"/>
              <a:gd name="connsiteY894" fmla="*/ 6440090 h 6857997"/>
              <a:gd name="connsiteX895" fmla="*/ 5953737 w 12188819"/>
              <a:gd name="connsiteY895" fmla="*/ 6430916 h 6857997"/>
              <a:gd name="connsiteX896" fmla="*/ 5960329 w 12188819"/>
              <a:gd name="connsiteY896" fmla="*/ 6428509 h 6857997"/>
              <a:gd name="connsiteX897" fmla="*/ 5966398 w 12188819"/>
              <a:gd name="connsiteY897" fmla="*/ 6429207 h 6857997"/>
              <a:gd name="connsiteX898" fmla="*/ 5967207 w 12188819"/>
              <a:gd name="connsiteY898" fmla="*/ 6423469 h 6857997"/>
              <a:gd name="connsiteX899" fmla="*/ 5967207 w 12188819"/>
              <a:gd name="connsiteY899" fmla="*/ 6433183 h 6857997"/>
              <a:gd name="connsiteX900" fmla="*/ 5977463 w 12188819"/>
              <a:gd name="connsiteY900" fmla="*/ 6433183 h 6857997"/>
              <a:gd name="connsiteX901" fmla="*/ 5977463 w 12188819"/>
              <a:gd name="connsiteY901" fmla="*/ 6418742 h 6857997"/>
              <a:gd name="connsiteX902" fmla="*/ 5967874 w 12188819"/>
              <a:gd name="connsiteY902" fmla="*/ 6418742 h 6857997"/>
              <a:gd name="connsiteX903" fmla="*/ 5967933 w 12188819"/>
              <a:gd name="connsiteY903" fmla="*/ 6418324 h 6857997"/>
              <a:gd name="connsiteX904" fmla="*/ 5958281 w 12188819"/>
              <a:gd name="connsiteY904" fmla="*/ 6416998 h 6857997"/>
              <a:gd name="connsiteX905" fmla="*/ 883226 w 12188819"/>
              <a:gd name="connsiteY905" fmla="*/ 6416998 h 6857997"/>
              <a:gd name="connsiteX906" fmla="*/ 862262 w 12188819"/>
              <a:gd name="connsiteY906" fmla="*/ 6423591 h 6857997"/>
              <a:gd name="connsiteX907" fmla="*/ 846181 w 12188819"/>
              <a:gd name="connsiteY907" fmla="*/ 6442532 h 6857997"/>
              <a:gd name="connsiteX908" fmla="*/ 840042 w 12188819"/>
              <a:gd name="connsiteY908" fmla="*/ 6469670 h 6857997"/>
              <a:gd name="connsiteX909" fmla="*/ 852460 w 12188819"/>
              <a:gd name="connsiteY909" fmla="*/ 6506539 h 6857997"/>
              <a:gd name="connsiteX910" fmla="*/ 883226 w 12188819"/>
              <a:gd name="connsiteY910" fmla="*/ 6522271 h 6857997"/>
              <a:gd name="connsiteX911" fmla="*/ 904190 w 12188819"/>
              <a:gd name="connsiteY911" fmla="*/ 6515678 h 6857997"/>
              <a:gd name="connsiteX912" fmla="*/ 920270 w 12188819"/>
              <a:gd name="connsiteY912" fmla="*/ 6496738 h 6857997"/>
              <a:gd name="connsiteX913" fmla="*/ 926409 w 12188819"/>
              <a:gd name="connsiteY913" fmla="*/ 6469670 h 6857997"/>
              <a:gd name="connsiteX914" fmla="*/ 913991 w 12188819"/>
              <a:gd name="connsiteY914" fmla="*/ 6432765 h 6857997"/>
              <a:gd name="connsiteX915" fmla="*/ 883226 w 12188819"/>
              <a:gd name="connsiteY915" fmla="*/ 6416998 h 6857997"/>
              <a:gd name="connsiteX916" fmla="*/ 5757198 w 12188819"/>
              <a:gd name="connsiteY916" fmla="*/ 6416929 h 6857997"/>
              <a:gd name="connsiteX917" fmla="*/ 5737087 w 12188819"/>
              <a:gd name="connsiteY917" fmla="*/ 6422897 h 6857997"/>
              <a:gd name="connsiteX918" fmla="*/ 5722806 w 12188819"/>
              <a:gd name="connsiteY918" fmla="*/ 6440559 h 6857997"/>
              <a:gd name="connsiteX919" fmla="*/ 5717534 w 12188819"/>
              <a:gd name="connsiteY919" fmla="*/ 6469146 h 6857997"/>
              <a:gd name="connsiteX920" fmla="*/ 5722801 w 12188819"/>
              <a:gd name="connsiteY920" fmla="*/ 6498815 h 6857997"/>
              <a:gd name="connsiteX921" fmla="*/ 5736335 w 12188819"/>
              <a:gd name="connsiteY921" fmla="*/ 6517070 h 6857997"/>
              <a:gd name="connsiteX922" fmla="*/ 5756253 w 12188819"/>
              <a:gd name="connsiteY922" fmla="*/ 6522759 h 6857997"/>
              <a:gd name="connsiteX923" fmla="*/ 5778751 w 12188819"/>
              <a:gd name="connsiteY923" fmla="*/ 6514283 h 6857997"/>
              <a:gd name="connsiteX924" fmla="*/ 5791693 w 12188819"/>
              <a:gd name="connsiteY924" fmla="*/ 6488575 h 6857997"/>
              <a:gd name="connsiteX925" fmla="*/ 5780530 w 12188819"/>
              <a:gd name="connsiteY925" fmla="*/ 6485157 h 6857997"/>
              <a:gd name="connsiteX926" fmla="*/ 5771705 w 12188819"/>
              <a:gd name="connsiteY926" fmla="*/ 6504726 h 6857997"/>
              <a:gd name="connsiteX927" fmla="*/ 5756044 w 12188819"/>
              <a:gd name="connsiteY927" fmla="*/ 6511179 h 6857997"/>
              <a:gd name="connsiteX928" fmla="*/ 5736370 w 12188819"/>
              <a:gd name="connsiteY928" fmla="*/ 6500671 h 6857997"/>
              <a:gd name="connsiteX929" fmla="*/ 5728975 w 12188819"/>
              <a:gd name="connsiteY929" fmla="*/ 6469145 h 6857997"/>
              <a:gd name="connsiteX930" fmla="*/ 5732643 w 12188819"/>
              <a:gd name="connsiteY930" fmla="*/ 6446175 h 6857997"/>
              <a:gd name="connsiteX931" fmla="*/ 5742459 w 12188819"/>
              <a:gd name="connsiteY931" fmla="*/ 6432804 h 6857997"/>
              <a:gd name="connsiteX932" fmla="*/ 5756990 w 12188819"/>
              <a:gd name="connsiteY932" fmla="*/ 6428509 h 6857997"/>
              <a:gd name="connsiteX933" fmla="*/ 5779414 w 12188819"/>
              <a:gd name="connsiteY933" fmla="*/ 6449787 h 6857997"/>
              <a:gd name="connsiteX934" fmla="*/ 5790297 w 12188819"/>
              <a:gd name="connsiteY934" fmla="*/ 6446648 h 6857997"/>
              <a:gd name="connsiteX935" fmla="*/ 5778078 w 12188819"/>
              <a:gd name="connsiteY935" fmla="*/ 6424480 h 6857997"/>
              <a:gd name="connsiteX936" fmla="*/ 5757198 w 12188819"/>
              <a:gd name="connsiteY936" fmla="*/ 6416929 h 6857997"/>
              <a:gd name="connsiteX937" fmla="*/ 2249524 w 12188819"/>
              <a:gd name="connsiteY937" fmla="*/ 6416929 h 6857997"/>
              <a:gd name="connsiteX938" fmla="*/ 2227897 w 12188819"/>
              <a:gd name="connsiteY938" fmla="*/ 6424812 h 6857997"/>
              <a:gd name="connsiteX939" fmla="*/ 2219874 w 12188819"/>
              <a:gd name="connsiteY939" fmla="*/ 6445113 h 6857997"/>
              <a:gd name="connsiteX940" fmla="*/ 2222665 w 12188819"/>
              <a:gd name="connsiteY940" fmla="*/ 6457496 h 6857997"/>
              <a:gd name="connsiteX941" fmla="*/ 2230478 w 12188819"/>
              <a:gd name="connsiteY941" fmla="*/ 6466530 h 6857997"/>
              <a:gd name="connsiteX942" fmla="*/ 2247361 w 12188819"/>
              <a:gd name="connsiteY942" fmla="*/ 6473609 h 6857997"/>
              <a:gd name="connsiteX943" fmla="*/ 2264697 w 12188819"/>
              <a:gd name="connsiteY943" fmla="*/ 6479711 h 6857997"/>
              <a:gd name="connsiteX944" fmla="*/ 2270697 w 12188819"/>
              <a:gd name="connsiteY944" fmla="*/ 6485246 h 6857997"/>
              <a:gd name="connsiteX945" fmla="*/ 2272685 w 12188819"/>
              <a:gd name="connsiteY945" fmla="*/ 6493147 h 6857997"/>
              <a:gd name="connsiteX946" fmla="*/ 2267209 w 12188819"/>
              <a:gd name="connsiteY946" fmla="*/ 6505713 h 6857997"/>
              <a:gd name="connsiteX947" fmla="*/ 2251826 w 12188819"/>
              <a:gd name="connsiteY947" fmla="*/ 6510551 h 6857997"/>
              <a:gd name="connsiteX948" fmla="*/ 2239408 w 12188819"/>
              <a:gd name="connsiteY948" fmla="*/ 6507690 h 6857997"/>
              <a:gd name="connsiteX949" fmla="*/ 2230932 w 12188819"/>
              <a:gd name="connsiteY949" fmla="*/ 6500121 h 6857997"/>
              <a:gd name="connsiteX950" fmla="*/ 2227130 w 12188819"/>
              <a:gd name="connsiteY950" fmla="*/ 6486971 h 6857997"/>
              <a:gd name="connsiteX951" fmla="*/ 2216665 w 12188819"/>
              <a:gd name="connsiteY951" fmla="*/ 6488087 h 6857997"/>
              <a:gd name="connsiteX952" fmla="*/ 2226258 w 12188819"/>
              <a:gd name="connsiteY952" fmla="*/ 6513411 h 6857997"/>
              <a:gd name="connsiteX953" fmla="*/ 2251059 w 12188819"/>
              <a:gd name="connsiteY953" fmla="*/ 6522759 h 6857997"/>
              <a:gd name="connsiteX954" fmla="*/ 2268116 w 12188819"/>
              <a:gd name="connsiteY954" fmla="*/ 6518996 h 6857997"/>
              <a:gd name="connsiteX955" fmla="*/ 2279313 w 12188819"/>
              <a:gd name="connsiteY955" fmla="*/ 6508020 h 6857997"/>
              <a:gd name="connsiteX956" fmla="*/ 2283429 w 12188819"/>
              <a:gd name="connsiteY956" fmla="*/ 6492028 h 6857997"/>
              <a:gd name="connsiteX957" fmla="*/ 2279514 w 12188819"/>
              <a:gd name="connsiteY957" fmla="*/ 6476800 h 6857997"/>
              <a:gd name="connsiteX958" fmla="*/ 2267928 w 12188819"/>
              <a:gd name="connsiteY958" fmla="*/ 6466500 h 6857997"/>
              <a:gd name="connsiteX959" fmla="*/ 2250496 w 12188819"/>
              <a:gd name="connsiteY959" fmla="*/ 6460543 h 6857997"/>
              <a:gd name="connsiteX960" fmla="*/ 2234177 w 12188819"/>
              <a:gd name="connsiteY960" fmla="*/ 6453621 h 6857997"/>
              <a:gd name="connsiteX961" fmla="*/ 2230548 w 12188819"/>
              <a:gd name="connsiteY961" fmla="*/ 6443995 h 6857997"/>
              <a:gd name="connsiteX962" fmla="*/ 2235501 w 12188819"/>
              <a:gd name="connsiteY962" fmla="*/ 6433078 h 6857997"/>
              <a:gd name="connsiteX963" fmla="*/ 2249873 w 12188819"/>
              <a:gd name="connsiteY963" fmla="*/ 6428858 h 6857997"/>
              <a:gd name="connsiteX964" fmla="*/ 2264279 w 12188819"/>
              <a:gd name="connsiteY964" fmla="*/ 6433672 h 6857997"/>
              <a:gd name="connsiteX965" fmla="*/ 2270243 w 12188819"/>
              <a:gd name="connsiteY965" fmla="*/ 6448462 h 6857997"/>
              <a:gd name="connsiteX966" fmla="*/ 2280917 w 12188819"/>
              <a:gd name="connsiteY966" fmla="*/ 6447485 h 6857997"/>
              <a:gd name="connsiteX967" fmla="*/ 2276766 w 12188819"/>
              <a:gd name="connsiteY967" fmla="*/ 6431230 h 6857997"/>
              <a:gd name="connsiteX968" fmla="*/ 2265883 w 12188819"/>
              <a:gd name="connsiteY968" fmla="*/ 6420626 h 6857997"/>
              <a:gd name="connsiteX969" fmla="*/ 2249524 w 12188819"/>
              <a:gd name="connsiteY969" fmla="*/ 6416929 h 6857997"/>
              <a:gd name="connsiteX970" fmla="*/ 2107518 w 12188819"/>
              <a:gd name="connsiteY970" fmla="*/ 6416929 h 6857997"/>
              <a:gd name="connsiteX971" fmla="*/ 2085892 w 12188819"/>
              <a:gd name="connsiteY971" fmla="*/ 6422827 h 6857997"/>
              <a:gd name="connsiteX972" fmla="*/ 2071102 w 12188819"/>
              <a:gd name="connsiteY972" fmla="*/ 6441152 h 6857997"/>
              <a:gd name="connsiteX973" fmla="*/ 2065451 w 12188819"/>
              <a:gd name="connsiteY973" fmla="*/ 6470332 h 6857997"/>
              <a:gd name="connsiteX974" fmla="*/ 2071067 w 12188819"/>
              <a:gd name="connsiteY974" fmla="*/ 6498675 h 6857997"/>
              <a:gd name="connsiteX975" fmla="*/ 2086310 w 12188819"/>
              <a:gd name="connsiteY975" fmla="*/ 6516616 h 6857997"/>
              <a:gd name="connsiteX976" fmla="*/ 2108216 w 12188819"/>
              <a:gd name="connsiteY976" fmla="*/ 6522759 h 6857997"/>
              <a:gd name="connsiteX977" fmla="*/ 2126145 w 12188819"/>
              <a:gd name="connsiteY977" fmla="*/ 6518748 h 6857997"/>
              <a:gd name="connsiteX978" fmla="*/ 2143028 w 12188819"/>
              <a:gd name="connsiteY978" fmla="*/ 6506784 h 6857997"/>
              <a:gd name="connsiteX979" fmla="*/ 2143028 w 12188819"/>
              <a:gd name="connsiteY979" fmla="*/ 6468763 h 6857997"/>
              <a:gd name="connsiteX980" fmla="*/ 2107518 w 12188819"/>
              <a:gd name="connsiteY980" fmla="*/ 6468832 h 6857997"/>
              <a:gd name="connsiteX981" fmla="*/ 2107518 w 12188819"/>
              <a:gd name="connsiteY981" fmla="*/ 6480901 h 6857997"/>
              <a:gd name="connsiteX982" fmla="*/ 2132145 w 12188819"/>
              <a:gd name="connsiteY982" fmla="*/ 6480901 h 6857997"/>
              <a:gd name="connsiteX983" fmla="*/ 2132145 w 12188819"/>
              <a:gd name="connsiteY983" fmla="*/ 6499947 h 6857997"/>
              <a:gd name="connsiteX984" fmla="*/ 2121227 w 12188819"/>
              <a:gd name="connsiteY984" fmla="*/ 6507411 h 6857997"/>
              <a:gd name="connsiteX985" fmla="*/ 2107798 w 12188819"/>
              <a:gd name="connsiteY985" fmla="*/ 6510551 h 6857997"/>
              <a:gd name="connsiteX986" fmla="*/ 2085473 w 12188819"/>
              <a:gd name="connsiteY986" fmla="*/ 6500322 h 6857997"/>
              <a:gd name="connsiteX987" fmla="*/ 2076892 w 12188819"/>
              <a:gd name="connsiteY987" fmla="*/ 6469565 h 6857997"/>
              <a:gd name="connsiteX988" fmla="*/ 2080904 w 12188819"/>
              <a:gd name="connsiteY988" fmla="*/ 6446733 h 6857997"/>
              <a:gd name="connsiteX989" fmla="*/ 2091508 w 12188819"/>
              <a:gd name="connsiteY989" fmla="*/ 6432943 h 6857997"/>
              <a:gd name="connsiteX990" fmla="*/ 2107239 w 12188819"/>
              <a:gd name="connsiteY990" fmla="*/ 6428509 h 6857997"/>
              <a:gd name="connsiteX991" fmla="*/ 2118541 w 12188819"/>
              <a:gd name="connsiteY991" fmla="*/ 6430951 h 6857997"/>
              <a:gd name="connsiteX992" fmla="*/ 2126634 w 12188819"/>
              <a:gd name="connsiteY992" fmla="*/ 6437683 h 6857997"/>
              <a:gd name="connsiteX993" fmla="*/ 2131726 w 12188819"/>
              <a:gd name="connsiteY993" fmla="*/ 6450624 h 6857997"/>
              <a:gd name="connsiteX994" fmla="*/ 2141702 w 12188819"/>
              <a:gd name="connsiteY994" fmla="*/ 6447276 h 6857997"/>
              <a:gd name="connsiteX995" fmla="*/ 2135005 w 12188819"/>
              <a:gd name="connsiteY995" fmla="*/ 6430044 h 6857997"/>
              <a:gd name="connsiteX996" fmla="*/ 2123634 w 12188819"/>
              <a:gd name="connsiteY996" fmla="*/ 6420347 h 6857997"/>
              <a:gd name="connsiteX997" fmla="*/ 2107518 w 12188819"/>
              <a:gd name="connsiteY997" fmla="*/ 6416929 h 6857997"/>
              <a:gd name="connsiteX998" fmla="*/ 1516099 w 12188819"/>
              <a:gd name="connsiteY998" fmla="*/ 6416929 h 6857997"/>
              <a:gd name="connsiteX999" fmla="*/ 1494472 w 12188819"/>
              <a:gd name="connsiteY999" fmla="*/ 6424812 h 6857997"/>
              <a:gd name="connsiteX1000" fmla="*/ 1486449 w 12188819"/>
              <a:gd name="connsiteY1000" fmla="*/ 6445113 h 6857997"/>
              <a:gd name="connsiteX1001" fmla="*/ 1489240 w 12188819"/>
              <a:gd name="connsiteY1001" fmla="*/ 6457496 h 6857997"/>
              <a:gd name="connsiteX1002" fmla="*/ 1497053 w 12188819"/>
              <a:gd name="connsiteY1002" fmla="*/ 6466530 h 6857997"/>
              <a:gd name="connsiteX1003" fmla="*/ 1513936 w 12188819"/>
              <a:gd name="connsiteY1003" fmla="*/ 6473609 h 6857997"/>
              <a:gd name="connsiteX1004" fmla="*/ 1531272 w 12188819"/>
              <a:gd name="connsiteY1004" fmla="*/ 6479711 h 6857997"/>
              <a:gd name="connsiteX1005" fmla="*/ 1537272 w 12188819"/>
              <a:gd name="connsiteY1005" fmla="*/ 6485246 h 6857997"/>
              <a:gd name="connsiteX1006" fmla="*/ 1539260 w 12188819"/>
              <a:gd name="connsiteY1006" fmla="*/ 6493147 h 6857997"/>
              <a:gd name="connsiteX1007" fmla="*/ 1533784 w 12188819"/>
              <a:gd name="connsiteY1007" fmla="*/ 6505713 h 6857997"/>
              <a:gd name="connsiteX1008" fmla="*/ 1518401 w 12188819"/>
              <a:gd name="connsiteY1008" fmla="*/ 6510551 h 6857997"/>
              <a:gd name="connsiteX1009" fmla="*/ 1505983 w 12188819"/>
              <a:gd name="connsiteY1009" fmla="*/ 6507690 h 6857997"/>
              <a:gd name="connsiteX1010" fmla="*/ 1497507 w 12188819"/>
              <a:gd name="connsiteY1010" fmla="*/ 6500121 h 6857997"/>
              <a:gd name="connsiteX1011" fmla="*/ 1493705 w 12188819"/>
              <a:gd name="connsiteY1011" fmla="*/ 6486971 h 6857997"/>
              <a:gd name="connsiteX1012" fmla="*/ 1483240 w 12188819"/>
              <a:gd name="connsiteY1012" fmla="*/ 6488087 h 6857997"/>
              <a:gd name="connsiteX1013" fmla="*/ 1492833 w 12188819"/>
              <a:gd name="connsiteY1013" fmla="*/ 6513411 h 6857997"/>
              <a:gd name="connsiteX1014" fmla="*/ 1517633 w 12188819"/>
              <a:gd name="connsiteY1014" fmla="*/ 6522759 h 6857997"/>
              <a:gd name="connsiteX1015" fmla="*/ 1534691 w 12188819"/>
              <a:gd name="connsiteY1015" fmla="*/ 6518996 h 6857997"/>
              <a:gd name="connsiteX1016" fmla="*/ 1545887 w 12188819"/>
              <a:gd name="connsiteY1016" fmla="*/ 6508020 h 6857997"/>
              <a:gd name="connsiteX1017" fmla="*/ 1550004 w 12188819"/>
              <a:gd name="connsiteY1017" fmla="*/ 6492028 h 6857997"/>
              <a:gd name="connsiteX1018" fmla="*/ 1546089 w 12188819"/>
              <a:gd name="connsiteY1018" fmla="*/ 6476800 h 6857997"/>
              <a:gd name="connsiteX1019" fmla="*/ 1534503 w 12188819"/>
              <a:gd name="connsiteY1019" fmla="*/ 6466500 h 6857997"/>
              <a:gd name="connsiteX1020" fmla="*/ 1517071 w 12188819"/>
              <a:gd name="connsiteY1020" fmla="*/ 6460543 h 6857997"/>
              <a:gd name="connsiteX1021" fmla="*/ 1500752 w 12188819"/>
              <a:gd name="connsiteY1021" fmla="*/ 6453621 h 6857997"/>
              <a:gd name="connsiteX1022" fmla="*/ 1497123 w 12188819"/>
              <a:gd name="connsiteY1022" fmla="*/ 6443995 h 6857997"/>
              <a:gd name="connsiteX1023" fmla="*/ 1502076 w 12188819"/>
              <a:gd name="connsiteY1023" fmla="*/ 6433078 h 6857997"/>
              <a:gd name="connsiteX1024" fmla="*/ 1516448 w 12188819"/>
              <a:gd name="connsiteY1024" fmla="*/ 6428858 h 6857997"/>
              <a:gd name="connsiteX1025" fmla="*/ 1530854 w 12188819"/>
              <a:gd name="connsiteY1025" fmla="*/ 6433672 h 6857997"/>
              <a:gd name="connsiteX1026" fmla="*/ 1536818 w 12188819"/>
              <a:gd name="connsiteY1026" fmla="*/ 6448462 h 6857997"/>
              <a:gd name="connsiteX1027" fmla="*/ 1547492 w 12188819"/>
              <a:gd name="connsiteY1027" fmla="*/ 6447485 h 6857997"/>
              <a:gd name="connsiteX1028" fmla="*/ 1543341 w 12188819"/>
              <a:gd name="connsiteY1028" fmla="*/ 6431230 h 6857997"/>
              <a:gd name="connsiteX1029" fmla="*/ 1532458 w 12188819"/>
              <a:gd name="connsiteY1029" fmla="*/ 6420626 h 6857997"/>
              <a:gd name="connsiteX1030" fmla="*/ 1516099 w 12188819"/>
              <a:gd name="connsiteY1030" fmla="*/ 6416929 h 6857997"/>
              <a:gd name="connsiteX1031" fmla="*/ 999308 w 12188819"/>
              <a:gd name="connsiteY1031" fmla="*/ 6416929 h 6857997"/>
              <a:gd name="connsiteX1032" fmla="*/ 979197 w 12188819"/>
              <a:gd name="connsiteY1032" fmla="*/ 6422897 h 6857997"/>
              <a:gd name="connsiteX1033" fmla="*/ 964916 w 12188819"/>
              <a:gd name="connsiteY1033" fmla="*/ 6440559 h 6857997"/>
              <a:gd name="connsiteX1034" fmla="*/ 959644 w 12188819"/>
              <a:gd name="connsiteY1034" fmla="*/ 6469146 h 6857997"/>
              <a:gd name="connsiteX1035" fmla="*/ 964911 w 12188819"/>
              <a:gd name="connsiteY1035" fmla="*/ 6498815 h 6857997"/>
              <a:gd name="connsiteX1036" fmla="*/ 978445 w 12188819"/>
              <a:gd name="connsiteY1036" fmla="*/ 6517070 h 6857997"/>
              <a:gd name="connsiteX1037" fmla="*/ 998363 w 12188819"/>
              <a:gd name="connsiteY1037" fmla="*/ 6522759 h 6857997"/>
              <a:gd name="connsiteX1038" fmla="*/ 1020862 w 12188819"/>
              <a:gd name="connsiteY1038" fmla="*/ 6514283 h 6857997"/>
              <a:gd name="connsiteX1039" fmla="*/ 1033803 w 12188819"/>
              <a:gd name="connsiteY1039" fmla="*/ 6488575 h 6857997"/>
              <a:gd name="connsiteX1040" fmla="*/ 1022640 w 12188819"/>
              <a:gd name="connsiteY1040" fmla="*/ 6485157 h 6857997"/>
              <a:gd name="connsiteX1041" fmla="*/ 1013815 w 12188819"/>
              <a:gd name="connsiteY1041" fmla="*/ 6504726 h 6857997"/>
              <a:gd name="connsiteX1042" fmla="*/ 998154 w 12188819"/>
              <a:gd name="connsiteY1042" fmla="*/ 6511179 h 6857997"/>
              <a:gd name="connsiteX1043" fmla="*/ 978480 w 12188819"/>
              <a:gd name="connsiteY1043" fmla="*/ 6500671 h 6857997"/>
              <a:gd name="connsiteX1044" fmla="*/ 971086 w 12188819"/>
              <a:gd name="connsiteY1044" fmla="*/ 6469145 h 6857997"/>
              <a:gd name="connsiteX1045" fmla="*/ 974753 w 12188819"/>
              <a:gd name="connsiteY1045" fmla="*/ 6446175 h 6857997"/>
              <a:gd name="connsiteX1046" fmla="*/ 984568 w 12188819"/>
              <a:gd name="connsiteY1046" fmla="*/ 6432804 h 6857997"/>
              <a:gd name="connsiteX1047" fmla="*/ 999100 w 12188819"/>
              <a:gd name="connsiteY1047" fmla="*/ 6428509 h 6857997"/>
              <a:gd name="connsiteX1048" fmla="*/ 1021524 w 12188819"/>
              <a:gd name="connsiteY1048" fmla="*/ 6449787 h 6857997"/>
              <a:gd name="connsiteX1049" fmla="*/ 1032407 w 12188819"/>
              <a:gd name="connsiteY1049" fmla="*/ 6446648 h 6857997"/>
              <a:gd name="connsiteX1050" fmla="*/ 1020187 w 12188819"/>
              <a:gd name="connsiteY1050" fmla="*/ 6424480 h 6857997"/>
              <a:gd name="connsiteX1051" fmla="*/ 999308 w 12188819"/>
              <a:gd name="connsiteY1051" fmla="*/ 6416929 h 6857997"/>
              <a:gd name="connsiteX1052" fmla="*/ 10831507 w 12188819"/>
              <a:gd name="connsiteY1052" fmla="*/ 6415085 h 6857997"/>
              <a:gd name="connsiteX1053" fmla="*/ 10872790 w 12188819"/>
              <a:gd name="connsiteY1053" fmla="*/ 6415085 h 6857997"/>
              <a:gd name="connsiteX1054" fmla="*/ 10902944 w 12188819"/>
              <a:gd name="connsiteY1054" fmla="*/ 6430773 h 6857997"/>
              <a:gd name="connsiteX1055" fmla="*/ 10872790 w 12188819"/>
              <a:gd name="connsiteY1055" fmla="*/ 6446835 h 6857997"/>
              <a:gd name="connsiteX1056" fmla="*/ 10831507 w 12188819"/>
              <a:gd name="connsiteY1056" fmla="*/ 6446835 h 6857997"/>
              <a:gd name="connsiteX1057" fmla="*/ 11105169 w 12188819"/>
              <a:gd name="connsiteY1057" fmla="*/ 6411910 h 6857997"/>
              <a:gd name="connsiteX1058" fmla="*/ 11149006 w 12188819"/>
              <a:gd name="connsiteY1058" fmla="*/ 6455567 h 6857997"/>
              <a:gd name="connsiteX1059" fmla="*/ 11105169 w 12188819"/>
              <a:gd name="connsiteY1059" fmla="*/ 6499223 h 6857997"/>
              <a:gd name="connsiteX1060" fmla="*/ 11061694 w 12188819"/>
              <a:gd name="connsiteY1060" fmla="*/ 6454447 h 6857997"/>
              <a:gd name="connsiteX1061" fmla="*/ 11105169 w 12188819"/>
              <a:gd name="connsiteY1061" fmla="*/ 6411910 h 6857997"/>
              <a:gd name="connsiteX1062" fmla="*/ 11209332 w 12188819"/>
              <a:gd name="connsiteY1062" fmla="*/ 6394447 h 6857997"/>
              <a:gd name="connsiteX1063" fmla="*/ 11209332 w 12188819"/>
              <a:gd name="connsiteY1063" fmla="*/ 6518272 h 6857997"/>
              <a:gd name="connsiteX1064" fmla="*/ 11244507 w 12188819"/>
              <a:gd name="connsiteY1064" fmla="*/ 6518272 h 6857997"/>
              <a:gd name="connsiteX1065" fmla="*/ 11242694 w 12188819"/>
              <a:gd name="connsiteY1065" fmla="*/ 6424387 h 6857997"/>
              <a:gd name="connsiteX1066" fmla="*/ 11312681 w 12188819"/>
              <a:gd name="connsiteY1066" fmla="*/ 6518272 h 6857997"/>
              <a:gd name="connsiteX1067" fmla="*/ 11352207 w 12188819"/>
              <a:gd name="connsiteY1067" fmla="*/ 6518272 h 6857997"/>
              <a:gd name="connsiteX1068" fmla="*/ 11352207 w 12188819"/>
              <a:gd name="connsiteY1068" fmla="*/ 6394447 h 6857997"/>
              <a:gd name="connsiteX1069" fmla="*/ 11317395 w 12188819"/>
              <a:gd name="connsiteY1069" fmla="*/ 6394447 h 6857997"/>
              <a:gd name="connsiteX1070" fmla="*/ 11318845 w 12188819"/>
              <a:gd name="connsiteY1070" fmla="*/ 6483527 h 6857997"/>
              <a:gd name="connsiteX1071" fmla="*/ 11252485 w 12188819"/>
              <a:gd name="connsiteY1071" fmla="*/ 6394447 h 6857997"/>
              <a:gd name="connsiteX1072" fmla="*/ 10966444 w 12188819"/>
              <a:gd name="connsiteY1072" fmla="*/ 6394447 h 6857997"/>
              <a:gd name="connsiteX1073" fmla="*/ 10966444 w 12188819"/>
              <a:gd name="connsiteY1073" fmla="*/ 6518272 h 6857997"/>
              <a:gd name="connsiteX1074" fmla="*/ 11001369 w 12188819"/>
              <a:gd name="connsiteY1074" fmla="*/ 6518272 h 6857997"/>
              <a:gd name="connsiteX1075" fmla="*/ 11001369 w 12188819"/>
              <a:gd name="connsiteY1075" fmla="*/ 6394447 h 6857997"/>
              <a:gd name="connsiteX1076" fmla="*/ 10796582 w 12188819"/>
              <a:gd name="connsiteY1076" fmla="*/ 6394447 h 6857997"/>
              <a:gd name="connsiteX1077" fmla="*/ 10796582 w 12188819"/>
              <a:gd name="connsiteY1077" fmla="*/ 6518272 h 6857997"/>
              <a:gd name="connsiteX1078" fmla="*/ 10830878 w 12188819"/>
              <a:gd name="connsiteY1078" fmla="*/ 6518272 h 6857997"/>
              <a:gd name="connsiteX1079" fmla="*/ 10830878 w 12188819"/>
              <a:gd name="connsiteY1079" fmla="*/ 6469481 h 6857997"/>
              <a:gd name="connsiteX1080" fmla="*/ 10871377 w 12188819"/>
              <a:gd name="connsiteY1080" fmla="*/ 6469481 h 6857997"/>
              <a:gd name="connsiteX1081" fmla="*/ 10907133 w 12188819"/>
              <a:gd name="connsiteY1081" fmla="*/ 6518272 h 6857997"/>
              <a:gd name="connsiteX1082" fmla="*/ 10945807 w 12188819"/>
              <a:gd name="connsiteY1082" fmla="*/ 6518272 h 6857997"/>
              <a:gd name="connsiteX1083" fmla="*/ 10905308 w 12188819"/>
              <a:gd name="connsiteY1083" fmla="*/ 6466524 h 6857997"/>
              <a:gd name="connsiteX1084" fmla="*/ 10938145 w 12188819"/>
              <a:gd name="connsiteY1084" fmla="*/ 6431410 h 6857997"/>
              <a:gd name="connsiteX1085" fmla="*/ 10881228 w 12188819"/>
              <a:gd name="connsiteY1085" fmla="*/ 6394447 h 6857997"/>
              <a:gd name="connsiteX1086" fmla="*/ 10728319 w 12188819"/>
              <a:gd name="connsiteY1086" fmla="*/ 6394447 h 6857997"/>
              <a:gd name="connsiteX1087" fmla="*/ 10728319 w 12188819"/>
              <a:gd name="connsiteY1087" fmla="*/ 6518272 h 6857997"/>
              <a:gd name="connsiteX1088" fmla="*/ 10763244 w 12188819"/>
              <a:gd name="connsiteY1088" fmla="*/ 6518272 h 6857997"/>
              <a:gd name="connsiteX1089" fmla="*/ 10763244 w 12188819"/>
              <a:gd name="connsiteY1089" fmla="*/ 6394447 h 6857997"/>
              <a:gd name="connsiteX1090" fmla="*/ 10605817 w 12188819"/>
              <a:gd name="connsiteY1090" fmla="*/ 6394447 h 6857997"/>
              <a:gd name="connsiteX1091" fmla="*/ 10548932 w 12188819"/>
              <a:gd name="connsiteY1091" fmla="*/ 6432149 h 6857997"/>
              <a:gd name="connsiteX1092" fmla="*/ 10602918 w 12188819"/>
              <a:gd name="connsiteY1092" fmla="*/ 6468003 h 6857997"/>
              <a:gd name="connsiteX1093" fmla="*/ 10643136 w 12188819"/>
              <a:gd name="connsiteY1093" fmla="*/ 6468003 h 6857997"/>
              <a:gd name="connsiteX1094" fmla="*/ 10667411 w 12188819"/>
              <a:gd name="connsiteY1094" fmla="*/ 6482049 h 6857997"/>
              <a:gd name="connsiteX1095" fmla="*/ 10640962 w 12188819"/>
              <a:gd name="connsiteY1095" fmla="*/ 6496095 h 6857997"/>
              <a:gd name="connsiteX1096" fmla="*/ 10555454 w 12188819"/>
              <a:gd name="connsiteY1096" fmla="*/ 6496095 h 6857997"/>
              <a:gd name="connsiteX1097" fmla="*/ 10555454 w 12188819"/>
              <a:gd name="connsiteY1097" fmla="*/ 6518272 h 6857997"/>
              <a:gd name="connsiteX1098" fmla="*/ 10646397 w 12188819"/>
              <a:gd name="connsiteY1098" fmla="*/ 6518272 h 6857997"/>
              <a:gd name="connsiteX1099" fmla="*/ 10702919 w 12188819"/>
              <a:gd name="connsiteY1099" fmla="*/ 6480940 h 6857997"/>
              <a:gd name="connsiteX1100" fmla="*/ 10651469 w 12188819"/>
              <a:gd name="connsiteY1100" fmla="*/ 6446195 h 6857997"/>
              <a:gd name="connsiteX1101" fmla="*/ 10606179 w 12188819"/>
              <a:gd name="connsiteY1101" fmla="*/ 6446195 h 6857997"/>
              <a:gd name="connsiteX1102" fmla="*/ 10584802 w 12188819"/>
              <a:gd name="connsiteY1102" fmla="*/ 6432519 h 6857997"/>
              <a:gd name="connsiteX1103" fmla="*/ 10610889 w 12188819"/>
              <a:gd name="connsiteY1103" fmla="*/ 6416255 h 6857997"/>
              <a:gd name="connsiteX1104" fmla="*/ 10694948 w 12188819"/>
              <a:gd name="connsiteY1104" fmla="*/ 6416255 h 6857997"/>
              <a:gd name="connsiteX1105" fmla="*/ 10694948 w 12188819"/>
              <a:gd name="connsiteY1105" fmla="*/ 6394447 h 6857997"/>
              <a:gd name="connsiteX1106" fmla="*/ 10382244 w 12188819"/>
              <a:gd name="connsiteY1106" fmla="*/ 6394447 h 6857997"/>
              <a:gd name="connsiteX1107" fmla="*/ 10382244 w 12188819"/>
              <a:gd name="connsiteY1107" fmla="*/ 6518272 h 6857997"/>
              <a:gd name="connsiteX1108" fmla="*/ 10417145 w 12188819"/>
              <a:gd name="connsiteY1108" fmla="*/ 6518272 h 6857997"/>
              <a:gd name="connsiteX1109" fmla="*/ 10415691 w 12188819"/>
              <a:gd name="connsiteY1109" fmla="*/ 6424387 h 6857997"/>
              <a:gd name="connsiteX1110" fmla="*/ 10485856 w 12188819"/>
              <a:gd name="connsiteY1110" fmla="*/ 6518272 h 6857997"/>
              <a:gd name="connsiteX1111" fmla="*/ 10525119 w 12188819"/>
              <a:gd name="connsiteY1111" fmla="*/ 6518272 h 6857997"/>
              <a:gd name="connsiteX1112" fmla="*/ 10525119 w 12188819"/>
              <a:gd name="connsiteY1112" fmla="*/ 6394447 h 6857997"/>
              <a:gd name="connsiteX1113" fmla="*/ 10490582 w 12188819"/>
              <a:gd name="connsiteY1113" fmla="*/ 6394447 h 6857997"/>
              <a:gd name="connsiteX1114" fmla="*/ 10492036 w 12188819"/>
              <a:gd name="connsiteY1114" fmla="*/ 6483527 h 6857997"/>
              <a:gd name="connsiteX1115" fmla="*/ 10425506 w 12188819"/>
              <a:gd name="connsiteY1115" fmla="*/ 6394447 h 6857997"/>
              <a:gd name="connsiteX1116" fmla="*/ 10295714 w 12188819"/>
              <a:gd name="connsiteY1116" fmla="*/ 6394447 h 6857997"/>
              <a:gd name="connsiteX1117" fmla="*/ 10220319 w 12188819"/>
              <a:gd name="connsiteY1117" fmla="*/ 6458393 h 6857997"/>
              <a:gd name="connsiteX1118" fmla="*/ 10245092 w 12188819"/>
              <a:gd name="connsiteY1118" fmla="*/ 6507183 h 6857997"/>
              <a:gd name="connsiteX1119" fmla="*/ 10294996 w 12188819"/>
              <a:gd name="connsiteY1119" fmla="*/ 6518272 h 6857997"/>
              <a:gd name="connsiteX1120" fmla="*/ 10352081 w 12188819"/>
              <a:gd name="connsiteY1120" fmla="*/ 6518272 h 6857997"/>
              <a:gd name="connsiteX1121" fmla="*/ 10352081 w 12188819"/>
              <a:gd name="connsiteY1121" fmla="*/ 6496464 h 6857997"/>
              <a:gd name="connsiteX1122" fmla="*/ 10296432 w 12188819"/>
              <a:gd name="connsiteY1122" fmla="*/ 6496464 h 6857997"/>
              <a:gd name="connsiteX1123" fmla="*/ 10258376 w 12188819"/>
              <a:gd name="connsiteY1123" fmla="*/ 6466155 h 6857997"/>
              <a:gd name="connsiteX1124" fmla="*/ 10352081 w 12188819"/>
              <a:gd name="connsiteY1124" fmla="*/ 6466155 h 6857997"/>
              <a:gd name="connsiteX1125" fmla="*/ 10352081 w 12188819"/>
              <a:gd name="connsiteY1125" fmla="*/ 6444717 h 6857997"/>
              <a:gd name="connsiteX1126" fmla="*/ 10258376 w 12188819"/>
              <a:gd name="connsiteY1126" fmla="*/ 6444717 h 6857997"/>
              <a:gd name="connsiteX1127" fmla="*/ 10296432 w 12188819"/>
              <a:gd name="connsiteY1127" fmla="*/ 6415886 h 6857997"/>
              <a:gd name="connsiteX1128" fmla="*/ 10352081 w 12188819"/>
              <a:gd name="connsiteY1128" fmla="*/ 6415886 h 6857997"/>
              <a:gd name="connsiteX1129" fmla="*/ 10352081 w 12188819"/>
              <a:gd name="connsiteY1129" fmla="*/ 6394447 h 6857997"/>
              <a:gd name="connsiteX1130" fmla="*/ 10107342 w 12188819"/>
              <a:gd name="connsiteY1130" fmla="*/ 6394447 h 6857997"/>
              <a:gd name="connsiteX1131" fmla="*/ 10050457 w 12188819"/>
              <a:gd name="connsiteY1131" fmla="*/ 6432149 h 6857997"/>
              <a:gd name="connsiteX1132" fmla="*/ 10104443 w 12188819"/>
              <a:gd name="connsiteY1132" fmla="*/ 6468003 h 6857997"/>
              <a:gd name="connsiteX1133" fmla="*/ 10144661 w 12188819"/>
              <a:gd name="connsiteY1133" fmla="*/ 6468003 h 6857997"/>
              <a:gd name="connsiteX1134" fmla="*/ 10168574 w 12188819"/>
              <a:gd name="connsiteY1134" fmla="*/ 6482049 h 6857997"/>
              <a:gd name="connsiteX1135" fmla="*/ 10142125 w 12188819"/>
              <a:gd name="connsiteY1135" fmla="*/ 6496095 h 6857997"/>
              <a:gd name="connsiteX1136" fmla="*/ 10056979 w 12188819"/>
              <a:gd name="connsiteY1136" fmla="*/ 6496095 h 6857997"/>
              <a:gd name="connsiteX1137" fmla="*/ 10056979 w 12188819"/>
              <a:gd name="connsiteY1137" fmla="*/ 6518272 h 6857997"/>
              <a:gd name="connsiteX1138" fmla="*/ 10147559 w 12188819"/>
              <a:gd name="connsiteY1138" fmla="*/ 6518272 h 6857997"/>
              <a:gd name="connsiteX1139" fmla="*/ 10204444 w 12188819"/>
              <a:gd name="connsiteY1139" fmla="*/ 6480940 h 6857997"/>
              <a:gd name="connsiteX1140" fmla="*/ 10152632 w 12188819"/>
              <a:gd name="connsiteY1140" fmla="*/ 6446195 h 6857997"/>
              <a:gd name="connsiteX1141" fmla="*/ 10107704 w 12188819"/>
              <a:gd name="connsiteY1141" fmla="*/ 6446195 h 6857997"/>
              <a:gd name="connsiteX1142" fmla="*/ 10085965 w 12188819"/>
              <a:gd name="connsiteY1142" fmla="*/ 6432519 h 6857997"/>
              <a:gd name="connsiteX1143" fmla="*/ 10112414 w 12188819"/>
              <a:gd name="connsiteY1143" fmla="*/ 6416255 h 6857997"/>
              <a:gd name="connsiteX1144" fmla="*/ 10196473 w 12188819"/>
              <a:gd name="connsiteY1144" fmla="*/ 6416255 h 6857997"/>
              <a:gd name="connsiteX1145" fmla="*/ 10196473 w 12188819"/>
              <a:gd name="connsiteY1145" fmla="*/ 6394447 h 6857997"/>
              <a:gd name="connsiteX1146" fmla="*/ 11106144 w 12188819"/>
              <a:gd name="connsiteY1146" fmla="*/ 6391272 h 6857997"/>
              <a:gd name="connsiteX1147" fmla="*/ 11025182 w 12188819"/>
              <a:gd name="connsiteY1147" fmla="*/ 6454277 h 6857997"/>
              <a:gd name="connsiteX1148" fmla="*/ 11106144 w 12188819"/>
              <a:gd name="connsiteY1148" fmla="*/ 6519860 h 6857997"/>
              <a:gd name="connsiteX1149" fmla="*/ 11187107 w 12188819"/>
              <a:gd name="connsiteY1149" fmla="*/ 6455382 h 6857997"/>
              <a:gd name="connsiteX1150" fmla="*/ 11106144 w 12188819"/>
              <a:gd name="connsiteY1150" fmla="*/ 6391272 h 6857997"/>
              <a:gd name="connsiteX1151" fmla="*/ 0 w 12188819"/>
              <a:gd name="connsiteY1151" fmla="*/ 0 h 6857997"/>
              <a:gd name="connsiteX1152" fmla="*/ 12188819 w 12188819"/>
              <a:gd name="connsiteY1152" fmla="*/ 0 h 6857997"/>
              <a:gd name="connsiteX1153" fmla="*/ 12188819 w 12188819"/>
              <a:gd name="connsiteY1153" fmla="*/ 6857997 h 6857997"/>
              <a:gd name="connsiteX1154" fmla="*/ 0 w 12188819"/>
              <a:gd name="connsiteY1154" fmla="*/ 6857997 h 6857997"/>
              <a:gd name="connsiteX1155" fmla="*/ 0 w 12188819"/>
              <a:gd name="connsiteY1155" fmla="*/ 6237284 h 6857997"/>
              <a:gd name="connsiteX1156" fmla="*/ 6095994 w 12188819"/>
              <a:gd name="connsiteY1156" fmla="*/ 6237284 h 6857997"/>
              <a:gd name="connsiteX1157" fmla="*/ 6095994 w 12188819"/>
              <a:gd name="connsiteY1157" fmla="*/ 3141659 h 6857997"/>
              <a:gd name="connsiteX1158" fmla="*/ 0 w 12188819"/>
              <a:gd name="connsiteY1158" fmla="*/ 3141659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8"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2"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7" y="6512365"/>
                  <a:pt x="5820630" y="6510025"/>
                  <a:pt x="5817143"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2"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2"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4" y="6501784"/>
                  <a:pt x="6069922" y="6495505"/>
                  <a:pt x="6069505"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9"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1"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9" y="6448450"/>
                  <a:pt x="5909545" y="6447171"/>
                </a:cubicBezTo>
                <a:cubicBezTo>
                  <a:pt x="5906783" y="6445892"/>
                  <a:pt x="5903776" y="6445252"/>
                  <a:pt x="5900527" y="6445252"/>
                </a:cubicBezTo>
                <a:close/>
                <a:moveTo>
                  <a:pt x="5829839" y="6445252"/>
                </a:moveTo>
                <a:cubicBezTo>
                  <a:pt x="5821608" y="6445252"/>
                  <a:pt x="5814806" y="6448508"/>
                  <a:pt x="5809434" y="6455019"/>
                </a:cubicBezTo>
                <a:cubicBezTo>
                  <a:pt x="5804062" y="6461531"/>
                  <a:pt x="5801377" y="6471181"/>
                  <a:pt x="5801377" y="6483971"/>
                </a:cubicBezTo>
                <a:cubicBezTo>
                  <a:pt x="5801377" y="6496714"/>
                  <a:pt x="5804085" y="6506353"/>
                  <a:pt x="5809503" y="6512888"/>
                </a:cubicBezTo>
                <a:cubicBezTo>
                  <a:pt x="5814921" y="6519422"/>
                  <a:pt x="5821701" y="6522690"/>
                  <a:pt x="5829839" y="6522690"/>
                </a:cubicBezTo>
                <a:cubicBezTo>
                  <a:pt x="5838119" y="6522690"/>
                  <a:pt x="5844931" y="6519434"/>
                  <a:pt x="5850280" y="6512923"/>
                </a:cubicBezTo>
                <a:cubicBezTo>
                  <a:pt x="5855629"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6"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4" y="6416998"/>
                  <a:pt x="5951368" y="6417766"/>
                  <a:pt x="5948873"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9" y="6456694"/>
                </a:lnTo>
                <a:lnTo>
                  <a:pt x="5963609" y="6446927"/>
                </a:lnTo>
                <a:lnTo>
                  <a:pt x="5951748" y="6446927"/>
                </a:lnTo>
                <a:lnTo>
                  <a:pt x="5951748" y="6440090"/>
                </a:lnTo>
                <a:cubicBezTo>
                  <a:pt x="5951748" y="6435579"/>
                  <a:pt x="5952411" y="6432521"/>
                  <a:pt x="5953737"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8" y="6520863"/>
                  <a:pt x="5748486" y="6522759"/>
                  <a:pt x="5756253" y="6522759"/>
                </a:cubicBezTo>
                <a:cubicBezTo>
                  <a:pt x="5765090" y="6522759"/>
                  <a:pt x="5772590" y="6519934"/>
                  <a:pt x="5778751" y="6514283"/>
                </a:cubicBezTo>
                <a:cubicBezTo>
                  <a:pt x="5784915"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2" y="6493665"/>
                  <a:pt x="5728975" y="6483157"/>
                  <a:pt x="5728975" y="6469145"/>
                </a:cubicBezTo>
                <a:cubicBezTo>
                  <a:pt x="5728975" y="6459883"/>
                  <a:pt x="5730198" y="6452226"/>
                  <a:pt x="5732643" y="6446175"/>
                </a:cubicBezTo>
                <a:cubicBezTo>
                  <a:pt x="5735088" y="6440123"/>
                  <a:pt x="5738360" y="6435666"/>
                  <a:pt x="5742459"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8" y="6424480"/>
                </a:cubicBezTo>
                <a:cubicBezTo>
                  <a:pt x="5772259" y="6419446"/>
                  <a:pt x="5765298" y="6416929"/>
                  <a:pt x="5757198" y="6416929"/>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lnTo>
                  <a:pt x="0" y="6237284"/>
                </a:lnTo>
                <a:lnTo>
                  <a:pt x="6095994" y="6237284"/>
                </a:lnTo>
                <a:lnTo>
                  <a:pt x="6095994" y="3141659"/>
                </a:lnTo>
                <a:lnTo>
                  <a:pt x="0" y="3141659"/>
                </a:lnTo>
                <a:close/>
              </a:path>
            </a:pathLst>
          </a:custGeom>
        </p:spPr>
        <p:txBody>
          <a:bodyPr wrap="square">
            <a:noAutofit/>
          </a:bodyPr>
          <a:lstStyle>
            <a:lvl1pPr algn="ctr">
              <a:defRPr/>
            </a:lvl1pPr>
          </a:lstStyle>
          <a:p>
            <a:r>
              <a:rPr lang="en-US"/>
              <a:t>Click icon to add picture</a:t>
            </a:r>
          </a:p>
        </p:txBody>
      </p:sp>
      <p:sp>
        <p:nvSpPr>
          <p:cNvPr id="13" name="Textplatzhalter 6">
            <a:extLst>
              <a:ext uri="{FF2B5EF4-FFF2-40B4-BE49-F238E27FC236}">
                <a16:creationId xmlns:a16="http://schemas.microsoft.com/office/drawing/2014/main" id="{E08DCA74-AB6E-40F3-ADE1-B0678BF2EFFA}"/>
              </a:ext>
            </a:extLst>
          </p:cNvPr>
          <p:cNvSpPr>
            <a:spLocks noGrp="1"/>
          </p:cNvSpPr>
          <p:nvPr>
            <p:ph type="body" sz="quarter" idx="13" hasCustomPrompt="1"/>
          </p:nvPr>
        </p:nvSpPr>
        <p:spPr>
          <a:xfrm>
            <a:off x="839788" y="3265484"/>
            <a:ext cx="5005854" cy="457200"/>
          </a:xfrm>
        </p:spPr>
        <p:txBody>
          <a:bodyPr/>
          <a:lstStyle>
            <a:lvl1pPr>
              <a:spcBef>
                <a:spcPts val="500"/>
              </a:spcBef>
              <a:defRPr sz="3100" b="1">
                <a:solidFill>
                  <a:srgbClr val="FFFFFF"/>
                </a:solidFill>
              </a:defRPr>
            </a:lvl1pPr>
          </a:lstStyle>
          <a:p>
            <a:pPr lvl="0"/>
            <a:r>
              <a:rPr lang="en-US"/>
              <a:t>Add </a:t>
            </a:r>
            <a:r>
              <a:rPr lang="en-US" noProof="0"/>
              <a:t>Title</a:t>
            </a:r>
          </a:p>
        </p:txBody>
      </p:sp>
      <p:sp>
        <p:nvSpPr>
          <p:cNvPr id="9" name="Textplatzhalter 2"/>
          <p:cNvSpPr>
            <a:spLocks noGrp="1"/>
          </p:cNvSpPr>
          <p:nvPr>
            <p:ph type="body" sz="quarter" idx="11" hasCustomPrompt="1"/>
          </p:nvPr>
        </p:nvSpPr>
        <p:spPr>
          <a:xfrm>
            <a:off x="854168" y="3994289"/>
            <a:ext cx="4993293" cy="1980000"/>
          </a:xfrm>
        </p:spPr>
        <p:txBody>
          <a:bodyPr/>
          <a:lstStyle>
            <a:lvl1pPr>
              <a:defRPr>
                <a:solidFill>
                  <a:srgbClr val="FFFFFF"/>
                </a:solidFill>
              </a:defRPr>
            </a:lvl1pPr>
            <a:lvl2pPr>
              <a:defRPr>
                <a:solidFill>
                  <a:srgbClr val="FFFFFF"/>
                </a:solidFill>
              </a:defRPr>
            </a:lvl2pPr>
            <a:lvl3pPr>
              <a:defRPr baseline="0">
                <a:solidFill>
                  <a:srgbClr val="FFFFFF"/>
                </a:solidFill>
              </a:defRPr>
            </a:lvl3pPr>
            <a:lvl4pPr>
              <a:defRPr>
                <a:solidFill>
                  <a:srgbClr val="FFFFFF"/>
                </a:solidFill>
              </a:defRPr>
            </a:lvl4pPr>
            <a:lvl5pPr>
              <a:defRPr>
                <a:solidFill>
                  <a:srgbClr val="FFFFFF"/>
                </a:solidFill>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3" name="Title 2"/>
          <p:cNvSpPr>
            <a:spLocks noGrp="1"/>
          </p:cNvSpPr>
          <p:nvPr>
            <p:ph type="title" hasCustomPrompt="1"/>
          </p:nvPr>
        </p:nvSpPr>
        <p:spPr/>
        <p:txBody>
          <a:bodyPr/>
          <a:lstStyle>
            <a:lvl1pPr>
              <a:defRPr/>
            </a:lvl1pPr>
          </a:lstStyle>
          <a:p>
            <a:r>
              <a:rPr lang="en-US"/>
              <a:t>Add Title </a:t>
            </a:r>
          </a:p>
        </p:txBody>
      </p:sp>
    </p:spTree>
    <p:extLst>
      <p:ext uri="{BB962C8B-B14F-4D97-AF65-F5344CB8AC3E}">
        <p14:creationId xmlns:p14="http://schemas.microsoft.com/office/powerpoint/2010/main" val="39326867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Text (righ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655194A6-C5F3-4B72-BA38-14EABC8887B2}"/>
              </a:ext>
            </a:extLst>
          </p:cNvPr>
          <p:cNvSpPr>
            <a:spLocks noGrp="1"/>
          </p:cNvSpPr>
          <p:nvPr>
            <p:ph type="pic" sz="quarter" idx="14" hasCustomPrompt="1"/>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algn="ctr">
              <a:defRPr/>
            </a:lvl1pPr>
          </a:lstStyle>
          <a:p>
            <a:r>
              <a:rPr lang="en-US"/>
              <a:t>Click icon to add picture</a:t>
            </a:r>
          </a:p>
        </p:txBody>
      </p:sp>
      <p:sp>
        <p:nvSpPr>
          <p:cNvPr id="4" name="Textplatzhalter 3"/>
          <p:cNvSpPr>
            <a:spLocks noGrp="1"/>
          </p:cNvSpPr>
          <p:nvPr>
            <p:ph type="body" sz="quarter" idx="10" hasCustomPrompt="1"/>
          </p:nvPr>
        </p:nvSpPr>
        <p:spPr>
          <a:xfrm>
            <a:off x="6211925" y="914398"/>
            <a:ext cx="5148000" cy="5328000"/>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643106066"/>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Text (left), Background-Pictur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696A40DD-7BAD-4838-8762-D610A88D3125}"/>
              </a:ext>
            </a:extLst>
          </p:cNvPr>
          <p:cNvGrpSpPr/>
          <p:nvPr userDrawn="1"/>
        </p:nvGrpSpPr>
        <p:grpSpPr>
          <a:xfrm>
            <a:off x="731952" y="6335059"/>
            <a:ext cx="10778367" cy="362303"/>
            <a:chOff x="731952" y="6335059"/>
            <a:chExt cx="10778367" cy="362303"/>
          </a:xfrm>
        </p:grpSpPr>
        <p:sp>
          <p:nvSpPr>
            <p:cNvPr id="9" name="Rechteck 8">
              <a:extLst>
                <a:ext uri="{FF2B5EF4-FFF2-40B4-BE49-F238E27FC236}">
                  <a16:creationId xmlns:a16="http://schemas.microsoft.com/office/drawing/2014/main" id="{228DC618-87F8-4240-A5D2-C767BAD6E4D2}"/>
                </a:ext>
              </a:extLst>
            </p:cNvPr>
            <p:cNvSpPr/>
            <p:nvPr userDrawn="1"/>
          </p:nvSpPr>
          <p:spPr>
            <a:xfrm>
              <a:off x="731952" y="6335059"/>
              <a:ext cx="6120000" cy="28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A14F948F-2140-4F0A-9E61-CEDB6DF1E289}"/>
                </a:ext>
              </a:extLst>
            </p:cNvPr>
            <p:cNvSpPr/>
            <p:nvPr userDrawn="1"/>
          </p:nvSpPr>
          <p:spPr>
            <a:xfrm>
              <a:off x="9959546" y="6345195"/>
              <a:ext cx="1550773" cy="352167"/>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Bildplatzhalter 7">
            <a:extLst>
              <a:ext uri="{FF2B5EF4-FFF2-40B4-BE49-F238E27FC236}">
                <a16:creationId xmlns:a16="http://schemas.microsoft.com/office/drawing/2014/main" id="{4B8017E0-7B42-4795-A00A-DFBF191C97A1}"/>
              </a:ext>
            </a:extLst>
          </p:cNvPr>
          <p:cNvSpPr>
            <a:spLocks noGrp="1"/>
          </p:cNvSpPr>
          <p:nvPr>
            <p:ph type="pic" sz="quarter" idx="14" hasCustomPrompt="1"/>
          </p:nvPr>
        </p:nvSpPr>
        <p:spPr>
          <a:xfrm>
            <a:off x="6" y="4"/>
            <a:ext cx="12188819" cy="6857997"/>
          </a:xfrm>
          <a:custGeom>
            <a:avLst/>
            <a:gdLst/>
            <a:ahLst/>
            <a:cxnLst/>
            <a:rect l="l" t="t" r="r" b="b"/>
            <a:pathLst>
              <a:path w="12188819" h="6857997">
                <a:moveTo>
                  <a:pt x="11165506" y="6580185"/>
                </a:moveTo>
                <a:lnTo>
                  <a:pt x="11175994" y="6599235"/>
                </a:lnTo>
                <a:lnTo>
                  <a:pt x="11155357" y="6599235"/>
                </a:lnTo>
                <a:close/>
                <a:moveTo>
                  <a:pt x="11082332" y="6580185"/>
                </a:moveTo>
                <a:lnTo>
                  <a:pt x="11099587" y="6580185"/>
                </a:lnTo>
                <a:cubicBezTo>
                  <a:pt x="11109596" y="6580185"/>
                  <a:pt x="11114082" y="6581522"/>
                  <a:pt x="11114082" y="6586535"/>
                </a:cubicBezTo>
                <a:cubicBezTo>
                  <a:pt x="11114082" y="6590880"/>
                  <a:pt x="11109596" y="6592885"/>
                  <a:pt x="11100623" y="6592885"/>
                </a:cubicBezTo>
                <a:lnTo>
                  <a:pt x="11082332" y="6592885"/>
                </a:lnTo>
                <a:close/>
                <a:moveTo>
                  <a:pt x="10714032" y="6580185"/>
                </a:moveTo>
                <a:lnTo>
                  <a:pt x="10733599" y="6580185"/>
                </a:lnTo>
                <a:cubicBezTo>
                  <a:pt x="10743021" y="6580185"/>
                  <a:pt x="10747369" y="6581196"/>
                  <a:pt x="10747369" y="6585573"/>
                </a:cubicBezTo>
                <a:cubicBezTo>
                  <a:pt x="10747369" y="6589951"/>
                  <a:pt x="10743021" y="6591298"/>
                  <a:pt x="10733599" y="6591298"/>
                </a:cubicBezTo>
                <a:lnTo>
                  <a:pt x="10714032" y="6591298"/>
                </a:lnTo>
                <a:close/>
                <a:moveTo>
                  <a:pt x="10918204" y="6578597"/>
                </a:moveTo>
                <a:cubicBezTo>
                  <a:pt x="10931791" y="6578597"/>
                  <a:pt x="10937869" y="6584093"/>
                  <a:pt x="10937869" y="6595449"/>
                </a:cubicBezTo>
                <a:cubicBezTo>
                  <a:pt x="10937869" y="6606440"/>
                  <a:pt x="10931791" y="6611935"/>
                  <a:pt x="10918204" y="6611935"/>
                </a:cubicBezTo>
                <a:cubicBezTo>
                  <a:pt x="10904260" y="6611935"/>
                  <a:pt x="10898182" y="6606440"/>
                  <a:pt x="10898182" y="6595083"/>
                </a:cubicBezTo>
                <a:cubicBezTo>
                  <a:pt x="10898182" y="6584093"/>
                  <a:pt x="10904618" y="6578597"/>
                  <a:pt x="10918204" y="6578597"/>
                </a:cubicBezTo>
                <a:close/>
                <a:moveTo>
                  <a:pt x="10651147" y="6578597"/>
                </a:moveTo>
                <a:cubicBezTo>
                  <a:pt x="10665091" y="6578597"/>
                  <a:pt x="10671169" y="6584093"/>
                  <a:pt x="10671169" y="6595449"/>
                </a:cubicBezTo>
                <a:cubicBezTo>
                  <a:pt x="10671169" y="6606440"/>
                  <a:pt x="10665091" y="6611935"/>
                  <a:pt x="10651147" y="6611935"/>
                </a:cubicBezTo>
                <a:cubicBezTo>
                  <a:pt x="10637560" y="6611935"/>
                  <a:pt x="10631482" y="6606440"/>
                  <a:pt x="10631482" y="6595083"/>
                </a:cubicBezTo>
                <a:cubicBezTo>
                  <a:pt x="10631482" y="6584093"/>
                  <a:pt x="10637918" y="6578597"/>
                  <a:pt x="10651147" y="6578597"/>
                </a:cubicBezTo>
                <a:close/>
                <a:moveTo>
                  <a:pt x="11280769" y="6570660"/>
                </a:moveTo>
                <a:lnTo>
                  <a:pt x="11309328" y="6598084"/>
                </a:lnTo>
                <a:lnTo>
                  <a:pt x="11309328" y="6619873"/>
                </a:lnTo>
                <a:lnTo>
                  <a:pt x="11324873" y="6619873"/>
                </a:lnTo>
                <a:lnTo>
                  <a:pt x="11324873" y="6598084"/>
                </a:lnTo>
                <a:lnTo>
                  <a:pt x="11353794" y="6570660"/>
                </a:lnTo>
                <a:lnTo>
                  <a:pt x="11335719" y="6570660"/>
                </a:lnTo>
                <a:lnTo>
                  <a:pt x="11316920" y="6589444"/>
                </a:lnTo>
                <a:lnTo>
                  <a:pt x="11298483" y="6570660"/>
                </a:lnTo>
                <a:close/>
                <a:moveTo>
                  <a:pt x="11210919" y="6570660"/>
                </a:moveTo>
                <a:lnTo>
                  <a:pt x="11210919" y="6619873"/>
                </a:lnTo>
                <a:lnTo>
                  <a:pt x="11227405" y="6619873"/>
                </a:lnTo>
                <a:lnTo>
                  <a:pt x="11226672" y="6582682"/>
                </a:lnTo>
                <a:lnTo>
                  <a:pt x="11259277" y="6619873"/>
                </a:lnTo>
                <a:lnTo>
                  <a:pt x="11277594" y="6619873"/>
                </a:lnTo>
                <a:lnTo>
                  <a:pt x="11277594" y="6570660"/>
                </a:lnTo>
                <a:lnTo>
                  <a:pt x="11261475" y="6570660"/>
                </a:lnTo>
                <a:lnTo>
                  <a:pt x="11262207" y="6605973"/>
                </a:lnTo>
                <a:lnTo>
                  <a:pt x="11231068" y="6570660"/>
                </a:lnTo>
                <a:close/>
                <a:moveTo>
                  <a:pt x="11158246" y="6570660"/>
                </a:moveTo>
                <a:lnTo>
                  <a:pt x="11126782" y="6619873"/>
                </a:lnTo>
                <a:lnTo>
                  <a:pt x="11143229" y="6619873"/>
                </a:lnTo>
                <a:lnTo>
                  <a:pt x="11150022" y="6608227"/>
                </a:lnTo>
                <a:lnTo>
                  <a:pt x="11181844" y="6608227"/>
                </a:lnTo>
                <a:lnTo>
                  <a:pt x="11188637" y="6619873"/>
                </a:lnTo>
                <a:lnTo>
                  <a:pt x="11206157" y="6619873"/>
                </a:lnTo>
                <a:lnTo>
                  <a:pt x="11174693" y="6570660"/>
                </a:lnTo>
                <a:close/>
                <a:moveTo>
                  <a:pt x="11066457" y="6570660"/>
                </a:moveTo>
                <a:lnTo>
                  <a:pt x="11066457" y="6619873"/>
                </a:lnTo>
                <a:lnTo>
                  <a:pt x="11081751" y="6619873"/>
                </a:lnTo>
                <a:lnTo>
                  <a:pt x="11081751" y="6602592"/>
                </a:lnTo>
                <a:lnTo>
                  <a:pt x="11100601" y="6602592"/>
                </a:lnTo>
                <a:cubicBezTo>
                  <a:pt x="11109848" y="6602592"/>
                  <a:pt x="11116962" y="6602592"/>
                  <a:pt x="11123008" y="6599587"/>
                </a:cubicBezTo>
                <a:cubicBezTo>
                  <a:pt x="11128699" y="6596957"/>
                  <a:pt x="11131544" y="6592825"/>
                  <a:pt x="11131544" y="6586814"/>
                </a:cubicBezTo>
                <a:cubicBezTo>
                  <a:pt x="11131544" y="6580803"/>
                  <a:pt x="11127987" y="6575920"/>
                  <a:pt x="11121585" y="6573290"/>
                </a:cubicBezTo>
                <a:cubicBezTo>
                  <a:pt x="11116962" y="6571412"/>
                  <a:pt x="11109848" y="6570660"/>
                  <a:pt x="11099890" y="6570660"/>
                </a:cubicBezTo>
                <a:close/>
                <a:moveTo>
                  <a:pt x="10966444" y="6570660"/>
                </a:moveTo>
                <a:lnTo>
                  <a:pt x="10966444" y="6619873"/>
                </a:lnTo>
                <a:lnTo>
                  <a:pt x="10982333" y="6619873"/>
                </a:lnTo>
                <a:lnTo>
                  <a:pt x="10980888" y="6581179"/>
                </a:lnTo>
                <a:lnTo>
                  <a:pt x="11000749" y="6619873"/>
                </a:lnTo>
                <a:lnTo>
                  <a:pt x="11017360" y="6619873"/>
                </a:lnTo>
                <a:lnTo>
                  <a:pt x="11036498" y="6581555"/>
                </a:lnTo>
                <a:lnTo>
                  <a:pt x="11035054" y="6619873"/>
                </a:lnTo>
                <a:lnTo>
                  <a:pt x="11050581" y="6619873"/>
                </a:lnTo>
                <a:lnTo>
                  <a:pt x="11050581" y="6570660"/>
                </a:lnTo>
                <a:lnTo>
                  <a:pt x="11027470" y="6570660"/>
                </a:lnTo>
                <a:lnTo>
                  <a:pt x="11008693" y="6608227"/>
                </a:lnTo>
                <a:lnTo>
                  <a:pt x="10989555" y="6570660"/>
                </a:lnTo>
                <a:close/>
                <a:moveTo>
                  <a:pt x="10918025" y="6570660"/>
                </a:moveTo>
                <a:cubicBezTo>
                  <a:pt x="10892671" y="6570660"/>
                  <a:pt x="10880719" y="6578259"/>
                  <a:pt x="10880719" y="6594543"/>
                </a:cubicBezTo>
                <a:cubicBezTo>
                  <a:pt x="10880719" y="6611912"/>
                  <a:pt x="10891947" y="6619873"/>
                  <a:pt x="10918025" y="6619873"/>
                </a:cubicBezTo>
                <a:cubicBezTo>
                  <a:pt x="10943379" y="6619873"/>
                  <a:pt x="10955331" y="6611912"/>
                  <a:pt x="10955331" y="6595267"/>
                </a:cubicBezTo>
                <a:cubicBezTo>
                  <a:pt x="10955331" y="6578259"/>
                  <a:pt x="10943379" y="6570660"/>
                  <a:pt x="10918025" y="6570660"/>
                </a:cubicBezTo>
                <a:close/>
                <a:moveTo>
                  <a:pt x="10848147" y="6570660"/>
                </a:moveTo>
                <a:cubicBezTo>
                  <a:pt x="10823747" y="6570660"/>
                  <a:pt x="10812457" y="6578925"/>
                  <a:pt x="10812457" y="6596206"/>
                </a:cubicBezTo>
                <a:cubicBezTo>
                  <a:pt x="10812457" y="6605222"/>
                  <a:pt x="10816463" y="6611608"/>
                  <a:pt x="10824111" y="6615365"/>
                </a:cubicBezTo>
                <a:cubicBezTo>
                  <a:pt x="10831395" y="6619498"/>
                  <a:pt x="10838314" y="6619873"/>
                  <a:pt x="10847419" y="6619873"/>
                </a:cubicBezTo>
                <a:lnTo>
                  <a:pt x="10874369" y="6619873"/>
                </a:lnTo>
                <a:lnTo>
                  <a:pt x="10874369" y="6611233"/>
                </a:lnTo>
                <a:lnTo>
                  <a:pt x="10848147" y="6611233"/>
                </a:lnTo>
                <a:cubicBezTo>
                  <a:pt x="10835037" y="6611233"/>
                  <a:pt x="10829938" y="6607476"/>
                  <a:pt x="10829938" y="6596582"/>
                </a:cubicBezTo>
                <a:cubicBezTo>
                  <a:pt x="10829938" y="6584560"/>
                  <a:pt x="10835037" y="6579301"/>
                  <a:pt x="10848147" y="6579301"/>
                </a:cubicBezTo>
                <a:lnTo>
                  <a:pt x="10874369" y="6579301"/>
                </a:lnTo>
                <a:lnTo>
                  <a:pt x="10874369" y="6570660"/>
                </a:lnTo>
                <a:close/>
                <a:moveTo>
                  <a:pt x="10698157" y="6570660"/>
                </a:moveTo>
                <a:lnTo>
                  <a:pt x="10698157" y="6619873"/>
                </a:lnTo>
                <a:lnTo>
                  <a:pt x="10714049" y="6619873"/>
                </a:lnTo>
                <a:lnTo>
                  <a:pt x="10714049" y="6600714"/>
                </a:lnTo>
                <a:lnTo>
                  <a:pt x="10733267" y="6600714"/>
                </a:lnTo>
                <a:lnTo>
                  <a:pt x="10749898" y="6619873"/>
                </a:lnTo>
                <a:lnTo>
                  <a:pt x="10768007" y="6619873"/>
                </a:lnTo>
                <a:lnTo>
                  <a:pt x="10749159" y="6599211"/>
                </a:lnTo>
                <a:cubicBezTo>
                  <a:pt x="10758768" y="6598084"/>
                  <a:pt x="10764311" y="6593201"/>
                  <a:pt x="10764311" y="6585687"/>
                </a:cubicBezTo>
                <a:cubicBezTo>
                  <a:pt x="10764311" y="6575168"/>
                  <a:pt x="10755811" y="6570660"/>
                  <a:pt x="10737702" y="6570660"/>
                </a:cubicBezTo>
                <a:close/>
                <a:moveTo>
                  <a:pt x="10651325" y="6570660"/>
                </a:moveTo>
                <a:cubicBezTo>
                  <a:pt x="10626334" y="6570660"/>
                  <a:pt x="10614019" y="6578259"/>
                  <a:pt x="10614019" y="6594543"/>
                </a:cubicBezTo>
                <a:cubicBezTo>
                  <a:pt x="10614019" y="6611912"/>
                  <a:pt x="10625609" y="6619873"/>
                  <a:pt x="10651325" y="6619873"/>
                </a:cubicBezTo>
                <a:cubicBezTo>
                  <a:pt x="10677041" y="6619873"/>
                  <a:pt x="10688631" y="6611912"/>
                  <a:pt x="10688631" y="6595267"/>
                </a:cubicBezTo>
                <a:cubicBezTo>
                  <a:pt x="10688631" y="6578259"/>
                  <a:pt x="10677041" y="6570660"/>
                  <a:pt x="10651325" y="6570660"/>
                </a:cubicBezTo>
                <a:close/>
                <a:moveTo>
                  <a:pt x="10561891" y="6570660"/>
                </a:moveTo>
                <a:cubicBezTo>
                  <a:pt x="10544429" y="6570660"/>
                  <a:pt x="10536232" y="6575168"/>
                  <a:pt x="10536232" y="6585687"/>
                </a:cubicBezTo>
                <a:cubicBezTo>
                  <a:pt x="10536232" y="6595455"/>
                  <a:pt x="10543716" y="6599963"/>
                  <a:pt x="10560822" y="6599963"/>
                </a:cubicBezTo>
                <a:lnTo>
                  <a:pt x="10578997" y="6599963"/>
                </a:lnTo>
                <a:cubicBezTo>
                  <a:pt x="10586481" y="6599963"/>
                  <a:pt x="10590045" y="6601090"/>
                  <a:pt x="10590045" y="6605598"/>
                </a:cubicBezTo>
                <a:cubicBezTo>
                  <a:pt x="10590045" y="6609730"/>
                  <a:pt x="10586125" y="6611233"/>
                  <a:pt x="10577928" y="6611233"/>
                </a:cubicBezTo>
                <a:lnTo>
                  <a:pt x="10539083" y="6611233"/>
                </a:lnTo>
                <a:lnTo>
                  <a:pt x="10539083" y="6619873"/>
                </a:lnTo>
                <a:lnTo>
                  <a:pt x="10580423" y="6619873"/>
                </a:lnTo>
                <a:cubicBezTo>
                  <a:pt x="10597885" y="6619873"/>
                  <a:pt x="10606082" y="6615365"/>
                  <a:pt x="10606082" y="6605222"/>
                </a:cubicBezTo>
                <a:cubicBezTo>
                  <a:pt x="10606082" y="6595079"/>
                  <a:pt x="10598954" y="6591322"/>
                  <a:pt x="10582561" y="6591322"/>
                </a:cubicBezTo>
                <a:lnTo>
                  <a:pt x="10562248" y="6591322"/>
                </a:lnTo>
                <a:cubicBezTo>
                  <a:pt x="10555833" y="6591322"/>
                  <a:pt x="10552269" y="6589444"/>
                  <a:pt x="10552269" y="6586063"/>
                </a:cubicBezTo>
                <a:cubicBezTo>
                  <a:pt x="10552269" y="6581555"/>
                  <a:pt x="10556189" y="6579676"/>
                  <a:pt x="10564386" y="6579676"/>
                </a:cubicBezTo>
                <a:lnTo>
                  <a:pt x="10602518" y="6579676"/>
                </a:lnTo>
                <a:lnTo>
                  <a:pt x="10602518" y="6570660"/>
                </a:lnTo>
                <a:close/>
                <a:moveTo>
                  <a:pt x="10458444" y="6570660"/>
                </a:moveTo>
                <a:lnTo>
                  <a:pt x="10458444" y="6619873"/>
                </a:lnTo>
                <a:lnTo>
                  <a:pt x="10474930" y="6619873"/>
                </a:lnTo>
                <a:lnTo>
                  <a:pt x="10474197" y="6582682"/>
                </a:lnTo>
                <a:lnTo>
                  <a:pt x="10506802" y="6619873"/>
                </a:lnTo>
                <a:lnTo>
                  <a:pt x="10525119" y="6619873"/>
                </a:lnTo>
                <a:lnTo>
                  <a:pt x="10525119" y="6570660"/>
                </a:lnTo>
                <a:lnTo>
                  <a:pt x="10509000" y="6570660"/>
                </a:lnTo>
                <a:lnTo>
                  <a:pt x="10509732" y="6605973"/>
                </a:lnTo>
                <a:lnTo>
                  <a:pt x="10478593" y="6570660"/>
                </a:lnTo>
                <a:close/>
                <a:moveTo>
                  <a:pt x="10418456" y="6570660"/>
                </a:moveTo>
                <a:cubicBezTo>
                  <a:pt x="10394898" y="6570660"/>
                  <a:pt x="10383832" y="6578925"/>
                  <a:pt x="10383832" y="6596206"/>
                </a:cubicBezTo>
                <a:cubicBezTo>
                  <a:pt x="10383832" y="6605222"/>
                  <a:pt x="10387402" y="6611608"/>
                  <a:pt x="10395254" y="6615365"/>
                </a:cubicBezTo>
                <a:cubicBezTo>
                  <a:pt x="10402394" y="6619498"/>
                  <a:pt x="10409176" y="6619873"/>
                  <a:pt x="10418099" y="6619873"/>
                </a:cubicBezTo>
                <a:lnTo>
                  <a:pt x="10444157" y="6619873"/>
                </a:lnTo>
                <a:lnTo>
                  <a:pt x="10444157" y="6611233"/>
                </a:lnTo>
                <a:lnTo>
                  <a:pt x="10418813" y="6611233"/>
                </a:lnTo>
                <a:cubicBezTo>
                  <a:pt x="10406677" y="6611233"/>
                  <a:pt x="10401323" y="6608227"/>
                  <a:pt x="10401323" y="6599211"/>
                </a:cubicBezTo>
                <a:lnTo>
                  <a:pt x="10444157" y="6599211"/>
                </a:lnTo>
                <a:lnTo>
                  <a:pt x="10444157" y="6590571"/>
                </a:lnTo>
                <a:lnTo>
                  <a:pt x="10401323" y="6590571"/>
                </a:lnTo>
                <a:cubicBezTo>
                  <a:pt x="10402037" y="6583057"/>
                  <a:pt x="10407748" y="6579301"/>
                  <a:pt x="10418813" y="6579301"/>
                </a:cubicBezTo>
                <a:lnTo>
                  <a:pt x="10444157" y="6579301"/>
                </a:lnTo>
                <a:lnTo>
                  <a:pt x="10444157" y="6570660"/>
                </a:lnTo>
                <a:close/>
                <a:moveTo>
                  <a:pt x="10332060" y="6570660"/>
                </a:moveTo>
                <a:cubicBezTo>
                  <a:pt x="10314241" y="6570660"/>
                  <a:pt x="10306044" y="6575168"/>
                  <a:pt x="10306044" y="6585687"/>
                </a:cubicBezTo>
                <a:cubicBezTo>
                  <a:pt x="10306044" y="6595455"/>
                  <a:pt x="10313884" y="6599963"/>
                  <a:pt x="10330634" y="6599963"/>
                </a:cubicBezTo>
                <a:lnTo>
                  <a:pt x="10348809" y="6599963"/>
                </a:lnTo>
                <a:cubicBezTo>
                  <a:pt x="10356293" y="6599963"/>
                  <a:pt x="10359857" y="6601090"/>
                  <a:pt x="10359857" y="6605598"/>
                </a:cubicBezTo>
                <a:cubicBezTo>
                  <a:pt x="10359857" y="6609730"/>
                  <a:pt x="10355937" y="6611233"/>
                  <a:pt x="10347740" y="6611233"/>
                </a:cubicBezTo>
                <a:lnTo>
                  <a:pt x="10308895" y="6611233"/>
                </a:lnTo>
                <a:lnTo>
                  <a:pt x="10308895" y="6619873"/>
                </a:lnTo>
                <a:lnTo>
                  <a:pt x="10350235" y="6619873"/>
                </a:lnTo>
                <a:cubicBezTo>
                  <a:pt x="10367697" y="6619873"/>
                  <a:pt x="10375894" y="6615365"/>
                  <a:pt x="10375894" y="6605222"/>
                </a:cubicBezTo>
                <a:cubicBezTo>
                  <a:pt x="10375894" y="6595079"/>
                  <a:pt x="10369123" y="6591322"/>
                  <a:pt x="10352373" y="6591322"/>
                </a:cubicBezTo>
                <a:lnTo>
                  <a:pt x="10332060" y="6591322"/>
                </a:lnTo>
                <a:cubicBezTo>
                  <a:pt x="10325645" y="6591322"/>
                  <a:pt x="10322437" y="6589444"/>
                  <a:pt x="10322437" y="6586063"/>
                </a:cubicBezTo>
                <a:cubicBezTo>
                  <a:pt x="10322437" y="6581555"/>
                  <a:pt x="10326001" y="6579676"/>
                  <a:pt x="10334198" y="6579676"/>
                </a:cubicBezTo>
                <a:lnTo>
                  <a:pt x="10372330" y="6579676"/>
                </a:lnTo>
                <a:lnTo>
                  <a:pt x="10372330" y="6570660"/>
                </a:lnTo>
                <a:close/>
                <a:moveTo>
                  <a:pt x="10229543" y="6570660"/>
                </a:moveTo>
                <a:cubicBezTo>
                  <a:pt x="10205985" y="6570660"/>
                  <a:pt x="10194919" y="6578925"/>
                  <a:pt x="10194919" y="6596206"/>
                </a:cubicBezTo>
                <a:cubicBezTo>
                  <a:pt x="10194919" y="6605222"/>
                  <a:pt x="10198489" y="6611608"/>
                  <a:pt x="10205985" y="6615365"/>
                </a:cubicBezTo>
                <a:cubicBezTo>
                  <a:pt x="10213481" y="6619498"/>
                  <a:pt x="10220263" y="6619873"/>
                  <a:pt x="10229186" y="6619873"/>
                </a:cubicBezTo>
                <a:lnTo>
                  <a:pt x="10255244" y="6619873"/>
                </a:lnTo>
                <a:lnTo>
                  <a:pt x="10255244" y="6611233"/>
                </a:lnTo>
                <a:lnTo>
                  <a:pt x="10229900" y="6611233"/>
                </a:lnTo>
                <a:cubicBezTo>
                  <a:pt x="10217764" y="6611233"/>
                  <a:pt x="10212410" y="6608227"/>
                  <a:pt x="10212410" y="6599211"/>
                </a:cubicBezTo>
                <a:lnTo>
                  <a:pt x="10255244" y="6599211"/>
                </a:lnTo>
                <a:lnTo>
                  <a:pt x="10255244" y="6590571"/>
                </a:lnTo>
                <a:lnTo>
                  <a:pt x="10212410" y="6590571"/>
                </a:lnTo>
                <a:cubicBezTo>
                  <a:pt x="10213124" y="6583057"/>
                  <a:pt x="10218835" y="6579301"/>
                  <a:pt x="10229900" y="6579301"/>
                </a:cubicBezTo>
                <a:lnTo>
                  <a:pt x="10255244" y="6579301"/>
                </a:lnTo>
                <a:lnTo>
                  <a:pt x="10255244" y="6570660"/>
                </a:lnTo>
                <a:close/>
                <a:moveTo>
                  <a:pt x="10123482" y="6570660"/>
                </a:moveTo>
                <a:lnTo>
                  <a:pt x="10123482" y="6619873"/>
                </a:lnTo>
                <a:lnTo>
                  <a:pt x="10139108" y="6619873"/>
                </a:lnTo>
                <a:lnTo>
                  <a:pt x="10139108" y="6599211"/>
                </a:lnTo>
                <a:lnTo>
                  <a:pt x="10168181" y="6599211"/>
                </a:lnTo>
                <a:lnTo>
                  <a:pt x="10168181" y="6619873"/>
                </a:lnTo>
                <a:lnTo>
                  <a:pt x="10183807" y="6619873"/>
                </a:lnTo>
                <a:lnTo>
                  <a:pt x="10183807" y="6570660"/>
                </a:lnTo>
                <a:lnTo>
                  <a:pt x="10168181" y="6570660"/>
                </a:lnTo>
                <a:lnTo>
                  <a:pt x="10168181" y="6590571"/>
                </a:lnTo>
                <a:lnTo>
                  <a:pt x="10139108" y="6590571"/>
                </a:lnTo>
                <a:lnTo>
                  <a:pt x="10139108" y="6570660"/>
                </a:lnTo>
                <a:close/>
                <a:moveTo>
                  <a:pt x="10050457" y="6570660"/>
                </a:moveTo>
                <a:lnTo>
                  <a:pt x="10050457" y="6578989"/>
                </a:lnTo>
                <a:lnTo>
                  <a:pt x="10074819" y="6578989"/>
                </a:lnTo>
                <a:lnTo>
                  <a:pt x="10074819" y="6619873"/>
                </a:lnTo>
                <a:lnTo>
                  <a:pt x="10090818" y="6619873"/>
                </a:lnTo>
                <a:lnTo>
                  <a:pt x="10090818" y="6578989"/>
                </a:lnTo>
                <a:lnTo>
                  <a:pt x="10115544" y="6578989"/>
                </a:lnTo>
                <a:lnTo>
                  <a:pt x="10115544" y="6570660"/>
                </a:lnTo>
                <a:close/>
                <a:moveTo>
                  <a:pt x="2164817" y="6506714"/>
                </a:moveTo>
                <a:lnTo>
                  <a:pt x="2164817" y="6521015"/>
                </a:lnTo>
                <a:lnTo>
                  <a:pt x="2170608" y="6521015"/>
                </a:lnTo>
                <a:cubicBezTo>
                  <a:pt x="2170515" y="6525387"/>
                  <a:pt x="2169933" y="6528678"/>
                  <a:pt x="2168864" y="6530887"/>
                </a:cubicBezTo>
                <a:cubicBezTo>
                  <a:pt x="2167794" y="6533096"/>
                  <a:pt x="2166213" y="6534759"/>
                  <a:pt x="2164120" y="6535875"/>
                </a:cubicBezTo>
                <a:lnTo>
                  <a:pt x="2166980" y="6541247"/>
                </a:lnTo>
                <a:cubicBezTo>
                  <a:pt x="2170096" y="6539572"/>
                  <a:pt x="2172468" y="6537165"/>
                  <a:pt x="2174096" y="6534026"/>
                </a:cubicBezTo>
                <a:cubicBezTo>
                  <a:pt x="2175724" y="6530887"/>
                  <a:pt x="2176538" y="6526550"/>
                  <a:pt x="2176538" y="6521015"/>
                </a:cubicBezTo>
                <a:lnTo>
                  <a:pt x="2176538" y="6506714"/>
                </a:lnTo>
                <a:close/>
                <a:moveTo>
                  <a:pt x="6291676" y="6483831"/>
                </a:moveTo>
                <a:lnTo>
                  <a:pt x="6291676" y="6488436"/>
                </a:lnTo>
                <a:cubicBezTo>
                  <a:pt x="6291676" y="6494528"/>
                  <a:pt x="6290932" y="6499168"/>
                  <a:pt x="6289444" y="6502354"/>
                </a:cubicBezTo>
                <a:cubicBezTo>
                  <a:pt x="6287955" y="6505539"/>
                  <a:pt x="6285711" y="6508086"/>
                  <a:pt x="6282711" y="6509993"/>
                </a:cubicBezTo>
                <a:cubicBezTo>
                  <a:pt x="6279712" y="6511900"/>
                  <a:pt x="6276375" y="6512853"/>
                  <a:pt x="6272700" y="6512853"/>
                </a:cubicBezTo>
                <a:cubicBezTo>
                  <a:pt x="6268840" y="6512853"/>
                  <a:pt x="6265817" y="6511795"/>
                  <a:pt x="6263631" y="6509679"/>
                </a:cubicBezTo>
                <a:cubicBezTo>
                  <a:pt x="6261445" y="6507563"/>
                  <a:pt x="6260352" y="6504737"/>
                  <a:pt x="6260352" y="6501203"/>
                </a:cubicBezTo>
                <a:cubicBezTo>
                  <a:pt x="6260352" y="6498924"/>
                  <a:pt x="6260829" y="6496912"/>
                  <a:pt x="6261782" y="6495168"/>
                </a:cubicBezTo>
                <a:cubicBezTo>
                  <a:pt x="6262736" y="6493424"/>
                  <a:pt x="6264073" y="6492075"/>
                  <a:pt x="6265794" y="6491122"/>
                </a:cubicBezTo>
                <a:cubicBezTo>
                  <a:pt x="6267515" y="6490168"/>
                  <a:pt x="6270538" y="6489320"/>
                  <a:pt x="6274863" y="6488575"/>
                </a:cubicBezTo>
                <a:cubicBezTo>
                  <a:pt x="6282304" y="6487273"/>
                  <a:pt x="6287909" y="6485692"/>
                  <a:pt x="6291676" y="6483831"/>
                </a:cubicBezTo>
                <a:close/>
                <a:moveTo>
                  <a:pt x="2657736" y="6483831"/>
                </a:moveTo>
                <a:lnTo>
                  <a:pt x="2657736" y="6488436"/>
                </a:lnTo>
                <a:cubicBezTo>
                  <a:pt x="2657736" y="6494528"/>
                  <a:pt x="2656992" y="6499168"/>
                  <a:pt x="2655504" y="6502354"/>
                </a:cubicBezTo>
                <a:cubicBezTo>
                  <a:pt x="2654015" y="6505539"/>
                  <a:pt x="2651771" y="6508086"/>
                  <a:pt x="2648771" y="6509993"/>
                </a:cubicBezTo>
                <a:cubicBezTo>
                  <a:pt x="2645772" y="6511900"/>
                  <a:pt x="2642435" y="6512853"/>
                  <a:pt x="2638760" y="6512853"/>
                </a:cubicBezTo>
                <a:cubicBezTo>
                  <a:pt x="2634900" y="6512853"/>
                  <a:pt x="2631877" y="6511795"/>
                  <a:pt x="2629691" y="6509679"/>
                </a:cubicBezTo>
                <a:cubicBezTo>
                  <a:pt x="2627505" y="6507563"/>
                  <a:pt x="2626412" y="6504737"/>
                  <a:pt x="2626412" y="6501203"/>
                </a:cubicBezTo>
                <a:cubicBezTo>
                  <a:pt x="2626412" y="6498924"/>
                  <a:pt x="2626889" y="6496912"/>
                  <a:pt x="2627843" y="6495168"/>
                </a:cubicBezTo>
                <a:cubicBezTo>
                  <a:pt x="2628796" y="6493424"/>
                  <a:pt x="2630133" y="6492075"/>
                  <a:pt x="2631854" y="6491122"/>
                </a:cubicBezTo>
                <a:cubicBezTo>
                  <a:pt x="2633575" y="6490168"/>
                  <a:pt x="2636598" y="6489320"/>
                  <a:pt x="2640923" y="6488575"/>
                </a:cubicBezTo>
                <a:cubicBezTo>
                  <a:pt x="2648365" y="6487273"/>
                  <a:pt x="2653969" y="6485692"/>
                  <a:pt x="2657736" y="6483831"/>
                </a:cubicBezTo>
                <a:close/>
                <a:moveTo>
                  <a:pt x="6087293" y="6455577"/>
                </a:moveTo>
                <a:cubicBezTo>
                  <a:pt x="6092409" y="6455577"/>
                  <a:pt x="6096618" y="6457880"/>
                  <a:pt x="6099920" y="6462484"/>
                </a:cubicBezTo>
                <a:cubicBezTo>
                  <a:pt x="6102199" y="6465647"/>
                  <a:pt x="6103571" y="6470437"/>
                  <a:pt x="6104036" y="6476855"/>
                </a:cubicBezTo>
                <a:lnTo>
                  <a:pt x="6070131" y="6476855"/>
                </a:lnTo>
                <a:cubicBezTo>
                  <a:pt x="6070457" y="6470344"/>
                  <a:pt x="6072248" y="6465170"/>
                  <a:pt x="6075503" y="6461333"/>
                </a:cubicBezTo>
                <a:cubicBezTo>
                  <a:pt x="6078759" y="6457496"/>
                  <a:pt x="6082689" y="6455577"/>
                  <a:pt x="6087293" y="6455577"/>
                </a:cubicBezTo>
                <a:close/>
                <a:moveTo>
                  <a:pt x="6018396" y="6455577"/>
                </a:moveTo>
                <a:cubicBezTo>
                  <a:pt x="6023282" y="6455577"/>
                  <a:pt x="6027331" y="6457961"/>
                  <a:pt x="6030542" y="6462728"/>
                </a:cubicBezTo>
                <a:cubicBezTo>
                  <a:pt x="6033753" y="6467495"/>
                  <a:pt x="6035359" y="6475065"/>
                  <a:pt x="6035359" y="6485436"/>
                </a:cubicBezTo>
                <a:cubicBezTo>
                  <a:pt x="6035359" y="6494459"/>
                  <a:pt x="6033753" y="6501203"/>
                  <a:pt x="6030542" y="6505667"/>
                </a:cubicBezTo>
                <a:cubicBezTo>
                  <a:pt x="6027331" y="6510132"/>
                  <a:pt x="6023538" y="6512365"/>
                  <a:pt x="6019164" y="6512365"/>
                </a:cubicBezTo>
                <a:cubicBezTo>
                  <a:pt x="6014743" y="6512365"/>
                  <a:pt x="6010869" y="6510039"/>
                  <a:pt x="6007541" y="6505388"/>
                </a:cubicBezTo>
                <a:cubicBezTo>
                  <a:pt x="6004213" y="6500737"/>
                  <a:pt x="6002549" y="6493622"/>
                  <a:pt x="6002549" y="6484041"/>
                </a:cubicBezTo>
                <a:cubicBezTo>
                  <a:pt x="6002549" y="6474227"/>
                  <a:pt x="6004109" y="6467030"/>
                  <a:pt x="6007227" y="6462449"/>
                </a:cubicBezTo>
                <a:cubicBezTo>
                  <a:pt x="6010345" y="6457868"/>
                  <a:pt x="6014068" y="6455577"/>
                  <a:pt x="6018396" y="6455577"/>
                </a:cubicBezTo>
                <a:close/>
                <a:moveTo>
                  <a:pt x="5829560" y="6455577"/>
                </a:moveTo>
                <a:cubicBezTo>
                  <a:pt x="5834723" y="6455577"/>
                  <a:pt x="5839048" y="6457917"/>
                  <a:pt x="5842536" y="6462597"/>
                </a:cubicBezTo>
                <a:cubicBezTo>
                  <a:pt x="5846024" y="6467277"/>
                  <a:pt x="5847768" y="6474390"/>
                  <a:pt x="5847768" y="6483936"/>
                </a:cubicBezTo>
                <a:cubicBezTo>
                  <a:pt x="5847768" y="6493436"/>
                  <a:pt x="5846036" y="6500548"/>
                  <a:pt x="5842571" y="6505275"/>
                </a:cubicBezTo>
                <a:cubicBezTo>
                  <a:pt x="5839106" y="6510001"/>
                  <a:pt x="5834956" y="6512365"/>
                  <a:pt x="5830118" y="6512365"/>
                </a:cubicBezTo>
                <a:cubicBezTo>
                  <a:pt x="5824956" y="6512365"/>
                  <a:pt x="5820630" y="6510025"/>
                  <a:pt x="5817142" y="6505345"/>
                </a:cubicBezTo>
                <a:cubicBezTo>
                  <a:pt x="5813654" y="6500665"/>
                  <a:pt x="5811910" y="6493529"/>
                  <a:pt x="5811910" y="6483936"/>
                </a:cubicBezTo>
                <a:cubicBezTo>
                  <a:pt x="5811910" y="6474437"/>
                  <a:pt x="5813631" y="6467335"/>
                  <a:pt x="5817072" y="6462632"/>
                </a:cubicBezTo>
                <a:cubicBezTo>
                  <a:pt x="5820514" y="6457929"/>
                  <a:pt x="5824677" y="6455577"/>
                  <a:pt x="5829560" y="6455577"/>
                </a:cubicBezTo>
                <a:close/>
                <a:moveTo>
                  <a:pt x="2774981" y="6455577"/>
                </a:moveTo>
                <a:cubicBezTo>
                  <a:pt x="2779867" y="6455577"/>
                  <a:pt x="2783916" y="6457961"/>
                  <a:pt x="2787127" y="6462728"/>
                </a:cubicBezTo>
                <a:cubicBezTo>
                  <a:pt x="2790338" y="6467495"/>
                  <a:pt x="2791944" y="6475065"/>
                  <a:pt x="2791944" y="6485436"/>
                </a:cubicBezTo>
                <a:cubicBezTo>
                  <a:pt x="2791944" y="6494459"/>
                  <a:pt x="2790338" y="6501203"/>
                  <a:pt x="2787127" y="6505667"/>
                </a:cubicBezTo>
                <a:cubicBezTo>
                  <a:pt x="2783916" y="6510132"/>
                  <a:pt x="2780123" y="6512365"/>
                  <a:pt x="2775749" y="6512365"/>
                </a:cubicBezTo>
                <a:cubicBezTo>
                  <a:pt x="2771328" y="6512365"/>
                  <a:pt x="2767453" y="6510039"/>
                  <a:pt x="2764126" y="6505388"/>
                </a:cubicBezTo>
                <a:cubicBezTo>
                  <a:pt x="2760798" y="6500737"/>
                  <a:pt x="2759134" y="6493622"/>
                  <a:pt x="2759134" y="6484041"/>
                </a:cubicBezTo>
                <a:cubicBezTo>
                  <a:pt x="2759134" y="6474227"/>
                  <a:pt x="2760693" y="6467030"/>
                  <a:pt x="2763811" y="6462449"/>
                </a:cubicBezTo>
                <a:cubicBezTo>
                  <a:pt x="2766929" y="6457868"/>
                  <a:pt x="2770652" y="6455577"/>
                  <a:pt x="2774981" y="6455577"/>
                </a:cubicBezTo>
                <a:close/>
                <a:moveTo>
                  <a:pt x="2510503" y="6455577"/>
                </a:moveTo>
                <a:cubicBezTo>
                  <a:pt x="2515619" y="6455577"/>
                  <a:pt x="2519828" y="6457880"/>
                  <a:pt x="2523130" y="6462484"/>
                </a:cubicBezTo>
                <a:cubicBezTo>
                  <a:pt x="2525409" y="6465647"/>
                  <a:pt x="2526781" y="6470437"/>
                  <a:pt x="2527246" y="6476855"/>
                </a:cubicBezTo>
                <a:lnTo>
                  <a:pt x="2493341" y="6476855"/>
                </a:lnTo>
                <a:cubicBezTo>
                  <a:pt x="2493667" y="6470344"/>
                  <a:pt x="2495458" y="6465170"/>
                  <a:pt x="2498713" y="6461333"/>
                </a:cubicBezTo>
                <a:cubicBezTo>
                  <a:pt x="2501969" y="6457496"/>
                  <a:pt x="2505899" y="6455577"/>
                  <a:pt x="2510503" y="6455577"/>
                </a:cubicBezTo>
                <a:close/>
                <a:moveTo>
                  <a:pt x="1871770" y="6455577"/>
                </a:moveTo>
                <a:cubicBezTo>
                  <a:pt x="1876933" y="6455577"/>
                  <a:pt x="1881258" y="6457917"/>
                  <a:pt x="1884746" y="6462597"/>
                </a:cubicBezTo>
                <a:cubicBezTo>
                  <a:pt x="1888234" y="6467277"/>
                  <a:pt x="1889978" y="6474390"/>
                  <a:pt x="1889978" y="6483936"/>
                </a:cubicBezTo>
                <a:cubicBezTo>
                  <a:pt x="1889978" y="6493436"/>
                  <a:pt x="1888246" y="6500548"/>
                  <a:pt x="1884781" y="6505275"/>
                </a:cubicBezTo>
                <a:cubicBezTo>
                  <a:pt x="1881316" y="6510001"/>
                  <a:pt x="1877165" y="6512365"/>
                  <a:pt x="1872328" y="6512365"/>
                </a:cubicBezTo>
                <a:cubicBezTo>
                  <a:pt x="1867166" y="6512365"/>
                  <a:pt x="1862840" y="6510025"/>
                  <a:pt x="1859352" y="6505345"/>
                </a:cubicBezTo>
                <a:cubicBezTo>
                  <a:pt x="1855864" y="6500665"/>
                  <a:pt x="1854120" y="6493529"/>
                  <a:pt x="1854120" y="6483936"/>
                </a:cubicBezTo>
                <a:cubicBezTo>
                  <a:pt x="1854120" y="6474437"/>
                  <a:pt x="1855841" y="6467335"/>
                  <a:pt x="1859282" y="6462632"/>
                </a:cubicBezTo>
                <a:cubicBezTo>
                  <a:pt x="1862724" y="6457929"/>
                  <a:pt x="1866887" y="6455577"/>
                  <a:pt x="1871770" y="6455577"/>
                </a:cubicBezTo>
                <a:close/>
                <a:moveTo>
                  <a:pt x="1586578" y="6455577"/>
                </a:moveTo>
                <a:cubicBezTo>
                  <a:pt x="1591694" y="6455577"/>
                  <a:pt x="1595903" y="6457880"/>
                  <a:pt x="1599205" y="6462484"/>
                </a:cubicBezTo>
                <a:cubicBezTo>
                  <a:pt x="1601484" y="6465647"/>
                  <a:pt x="1602856" y="6470437"/>
                  <a:pt x="1603321" y="6476855"/>
                </a:cubicBezTo>
                <a:lnTo>
                  <a:pt x="1569416" y="6476855"/>
                </a:lnTo>
                <a:cubicBezTo>
                  <a:pt x="1569742" y="6470344"/>
                  <a:pt x="1571532" y="6465170"/>
                  <a:pt x="1574788" y="6461333"/>
                </a:cubicBezTo>
                <a:cubicBezTo>
                  <a:pt x="1578044" y="6457496"/>
                  <a:pt x="1581974" y="6455577"/>
                  <a:pt x="1586578" y="6455577"/>
                </a:cubicBezTo>
                <a:close/>
                <a:moveTo>
                  <a:pt x="1317679" y="6455577"/>
                </a:moveTo>
                <a:cubicBezTo>
                  <a:pt x="1322480" y="6455577"/>
                  <a:pt x="1326558" y="6457850"/>
                  <a:pt x="1329914" y="6462397"/>
                </a:cubicBezTo>
                <a:cubicBezTo>
                  <a:pt x="1333269" y="6466943"/>
                  <a:pt x="1334947" y="6473879"/>
                  <a:pt x="1334947" y="6483204"/>
                </a:cubicBezTo>
                <a:cubicBezTo>
                  <a:pt x="1334947" y="6492762"/>
                  <a:pt x="1333316" y="6499733"/>
                  <a:pt x="1330053" y="6504116"/>
                </a:cubicBezTo>
                <a:cubicBezTo>
                  <a:pt x="1326791" y="6508499"/>
                  <a:pt x="1322829" y="6510690"/>
                  <a:pt x="1318169" y="6510690"/>
                </a:cubicBezTo>
                <a:cubicBezTo>
                  <a:pt x="1313508" y="6510690"/>
                  <a:pt x="1309569" y="6508452"/>
                  <a:pt x="1306354" y="6503976"/>
                </a:cubicBezTo>
                <a:cubicBezTo>
                  <a:pt x="1303138" y="6499500"/>
                  <a:pt x="1301530" y="6492389"/>
                  <a:pt x="1301530" y="6482644"/>
                </a:cubicBezTo>
                <a:cubicBezTo>
                  <a:pt x="1301530" y="6473692"/>
                  <a:pt x="1303150" y="6466943"/>
                  <a:pt x="1306389" y="6462397"/>
                </a:cubicBezTo>
                <a:cubicBezTo>
                  <a:pt x="1309628" y="6457850"/>
                  <a:pt x="1313392" y="6455577"/>
                  <a:pt x="1317679" y="6455577"/>
                </a:cubicBezTo>
                <a:close/>
                <a:moveTo>
                  <a:pt x="1071670" y="6455577"/>
                </a:moveTo>
                <a:cubicBezTo>
                  <a:pt x="1076832" y="6455577"/>
                  <a:pt x="1081158" y="6457917"/>
                  <a:pt x="1084646" y="6462597"/>
                </a:cubicBezTo>
                <a:cubicBezTo>
                  <a:pt x="1088134" y="6467277"/>
                  <a:pt x="1089878" y="6474390"/>
                  <a:pt x="1089878" y="6483936"/>
                </a:cubicBezTo>
                <a:cubicBezTo>
                  <a:pt x="1089878" y="6493436"/>
                  <a:pt x="1088146" y="6500548"/>
                  <a:pt x="1084681" y="6505275"/>
                </a:cubicBezTo>
                <a:cubicBezTo>
                  <a:pt x="1081216" y="6510001"/>
                  <a:pt x="1077065" y="6512365"/>
                  <a:pt x="1072228" y="6512365"/>
                </a:cubicBezTo>
                <a:cubicBezTo>
                  <a:pt x="1067066" y="6512365"/>
                  <a:pt x="1062740" y="6510025"/>
                  <a:pt x="1059252" y="6505345"/>
                </a:cubicBezTo>
                <a:cubicBezTo>
                  <a:pt x="1055764" y="6500665"/>
                  <a:pt x="1054020" y="6493529"/>
                  <a:pt x="1054020" y="6483936"/>
                </a:cubicBezTo>
                <a:cubicBezTo>
                  <a:pt x="1054020" y="6474437"/>
                  <a:pt x="1055741" y="6467335"/>
                  <a:pt x="1059182" y="6462632"/>
                </a:cubicBezTo>
                <a:cubicBezTo>
                  <a:pt x="1062624" y="6457929"/>
                  <a:pt x="1066787" y="6455577"/>
                  <a:pt x="1071670" y="6455577"/>
                </a:cubicBezTo>
                <a:close/>
                <a:moveTo>
                  <a:pt x="1139782" y="6455089"/>
                </a:moveTo>
                <a:cubicBezTo>
                  <a:pt x="1144374" y="6455089"/>
                  <a:pt x="1148271" y="6457414"/>
                  <a:pt x="1151472" y="6462065"/>
                </a:cubicBezTo>
                <a:cubicBezTo>
                  <a:pt x="1154674" y="6466716"/>
                  <a:pt x="1156274" y="6473879"/>
                  <a:pt x="1156274" y="6483552"/>
                </a:cubicBezTo>
                <a:cubicBezTo>
                  <a:pt x="1156274" y="6493366"/>
                  <a:pt x="1154627" y="6500621"/>
                  <a:pt x="1151334" y="6505319"/>
                </a:cubicBezTo>
                <a:cubicBezTo>
                  <a:pt x="1148040" y="6510016"/>
                  <a:pt x="1144212" y="6512365"/>
                  <a:pt x="1139852" y="6512365"/>
                </a:cubicBezTo>
                <a:cubicBezTo>
                  <a:pt x="1135305" y="6512365"/>
                  <a:pt x="1131431" y="6510097"/>
                  <a:pt x="1128229" y="6505563"/>
                </a:cubicBezTo>
                <a:cubicBezTo>
                  <a:pt x="1125028" y="6501028"/>
                  <a:pt x="1123428" y="6493970"/>
                  <a:pt x="1123428" y="6484390"/>
                </a:cubicBezTo>
                <a:cubicBezTo>
                  <a:pt x="1123428" y="6474855"/>
                  <a:pt x="1125121" y="6467588"/>
                  <a:pt x="1128508" y="6462589"/>
                </a:cubicBezTo>
                <a:cubicBezTo>
                  <a:pt x="1131895" y="6457589"/>
                  <a:pt x="1135653" y="6455089"/>
                  <a:pt x="1139782" y="6455089"/>
                </a:cubicBezTo>
                <a:close/>
                <a:moveTo>
                  <a:pt x="2380892" y="6446927"/>
                </a:moveTo>
                <a:lnTo>
                  <a:pt x="2380892" y="6521015"/>
                </a:lnTo>
                <a:lnTo>
                  <a:pt x="2391148" y="6521015"/>
                </a:lnTo>
                <a:lnTo>
                  <a:pt x="2391148" y="6446927"/>
                </a:lnTo>
                <a:close/>
                <a:moveTo>
                  <a:pt x="2287703" y="6446927"/>
                </a:moveTo>
                <a:lnTo>
                  <a:pt x="2306367" y="6521015"/>
                </a:lnTo>
                <a:lnTo>
                  <a:pt x="2317108" y="6521015"/>
                </a:lnTo>
                <a:lnTo>
                  <a:pt x="2329386" y="6464019"/>
                </a:lnTo>
                <a:lnTo>
                  <a:pt x="2331689" y="6476646"/>
                </a:lnTo>
                <a:lnTo>
                  <a:pt x="2341385" y="6521015"/>
                </a:lnTo>
                <a:lnTo>
                  <a:pt x="2352104" y="6521015"/>
                </a:lnTo>
                <a:lnTo>
                  <a:pt x="2371070" y="6446927"/>
                </a:lnTo>
                <a:lnTo>
                  <a:pt x="2361025" y="6446927"/>
                </a:lnTo>
                <a:lnTo>
                  <a:pt x="2350655" y="6489761"/>
                </a:lnTo>
                <a:lnTo>
                  <a:pt x="2347176" y="6504063"/>
                </a:lnTo>
                <a:lnTo>
                  <a:pt x="2344116" y="6489901"/>
                </a:lnTo>
                <a:lnTo>
                  <a:pt x="2335078" y="6446927"/>
                </a:lnTo>
                <a:lnTo>
                  <a:pt x="2324448" y="6446927"/>
                </a:lnTo>
                <a:lnTo>
                  <a:pt x="2314810" y="6490319"/>
                </a:lnTo>
                <a:lnTo>
                  <a:pt x="2311597" y="6505598"/>
                </a:lnTo>
                <a:lnTo>
                  <a:pt x="2308021" y="6489692"/>
                </a:lnTo>
                <a:lnTo>
                  <a:pt x="2298346" y="6446927"/>
                </a:lnTo>
                <a:close/>
                <a:moveTo>
                  <a:pt x="1818918" y="6446927"/>
                </a:moveTo>
                <a:lnTo>
                  <a:pt x="1818918" y="6521015"/>
                </a:lnTo>
                <a:lnTo>
                  <a:pt x="1829173" y="6521015"/>
                </a:lnTo>
                <a:lnTo>
                  <a:pt x="1829173" y="6446927"/>
                </a:lnTo>
                <a:close/>
                <a:moveTo>
                  <a:pt x="1752242" y="6446927"/>
                </a:moveTo>
                <a:lnTo>
                  <a:pt x="1752242" y="6521015"/>
                </a:lnTo>
                <a:lnTo>
                  <a:pt x="1762498" y="6521015"/>
                </a:lnTo>
                <a:lnTo>
                  <a:pt x="1762498" y="6446927"/>
                </a:lnTo>
                <a:close/>
                <a:moveTo>
                  <a:pt x="1266468" y="6446927"/>
                </a:moveTo>
                <a:lnTo>
                  <a:pt x="1266468" y="6521015"/>
                </a:lnTo>
                <a:lnTo>
                  <a:pt x="1276723" y="6521015"/>
                </a:lnTo>
                <a:lnTo>
                  <a:pt x="1276723" y="6446927"/>
                </a:lnTo>
                <a:close/>
                <a:moveTo>
                  <a:pt x="6224382" y="6446927"/>
                </a:moveTo>
                <a:lnTo>
                  <a:pt x="6224382" y="6521015"/>
                </a:lnTo>
                <a:lnTo>
                  <a:pt x="6234638" y="6521015"/>
                </a:lnTo>
                <a:lnTo>
                  <a:pt x="6234638" y="6446927"/>
                </a:lnTo>
                <a:close/>
                <a:moveTo>
                  <a:pt x="5967207" y="6446927"/>
                </a:moveTo>
                <a:lnTo>
                  <a:pt x="5967207" y="6521015"/>
                </a:lnTo>
                <a:lnTo>
                  <a:pt x="5977463" y="6521015"/>
                </a:lnTo>
                <a:lnTo>
                  <a:pt x="5977463" y="6446927"/>
                </a:lnTo>
                <a:close/>
                <a:moveTo>
                  <a:pt x="6278770" y="6445252"/>
                </a:moveTo>
                <a:cubicBezTo>
                  <a:pt x="6270584" y="6445252"/>
                  <a:pt x="6264294" y="6447066"/>
                  <a:pt x="6259899" y="6450694"/>
                </a:cubicBezTo>
                <a:cubicBezTo>
                  <a:pt x="6255504" y="6454322"/>
                  <a:pt x="6252585" y="6460112"/>
                  <a:pt x="6251144" y="6468065"/>
                </a:cubicBezTo>
                <a:lnTo>
                  <a:pt x="6261259" y="6469739"/>
                </a:lnTo>
                <a:cubicBezTo>
                  <a:pt x="6262375" y="6464271"/>
                  <a:pt x="6264120" y="6460543"/>
                  <a:pt x="6266491" y="6458557"/>
                </a:cubicBezTo>
                <a:cubicBezTo>
                  <a:pt x="6268863" y="6456571"/>
                  <a:pt x="6272445" y="6455577"/>
                  <a:pt x="6277235" y="6455577"/>
                </a:cubicBezTo>
                <a:cubicBezTo>
                  <a:pt x="6282537" y="6455577"/>
                  <a:pt x="6286467" y="6457066"/>
                  <a:pt x="6289025" y="6460042"/>
                </a:cubicBezTo>
                <a:cubicBezTo>
                  <a:pt x="6290839" y="6462089"/>
                  <a:pt x="6291746" y="6465647"/>
                  <a:pt x="6291746" y="6470716"/>
                </a:cubicBezTo>
                <a:lnTo>
                  <a:pt x="6291676" y="6473925"/>
                </a:lnTo>
                <a:cubicBezTo>
                  <a:pt x="6287769" y="6475626"/>
                  <a:pt x="6281630" y="6477091"/>
                  <a:pt x="6273258" y="6478320"/>
                </a:cubicBezTo>
                <a:cubicBezTo>
                  <a:pt x="6267026" y="6479204"/>
                  <a:pt x="6262375" y="6480576"/>
                  <a:pt x="6259306" y="6482436"/>
                </a:cubicBezTo>
                <a:cubicBezTo>
                  <a:pt x="6256236" y="6484297"/>
                  <a:pt x="6253818" y="6486878"/>
                  <a:pt x="6252050" y="6490180"/>
                </a:cubicBezTo>
                <a:cubicBezTo>
                  <a:pt x="6250283" y="6493482"/>
                  <a:pt x="6249399" y="6497273"/>
                  <a:pt x="6249399" y="6501551"/>
                </a:cubicBezTo>
                <a:cubicBezTo>
                  <a:pt x="6249399" y="6508016"/>
                  <a:pt x="6251283" y="6513155"/>
                  <a:pt x="6255050" y="6516969"/>
                </a:cubicBezTo>
                <a:cubicBezTo>
                  <a:pt x="6258818" y="6520783"/>
                  <a:pt x="6263864" y="6522690"/>
                  <a:pt x="6270189" y="6522690"/>
                </a:cubicBezTo>
                <a:cubicBezTo>
                  <a:pt x="6274189" y="6522690"/>
                  <a:pt x="6278049" y="6521782"/>
                  <a:pt x="6281770" y="6519968"/>
                </a:cubicBezTo>
                <a:cubicBezTo>
                  <a:pt x="6285490" y="6518154"/>
                  <a:pt x="6289071" y="6515456"/>
                  <a:pt x="6292513" y="6511875"/>
                </a:cubicBezTo>
                <a:cubicBezTo>
                  <a:pt x="6292839" y="6515411"/>
                  <a:pt x="6293536" y="6518457"/>
                  <a:pt x="6294606" y="6521015"/>
                </a:cubicBezTo>
                <a:lnTo>
                  <a:pt x="6305350" y="6521015"/>
                </a:lnTo>
                <a:cubicBezTo>
                  <a:pt x="6304047" y="6518132"/>
                  <a:pt x="6303175" y="6515167"/>
                  <a:pt x="6302733" y="6512120"/>
                </a:cubicBezTo>
                <a:cubicBezTo>
                  <a:pt x="6302292" y="6509074"/>
                  <a:pt x="6302071" y="6501691"/>
                  <a:pt x="6302071" y="6489971"/>
                </a:cubicBezTo>
                <a:lnTo>
                  <a:pt x="6302071" y="6473227"/>
                </a:lnTo>
                <a:cubicBezTo>
                  <a:pt x="6302071" y="6466437"/>
                  <a:pt x="6301594" y="6461275"/>
                  <a:pt x="6300641" y="6457740"/>
                </a:cubicBezTo>
                <a:cubicBezTo>
                  <a:pt x="6299687" y="6454205"/>
                  <a:pt x="6297397" y="6451240"/>
                  <a:pt x="6293769" y="6448845"/>
                </a:cubicBezTo>
                <a:cubicBezTo>
                  <a:pt x="6290141" y="6446450"/>
                  <a:pt x="6285141" y="6445252"/>
                  <a:pt x="6278770" y="6445252"/>
                </a:cubicBezTo>
                <a:close/>
                <a:moveTo>
                  <a:pt x="6157702" y="6445252"/>
                </a:moveTo>
                <a:cubicBezTo>
                  <a:pt x="6153523" y="6445252"/>
                  <a:pt x="6149820" y="6446258"/>
                  <a:pt x="6146594" y="6448270"/>
                </a:cubicBezTo>
                <a:cubicBezTo>
                  <a:pt x="6143367" y="6450282"/>
                  <a:pt x="6140640" y="6453323"/>
                  <a:pt x="6138411" y="6457392"/>
                </a:cubicBezTo>
                <a:lnTo>
                  <a:pt x="6138411" y="6446927"/>
                </a:lnTo>
                <a:lnTo>
                  <a:pt x="6129132" y="6446927"/>
                </a:lnTo>
                <a:lnTo>
                  <a:pt x="6129132" y="6521015"/>
                </a:lnTo>
                <a:lnTo>
                  <a:pt x="6139388" y="6521015"/>
                </a:lnTo>
                <a:lnTo>
                  <a:pt x="6139388" y="6480509"/>
                </a:lnTo>
                <a:cubicBezTo>
                  <a:pt x="6139388" y="6471570"/>
                  <a:pt x="6140853" y="6465261"/>
                  <a:pt x="6143783" y="6461583"/>
                </a:cubicBezTo>
                <a:cubicBezTo>
                  <a:pt x="6146713" y="6457905"/>
                  <a:pt x="6150643" y="6456066"/>
                  <a:pt x="6155573" y="6456066"/>
                </a:cubicBezTo>
                <a:cubicBezTo>
                  <a:pt x="6158177" y="6456066"/>
                  <a:pt x="6160468" y="6456752"/>
                  <a:pt x="6162444" y="6458126"/>
                </a:cubicBezTo>
                <a:cubicBezTo>
                  <a:pt x="6164421" y="6459499"/>
                  <a:pt x="6165874" y="6461443"/>
                  <a:pt x="6166805" y="6463957"/>
                </a:cubicBezTo>
                <a:cubicBezTo>
                  <a:pt x="6167735" y="6466471"/>
                  <a:pt x="6168200" y="6470452"/>
                  <a:pt x="6168200" y="6475900"/>
                </a:cubicBezTo>
                <a:lnTo>
                  <a:pt x="6168200" y="6521015"/>
                </a:lnTo>
                <a:lnTo>
                  <a:pt x="6178455" y="6521015"/>
                </a:lnTo>
                <a:lnTo>
                  <a:pt x="6178455" y="6475460"/>
                </a:lnTo>
                <a:cubicBezTo>
                  <a:pt x="6178455" y="6468623"/>
                  <a:pt x="6178037" y="6463554"/>
                  <a:pt x="6177201" y="6460252"/>
                </a:cubicBezTo>
                <a:cubicBezTo>
                  <a:pt x="6176366" y="6456949"/>
                  <a:pt x="6175101" y="6454264"/>
                  <a:pt x="6173406" y="6452194"/>
                </a:cubicBezTo>
                <a:cubicBezTo>
                  <a:pt x="6171711" y="6450124"/>
                  <a:pt x="6169483" y="6448450"/>
                  <a:pt x="6166720" y="6447171"/>
                </a:cubicBezTo>
                <a:cubicBezTo>
                  <a:pt x="6163958" y="6445892"/>
                  <a:pt x="6160951" y="6445252"/>
                  <a:pt x="6157702" y="6445252"/>
                </a:cubicBezTo>
                <a:close/>
                <a:moveTo>
                  <a:pt x="6087363" y="6445252"/>
                </a:moveTo>
                <a:cubicBezTo>
                  <a:pt x="6079131" y="6445252"/>
                  <a:pt x="6072329" y="6448613"/>
                  <a:pt x="6066957" y="6455333"/>
                </a:cubicBezTo>
                <a:cubicBezTo>
                  <a:pt x="6061585" y="6462054"/>
                  <a:pt x="6058899" y="6471809"/>
                  <a:pt x="6058899" y="6484599"/>
                </a:cubicBezTo>
                <a:cubicBezTo>
                  <a:pt x="6058899" y="6496924"/>
                  <a:pt x="6061562" y="6506353"/>
                  <a:pt x="6066887" y="6512888"/>
                </a:cubicBezTo>
                <a:cubicBezTo>
                  <a:pt x="6072213" y="6519422"/>
                  <a:pt x="6079177" y="6522690"/>
                  <a:pt x="6087781" y="6522690"/>
                </a:cubicBezTo>
                <a:cubicBezTo>
                  <a:pt x="6094618" y="6522690"/>
                  <a:pt x="6100350" y="6520678"/>
                  <a:pt x="6104978" y="6516655"/>
                </a:cubicBezTo>
                <a:cubicBezTo>
                  <a:pt x="6109606" y="6512632"/>
                  <a:pt x="6112803" y="6506667"/>
                  <a:pt x="6114571" y="6498761"/>
                </a:cubicBezTo>
                <a:lnTo>
                  <a:pt x="6103967" y="6497156"/>
                </a:lnTo>
                <a:cubicBezTo>
                  <a:pt x="6100943" y="6507295"/>
                  <a:pt x="6095572" y="6512365"/>
                  <a:pt x="6087851" y="6512365"/>
                </a:cubicBezTo>
                <a:cubicBezTo>
                  <a:pt x="6082921" y="6512365"/>
                  <a:pt x="6078735" y="6510248"/>
                  <a:pt x="6075294" y="6506016"/>
                </a:cubicBezTo>
                <a:cubicBezTo>
                  <a:pt x="6071853" y="6501784"/>
                  <a:pt x="6069922" y="6495505"/>
                  <a:pt x="6069504" y="6487180"/>
                </a:cubicBezTo>
                <a:lnTo>
                  <a:pt x="6114850" y="6487180"/>
                </a:lnTo>
                <a:lnTo>
                  <a:pt x="6114919" y="6483831"/>
                </a:lnTo>
                <a:cubicBezTo>
                  <a:pt x="6114919" y="6471321"/>
                  <a:pt x="6112292" y="6461763"/>
                  <a:pt x="6107036" y="6455159"/>
                </a:cubicBezTo>
                <a:cubicBezTo>
                  <a:pt x="6101781" y="6448555"/>
                  <a:pt x="6095223" y="6445252"/>
                  <a:pt x="6087363" y="6445252"/>
                </a:cubicBezTo>
                <a:close/>
                <a:moveTo>
                  <a:pt x="5900527" y="6445252"/>
                </a:moveTo>
                <a:cubicBezTo>
                  <a:pt x="5896348" y="6445252"/>
                  <a:pt x="5892646" y="6446258"/>
                  <a:pt x="5889419" y="6448270"/>
                </a:cubicBezTo>
                <a:cubicBezTo>
                  <a:pt x="5886192" y="6450282"/>
                  <a:pt x="5883465" y="6453323"/>
                  <a:pt x="5881236" y="6457392"/>
                </a:cubicBezTo>
                <a:lnTo>
                  <a:pt x="5881236" y="6446927"/>
                </a:lnTo>
                <a:lnTo>
                  <a:pt x="5871957" y="6446927"/>
                </a:lnTo>
                <a:lnTo>
                  <a:pt x="5871957" y="6521015"/>
                </a:lnTo>
                <a:lnTo>
                  <a:pt x="5882213" y="6521015"/>
                </a:lnTo>
                <a:lnTo>
                  <a:pt x="5882213" y="6480509"/>
                </a:lnTo>
                <a:cubicBezTo>
                  <a:pt x="5882213" y="6471570"/>
                  <a:pt x="5883678" y="6465261"/>
                  <a:pt x="5886608" y="6461583"/>
                </a:cubicBezTo>
                <a:cubicBezTo>
                  <a:pt x="5889538" y="6457905"/>
                  <a:pt x="5893468" y="6456066"/>
                  <a:pt x="5898398" y="6456066"/>
                </a:cubicBezTo>
                <a:cubicBezTo>
                  <a:pt x="5901002" y="6456066"/>
                  <a:pt x="5903293" y="6456752"/>
                  <a:pt x="5905269" y="6458126"/>
                </a:cubicBezTo>
                <a:cubicBezTo>
                  <a:pt x="5907246" y="6459499"/>
                  <a:pt x="5908699" y="6461443"/>
                  <a:pt x="5909630" y="6463957"/>
                </a:cubicBezTo>
                <a:cubicBezTo>
                  <a:pt x="5910560" y="6466471"/>
                  <a:pt x="5911025" y="6470452"/>
                  <a:pt x="5911025" y="6475900"/>
                </a:cubicBezTo>
                <a:lnTo>
                  <a:pt x="5911025" y="6521015"/>
                </a:lnTo>
                <a:lnTo>
                  <a:pt x="5921280" y="6521015"/>
                </a:lnTo>
                <a:lnTo>
                  <a:pt x="5921280" y="6475460"/>
                </a:lnTo>
                <a:cubicBezTo>
                  <a:pt x="5921280" y="6468623"/>
                  <a:pt x="5920862" y="6463554"/>
                  <a:pt x="5920026" y="6460252"/>
                </a:cubicBezTo>
                <a:cubicBezTo>
                  <a:pt x="5919191" y="6456949"/>
                  <a:pt x="5917926" y="6454264"/>
                  <a:pt x="5916231" y="6452194"/>
                </a:cubicBezTo>
                <a:cubicBezTo>
                  <a:pt x="5914536" y="6450124"/>
                  <a:pt x="5912308" y="6448450"/>
                  <a:pt x="5909545" y="6447171"/>
                </a:cubicBezTo>
                <a:cubicBezTo>
                  <a:pt x="5906783" y="6445892"/>
                  <a:pt x="5903776" y="6445252"/>
                  <a:pt x="5900527" y="6445252"/>
                </a:cubicBezTo>
                <a:close/>
                <a:moveTo>
                  <a:pt x="5829839" y="6445252"/>
                </a:moveTo>
                <a:cubicBezTo>
                  <a:pt x="5821608" y="6445252"/>
                  <a:pt x="5814805" y="6448508"/>
                  <a:pt x="5809433" y="6455019"/>
                </a:cubicBezTo>
                <a:cubicBezTo>
                  <a:pt x="5804062" y="6461531"/>
                  <a:pt x="5801376" y="6471181"/>
                  <a:pt x="5801376" y="6483971"/>
                </a:cubicBezTo>
                <a:cubicBezTo>
                  <a:pt x="5801376" y="6496714"/>
                  <a:pt x="5804085" y="6506353"/>
                  <a:pt x="5809503" y="6512888"/>
                </a:cubicBezTo>
                <a:cubicBezTo>
                  <a:pt x="5814921" y="6519422"/>
                  <a:pt x="5821701" y="6522690"/>
                  <a:pt x="5829839" y="6522690"/>
                </a:cubicBezTo>
                <a:cubicBezTo>
                  <a:pt x="5838118" y="6522690"/>
                  <a:pt x="5844931" y="6519434"/>
                  <a:pt x="5850280" y="6512923"/>
                </a:cubicBezTo>
                <a:cubicBezTo>
                  <a:pt x="5855628" y="6506411"/>
                  <a:pt x="5858302" y="6496505"/>
                  <a:pt x="5858302" y="6483204"/>
                </a:cubicBezTo>
                <a:cubicBezTo>
                  <a:pt x="5858302" y="6470925"/>
                  <a:pt x="5855582" y="6461531"/>
                  <a:pt x="5850140" y="6455019"/>
                </a:cubicBezTo>
                <a:cubicBezTo>
                  <a:pt x="5844699" y="6448508"/>
                  <a:pt x="5837932" y="6445252"/>
                  <a:pt x="5829839" y="6445252"/>
                </a:cubicBezTo>
                <a:close/>
                <a:moveTo>
                  <a:pt x="2714262" y="6445252"/>
                </a:moveTo>
                <a:cubicBezTo>
                  <a:pt x="2710083" y="6445252"/>
                  <a:pt x="2706380" y="6446258"/>
                  <a:pt x="2703154" y="6448270"/>
                </a:cubicBezTo>
                <a:cubicBezTo>
                  <a:pt x="2699927" y="6450282"/>
                  <a:pt x="2697200" y="6453323"/>
                  <a:pt x="2694971" y="6457392"/>
                </a:cubicBezTo>
                <a:lnTo>
                  <a:pt x="2694971" y="6446927"/>
                </a:lnTo>
                <a:lnTo>
                  <a:pt x="2685692" y="6446927"/>
                </a:lnTo>
                <a:lnTo>
                  <a:pt x="2685692" y="6521015"/>
                </a:lnTo>
                <a:lnTo>
                  <a:pt x="2695948" y="6521015"/>
                </a:lnTo>
                <a:lnTo>
                  <a:pt x="2695948" y="6480509"/>
                </a:lnTo>
                <a:cubicBezTo>
                  <a:pt x="2695948" y="6471570"/>
                  <a:pt x="2697413" y="6465261"/>
                  <a:pt x="2700343" y="6461583"/>
                </a:cubicBezTo>
                <a:cubicBezTo>
                  <a:pt x="2703273" y="6457905"/>
                  <a:pt x="2707203" y="6456066"/>
                  <a:pt x="2712133" y="6456066"/>
                </a:cubicBezTo>
                <a:cubicBezTo>
                  <a:pt x="2714737" y="6456066"/>
                  <a:pt x="2717028" y="6456752"/>
                  <a:pt x="2719004" y="6458126"/>
                </a:cubicBezTo>
                <a:cubicBezTo>
                  <a:pt x="2720981" y="6459499"/>
                  <a:pt x="2722434" y="6461443"/>
                  <a:pt x="2723365" y="6463957"/>
                </a:cubicBezTo>
                <a:cubicBezTo>
                  <a:pt x="2724295" y="6466471"/>
                  <a:pt x="2724760" y="6470452"/>
                  <a:pt x="2724760" y="6475900"/>
                </a:cubicBezTo>
                <a:lnTo>
                  <a:pt x="2724760" y="6521015"/>
                </a:lnTo>
                <a:lnTo>
                  <a:pt x="2735015" y="6521015"/>
                </a:lnTo>
                <a:lnTo>
                  <a:pt x="2735015" y="6475460"/>
                </a:lnTo>
                <a:cubicBezTo>
                  <a:pt x="2735015" y="6468623"/>
                  <a:pt x="2734597" y="6463554"/>
                  <a:pt x="2733761" y="6460252"/>
                </a:cubicBezTo>
                <a:cubicBezTo>
                  <a:pt x="2732926" y="6456949"/>
                  <a:pt x="2731661" y="6454264"/>
                  <a:pt x="2729966" y="6452194"/>
                </a:cubicBezTo>
                <a:cubicBezTo>
                  <a:pt x="2728271" y="6450124"/>
                  <a:pt x="2726043" y="6448450"/>
                  <a:pt x="2723280" y="6447171"/>
                </a:cubicBezTo>
                <a:cubicBezTo>
                  <a:pt x="2720518" y="6445892"/>
                  <a:pt x="2717511" y="6445252"/>
                  <a:pt x="2714262" y="6445252"/>
                </a:cubicBezTo>
                <a:close/>
                <a:moveTo>
                  <a:pt x="2644830" y="6445252"/>
                </a:moveTo>
                <a:cubicBezTo>
                  <a:pt x="2636644" y="6445252"/>
                  <a:pt x="2630354" y="6447066"/>
                  <a:pt x="2625959" y="6450694"/>
                </a:cubicBezTo>
                <a:cubicBezTo>
                  <a:pt x="2621564" y="6454322"/>
                  <a:pt x="2618645" y="6460112"/>
                  <a:pt x="2617204" y="6468065"/>
                </a:cubicBezTo>
                <a:lnTo>
                  <a:pt x="2627319" y="6469739"/>
                </a:lnTo>
                <a:cubicBezTo>
                  <a:pt x="2628435" y="6464271"/>
                  <a:pt x="2630180" y="6460543"/>
                  <a:pt x="2632552" y="6458557"/>
                </a:cubicBezTo>
                <a:cubicBezTo>
                  <a:pt x="2634924" y="6456571"/>
                  <a:pt x="2638505" y="6455577"/>
                  <a:pt x="2643295" y="6455577"/>
                </a:cubicBezTo>
                <a:cubicBezTo>
                  <a:pt x="2648597" y="6455577"/>
                  <a:pt x="2652527" y="6457066"/>
                  <a:pt x="2655085" y="6460042"/>
                </a:cubicBezTo>
                <a:cubicBezTo>
                  <a:pt x="2656899" y="6462089"/>
                  <a:pt x="2657806" y="6465647"/>
                  <a:pt x="2657806" y="6470716"/>
                </a:cubicBezTo>
                <a:lnTo>
                  <a:pt x="2657736" y="6473925"/>
                </a:lnTo>
                <a:cubicBezTo>
                  <a:pt x="2653829" y="6475626"/>
                  <a:pt x="2647690" y="6477091"/>
                  <a:pt x="2639319" y="6478320"/>
                </a:cubicBezTo>
                <a:cubicBezTo>
                  <a:pt x="2633086" y="6479204"/>
                  <a:pt x="2628435" y="6480576"/>
                  <a:pt x="2625366" y="6482436"/>
                </a:cubicBezTo>
                <a:cubicBezTo>
                  <a:pt x="2622296" y="6484297"/>
                  <a:pt x="2619878" y="6486878"/>
                  <a:pt x="2618110" y="6490180"/>
                </a:cubicBezTo>
                <a:cubicBezTo>
                  <a:pt x="2616343" y="6493482"/>
                  <a:pt x="2615460" y="6497273"/>
                  <a:pt x="2615460" y="6501551"/>
                </a:cubicBezTo>
                <a:cubicBezTo>
                  <a:pt x="2615460" y="6508016"/>
                  <a:pt x="2617343" y="6513155"/>
                  <a:pt x="2621110" y="6516969"/>
                </a:cubicBezTo>
                <a:cubicBezTo>
                  <a:pt x="2624878" y="6520783"/>
                  <a:pt x="2629924" y="6522690"/>
                  <a:pt x="2636249" y="6522690"/>
                </a:cubicBezTo>
                <a:cubicBezTo>
                  <a:pt x="2640249" y="6522690"/>
                  <a:pt x="2644109" y="6521782"/>
                  <a:pt x="2647830" y="6519968"/>
                </a:cubicBezTo>
                <a:cubicBezTo>
                  <a:pt x="2651550" y="6518154"/>
                  <a:pt x="2655132" y="6515456"/>
                  <a:pt x="2658573" y="6511875"/>
                </a:cubicBezTo>
                <a:cubicBezTo>
                  <a:pt x="2658899" y="6515411"/>
                  <a:pt x="2659596" y="6518457"/>
                  <a:pt x="2660666" y="6521015"/>
                </a:cubicBezTo>
                <a:lnTo>
                  <a:pt x="2671410" y="6521015"/>
                </a:lnTo>
                <a:cubicBezTo>
                  <a:pt x="2670107" y="6518132"/>
                  <a:pt x="2669235" y="6515167"/>
                  <a:pt x="2668793" y="6512120"/>
                </a:cubicBezTo>
                <a:cubicBezTo>
                  <a:pt x="2668352" y="6509074"/>
                  <a:pt x="2668131" y="6501691"/>
                  <a:pt x="2668131" y="6489971"/>
                </a:cubicBezTo>
                <a:lnTo>
                  <a:pt x="2668131" y="6473227"/>
                </a:lnTo>
                <a:cubicBezTo>
                  <a:pt x="2668131" y="6466437"/>
                  <a:pt x="2667654" y="6461275"/>
                  <a:pt x="2666701" y="6457740"/>
                </a:cubicBezTo>
                <a:cubicBezTo>
                  <a:pt x="2665747" y="6454205"/>
                  <a:pt x="2663457" y="6451240"/>
                  <a:pt x="2659829" y="6448845"/>
                </a:cubicBezTo>
                <a:cubicBezTo>
                  <a:pt x="2656201" y="6446450"/>
                  <a:pt x="2651202" y="6445252"/>
                  <a:pt x="2644830" y="6445252"/>
                </a:cubicBezTo>
                <a:close/>
                <a:moveTo>
                  <a:pt x="2574806" y="6445252"/>
                </a:moveTo>
                <a:cubicBezTo>
                  <a:pt x="2572341" y="6445252"/>
                  <a:pt x="2570120" y="6446101"/>
                  <a:pt x="2568144" y="6447799"/>
                </a:cubicBezTo>
                <a:cubicBezTo>
                  <a:pt x="2566167" y="6449496"/>
                  <a:pt x="2563993" y="6452950"/>
                  <a:pt x="2561621" y="6458159"/>
                </a:cubicBezTo>
                <a:lnTo>
                  <a:pt x="2561621" y="6446927"/>
                </a:lnTo>
                <a:lnTo>
                  <a:pt x="2552342" y="6446927"/>
                </a:lnTo>
                <a:lnTo>
                  <a:pt x="2552342" y="6521015"/>
                </a:lnTo>
                <a:lnTo>
                  <a:pt x="2562598" y="6521015"/>
                </a:lnTo>
                <a:lnTo>
                  <a:pt x="2562598" y="6482227"/>
                </a:lnTo>
                <a:cubicBezTo>
                  <a:pt x="2562598" y="6476832"/>
                  <a:pt x="2563249" y="6471739"/>
                  <a:pt x="2564551" y="6466949"/>
                </a:cubicBezTo>
                <a:cubicBezTo>
                  <a:pt x="2565295" y="6464205"/>
                  <a:pt x="2566574" y="6462065"/>
                  <a:pt x="2568388" y="6460531"/>
                </a:cubicBezTo>
                <a:cubicBezTo>
                  <a:pt x="2570202" y="6458996"/>
                  <a:pt x="2572202" y="6458228"/>
                  <a:pt x="2574388" y="6458228"/>
                </a:cubicBezTo>
                <a:cubicBezTo>
                  <a:pt x="2576806" y="6458228"/>
                  <a:pt x="2579294" y="6459135"/>
                  <a:pt x="2581852" y="6460949"/>
                </a:cubicBezTo>
                <a:lnTo>
                  <a:pt x="2585340" y="6449299"/>
                </a:lnTo>
                <a:cubicBezTo>
                  <a:pt x="2581759" y="6446601"/>
                  <a:pt x="2578248" y="6445252"/>
                  <a:pt x="2574806" y="6445252"/>
                </a:cubicBezTo>
                <a:close/>
                <a:moveTo>
                  <a:pt x="2510573" y="6445252"/>
                </a:moveTo>
                <a:cubicBezTo>
                  <a:pt x="2502341" y="6445252"/>
                  <a:pt x="2495539" y="6448613"/>
                  <a:pt x="2490167" y="6455333"/>
                </a:cubicBezTo>
                <a:cubicBezTo>
                  <a:pt x="2484795" y="6462054"/>
                  <a:pt x="2482110" y="6471809"/>
                  <a:pt x="2482110" y="6484599"/>
                </a:cubicBezTo>
                <a:cubicBezTo>
                  <a:pt x="2482110" y="6496924"/>
                  <a:pt x="2484772" y="6506353"/>
                  <a:pt x="2490097" y="6512888"/>
                </a:cubicBezTo>
                <a:cubicBezTo>
                  <a:pt x="2495423" y="6519422"/>
                  <a:pt x="2502387" y="6522690"/>
                  <a:pt x="2510992" y="6522690"/>
                </a:cubicBezTo>
                <a:cubicBezTo>
                  <a:pt x="2517828" y="6522690"/>
                  <a:pt x="2523561" y="6520678"/>
                  <a:pt x="2528188" y="6516655"/>
                </a:cubicBezTo>
                <a:cubicBezTo>
                  <a:pt x="2532816" y="6512632"/>
                  <a:pt x="2536013" y="6506667"/>
                  <a:pt x="2537781" y="6498761"/>
                </a:cubicBezTo>
                <a:lnTo>
                  <a:pt x="2527176" y="6497156"/>
                </a:lnTo>
                <a:cubicBezTo>
                  <a:pt x="2524153" y="6507295"/>
                  <a:pt x="2518782" y="6512365"/>
                  <a:pt x="2511061" y="6512365"/>
                </a:cubicBezTo>
                <a:cubicBezTo>
                  <a:pt x="2506131" y="6512365"/>
                  <a:pt x="2501946" y="6510248"/>
                  <a:pt x="2498504" y="6506016"/>
                </a:cubicBezTo>
                <a:cubicBezTo>
                  <a:pt x="2495062" y="6501784"/>
                  <a:pt x="2493132" y="6495505"/>
                  <a:pt x="2492714" y="6487180"/>
                </a:cubicBezTo>
                <a:lnTo>
                  <a:pt x="2538060" y="6487180"/>
                </a:lnTo>
                <a:lnTo>
                  <a:pt x="2538129" y="6483831"/>
                </a:lnTo>
                <a:cubicBezTo>
                  <a:pt x="2538129" y="6471321"/>
                  <a:pt x="2535502" y="6461763"/>
                  <a:pt x="2530246" y="6455159"/>
                </a:cubicBezTo>
                <a:cubicBezTo>
                  <a:pt x="2524991" y="6448555"/>
                  <a:pt x="2518433" y="6445252"/>
                  <a:pt x="2510573" y="6445252"/>
                </a:cubicBezTo>
                <a:close/>
                <a:moveTo>
                  <a:pt x="1942737" y="6445252"/>
                </a:moveTo>
                <a:cubicBezTo>
                  <a:pt x="1938558" y="6445252"/>
                  <a:pt x="1934856" y="6446258"/>
                  <a:pt x="1931629" y="6448270"/>
                </a:cubicBezTo>
                <a:cubicBezTo>
                  <a:pt x="1928402" y="6450282"/>
                  <a:pt x="1925675" y="6453323"/>
                  <a:pt x="1923446" y="6457392"/>
                </a:cubicBezTo>
                <a:lnTo>
                  <a:pt x="1923446" y="6446927"/>
                </a:lnTo>
                <a:lnTo>
                  <a:pt x="1914167" y="6446927"/>
                </a:lnTo>
                <a:lnTo>
                  <a:pt x="1914167" y="6521015"/>
                </a:lnTo>
                <a:lnTo>
                  <a:pt x="1924423" y="6521015"/>
                </a:lnTo>
                <a:lnTo>
                  <a:pt x="1924423" y="6480509"/>
                </a:lnTo>
                <a:cubicBezTo>
                  <a:pt x="1924423" y="6471570"/>
                  <a:pt x="1925888" y="6465261"/>
                  <a:pt x="1928818" y="6461583"/>
                </a:cubicBezTo>
                <a:cubicBezTo>
                  <a:pt x="1931748" y="6457905"/>
                  <a:pt x="1935678" y="6456066"/>
                  <a:pt x="1940608" y="6456066"/>
                </a:cubicBezTo>
                <a:cubicBezTo>
                  <a:pt x="1943212" y="6456066"/>
                  <a:pt x="1945503" y="6456752"/>
                  <a:pt x="1947479" y="6458126"/>
                </a:cubicBezTo>
                <a:cubicBezTo>
                  <a:pt x="1949456" y="6459499"/>
                  <a:pt x="1950909" y="6461443"/>
                  <a:pt x="1951840" y="6463957"/>
                </a:cubicBezTo>
                <a:cubicBezTo>
                  <a:pt x="1952770" y="6466471"/>
                  <a:pt x="1953235" y="6470452"/>
                  <a:pt x="1953235" y="6475900"/>
                </a:cubicBezTo>
                <a:lnTo>
                  <a:pt x="1953235" y="6521015"/>
                </a:lnTo>
                <a:lnTo>
                  <a:pt x="1963490" y="6521015"/>
                </a:lnTo>
                <a:lnTo>
                  <a:pt x="1963490" y="6475460"/>
                </a:lnTo>
                <a:cubicBezTo>
                  <a:pt x="1963490" y="6468623"/>
                  <a:pt x="1963072" y="6463554"/>
                  <a:pt x="1962236" y="6460252"/>
                </a:cubicBezTo>
                <a:cubicBezTo>
                  <a:pt x="1961401" y="6456949"/>
                  <a:pt x="1960136" y="6454264"/>
                  <a:pt x="1958441" y="6452194"/>
                </a:cubicBezTo>
                <a:cubicBezTo>
                  <a:pt x="1956746" y="6450124"/>
                  <a:pt x="1954518" y="6448450"/>
                  <a:pt x="1951755" y="6447171"/>
                </a:cubicBezTo>
                <a:cubicBezTo>
                  <a:pt x="1948993" y="6445892"/>
                  <a:pt x="1945986" y="6445252"/>
                  <a:pt x="1942737" y="6445252"/>
                </a:cubicBezTo>
                <a:close/>
                <a:moveTo>
                  <a:pt x="1872049" y="6445252"/>
                </a:moveTo>
                <a:cubicBezTo>
                  <a:pt x="1863817" y="6445252"/>
                  <a:pt x="1857015" y="6448508"/>
                  <a:pt x="1851643" y="6455019"/>
                </a:cubicBezTo>
                <a:cubicBezTo>
                  <a:pt x="1846271" y="6461531"/>
                  <a:pt x="1843586" y="6471181"/>
                  <a:pt x="1843586" y="6483971"/>
                </a:cubicBezTo>
                <a:cubicBezTo>
                  <a:pt x="1843586" y="6496714"/>
                  <a:pt x="1846295" y="6506353"/>
                  <a:pt x="1851713" y="6512888"/>
                </a:cubicBezTo>
                <a:cubicBezTo>
                  <a:pt x="1857131" y="6519422"/>
                  <a:pt x="1863910" y="6522690"/>
                  <a:pt x="1872049" y="6522690"/>
                </a:cubicBezTo>
                <a:cubicBezTo>
                  <a:pt x="1880328" y="6522690"/>
                  <a:pt x="1887141" y="6519434"/>
                  <a:pt x="1892490" y="6512923"/>
                </a:cubicBezTo>
                <a:cubicBezTo>
                  <a:pt x="1897838" y="6506411"/>
                  <a:pt x="1900512" y="6496505"/>
                  <a:pt x="1900512" y="6483204"/>
                </a:cubicBezTo>
                <a:cubicBezTo>
                  <a:pt x="1900512" y="6470925"/>
                  <a:pt x="1897792" y="6461531"/>
                  <a:pt x="1892350" y="6455019"/>
                </a:cubicBezTo>
                <a:cubicBezTo>
                  <a:pt x="1886909" y="6448508"/>
                  <a:pt x="1880142" y="6445252"/>
                  <a:pt x="1872049" y="6445252"/>
                </a:cubicBezTo>
                <a:close/>
                <a:moveTo>
                  <a:pt x="1803281" y="6445252"/>
                </a:moveTo>
                <a:cubicBezTo>
                  <a:pt x="1800816" y="6445252"/>
                  <a:pt x="1798595" y="6446101"/>
                  <a:pt x="1796619" y="6447799"/>
                </a:cubicBezTo>
                <a:cubicBezTo>
                  <a:pt x="1794642" y="6449496"/>
                  <a:pt x="1792468" y="6452950"/>
                  <a:pt x="1790096" y="6458159"/>
                </a:cubicBezTo>
                <a:lnTo>
                  <a:pt x="1790096" y="6446927"/>
                </a:lnTo>
                <a:lnTo>
                  <a:pt x="1780818" y="6446927"/>
                </a:lnTo>
                <a:lnTo>
                  <a:pt x="1780818" y="6521015"/>
                </a:lnTo>
                <a:lnTo>
                  <a:pt x="1791073" y="6521015"/>
                </a:lnTo>
                <a:lnTo>
                  <a:pt x="1791073" y="6482227"/>
                </a:lnTo>
                <a:cubicBezTo>
                  <a:pt x="1791073" y="6476832"/>
                  <a:pt x="1791724" y="6471739"/>
                  <a:pt x="1793026" y="6466949"/>
                </a:cubicBezTo>
                <a:cubicBezTo>
                  <a:pt x="1793770" y="6464205"/>
                  <a:pt x="1795049" y="6462065"/>
                  <a:pt x="1796863" y="6460531"/>
                </a:cubicBezTo>
                <a:cubicBezTo>
                  <a:pt x="1798677" y="6458996"/>
                  <a:pt x="1800677" y="6458228"/>
                  <a:pt x="1802863" y="6458228"/>
                </a:cubicBezTo>
                <a:cubicBezTo>
                  <a:pt x="1805281" y="6458228"/>
                  <a:pt x="1807769" y="6459135"/>
                  <a:pt x="1810327" y="6460949"/>
                </a:cubicBezTo>
                <a:lnTo>
                  <a:pt x="1813815" y="6449299"/>
                </a:lnTo>
                <a:cubicBezTo>
                  <a:pt x="1810234" y="6446601"/>
                  <a:pt x="1806723" y="6445252"/>
                  <a:pt x="1803281" y="6445252"/>
                </a:cubicBezTo>
                <a:close/>
                <a:moveTo>
                  <a:pt x="1715742" y="6445252"/>
                </a:moveTo>
                <a:cubicBezTo>
                  <a:pt x="1708580" y="6445252"/>
                  <a:pt x="1702976" y="6447229"/>
                  <a:pt x="1698930" y="6451182"/>
                </a:cubicBezTo>
                <a:cubicBezTo>
                  <a:pt x="1694883" y="6455136"/>
                  <a:pt x="1692860" y="6460275"/>
                  <a:pt x="1692860" y="6466600"/>
                </a:cubicBezTo>
                <a:cubicBezTo>
                  <a:pt x="1692860" y="6470274"/>
                  <a:pt x="1693604" y="6473553"/>
                  <a:pt x="1695092" y="6476437"/>
                </a:cubicBezTo>
                <a:cubicBezTo>
                  <a:pt x="1696581" y="6479320"/>
                  <a:pt x="1698674" y="6481622"/>
                  <a:pt x="1701371" y="6483343"/>
                </a:cubicBezTo>
                <a:cubicBezTo>
                  <a:pt x="1704069" y="6485064"/>
                  <a:pt x="1709417" y="6487157"/>
                  <a:pt x="1717417" y="6489622"/>
                </a:cubicBezTo>
                <a:cubicBezTo>
                  <a:pt x="1722951" y="6491296"/>
                  <a:pt x="1726439" y="6492691"/>
                  <a:pt x="1727881" y="6493808"/>
                </a:cubicBezTo>
                <a:cubicBezTo>
                  <a:pt x="1729974" y="6495435"/>
                  <a:pt x="1731021" y="6497714"/>
                  <a:pt x="1731021" y="6500644"/>
                </a:cubicBezTo>
                <a:cubicBezTo>
                  <a:pt x="1731021" y="6504040"/>
                  <a:pt x="1729803" y="6506842"/>
                  <a:pt x="1727367" y="6509051"/>
                </a:cubicBezTo>
                <a:cubicBezTo>
                  <a:pt x="1724931" y="6511260"/>
                  <a:pt x="1721485" y="6512365"/>
                  <a:pt x="1717031" y="6512365"/>
                </a:cubicBezTo>
                <a:cubicBezTo>
                  <a:pt x="1712577" y="6512365"/>
                  <a:pt x="1709004" y="6511091"/>
                  <a:pt x="1706313" y="6508545"/>
                </a:cubicBezTo>
                <a:cubicBezTo>
                  <a:pt x="1703621" y="6505999"/>
                  <a:pt x="1701974" y="6502109"/>
                  <a:pt x="1701371" y="6496877"/>
                </a:cubicBezTo>
                <a:lnTo>
                  <a:pt x="1691116" y="6498831"/>
                </a:lnTo>
                <a:cubicBezTo>
                  <a:pt x="1693441" y="6514737"/>
                  <a:pt x="1701883" y="6522690"/>
                  <a:pt x="1716440" y="6522690"/>
                </a:cubicBezTo>
                <a:cubicBezTo>
                  <a:pt x="1724207" y="6522690"/>
                  <a:pt x="1730335" y="6520500"/>
                  <a:pt x="1734823" y="6516120"/>
                </a:cubicBezTo>
                <a:cubicBezTo>
                  <a:pt x="1739311" y="6511741"/>
                  <a:pt x="1741555" y="6506010"/>
                  <a:pt x="1741555" y="6498929"/>
                </a:cubicBezTo>
                <a:cubicBezTo>
                  <a:pt x="1741555" y="6495108"/>
                  <a:pt x="1740860" y="6491812"/>
                  <a:pt x="1739470" y="6489040"/>
                </a:cubicBezTo>
                <a:cubicBezTo>
                  <a:pt x="1738079" y="6486268"/>
                  <a:pt x="1736133" y="6484079"/>
                  <a:pt x="1733631" y="6482471"/>
                </a:cubicBezTo>
                <a:cubicBezTo>
                  <a:pt x="1731129" y="6480864"/>
                  <a:pt x="1725617" y="6478708"/>
                  <a:pt x="1717094" y="6476004"/>
                </a:cubicBezTo>
                <a:cubicBezTo>
                  <a:pt x="1710897" y="6473966"/>
                  <a:pt x="1707169" y="6472484"/>
                  <a:pt x="1705911" y="6471558"/>
                </a:cubicBezTo>
                <a:cubicBezTo>
                  <a:pt x="1703815" y="6469983"/>
                  <a:pt x="1702766" y="6467829"/>
                  <a:pt x="1702766" y="6465096"/>
                </a:cubicBezTo>
                <a:cubicBezTo>
                  <a:pt x="1702766" y="6462317"/>
                  <a:pt x="1703859" y="6460036"/>
                  <a:pt x="1706045" y="6458252"/>
                </a:cubicBezTo>
                <a:cubicBezTo>
                  <a:pt x="1708231" y="6456469"/>
                  <a:pt x="1711556" y="6455577"/>
                  <a:pt x="1716021" y="6455577"/>
                </a:cubicBezTo>
                <a:cubicBezTo>
                  <a:pt x="1723881" y="6455577"/>
                  <a:pt x="1728277" y="6459624"/>
                  <a:pt x="1729207" y="6467716"/>
                </a:cubicBezTo>
                <a:lnTo>
                  <a:pt x="1739252" y="6466042"/>
                </a:lnTo>
                <a:cubicBezTo>
                  <a:pt x="1738555" y="6460926"/>
                  <a:pt x="1737299" y="6456996"/>
                  <a:pt x="1735485" y="6454252"/>
                </a:cubicBezTo>
                <a:cubicBezTo>
                  <a:pt x="1733671" y="6451508"/>
                  <a:pt x="1731055" y="6449322"/>
                  <a:pt x="1727637" y="6447694"/>
                </a:cubicBezTo>
                <a:cubicBezTo>
                  <a:pt x="1724218" y="6446066"/>
                  <a:pt x="1720254" y="6445252"/>
                  <a:pt x="1715742" y="6445252"/>
                </a:cubicBezTo>
                <a:close/>
                <a:moveTo>
                  <a:pt x="1656986" y="6445252"/>
                </a:moveTo>
                <a:cubicBezTo>
                  <a:pt x="1652808" y="6445252"/>
                  <a:pt x="1649105" y="6446258"/>
                  <a:pt x="1645879" y="6448270"/>
                </a:cubicBezTo>
                <a:cubicBezTo>
                  <a:pt x="1642652" y="6450282"/>
                  <a:pt x="1639925" y="6453323"/>
                  <a:pt x="1637696" y="6457392"/>
                </a:cubicBezTo>
                <a:lnTo>
                  <a:pt x="1637696" y="6446927"/>
                </a:lnTo>
                <a:lnTo>
                  <a:pt x="1628418" y="6446927"/>
                </a:lnTo>
                <a:lnTo>
                  <a:pt x="1628418" y="6521015"/>
                </a:lnTo>
                <a:lnTo>
                  <a:pt x="1638673" y="6521015"/>
                </a:lnTo>
                <a:lnTo>
                  <a:pt x="1638673" y="6480509"/>
                </a:lnTo>
                <a:cubicBezTo>
                  <a:pt x="1638673" y="6471570"/>
                  <a:pt x="1640138" y="6465261"/>
                  <a:pt x="1643068" y="6461583"/>
                </a:cubicBezTo>
                <a:cubicBezTo>
                  <a:pt x="1645998" y="6457905"/>
                  <a:pt x="1649928" y="6456066"/>
                  <a:pt x="1654858" y="6456066"/>
                </a:cubicBezTo>
                <a:cubicBezTo>
                  <a:pt x="1657462" y="6456066"/>
                  <a:pt x="1659753" y="6456752"/>
                  <a:pt x="1661729" y="6458126"/>
                </a:cubicBezTo>
                <a:cubicBezTo>
                  <a:pt x="1663706" y="6459499"/>
                  <a:pt x="1665159" y="6461443"/>
                  <a:pt x="1666089" y="6463957"/>
                </a:cubicBezTo>
                <a:cubicBezTo>
                  <a:pt x="1667020" y="6466471"/>
                  <a:pt x="1667485" y="6470452"/>
                  <a:pt x="1667485" y="6475900"/>
                </a:cubicBezTo>
                <a:lnTo>
                  <a:pt x="1667485" y="6521015"/>
                </a:lnTo>
                <a:lnTo>
                  <a:pt x="1677740" y="6521015"/>
                </a:lnTo>
                <a:lnTo>
                  <a:pt x="1677740" y="6475460"/>
                </a:lnTo>
                <a:cubicBezTo>
                  <a:pt x="1677740" y="6468623"/>
                  <a:pt x="1677322" y="6463554"/>
                  <a:pt x="1676487" y="6460252"/>
                </a:cubicBezTo>
                <a:cubicBezTo>
                  <a:pt x="1675651" y="6456949"/>
                  <a:pt x="1674385" y="6454264"/>
                  <a:pt x="1672691" y="6452194"/>
                </a:cubicBezTo>
                <a:cubicBezTo>
                  <a:pt x="1670996" y="6450124"/>
                  <a:pt x="1668768" y="6448450"/>
                  <a:pt x="1666005" y="6447171"/>
                </a:cubicBezTo>
                <a:cubicBezTo>
                  <a:pt x="1663242" y="6445892"/>
                  <a:pt x="1660236" y="6445252"/>
                  <a:pt x="1656986" y="6445252"/>
                </a:cubicBezTo>
                <a:close/>
                <a:moveTo>
                  <a:pt x="1586648" y="6445252"/>
                </a:moveTo>
                <a:cubicBezTo>
                  <a:pt x="1578416" y="6445252"/>
                  <a:pt x="1571614" y="6448613"/>
                  <a:pt x="1566242" y="6455333"/>
                </a:cubicBezTo>
                <a:cubicBezTo>
                  <a:pt x="1560870" y="6462054"/>
                  <a:pt x="1558184" y="6471809"/>
                  <a:pt x="1558184" y="6484599"/>
                </a:cubicBezTo>
                <a:cubicBezTo>
                  <a:pt x="1558184" y="6496924"/>
                  <a:pt x="1560847" y="6506353"/>
                  <a:pt x="1566172" y="6512888"/>
                </a:cubicBezTo>
                <a:cubicBezTo>
                  <a:pt x="1571498" y="6519422"/>
                  <a:pt x="1578462" y="6522690"/>
                  <a:pt x="1587067" y="6522690"/>
                </a:cubicBezTo>
                <a:cubicBezTo>
                  <a:pt x="1593903" y="6522690"/>
                  <a:pt x="1599636" y="6520678"/>
                  <a:pt x="1604263" y="6516655"/>
                </a:cubicBezTo>
                <a:cubicBezTo>
                  <a:pt x="1608891" y="6512632"/>
                  <a:pt x="1612088" y="6506667"/>
                  <a:pt x="1613856" y="6498761"/>
                </a:cubicBezTo>
                <a:lnTo>
                  <a:pt x="1603252" y="6497156"/>
                </a:lnTo>
                <a:cubicBezTo>
                  <a:pt x="1600229" y="6507295"/>
                  <a:pt x="1594857" y="6512365"/>
                  <a:pt x="1587136" y="6512365"/>
                </a:cubicBezTo>
                <a:cubicBezTo>
                  <a:pt x="1582206" y="6512365"/>
                  <a:pt x="1578020" y="6510248"/>
                  <a:pt x="1574579" y="6506016"/>
                </a:cubicBezTo>
                <a:cubicBezTo>
                  <a:pt x="1571137" y="6501784"/>
                  <a:pt x="1569207" y="6495505"/>
                  <a:pt x="1568788" y="6487180"/>
                </a:cubicBezTo>
                <a:lnTo>
                  <a:pt x="1614135" y="6487180"/>
                </a:lnTo>
                <a:lnTo>
                  <a:pt x="1614204" y="6483831"/>
                </a:lnTo>
                <a:cubicBezTo>
                  <a:pt x="1614204" y="6471321"/>
                  <a:pt x="1611577" y="6461763"/>
                  <a:pt x="1606321" y="6455159"/>
                </a:cubicBezTo>
                <a:cubicBezTo>
                  <a:pt x="1601066" y="6448555"/>
                  <a:pt x="1594508" y="6445252"/>
                  <a:pt x="1586648" y="6445252"/>
                </a:cubicBezTo>
                <a:close/>
                <a:moveTo>
                  <a:pt x="1317367" y="6445252"/>
                </a:moveTo>
                <a:cubicBezTo>
                  <a:pt x="1312483" y="6445252"/>
                  <a:pt x="1308076" y="6446648"/>
                  <a:pt x="1304147" y="6449438"/>
                </a:cubicBezTo>
                <a:cubicBezTo>
                  <a:pt x="1300217" y="6452229"/>
                  <a:pt x="1297042" y="6456601"/>
                  <a:pt x="1294624" y="6462554"/>
                </a:cubicBezTo>
                <a:cubicBezTo>
                  <a:pt x="1292205" y="6468507"/>
                  <a:pt x="1290996" y="6475460"/>
                  <a:pt x="1290996" y="6483413"/>
                </a:cubicBezTo>
                <a:cubicBezTo>
                  <a:pt x="1290996" y="6495273"/>
                  <a:pt x="1293740" y="6504737"/>
                  <a:pt x="1299228" y="6511807"/>
                </a:cubicBezTo>
                <a:cubicBezTo>
                  <a:pt x="1304019" y="6517946"/>
                  <a:pt x="1310041" y="6521015"/>
                  <a:pt x="1317297" y="6521015"/>
                </a:cubicBezTo>
                <a:cubicBezTo>
                  <a:pt x="1320692" y="6521015"/>
                  <a:pt x="1323785" y="6520207"/>
                  <a:pt x="1326575" y="6518590"/>
                </a:cubicBezTo>
                <a:cubicBezTo>
                  <a:pt x="1329366" y="6516973"/>
                  <a:pt x="1331877" y="6514571"/>
                  <a:pt x="1334110" y="6511384"/>
                </a:cubicBezTo>
                <a:cubicBezTo>
                  <a:pt x="1334110" y="6519757"/>
                  <a:pt x="1333807" y="6525245"/>
                  <a:pt x="1333203" y="6527850"/>
                </a:cubicBezTo>
                <a:cubicBezTo>
                  <a:pt x="1332226" y="6532129"/>
                  <a:pt x="1330401" y="6535351"/>
                  <a:pt x="1327727" y="6537514"/>
                </a:cubicBezTo>
                <a:cubicBezTo>
                  <a:pt x="1325052" y="6539677"/>
                  <a:pt x="1321459" y="6540758"/>
                  <a:pt x="1316948" y="6540758"/>
                </a:cubicBezTo>
                <a:cubicBezTo>
                  <a:pt x="1312809" y="6540758"/>
                  <a:pt x="1309577" y="6539787"/>
                  <a:pt x="1307251" y="6537846"/>
                </a:cubicBezTo>
                <a:cubicBezTo>
                  <a:pt x="1304926" y="6535904"/>
                  <a:pt x="1303530" y="6532945"/>
                  <a:pt x="1303065" y="6528968"/>
                </a:cubicBezTo>
                <a:lnTo>
                  <a:pt x="1293019" y="6527154"/>
                </a:lnTo>
                <a:cubicBezTo>
                  <a:pt x="1292880" y="6534642"/>
                  <a:pt x="1294926" y="6540502"/>
                  <a:pt x="1299159" y="6544735"/>
                </a:cubicBezTo>
                <a:cubicBezTo>
                  <a:pt x="1303391" y="6548967"/>
                  <a:pt x="1309437" y="6551083"/>
                  <a:pt x="1317297" y="6551083"/>
                </a:cubicBezTo>
                <a:cubicBezTo>
                  <a:pt x="1323250" y="6551083"/>
                  <a:pt x="1328343" y="6549676"/>
                  <a:pt x="1332575" y="6546863"/>
                </a:cubicBezTo>
                <a:cubicBezTo>
                  <a:pt x="1336807" y="6544049"/>
                  <a:pt x="1339854" y="6540212"/>
                  <a:pt x="1341714" y="6535352"/>
                </a:cubicBezTo>
                <a:cubicBezTo>
                  <a:pt x="1343574" y="6530491"/>
                  <a:pt x="1344505" y="6522364"/>
                  <a:pt x="1344505" y="6510969"/>
                </a:cubicBezTo>
                <a:lnTo>
                  <a:pt x="1344505" y="6446927"/>
                </a:lnTo>
                <a:lnTo>
                  <a:pt x="1335017" y="6446927"/>
                </a:lnTo>
                <a:lnTo>
                  <a:pt x="1335017" y="6455787"/>
                </a:lnTo>
                <a:cubicBezTo>
                  <a:pt x="1332738" y="6452275"/>
                  <a:pt x="1330122" y="6449642"/>
                  <a:pt x="1327168" y="6447886"/>
                </a:cubicBezTo>
                <a:cubicBezTo>
                  <a:pt x="1324215" y="6446130"/>
                  <a:pt x="1320948" y="6445252"/>
                  <a:pt x="1317367" y="6445252"/>
                </a:cubicBezTo>
                <a:close/>
                <a:moveTo>
                  <a:pt x="1250831" y="6445252"/>
                </a:moveTo>
                <a:cubicBezTo>
                  <a:pt x="1248366" y="6445252"/>
                  <a:pt x="1246145" y="6446101"/>
                  <a:pt x="1244169" y="6447799"/>
                </a:cubicBezTo>
                <a:cubicBezTo>
                  <a:pt x="1242192" y="6449496"/>
                  <a:pt x="1240018" y="6452950"/>
                  <a:pt x="1237646" y="6458159"/>
                </a:cubicBezTo>
                <a:lnTo>
                  <a:pt x="1237646" y="6446927"/>
                </a:lnTo>
                <a:lnTo>
                  <a:pt x="1230693" y="6446927"/>
                </a:lnTo>
                <a:lnTo>
                  <a:pt x="1228368" y="6446927"/>
                </a:lnTo>
                <a:lnTo>
                  <a:pt x="1220369" y="6446927"/>
                </a:lnTo>
                <a:lnTo>
                  <a:pt x="1207392" y="6490086"/>
                </a:lnTo>
                <a:cubicBezTo>
                  <a:pt x="1205764" y="6495571"/>
                  <a:pt x="1204369" y="6501196"/>
                  <a:pt x="1203206" y="6506960"/>
                </a:cubicBezTo>
                <a:cubicBezTo>
                  <a:pt x="1201858" y="6500871"/>
                  <a:pt x="1200392" y="6495154"/>
                  <a:pt x="1198811" y="6489808"/>
                </a:cubicBezTo>
                <a:lnTo>
                  <a:pt x="1186114" y="6446927"/>
                </a:lnTo>
                <a:lnTo>
                  <a:pt x="1175022" y="6446927"/>
                </a:lnTo>
                <a:lnTo>
                  <a:pt x="1198132" y="6521125"/>
                </a:lnTo>
                <a:cubicBezTo>
                  <a:pt x="1195756" y="6528678"/>
                  <a:pt x="1194406" y="6532780"/>
                  <a:pt x="1194080" y="6533431"/>
                </a:cubicBezTo>
                <a:cubicBezTo>
                  <a:pt x="1193149" y="6535292"/>
                  <a:pt x="1191974" y="6536665"/>
                  <a:pt x="1190554" y="6537549"/>
                </a:cubicBezTo>
                <a:cubicBezTo>
                  <a:pt x="1189134" y="6538433"/>
                  <a:pt x="1187330" y="6538875"/>
                  <a:pt x="1185143" y="6538875"/>
                </a:cubicBezTo>
                <a:cubicBezTo>
                  <a:pt x="1183514" y="6538875"/>
                  <a:pt x="1181559" y="6538503"/>
                  <a:pt x="1179277" y="6537758"/>
                </a:cubicBezTo>
                <a:lnTo>
                  <a:pt x="1180394" y="6549548"/>
                </a:lnTo>
                <a:cubicBezTo>
                  <a:pt x="1182862" y="6550572"/>
                  <a:pt x="1185075" y="6551083"/>
                  <a:pt x="1187032" y="6551083"/>
                </a:cubicBezTo>
                <a:cubicBezTo>
                  <a:pt x="1189827" y="6551083"/>
                  <a:pt x="1192331" y="6550362"/>
                  <a:pt x="1194543" y="6548921"/>
                </a:cubicBezTo>
                <a:cubicBezTo>
                  <a:pt x="1196756" y="6547479"/>
                  <a:pt x="1198736" y="6545118"/>
                  <a:pt x="1200483" y="6541840"/>
                </a:cubicBezTo>
                <a:cubicBezTo>
                  <a:pt x="1202229" y="6538561"/>
                  <a:pt x="1204617" y="6532038"/>
                  <a:pt x="1207645" y="6522271"/>
                </a:cubicBezTo>
                <a:lnTo>
                  <a:pt x="1228368" y="6454529"/>
                </a:lnTo>
                <a:lnTo>
                  <a:pt x="1228368" y="6521015"/>
                </a:lnTo>
                <a:lnTo>
                  <a:pt x="1238623" y="6521015"/>
                </a:lnTo>
                <a:lnTo>
                  <a:pt x="1238623" y="6482227"/>
                </a:lnTo>
                <a:cubicBezTo>
                  <a:pt x="1238623" y="6476832"/>
                  <a:pt x="1239274" y="6471739"/>
                  <a:pt x="1240576" y="6466949"/>
                </a:cubicBezTo>
                <a:cubicBezTo>
                  <a:pt x="1241320" y="6464205"/>
                  <a:pt x="1242599" y="6462065"/>
                  <a:pt x="1244413" y="6460531"/>
                </a:cubicBezTo>
                <a:cubicBezTo>
                  <a:pt x="1246227" y="6458996"/>
                  <a:pt x="1248227" y="6458228"/>
                  <a:pt x="1250413" y="6458228"/>
                </a:cubicBezTo>
                <a:cubicBezTo>
                  <a:pt x="1252831" y="6458228"/>
                  <a:pt x="1255319" y="6459135"/>
                  <a:pt x="1257877" y="6460949"/>
                </a:cubicBezTo>
                <a:lnTo>
                  <a:pt x="1261365" y="6449299"/>
                </a:lnTo>
                <a:cubicBezTo>
                  <a:pt x="1257784" y="6446601"/>
                  <a:pt x="1254273" y="6445252"/>
                  <a:pt x="1250831" y="6445252"/>
                </a:cubicBezTo>
                <a:close/>
                <a:moveTo>
                  <a:pt x="1141038" y="6445252"/>
                </a:moveTo>
                <a:cubicBezTo>
                  <a:pt x="1137369" y="6445252"/>
                  <a:pt x="1134119" y="6446136"/>
                  <a:pt x="1131286" y="6447903"/>
                </a:cubicBezTo>
                <a:cubicBezTo>
                  <a:pt x="1128454" y="6449671"/>
                  <a:pt x="1125877" y="6452554"/>
                  <a:pt x="1123555" y="6456554"/>
                </a:cubicBezTo>
                <a:lnTo>
                  <a:pt x="1123555" y="6446927"/>
                </a:lnTo>
                <a:lnTo>
                  <a:pt x="1114068" y="6446927"/>
                </a:lnTo>
                <a:lnTo>
                  <a:pt x="1114068" y="6549409"/>
                </a:lnTo>
                <a:lnTo>
                  <a:pt x="1124323" y="6549409"/>
                </a:lnTo>
                <a:lnTo>
                  <a:pt x="1124323" y="6513341"/>
                </a:lnTo>
                <a:cubicBezTo>
                  <a:pt x="1126322" y="6516318"/>
                  <a:pt x="1128695" y="6518620"/>
                  <a:pt x="1131439" y="6520248"/>
                </a:cubicBezTo>
                <a:cubicBezTo>
                  <a:pt x="1134182" y="6521876"/>
                  <a:pt x="1137136" y="6522690"/>
                  <a:pt x="1140298" y="6522690"/>
                </a:cubicBezTo>
                <a:cubicBezTo>
                  <a:pt x="1147414" y="6522690"/>
                  <a:pt x="1153611" y="6519283"/>
                  <a:pt x="1158890" y="6512469"/>
                </a:cubicBezTo>
                <a:cubicBezTo>
                  <a:pt x="1164169" y="6505656"/>
                  <a:pt x="1166808" y="6495947"/>
                  <a:pt x="1166808" y="6483343"/>
                </a:cubicBezTo>
                <a:cubicBezTo>
                  <a:pt x="1166808" y="6475204"/>
                  <a:pt x="1165636" y="6468239"/>
                  <a:pt x="1163291" y="6462449"/>
                </a:cubicBezTo>
                <a:cubicBezTo>
                  <a:pt x="1160946" y="6456659"/>
                  <a:pt x="1157846" y="6452345"/>
                  <a:pt x="1153993" y="6449508"/>
                </a:cubicBezTo>
                <a:cubicBezTo>
                  <a:pt x="1150139" y="6446671"/>
                  <a:pt x="1145821" y="6445252"/>
                  <a:pt x="1141038" y="6445252"/>
                </a:cubicBezTo>
                <a:close/>
                <a:moveTo>
                  <a:pt x="1071949" y="6445252"/>
                </a:moveTo>
                <a:cubicBezTo>
                  <a:pt x="1063717" y="6445252"/>
                  <a:pt x="1056915" y="6448508"/>
                  <a:pt x="1051543" y="6455019"/>
                </a:cubicBezTo>
                <a:cubicBezTo>
                  <a:pt x="1046172" y="6461531"/>
                  <a:pt x="1043486" y="6471181"/>
                  <a:pt x="1043486" y="6483971"/>
                </a:cubicBezTo>
                <a:cubicBezTo>
                  <a:pt x="1043486" y="6496714"/>
                  <a:pt x="1046195" y="6506353"/>
                  <a:pt x="1051613" y="6512888"/>
                </a:cubicBezTo>
                <a:cubicBezTo>
                  <a:pt x="1057031" y="6519422"/>
                  <a:pt x="1063810" y="6522690"/>
                  <a:pt x="1071949" y="6522690"/>
                </a:cubicBezTo>
                <a:cubicBezTo>
                  <a:pt x="1080228" y="6522690"/>
                  <a:pt x="1087041" y="6519434"/>
                  <a:pt x="1092390" y="6512923"/>
                </a:cubicBezTo>
                <a:cubicBezTo>
                  <a:pt x="1097738" y="6506411"/>
                  <a:pt x="1100412" y="6496505"/>
                  <a:pt x="1100412" y="6483204"/>
                </a:cubicBezTo>
                <a:cubicBezTo>
                  <a:pt x="1100412" y="6470925"/>
                  <a:pt x="1097692" y="6461531"/>
                  <a:pt x="1092250" y="6455019"/>
                </a:cubicBezTo>
                <a:cubicBezTo>
                  <a:pt x="1086809" y="6448508"/>
                  <a:pt x="1080042" y="6445252"/>
                  <a:pt x="1071949" y="6445252"/>
                </a:cubicBezTo>
                <a:close/>
                <a:moveTo>
                  <a:pt x="883892" y="6440020"/>
                </a:moveTo>
                <a:cubicBezTo>
                  <a:pt x="876950" y="6440020"/>
                  <a:pt x="871348" y="6442561"/>
                  <a:pt x="867086" y="6447642"/>
                </a:cubicBezTo>
                <a:cubicBezTo>
                  <a:pt x="862824" y="6452724"/>
                  <a:pt x="860692" y="6460113"/>
                  <a:pt x="860692" y="6469809"/>
                </a:cubicBezTo>
                <a:cubicBezTo>
                  <a:pt x="860692" y="6479505"/>
                  <a:pt x="862847" y="6486941"/>
                  <a:pt x="867156" y="6492115"/>
                </a:cubicBezTo>
                <a:cubicBezTo>
                  <a:pt x="871465" y="6497290"/>
                  <a:pt x="876880" y="6499877"/>
                  <a:pt x="883401" y="6499877"/>
                </a:cubicBezTo>
                <a:cubicBezTo>
                  <a:pt x="888479" y="6499877"/>
                  <a:pt x="892917" y="6498191"/>
                  <a:pt x="896713" y="6494819"/>
                </a:cubicBezTo>
                <a:cubicBezTo>
                  <a:pt x="900509" y="6491447"/>
                  <a:pt x="902990" y="6486762"/>
                  <a:pt x="904155" y="6480762"/>
                </a:cubicBezTo>
                <a:lnTo>
                  <a:pt x="897178" y="6478250"/>
                </a:lnTo>
                <a:cubicBezTo>
                  <a:pt x="896292" y="6482529"/>
                  <a:pt x="894521" y="6485843"/>
                  <a:pt x="891863" y="6488192"/>
                </a:cubicBezTo>
                <a:cubicBezTo>
                  <a:pt x="889206" y="6490540"/>
                  <a:pt x="886199" y="6491715"/>
                  <a:pt x="882842" y="6491715"/>
                </a:cubicBezTo>
                <a:cubicBezTo>
                  <a:pt x="878739" y="6491715"/>
                  <a:pt x="875312" y="6489918"/>
                  <a:pt x="872562" y="6486326"/>
                </a:cubicBezTo>
                <a:cubicBezTo>
                  <a:pt x="869811" y="6482734"/>
                  <a:pt x="868436" y="6477391"/>
                  <a:pt x="868436" y="6470300"/>
                </a:cubicBezTo>
                <a:cubicBezTo>
                  <a:pt x="868436" y="6462881"/>
                  <a:pt x="869881" y="6457282"/>
                  <a:pt x="872772" y="6453502"/>
                </a:cubicBezTo>
                <a:cubicBezTo>
                  <a:pt x="875663" y="6449723"/>
                  <a:pt x="879276" y="6447834"/>
                  <a:pt x="883613" y="6447834"/>
                </a:cubicBezTo>
                <a:cubicBezTo>
                  <a:pt x="886503" y="6447834"/>
                  <a:pt x="889079" y="6448729"/>
                  <a:pt x="891341" y="6450520"/>
                </a:cubicBezTo>
                <a:cubicBezTo>
                  <a:pt x="893602" y="6452310"/>
                  <a:pt x="895315" y="6454973"/>
                  <a:pt x="896481" y="6458507"/>
                </a:cubicBezTo>
                <a:lnTo>
                  <a:pt x="903317" y="6456484"/>
                </a:lnTo>
                <a:cubicBezTo>
                  <a:pt x="902060" y="6451275"/>
                  <a:pt x="899707" y="6447229"/>
                  <a:pt x="896260" y="6444346"/>
                </a:cubicBezTo>
                <a:cubicBezTo>
                  <a:pt x="892813" y="6441462"/>
                  <a:pt x="888690" y="6440020"/>
                  <a:pt x="883892" y="6440020"/>
                </a:cubicBezTo>
                <a:close/>
                <a:moveTo>
                  <a:pt x="2030135" y="6429486"/>
                </a:moveTo>
                <a:cubicBezTo>
                  <a:pt x="2031390" y="6434927"/>
                  <a:pt x="2033366" y="6441997"/>
                  <a:pt x="2036063" y="6450694"/>
                </a:cubicBezTo>
                <a:lnTo>
                  <a:pt x="2044779" y="6479018"/>
                </a:lnTo>
                <a:lnTo>
                  <a:pt x="2016211" y="6479018"/>
                </a:lnTo>
                <a:lnTo>
                  <a:pt x="2025540" y="6449020"/>
                </a:lnTo>
                <a:cubicBezTo>
                  <a:pt x="2027520" y="6442555"/>
                  <a:pt x="2029051" y="6436044"/>
                  <a:pt x="2030135" y="6429486"/>
                </a:cubicBezTo>
                <a:close/>
                <a:moveTo>
                  <a:pt x="883226" y="6425649"/>
                </a:moveTo>
                <a:cubicBezTo>
                  <a:pt x="892713" y="6425649"/>
                  <a:pt x="900946" y="6429679"/>
                  <a:pt x="907922" y="6437738"/>
                </a:cubicBezTo>
                <a:cubicBezTo>
                  <a:pt x="915456" y="6446401"/>
                  <a:pt x="919223" y="6457045"/>
                  <a:pt x="919223" y="6469670"/>
                </a:cubicBezTo>
                <a:cubicBezTo>
                  <a:pt x="919223" y="6481409"/>
                  <a:pt x="915921" y="6491494"/>
                  <a:pt x="909317" y="6499925"/>
                </a:cubicBezTo>
                <a:cubicBezTo>
                  <a:pt x="902155" y="6509055"/>
                  <a:pt x="893458" y="6513620"/>
                  <a:pt x="883226" y="6513620"/>
                </a:cubicBezTo>
                <a:cubicBezTo>
                  <a:pt x="873738" y="6513620"/>
                  <a:pt x="865506" y="6509614"/>
                  <a:pt x="858530" y="6501603"/>
                </a:cubicBezTo>
                <a:cubicBezTo>
                  <a:pt x="850995" y="6492938"/>
                  <a:pt x="847228" y="6482294"/>
                  <a:pt x="847228" y="6469670"/>
                </a:cubicBezTo>
                <a:cubicBezTo>
                  <a:pt x="847228" y="6457930"/>
                  <a:pt x="850530" y="6447822"/>
                  <a:pt x="857134" y="6439344"/>
                </a:cubicBezTo>
                <a:cubicBezTo>
                  <a:pt x="864250" y="6430214"/>
                  <a:pt x="872947" y="6425649"/>
                  <a:pt x="883226" y="6425649"/>
                </a:cubicBezTo>
                <a:close/>
                <a:moveTo>
                  <a:pt x="2421955" y="6421045"/>
                </a:moveTo>
                <a:lnTo>
                  <a:pt x="2411700" y="6428579"/>
                </a:lnTo>
                <a:lnTo>
                  <a:pt x="2411700" y="6446927"/>
                </a:lnTo>
                <a:lnTo>
                  <a:pt x="2404165" y="6446927"/>
                </a:lnTo>
                <a:lnTo>
                  <a:pt x="2404165" y="6456694"/>
                </a:lnTo>
                <a:lnTo>
                  <a:pt x="2411700" y="6456694"/>
                </a:lnTo>
                <a:lnTo>
                  <a:pt x="2411700" y="6499319"/>
                </a:lnTo>
                <a:cubicBezTo>
                  <a:pt x="2411700" y="6506667"/>
                  <a:pt x="2412107" y="6511574"/>
                  <a:pt x="2412921" y="6514039"/>
                </a:cubicBezTo>
                <a:cubicBezTo>
                  <a:pt x="2413735" y="6516504"/>
                  <a:pt x="2415235" y="6518446"/>
                  <a:pt x="2417421" y="6519864"/>
                </a:cubicBezTo>
                <a:cubicBezTo>
                  <a:pt x="2419606" y="6521283"/>
                  <a:pt x="2422490" y="6521992"/>
                  <a:pt x="2426071" y="6521992"/>
                </a:cubicBezTo>
                <a:lnTo>
                  <a:pt x="2432786" y="6521015"/>
                </a:lnTo>
                <a:lnTo>
                  <a:pt x="2486528" y="6521015"/>
                </a:lnTo>
                <a:lnTo>
                  <a:pt x="2486528" y="6510202"/>
                </a:lnTo>
                <a:lnTo>
                  <a:pt x="2458405" y="6510202"/>
                </a:lnTo>
                <a:cubicBezTo>
                  <a:pt x="2454357" y="6510202"/>
                  <a:pt x="2450030" y="6510411"/>
                  <a:pt x="2445424" y="6510830"/>
                </a:cubicBezTo>
                <a:lnTo>
                  <a:pt x="2451786" y="6502249"/>
                </a:lnTo>
                <a:lnTo>
                  <a:pt x="2484784" y="6455229"/>
                </a:lnTo>
                <a:lnTo>
                  <a:pt x="2484784" y="6446927"/>
                </a:lnTo>
                <a:lnTo>
                  <a:pt x="2435043" y="6446927"/>
                </a:lnTo>
                <a:lnTo>
                  <a:pt x="2435043" y="6457112"/>
                </a:lnTo>
                <a:lnTo>
                  <a:pt x="2459828" y="6457112"/>
                </a:lnTo>
                <a:cubicBezTo>
                  <a:pt x="2463179" y="6457112"/>
                  <a:pt x="2467065" y="6456973"/>
                  <a:pt x="2471487" y="6456694"/>
                </a:cubicBezTo>
                <a:lnTo>
                  <a:pt x="2432740" y="6510830"/>
                </a:lnTo>
                <a:lnTo>
                  <a:pt x="2432740" y="6512889"/>
                </a:lnTo>
                <a:lnTo>
                  <a:pt x="2432350" y="6509783"/>
                </a:lnTo>
                <a:cubicBezTo>
                  <a:pt x="2430489" y="6510109"/>
                  <a:pt x="2428978" y="6510272"/>
                  <a:pt x="2427815" y="6510272"/>
                </a:cubicBezTo>
                <a:cubicBezTo>
                  <a:pt x="2425397" y="6510272"/>
                  <a:pt x="2423746" y="6509435"/>
                  <a:pt x="2422862" y="6507760"/>
                </a:cubicBezTo>
                <a:cubicBezTo>
                  <a:pt x="2422257" y="6506598"/>
                  <a:pt x="2421955" y="6504016"/>
                  <a:pt x="2421955" y="6500017"/>
                </a:cubicBezTo>
                <a:lnTo>
                  <a:pt x="2421955" y="6456694"/>
                </a:lnTo>
                <a:lnTo>
                  <a:pt x="2432350" y="6456694"/>
                </a:lnTo>
                <a:lnTo>
                  <a:pt x="2432350" y="6446927"/>
                </a:lnTo>
                <a:lnTo>
                  <a:pt x="2421955" y="6446927"/>
                </a:lnTo>
                <a:close/>
                <a:moveTo>
                  <a:pt x="1440880" y="6421045"/>
                </a:moveTo>
                <a:lnTo>
                  <a:pt x="1430625" y="6428579"/>
                </a:lnTo>
                <a:lnTo>
                  <a:pt x="1430625" y="6446927"/>
                </a:lnTo>
                <a:lnTo>
                  <a:pt x="1423090" y="6446927"/>
                </a:lnTo>
                <a:lnTo>
                  <a:pt x="1423090" y="6456694"/>
                </a:lnTo>
                <a:lnTo>
                  <a:pt x="1430625" y="6456694"/>
                </a:lnTo>
                <a:lnTo>
                  <a:pt x="1430625" y="6499319"/>
                </a:lnTo>
                <a:cubicBezTo>
                  <a:pt x="1430625" y="6506667"/>
                  <a:pt x="1431032" y="6511574"/>
                  <a:pt x="1431846" y="6514039"/>
                </a:cubicBezTo>
                <a:cubicBezTo>
                  <a:pt x="1432660" y="6516504"/>
                  <a:pt x="1434160" y="6518446"/>
                  <a:pt x="1436345" y="6519864"/>
                </a:cubicBezTo>
                <a:cubicBezTo>
                  <a:pt x="1438531" y="6521283"/>
                  <a:pt x="1441415" y="6521992"/>
                  <a:pt x="1444996" y="6521992"/>
                </a:cubicBezTo>
                <a:cubicBezTo>
                  <a:pt x="1447275" y="6521992"/>
                  <a:pt x="1449833" y="6521620"/>
                  <a:pt x="1452670" y="6520876"/>
                </a:cubicBezTo>
                <a:lnTo>
                  <a:pt x="1451275" y="6509783"/>
                </a:lnTo>
                <a:cubicBezTo>
                  <a:pt x="1449414" y="6510109"/>
                  <a:pt x="1447903" y="6510272"/>
                  <a:pt x="1446740" y="6510272"/>
                </a:cubicBezTo>
                <a:cubicBezTo>
                  <a:pt x="1444322" y="6510272"/>
                  <a:pt x="1442671" y="6509435"/>
                  <a:pt x="1441787" y="6507760"/>
                </a:cubicBezTo>
                <a:cubicBezTo>
                  <a:pt x="1441182" y="6506598"/>
                  <a:pt x="1440880" y="6504016"/>
                  <a:pt x="1440880" y="6500017"/>
                </a:cubicBezTo>
                <a:lnTo>
                  <a:pt x="1440880" y="6456694"/>
                </a:lnTo>
                <a:lnTo>
                  <a:pt x="1451275" y="6456694"/>
                </a:lnTo>
                <a:lnTo>
                  <a:pt x="1451275" y="6446927"/>
                </a:lnTo>
                <a:lnTo>
                  <a:pt x="1440880" y="6446927"/>
                </a:lnTo>
                <a:close/>
                <a:moveTo>
                  <a:pt x="6208295" y="6421045"/>
                </a:moveTo>
                <a:lnTo>
                  <a:pt x="6198040" y="6428579"/>
                </a:lnTo>
                <a:lnTo>
                  <a:pt x="6198040" y="6446927"/>
                </a:lnTo>
                <a:lnTo>
                  <a:pt x="6190505" y="6446927"/>
                </a:lnTo>
                <a:lnTo>
                  <a:pt x="6190505" y="6456694"/>
                </a:lnTo>
                <a:lnTo>
                  <a:pt x="6198040" y="6456694"/>
                </a:lnTo>
                <a:lnTo>
                  <a:pt x="6198040" y="6499319"/>
                </a:lnTo>
                <a:cubicBezTo>
                  <a:pt x="6198040" y="6506667"/>
                  <a:pt x="6198447" y="6511574"/>
                  <a:pt x="6199261" y="6514039"/>
                </a:cubicBezTo>
                <a:cubicBezTo>
                  <a:pt x="6200075" y="6516504"/>
                  <a:pt x="6201575" y="6518446"/>
                  <a:pt x="6203760" y="6519864"/>
                </a:cubicBezTo>
                <a:cubicBezTo>
                  <a:pt x="6205946" y="6521283"/>
                  <a:pt x="6208830" y="6521992"/>
                  <a:pt x="6212411" y="6521992"/>
                </a:cubicBezTo>
                <a:cubicBezTo>
                  <a:pt x="6214690" y="6521992"/>
                  <a:pt x="6217248" y="6521620"/>
                  <a:pt x="6220085" y="6520876"/>
                </a:cubicBezTo>
                <a:lnTo>
                  <a:pt x="6218690" y="6509783"/>
                </a:lnTo>
                <a:cubicBezTo>
                  <a:pt x="6216829" y="6510109"/>
                  <a:pt x="6215318" y="6510272"/>
                  <a:pt x="6214155" y="6510272"/>
                </a:cubicBezTo>
                <a:cubicBezTo>
                  <a:pt x="6211737" y="6510272"/>
                  <a:pt x="6210086" y="6509435"/>
                  <a:pt x="6209202" y="6507760"/>
                </a:cubicBezTo>
                <a:cubicBezTo>
                  <a:pt x="6208597" y="6506598"/>
                  <a:pt x="6208295" y="6504016"/>
                  <a:pt x="6208295" y="6500017"/>
                </a:cubicBezTo>
                <a:lnTo>
                  <a:pt x="6208295" y="6456694"/>
                </a:lnTo>
                <a:lnTo>
                  <a:pt x="6218690" y="6456694"/>
                </a:lnTo>
                <a:lnTo>
                  <a:pt x="6218690" y="6446927"/>
                </a:lnTo>
                <a:lnTo>
                  <a:pt x="6208295" y="6446927"/>
                </a:lnTo>
                <a:close/>
                <a:moveTo>
                  <a:pt x="6319284" y="6418742"/>
                </a:moveTo>
                <a:lnTo>
                  <a:pt x="6319284" y="6521015"/>
                </a:lnTo>
                <a:lnTo>
                  <a:pt x="6329539" y="6521015"/>
                </a:lnTo>
                <a:lnTo>
                  <a:pt x="6329539" y="6418742"/>
                </a:lnTo>
                <a:close/>
                <a:moveTo>
                  <a:pt x="6224382" y="6418742"/>
                </a:moveTo>
                <a:lnTo>
                  <a:pt x="6224382" y="6433183"/>
                </a:lnTo>
                <a:lnTo>
                  <a:pt x="6234638" y="6433183"/>
                </a:lnTo>
                <a:lnTo>
                  <a:pt x="6234638" y="6418742"/>
                </a:lnTo>
                <a:close/>
                <a:moveTo>
                  <a:pt x="6034361" y="6418742"/>
                </a:moveTo>
                <a:lnTo>
                  <a:pt x="6034361" y="6455438"/>
                </a:lnTo>
                <a:cubicBezTo>
                  <a:pt x="6032458" y="6452229"/>
                  <a:pt x="6030054" y="6449729"/>
                  <a:pt x="6027153" y="6447938"/>
                </a:cubicBezTo>
                <a:cubicBezTo>
                  <a:pt x="6024250" y="6446148"/>
                  <a:pt x="6021105" y="6445252"/>
                  <a:pt x="6017716" y="6445252"/>
                </a:cubicBezTo>
                <a:cubicBezTo>
                  <a:pt x="6012979" y="6445252"/>
                  <a:pt x="6008673" y="6446671"/>
                  <a:pt x="6004796" y="6449508"/>
                </a:cubicBezTo>
                <a:cubicBezTo>
                  <a:pt x="6000918" y="6452345"/>
                  <a:pt x="5997819" y="6456694"/>
                  <a:pt x="5995497" y="6462554"/>
                </a:cubicBezTo>
                <a:cubicBezTo>
                  <a:pt x="5993176" y="6468414"/>
                  <a:pt x="5992015" y="6475553"/>
                  <a:pt x="5992015" y="6483971"/>
                </a:cubicBezTo>
                <a:cubicBezTo>
                  <a:pt x="5992015" y="6496249"/>
                  <a:pt x="5994631" y="6505772"/>
                  <a:pt x="5999864" y="6512539"/>
                </a:cubicBezTo>
                <a:cubicBezTo>
                  <a:pt x="6005096" y="6519306"/>
                  <a:pt x="6011293" y="6522690"/>
                  <a:pt x="6018455" y="6522690"/>
                </a:cubicBezTo>
                <a:cubicBezTo>
                  <a:pt x="6021851" y="6522690"/>
                  <a:pt x="6025013" y="6521748"/>
                  <a:pt x="6027944" y="6519864"/>
                </a:cubicBezTo>
                <a:cubicBezTo>
                  <a:pt x="6030874" y="6517981"/>
                  <a:pt x="6033269" y="6515248"/>
                  <a:pt x="6035129" y="6511667"/>
                </a:cubicBezTo>
                <a:lnTo>
                  <a:pt x="6035129" y="6521015"/>
                </a:lnTo>
                <a:lnTo>
                  <a:pt x="6044756" y="6521015"/>
                </a:lnTo>
                <a:lnTo>
                  <a:pt x="6044756" y="6418742"/>
                </a:lnTo>
                <a:close/>
                <a:moveTo>
                  <a:pt x="2790947" y="6418742"/>
                </a:moveTo>
                <a:lnTo>
                  <a:pt x="2790947" y="6455438"/>
                </a:lnTo>
                <a:cubicBezTo>
                  <a:pt x="2789043" y="6452229"/>
                  <a:pt x="2786640" y="6449729"/>
                  <a:pt x="2783737" y="6447938"/>
                </a:cubicBezTo>
                <a:cubicBezTo>
                  <a:pt x="2780835" y="6446148"/>
                  <a:pt x="2777690" y="6445252"/>
                  <a:pt x="2774300" y="6445252"/>
                </a:cubicBezTo>
                <a:cubicBezTo>
                  <a:pt x="2769564" y="6445252"/>
                  <a:pt x="2765258" y="6446671"/>
                  <a:pt x="2761380" y="6449508"/>
                </a:cubicBezTo>
                <a:cubicBezTo>
                  <a:pt x="2757503" y="6452345"/>
                  <a:pt x="2754404" y="6456694"/>
                  <a:pt x="2752082" y="6462554"/>
                </a:cubicBezTo>
                <a:cubicBezTo>
                  <a:pt x="2749761" y="6468414"/>
                  <a:pt x="2748600" y="6475553"/>
                  <a:pt x="2748600" y="6483971"/>
                </a:cubicBezTo>
                <a:cubicBezTo>
                  <a:pt x="2748600" y="6496249"/>
                  <a:pt x="2751216" y="6505772"/>
                  <a:pt x="2756449" y="6512539"/>
                </a:cubicBezTo>
                <a:cubicBezTo>
                  <a:pt x="2761681" y="6519306"/>
                  <a:pt x="2767878" y="6522690"/>
                  <a:pt x="2775041" y="6522690"/>
                </a:cubicBezTo>
                <a:cubicBezTo>
                  <a:pt x="2778436" y="6522690"/>
                  <a:pt x="2781598" y="6521748"/>
                  <a:pt x="2784528" y="6519864"/>
                </a:cubicBezTo>
                <a:cubicBezTo>
                  <a:pt x="2787458" y="6517981"/>
                  <a:pt x="2789854" y="6515248"/>
                  <a:pt x="2791714" y="6511667"/>
                </a:cubicBezTo>
                <a:lnTo>
                  <a:pt x="2791714" y="6521015"/>
                </a:lnTo>
                <a:lnTo>
                  <a:pt x="2801341" y="6521015"/>
                </a:lnTo>
                <a:lnTo>
                  <a:pt x="2801341" y="6418742"/>
                </a:lnTo>
                <a:close/>
                <a:moveTo>
                  <a:pt x="2590094" y="6418742"/>
                </a:moveTo>
                <a:lnTo>
                  <a:pt x="2590094" y="6521015"/>
                </a:lnTo>
                <a:lnTo>
                  <a:pt x="2600349" y="6521015"/>
                </a:lnTo>
                <a:lnTo>
                  <a:pt x="2600349" y="6418742"/>
                </a:lnTo>
                <a:close/>
                <a:moveTo>
                  <a:pt x="2380892" y="6418742"/>
                </a:moveTo>
                <a:lnTo>
                  <a:pt x="2380892" y="6433183"/>
                </a:lnTo>
                <a:lnTo>
                  <a:pt x="2391148" y="6433183"/>
                </a:lnTo>
                <a:lnTo>
                  <a:pt x="2391148" y="6418742"/>
                </a:lnTo>
                <a:close/>
                <a:moveTo>
                  <a:pt x="2024493" y="6418742"/>
                </a:moveTo>
                <a:lnTo>
                  <a:pt x="1992149" y="6521015"/>
                </a:lnTo>
                <a:lnTo>
                  <a:pt x="2003850" y="6521015"/>
                </a:lnTo>
                <a:lnTo>
                  <a:pt x="2012966" y="6490040"/>
                </a:lnTo>
                <a:lnTo>
                  <a:pt x="2048249" y="6490040"/>
                </a:lnTo>
                <a:lnTo>
                  <a:pt x="2058004" y="6521015"/>
                </a:lnTo>
                <a:lnTo>
                  <a:pt x="2070702" y="6521015"/>
                </a:lnTo>
                <a:lnTo>
                  <a:pt x="2036357" y="6418742"/>
                </a:lnTo>
                <a:close/>
                <a:moveTo>
                  <a:pt x="1818918" y="6418742"/>
                </a:moveTo>
                <a:lnTo>
                  <a:pt x="1818918" y="6433183"/>
                </a:lnTo>
                <a:lnTo>
                  <a:pt x="1829173" y="6433183"/>
                </a:lnTo>
                <a:lnTo>
                  <a:pt x="1829173" y="6418742"/>
                </a:lnTo>
                <a:close/>
                <a:moveTo>
                  <a:pt x="1752242" y="6418742"/>
                </a:moveTo>
                <a:lnTo>
                  <a:pt x="1752242" y="6433183"/>
                </a:lnTo>
                <a:lnTo>
                  <a:pt x="1762498" y="6433183"/>
                </a:lnTo>
                <a:lnTo>
                  <a:pt x="1762498" y="6418742"/>
                </a:lnTo>
                <a:close/>
                <a:moveTo>
                  <a:pt x="1361717" y="6418742"/>
                </a:moveTo>
                <a:lnTo>
                  <a:pt x="1361717" y="6521015"/>
                </a:lnTo>
                <a:lnTo>
                  <a:pt x="1371973" y="6521015"/>
                </a:lnTo>
                <a:lnTo>
                  <a:pt x="1371973" y="6480483"/>
                </a:lnTo>
                <a:cubicBezTo>
                  <a:pt x="1371973" y="6471367"/>
                  <a:pt x="1373542" y="6465019"/>
                  <a:pt x="1376682" y="6461437"/>
                </a:cubicBezTo>
                <a:cubicBezTo>
                  <a:pt x="1379821" y="6457856"/>
                  <a:pt x="1383623" y="6456066"/>
                  <a:pt x="1388088" y="6456066"/>
                </a:cubicBezTo>
                <a:cubicBezTo>
                  <a:pt x="1392088" y="6456066"/>
                  <a:pt x="1395227" y="6457461"/>
                  <a:pt x="1397506" y="6460252"/>
                </a:cubicBezTo>
                <a:cubicBezTo>
                  <a:pt x="1399785" y="6463042"/>
                  <a:pt x="1400924" y="6467646"/>
                  <a:pt x="1400924" y="6474065"/>
                </a:cubicBezTo>
                <a:lnTo>
                  <a:pt x="1400924" y="6521015"/>
                </a:lnTo>
                <a:lnTo>
                  <a:pt x="1411180" y="6521015"/>
                </a:lnTo>
                <a:lnTo>
                  <a:pt x="1411180" y="6474065"/>
                </a:lnTo>
                <a:cubicBezTo>
                  <a:pt x="1411180" y="6463089"/>
                  <a:pt x="1409307" y="6455542"/>
                  <a:pt x="1405564" y="6451426"/>
                </a:cubicBezTo>
                <a:cubicBezTo>
                  <a:pt x="1401820" y="6447310"/>
                  <a:pt x="1396715" y="6445252"/>
                  <a:pt x="1390251" y="6445252"/>
                </a:cubicBezTo>
                <a:cubicBezTo>
                  <a:pt x="1386576" y="6445252"/>
                  <a:pt x="1383216" y="6446101"/>
                  <a:pt x="1380170" y="6447799"/>
                </a:cubicBezTo>
                <a:cubicBezTo>
                  <a:pt x="1377123" y="6449496"/>
                  <a:pt x="1374391" y="6452043"/>
                  <a:pt x="1371973" y="6455438"/>
                </a:cubicBezTo>
                <a:lnTo>
                  <a:pt x="1371973" y="6418742"/>
                </a:lnTo>
                <a:close/>
                <a:moveTo>
                  <a:pt x="1266468" y="6418742"/>
                </a:moveTo>
                <a:lnTo>
                  <a:pt x="1266468" y="6433183"/>
                </a:lnTo>
                <a:lnTo>
                  <a:pt x="1276723" y="6433183"/>
                </a:lnTo>
                <a:lnTo>
                  <a:pt x="1276723" y="6418742"/>
                </a:lnTo>
                <a:close/>
                <a:moveTo>
                  <a:pt x="5958281" y="6416998"/>
                </a:moveTo>
                <a:cubicBezTo>
                  <a:pt x="5954503" y="6416998"/>
                  <a:pt x="5951368" y="6417766"/>
                  <a:pt x="5948872" y="6419301"/>
                </a:cubicBezTo>
                <a:cubicBezTo>
                  <a:pt x="5946378" y="6420835"/>
                  <a:pt x="5944525" y="6423056"/>
                  <a:pt x="5943311" y="6425963"/>
                </a:cubicBezTo>
                <a:cubicBezTo>
                  <a:pt x="5942099" y="6428870"/>
                  <a:pt x="5941493" y="6433230"/>
                  <a:pt x="5941493" y="6439044"/>
                </a:cubicBezTo>
                <a:lnTo>
                  <a:pt x="5941493" y="6446927"/>
                </a:lnTo>
                <a:lnTo>
                  <a:pt x="5932354" y="6446927"/>
                </a:lnTo>
                <a:lnTo>
                  <a:pt x="5932354" y="6456694"/>
                </a:lnTo>
                <a:lnTo>
                  <a:pt x="5941493" y="6456694"/>
                </a:lnTo>
                <a:lnTo>
                  <a:pt x="5941493" y="6521015"/>
                </a:lnTo>
                <a:lnTo>
                  <a:pt x="5951748" y="6521015"/>
                </a:lnTo>
                <a:lnTo>
                  <a:pt x="5951748" y="6456694"/>
                </a:lnTo>
                <a:lnTo>
                  <a:pt x="5963608" y="6456694"/>
                </a:lnTo>
                <a:lnTo>
                  <a:pt x="5963608" y="6446927"/>
                </a:lnTo>
                <a:lnTo>
                  <a:pt x="5951748" y="6446927"/>
                </a:lnTo>
                <a:lnTo>
                  <a:pt x="5951748" y="6440090"/>
                </a:lnTo>
                <a:cubicBezTo>
                  <a:pt x="5951748" y="6435579"/>
                  <a:pt x="5952411" y="6432521"/>
                  <a:pt x="5953736" y="6430916"/>
                </a:cubicBezTo>
                <a:cubicBezTo>
                  <a:pt x="5955062" y="6429312"/>
                  <a:pt x="5957260" y="6428509"/>
                  <a:pt x="5960329" y="6428509"/>
                </a:cubicBezTo>
                <a:cubicBezTo>
                  <a:pt x="5962236" y="6428509"/>
                  <a:pt x="5964259" y="6428742"/>
                  <a:pt x="5966398" y="6429207"/>
                </a:cubicBezTo>
                <a:lnTo>
                  <a:pt x="5967207" y="6423469"/>
                </a:lnTo>
                <a:lnTo>
                  <a:pt x="5967207" y="6433183"/>
                </a:lnTo>
                <a:lnTo>
                  <a:pt x="5977463" y="6433183"/>
                </a:lnTo>
                <a:lnTo>
                  <a:pt x="5977463" y="6418742"/>
                </a:lnTo>
                <a:lnTo>
                  <a:pt x="5967874" y="6418742"/>
                </a:lnTo>
                <a:lnTo>
                  <a:pt x="5967933" y="6418324"/>
                </a:lnTo>
                <a:cubicBezTo>
                  <a:pt x="5964435" y="6417440"/>
                  <a:pt x="5961218" y="6416998"/>
                  <a:pt x="5958281" y="6416998"/>
                </a:cubicBezTo>
                <a:close/>
                <a:moveTo>
                  <a:pt x="883226" y="6416998"/>
                </a:moveTo>
                <a:cubicBezTo>
                  <a:pt x="875877" y="6416998"/>
                  <a:pt x="868889" y="6419196"/>
                  <a:pt x="862262" y="6423591"/>
                </a:cubicBezTo>
                <a:cubicBezTo>
                  <a:pt x="855634" y="6427986"/>
                  <a:pt x="850274" y="6434300"/>
                  <a:pt x="846181" y="6442532"/>
                </a:cubicBezTo>
                <a:cubicBezTo>
                  <a:pt x="842089" y="6450764"/>
                  <a:pt x="840042" y="6459810"/>
                  <a:pt x="840042" y="6469670"/>
                </a:cubicBezTo>
                <a:cubicBezTo>
                  <a:pt x="840042" y="6483762"/>
                  <a:pt x="844181" y="6496052"/>
                  <a:pt x="852460" y="6506539"/>
                </a:cubicBezTo>
                <a:cubicBezTo>
                  <a:pt x="860739" y="6517027"/>
                  <a:pt x="870994" y="6522271"/>
                  <a:pt x="883226" y="6522271"/>
                </a:cubicBezTo>
                <a:cubicBezTo>
                  <a:pt x="890574" y="6522271"/>
                  <a:pt x="897562" y="6520073"/>
                  <a:pt x="904190" y="6515678"/>
                </a:cubicBezTo>
                <a:cubicBezTo>
                  <a:pt x="910817" y="6511283"/>
                  <a:pt x="916177" y="6504970"/>
                  <a:pt x="920270" y="6496738"/>
                </a:cubicBezTo>
                <a:cubicBezTo>
                  <a:pt x="924363" y="6488506"/>
                  <a:pt x="926409" y="6479483"/>
                  <a:pt x="926409" y="6469670"/>
                </a:cubicBezTo>
                <a:cubicBezTo>
                  <a:pt x="926409" y="6455577"/>
                  <a:pt x="922270" y="6443276"/>
                  <a:pt x="913991" y="6432765"/>
                </a:cubicBezTo>
                <a:cubicBezTo>
                  <a:pt x="905713" y="6422254"/>
                  <a:pt x="895457" y="6416998"/>
                  <a:pt x="883226" y="6416998"/>
                </a:cubicBezTo>
                <a:close/>
                <a:moveTo>
                  <a:pt x="2249524" y="6416929"/>
                </a:moveTo>
                <a:cubicBezTo>
                  <a:pt x="2240454" y="6416929"/>
                  <a:pt x="2233246" y="6419556"/>
                  <a:pt x="2227897" y="6424812"/>
                </a:cubicBezTo>
                <a:cubicBezTo>
                  <a:pt x="2222549" y="6430067"/>
                  <a:pt x="2219874" y="6436834"/>
                  <a:pt x="2219874" y="6445113"/>
                </a:cubicBezTo>
                <a:cubicBezTo>
                  <a:pt x="2219874" y="6449717"/>
                  <a:pt x="2220805" y="6453845"/>
                  <a:pt x="2222665" y="6457496"/>
                </a:cubicBezTo>
                <a:cubicBezTo>
                  <a:pt x="2224525" y="6461147"/>
                  <a:pt x="2227130" y="6464158"/>
                  <a:pt x="2230478" y="6466530"/>
                </a:cubicBezTo>
                <a:cubicBezTo>
                  <a:pt x="2233827" y="6468902"/>
                  <a:pt x="2239455" y="6471262"/>
                  <a:pt x="2247361" y="6473609"/>
                </a:cubicBezTo>
                <a:cubicBezTo>
                  <a:pt x="2256244" y="6476238"/>
                  <a:pt x="2262023" y="6478272"/>
                  <a:pt x="2264697" y="6479711"/>
                </a:cubicBezTo>
                <a:cubicBezTo>
                  <a:pt x="2267372" y="6481150"/>
                  <a:pt x="2269371" y="6482995"/>
                  <a:pt x="2270697" y="6485246"/>
                </a:cubicBezTo>
                <a:cubicBezTo>
                  <a:pt x="2272022" y="6487497"/>
                  <a:pt x="2272685" y="6490131"/>
                  <a:pt x="2272685" y="6493147"/>
                </a:cubicBezTo>
                <a:cubicBezTo>
                  <a:pt x="2272685" y="6498299"/>
                  <a:pt x="2270860" y="6502487"/>
                  <a:pt x="2267209" y="6505713"/>
                </a:cubicBezTo>
                <a:cubicBezTo>
                  <a:pt x="2263558" y="6508938"/>
                  <a:pt x="2258430" y="6510551"/>
                  <a:pt x="2251826" y="6510551"/>
                </a:cubicBezTo>
                <a:cubicBezTo>
                  <a:pt x="2247222" y="6510551"/>
                  <a:pt x="2243082" y="6509597"/>
                  <a:pt x="2239408" y="6507690"/>
                </a:cubicBezTo>
                <a:cubicBezTo>
                  <a:pt x="2235734" y="6505784"/>
                  <a:pt x="2232909" y="6503261"/>
                  <a:pt x="2230932" y="6500121"/>
                </a:cubicBezTo>
                <a:cubicBezTo>
                  <a:pt x="2228955" y="6496982"/>
                  <a:pt x="2227688" y="6492598"/>
                  <a:pt x="2227130" y="6486971"/>
                </a:cubicBezTo>
                <a:lnTo>
                  <a:pt x="2216665" y="6488087"/>
                </a:lnTo>
                <a:cubicBezTo>
                  <a:pt x="2216898" y="6498738"/>
                  <a:pt x="2220095" y="6507179"/>
                  <a:pt x="2226258" y="6513411"/>
                </a:cubicBezTo>
                <a:cubicBezTo>
                  <a:pt x="2232420" y="6519643"/>
                  <a:pt x="2240687" y="6522759"/>
                  <a:pt x="2251059" y="6522759"/>
                </a:cubicBezTo>
                <a:cubicBezTo>
                  <a:pt x="2257709" y="6522759"/>
                  <a:pt x="2263395" y="6521505"/>
                  <a:pt x="2268116" y="6518996"/>
                </a:cubicBezTo>
                <a:cubicBezTo>
                  <a:pt x="2272836" y="6516487"/>
                  <a:pt x="2276569" y="6512828"/>
                  <a:pt x="2279313" y="6508020"/>
                </a:cubicBezTo>
                <a:cubicBezTo>
                  <a:pt x="2282057" y="6503212"/>
                  <a:pt x="2283429" y="6497881"/>
                  <a:pt x="2283429" y="6492028"/>
                </a:cubicBezTo>
                <a:cubicBezTo>
                  <a:pt x="2283429" y="6486127"/>
                  <a:pt x="2282124" y="6481051"/>
                  <a:pt x="2279514" y="6476800"/>
                </a:cubicBezTo>
                <a:cubicBezTo>
                  <a:pt x="2276904" y="6472549"/>
                  <a:pt x="2273042" y="6469116"/>
                  <a:pt x="2267928" y="6466500"/>
                </a:cubicBezTo>
                <a:cubicBezTo>
                  <a:pt x="2264581" y="6464818"/>
                  <a:pt x="2258770" y="6462832"/>
                  <a:pt x="2250496" y="6460543"/>
                </a:cubicBezTo>
                <a:cubicBezTo>
                  <a:pt x="2242035" y="6458207"/>
                  <a:pt x="2236595" y="6455900"/>
                  <a:pt x="2234177" y="6453621"/>
                </a:cubicBezTo>
                <a:cubicBezTo>
                  <a:pt x="2231758" y="6451343"/>
                  <a:pt x="2230548" y="6448134"/>
                  <a:pt x="2230548" y="6443995"/>
                </a:cubicBezTo>
                <a:cubicBezTo>
                  <a:pt x="2230548" y="6439530"/>
                  <a:pt x="2232199" y="6435892"/>
                  <a:pt x="2235501" y="6433078"/>
                </a:cubicBezTo>
                <a:cubicBezTo>
                  <a:pt x="2238803" y="6430265"/>
                  <a:pt x="2243594" y="6428858"/>
                  <a:pt x="2249873" y="6428858"/>
                </a:cubicBezTo>
                <a:cubicBezTo>
                  <a:pt x="2256058" y="6428858"/>
                  <a:pt x="2260860" y="6430463"/>
                  <a:pt x="2264279" y="6433672"/>
                </a:cubicBezTo>
                <a:cubicBezTo>
                  <a:pt x="2267697" y="6436881"/>
                  <a:pt x="2269685" y="6441811"/>
                  <a:pt x="2270243" y="6448462"/>
                </a:cubicBezTo>
                <a:lnTo>
                  <a:pt x="2280917" y="6447485"/>
                </a:lnTo>
                <a:cubicBezTo>
                  <a:pt x="2280731" y="6441253"/>
                  <a:pt x="2279347" y="6435834"/>
                  <a:pt x="2276766" y="6431230"/>
                </a:cubicBezTo>
                <a:cubicBezTo>
                  <a:pt x="2274185" y="6426626"/>
                  <a:pt x="2270557" y="6423091"/>
                  <a:pt x="2265883" y="6420626"/>
                </a:cubicBezTo>
                <a:cubicBezTo>
                  <a:pt x="2261209" y="6418161"/>
                  <a:pt x="2255756" y="6416929"/>
                  <a:pt x="2249524" y="6416929"/>
                </a:cubicBezTo>
                <a:close/>
                <a:moveTo>
                  <a:pt x="2107518" y="6416929"/>
                </a:moveTo>
                <a:cubicBezTo>
                  <a:pt x="2099193" y="6416929"/>
                  <a:pt x="2091984" y="6418895"/>
                  <a:pt x="2085892" y="6422827"/>
                </a:cubicBezTo>
                <a:cubicBezTo>
                  <a:pt x="2079799" y="6426760"/>
                  <a:pt x="2074869" y="6432868"/>
                  <a:pt x="2071102" y="6441152"/>
                </a:cubicBezTo>
                <a:cubicBezTo>
                  <a:pt x="2067335" y="6449436"/>
                  <a:pt x="2065451" y="6459163"/>
                  <a:pt x="2065451" y="6470332"/>
                </a:cubicBezTo>
                <a:cubicBezTo>
                  <a:pt x="2065451" y="6481362"/>
                  <a:pt x="2067323" y="6490810"/>
                  <a:pt x="2071067" y="6498675"/>
                </a:cubicBezTo>
                <a:cubicBezTo>
                  <a:pt x="2074811" y="6506541"/>
                  <a:pt x="2079892" y="6512521"/>
                  <a:pt x="2086310" y="6516616"/>
                </a:cubicBezTo>
                <a:cubicBezTo>
                  <a:pt x="2092729" y="6520712"/>
                  <a:pt x="2100031" y="6522759"/>
                  <a:pt x="2108216" y="6522759"/>
                </a:cubicBezTo>
                <a:cubicBezTo>
                  <a:pt x="2114355" y="6522759"/>
                  <a:pt x="2120332" y="6521422"/>
                  <a:pt x="2126145" y="6518748"/>
                </a:cubicBezTo>
                <a:cubicBezTo>
                  <a:pt x="2131959" y="6516074"/>
                  <a:pt x="2137586" y="6512086"/>
                  <a:pt x="2143028" y="6506784"/>
                </a:cubicBezTo>
                <a:lnTo>
                  <a:pt x="2143028" y="6468763"/>
                </a:lnTo>
                <a:lnTo>
                  <a:pt x="2107518" y="6468832"/>
                </a:lnTo>
                <a:lnTo>
                  <a:pt x="2107518" y="6480901"/>
                </a:lnTo>
                <a:lnTo>
                  <a:pt x="2132145" y="6480901"/>
                </a:lnTo>
                <a:lnTo>
                  <a:pt x="2132145" y="6499947"/>
                </a:lnTo>
                <a:cubicBezTo>
                  <a:pt x="2129447" y="6502830"/>
                  <a:pt x="2125808" y="6505319"/>
                  <a:pt x="2121227" y="6507411"/>
                </a:cubicBezTo>
                <a:cubicBezTo>
                  <a:pt x="2116646" y="6509504"/>
                  <a:pt x="2112169" y="6510551"/>
                  <a:pt x="2107798" y="6510551"/>
                </a:cubicBezTo>
                <a:cubicBezTo>
                  <a:pt x="2098635" y="6510551"/>
                  <a:pt x="2091194" y="6507141"/>
                  <a:pt x="2085473" y="6500322"/>
                </a:cubicBezTo>
                <a:cubicBezTo>
                  <a:pt x="2079753" y="6493502"/>
                  <a:pt x="2076892" y="6483250"/>
                  <a:pt x="2076892" y="6469565"/>
                </a:cubicBezTo>
                <a:cubicBezTo>
                  <a:pt x="2076892" y="6460581"/>
                  <a:pt x="2078229" y="6452971"/>
                  <a:pt x="2080904" y="6446733"/>
                </a:cubicBezTo>
                <a:cubicBezTo>
                  <a:pt x="2083578" y="6440496"/>
                  <a:pt x="2087113" y="6435899"/>
                  <a:pt x="2091508" y="6432943"/>
                </a:cubicBezTo>
                <a:cubicBezTo>
                  <a:pt x="2095903" y="6429987"/>
                  <a:pt x="2101147" y="6428509"/>
                  <a:pt x="2107239" y="6428509"/>
                </a:cubicBezTo>
                <a:cubicBezTo>
                  <a:pt x="2111425" y="6428509"/>
                  <a:pt x="2115192" y="6429323"/>
                  <a:pt x="2118541" y="6430951"/>
                </a:cubicBezTo>
                <a:cubicBezTo>
                  <a:pt x="2121890" y="6432579"/>
                  <a:pt x="2124587" y="6434823"/>
                  <a:pt x="2126634" y="6437683"/>
                </a:cubicBezTo>
                <a:cubicBezTo>
                  <a:pt x="2128680" y="6440543"/>
                  <a:pt x="2130377" y="6444857"/>
                  <a:pt x="2131726" y="6450624"/>
                </a:cubicBezTo>
                <a:lnTo>
                  <a:pt x="2141702" y="6447276"/>
                </a:lnTo>
                <a:cubicBezTo>
                  <a:pt x="2140214" y="6439974"/>
                  <a:pt x="2137982" y="6434230"/>
                  <a:pt x="2135005" y="6430044"/>
                </a:cubicBezTo>
                <a:cubicBezTo>
                  <a:pt x="2132028" y="6425858"/>
                  <a:pt x="2128238" y="6422626"/>
                  <a:pt x="2123634" y="6420347"/>
                </a:cubicBezTo>
                <a:cubicBezTo>
                  <a:pt x="2119029" y="6418068"/>
                  <a:pt x="2113658" y="6416929"/>
                  <a:pt x="2107518" y="6416929"/>
                </a:cubicBezTo>
                <a:close/>
                <a:moveTo>
                  <a:pt x="1516099" y="6416929"/>
                </a:moveTo>
                <a:cubicBezTo>
                  <a:pt x="1507029" y="6416929"/>
                  <a:pt x="1499821" y="6419556"/>
                  <a:pt x="1494472" y="6424812"/>
                </a:cubicBezTo>
                <a:cubicBezTo>
                  <a:pt x="1489124" y="6430067"/>
                  <a:pt x="1486449" y="6436834"/>
                  <a:pt x="1486449" y="6445113"/>
                </a:cubicBezTo>
                <a:cubicBezTo>
                  <a:pt x="1486449" y="6449717"/>
                  <a:pt x="1487380" y="6453845"/>
                  <a:pt x="1489240" y="6457496"/>
                </a:cubicBezTo>
                <a:cubicBezTo>
                  <a:pt x="1491100" y="6461147"/>
                  <a:pt x="1493705" y="6464158"/>
                  <a:pt x="1497053" y="6466530"/>
                </a:cubicBezTo>
                <a:cubicBezTo>
                  <a:pt x="1500402" y="6468902"/>
                  <a:pt x="1506029" y="6471262"/>
                  <a:pt x="1513936" y="6473609"/>
                </a:cubicBezTo>
                <a:cubicBezTo>
                  <a:pt x="1522819" y="6476238"/>
                  <a:pt x="1528598" y="6478272"/>
                  <a:pt x="1531272" y="6479711"/>
                </a:cubicBezTo>
                <a:cubicBezTo>
                  <a:pt x="1533946" y="6481150"/>
                  <a:pt x="1535946" y="6482995"/>
                  <a:pt x="1537272" y="6485246"/>
                </a:cubicBezTo>
                <a:cubicBezTo>
                  <a:pt x="1538597" y="6487497"/>
                  <a:pt x="1539260" y="6490131"/>
                  <a:pt x="1539260" y="6493147"/>
                </a:cubicBezTo>
                <a:cubicBezTo>
                  <a:pt x="1539260" y="6498299"/>
                  <a:pt x="1537435" y="6502487"/>
                  <a:pt x="1533784" y="6505713"/>
                </a:cubicBezTo>
                <a:cubicBezTo>
                  <a:pt x="1530133" y="6508938"/>
                  <a:pt x="1525005" y="6510551"/>
                  <a:pt x="1518401" y="6510551"/>
                </a:cubicBezTo>
                <a:cubicBezTo>
                  <a:pt x="1513797" y="6510551"/>
                  <a:pt x="1509657" y="6509597"/>
                  <a:pt x="1505983" y="6507690"/>
                </a:cubicBezTo>
                <a:cubicBezTo>
                  <a:pt x="1502309" y="6505784"/>
                  <a:pt x="1499484" y="6503261"/>
                  <a:pt x="1497507" y="6500121"/>
                </a:cubicBezTo>
                <a:cubicBezTo>
                  <a:pt x="1495530" y="6496982"/>
                  <a:pt x="1494263" y="6492598"/>
                  <a:pt x="1493705" y="6486971"/>
                </a:cubicBezTo>
                <a:lnTo>
                  <a:pt x="1483240" y="6488087"/>
                </a:lnTo>
                <a:cubicBezTo>
                  <a:pt x="1483473" y="6498738"/>
                  <a:pt x="1486670" y="6507179"/>
                  <a:pt x="1492833" y="6513411"/>
                </a:cubicBezTo>
                <a:cubicBezTo>
                  <a:pt x="1498995" y="6519643"/>
                  <a:pt x="1507262" y="6522759"/>
                  <a:pt x="1517633" y="6522759"/>
                </a:cubicBezTo>
                <a:cubicBezTo>
                  <a:pt x="1524284" y="6522759"/>
                  <a:pt x="1529970" y="6521505"/>
                  <a:pt x="1534691" y="6518996"/>
                </a:cubicBezTo>
                <a:cubicBezTo>
                  <a:pt x="1539411" y="6516487"/>
                  <a:pt x="1543144" y="6512828"/>
                  <a:pt x="1545887" y="6508020"/>
                </a:cubicBezTo>
                <a:cubicBezTo>
                  <a:pt x="1548632" y="6503212"/>
                  <a:pt x="1550004" y="6497881"/>
                  <a:pt x="1550004" y="6492028"/>
                </a:cubicBezTo>
                <a:cubicBezTo>
                  <a:pt x="1550004" y="6486127"/>
                  <a:pt x="1548699" y="6481051"/>
                  <a:pt x="1546089" y="6476800"/>
                </a:cubicBezTo>
                <a:cubicBezTo>
                  <a:pt x="1543479" y="6472549"/>
                  <a:pt x="1539617" y="6469116"/>
                  <a:pt x="1534503" y="6466500"/>
                </a:cubicBezTo>
                <a:cubicBezTo>
                  <a:pt x="1531156" y="6464818"/>
                  <a:pt x="1525345" y="6462832"/>
                  <a:pt x="1517071" y="6460543"/>
                </a:cubicBezTo>
                <a:cubicBezTo>
                  <a:pt x="1508610" y="6458207"/>
                  <a:pt x="1503170" y="6455900"/>
                  <a:pt x="1500752" y="6453621"/>
                </a:cubicBezTo>
                <a:cubicBezTo>
                  <a:pt x="1498333" y="6451343"/>
                  <a:pt x="1497123" y="6448134"/>
                  <a:pt x="1497123" y="6443995"/>
                </a:cubicBezTo>
                <a:cubicBezTo>
                  <a:pt x="1497123" y="6439530"/>
                  <a:pt x="1498774" y="6435892"/>
                  <a:pt x="1502076" y="6433078"/>
                </a:cubicBezTo>
                <a:cubicBezTo>
                  <a:pt x="1505378" y="6430265"/>
                  <a:pt x="1510169" y="6428858"/>
                  <a:pt x="1516448" y="6428858"/>
                </a:cubicBezTo>
                <a:cubicBezTo>
                  <a:pt x="1522633" y="6428858"/>
                  <a:pt x="1527435" y="6430463"/>
                  <a:pt x="1530854" y="6433672"/>
                </a:cubicBezTo>
                <a:cubicBezTo>
                  <a:pt x="1534272" y="6436881"/>
                  <a:pt x="1536260" y="6441811"/>
                  <a:pt x="1536818" y="6448462"/>
                </a:cubicBezTo>
                <a:lnTo>
                  <a:pt x="1547492" y="6447485"/>
                </a:lnTo>
                <a:cubicBezTo>
                  <a:pt x="1547306" y="6441253"/>
                  <a:pt x="1545922" y="6435834"/>
                  <a:pt x="1543341" y="6431230"/>
                </a:cubicBezTo>
                <a:cubicBezTo>
                  <a:pt x="1540760" y="6426626"/>
                  <a:pt x="1537132" y="6423091"/>
                  <a:pt x="1532458" y="6420626"/>
                </a:cubicBezTo>
                <a:cubicBezTo>
                  <a:pt x="1527784" y="6418161"/>
                  <a:pt x="1522331" y="6416929"/>
                  <a:pt x="1516099" y="6416929"/>
                </a:cubicBezTo>
                <a:close/>
                <a:moveTo>
                  <a:pt x="999308" y="6416929"/>
                </a:moveTo>
                <a:cubicBezTo>
                  <a:pt x="991906" y="6416929"/>
                  <a:pt x="985202" y="6418918"/>
                  <a:pt x="979197" y="6422897"/>
                </a:cubicBezTo>
                <a:cubicBezTo>
                  <a:pt x="973191" y="6426876"/>
                  <a:pt x="968431" y="6432763"/>
                  <a:pt x="964916" y="6440559"/>
                </a:cubicBezTo>
                <a:cubicBezTo>
                  <a:pt x="961402" y="6448354"/>
                  <a:pt x="959644" y="6457883"/>
                  <a:pt x="959644" y="6469146"/>
                </a:cubicBezTo>
                <a:cubicBezTo>
                  <a:pt x="959644" y="6480548"/>
                  <a:pt x="961400" y="6490438"/>
                  <a:pt x="964911" y="6498815"/>
                </a:cubicBezTo>
                <a:cubicBezTo>
                  <a:pt x="968423" y="6507192"/>
                  <a:pt x="972934" y="6513277"/>
                  <a:pt x="978445" y="6517070"/>
                </a:cubicBezTo>
                <a:cubicBezTo>
                  <a:pt x="983957" y="6520863"/>
                  <a:pt x="990596" y="6522759"/>
                  <a:pt x="998363" y="6522759"/>
                </a:cubicBezTo>
                <a:cubicBezTo>
                  <a:pt x="1007199" y="6522759"/>
                  <a:pt x="1014699" y="6519934"/>
                  <a:pt x="1020862" y="6514283"/>
                </a:cubicBezTo>
                <a:cubicBezTo>
                  <a:pt x="1027024" y="6508632"/>
                  <a:pt x="1031338" y="6500063"/>
                  <a:pt x="1033803" y="6488575"/>
                </a:cubicBezTo>
                <a:lnTo>
                  <a:pt x="1022640" y="6485157"/>
                </a:lnTo>
                <a:cubicBezTo>
                  <a:pt x="1021152" y="6493901"/>
                  <a:pt x="1018210" y="6500423"/>
                  <a:pt x="1013815" y="6504726"/>
                </a:cubicBezTo>
                <a:cubicBezTo>
                  <a:pt x="1009420" y="6509028"/>
                  <a:pt x="1004200" y="6511179"/>
                  <a:pt x="998154" y="6511179"/>
                </a:cubicBezTo>
                <a:cubicBezTo>
                  <a:pt x="989968" y="6511179"/>
                  <a:pt x="983410" y="6507676"/>
                  <a:pt x="978480" y="6500671"/>
                </a:cubicBezTo>
                <a:cubicBezTo>
                  <a:pt x="973550" y="6493665"/>
                  <a:pt x="971086" y="6483157"/>
                  <a:pt x="971086" y="6469145"/>
                </a:cubicBezTo>
                <a:cubicBezTo>
                  <a:pt x="971086" y="6459883"/>
                  <a:pt x="972308" y="6452226"/>
                  <a:pt x="974753" y="6446175"/>
                </a:cubicBezTo>
                <a:cubicBezTo>
                  <a:pt x="977198" y="6440123"/>
                  <a:pt x="980470" y="6435666"/>
                  <a:pt x="984568" y="6432804"/>
                </a:cubicBezTo>
                <a:cubicBezTo>
                  <a:pt x="988667" y="6429941"/>
                  <a:pt x="993511" y="6428509"/>
                  <a:pt x="999100" y="6428509"/>
                </a:cubicBezTo>
                <a:cubicBezTo>
                  <a:pt x="1010324" y="6428509"/>
                  <a:pt x="1017799" y="6435602"/>
                  <a:pt x="1021524" y="6449787"/>
                </a:cubicBezTo>
                <a:lnTo>
                  <a:pt x="1032407" y="6446648"/>
                </a:lnTo>
                <a:cubicBezTo>
                  <a:pt x="1030080" y="6436903"/>
                  <a:pt x="1026006" y="6429514"/>
                  <a:pt x="1020187" y="6424480"/>
                </a:cubicBezTo>
                <a:cubicBezTo>
                  <a:pt x="1014368" y="6419446"/>
                  <a:pt x="1007409" y="6416929"/>
                  <a:pt x="999308" y="6416929"/>
                </a:cubicBezTo>
                <a:close/>
                <a:moveTo>
                  <a:pt x="5757198" y="6416929"/>
                </a:moveTo>
                <a:cubicBezTo>
                  <a:pt x="5749796" y="6416929"/>
                  <a:pt x="5743092" y="6418918"/>
                  <a:pt x="5737087" y="6422897"/>
                </a:cubicBezTo>
                <a:cubicBezTo>
                  <a:pt x="5731081" y="6426876"/>
                  <a:pt x="5726322" y="6432763"/>
                  <a:pt x="5722806" y="6440559"/>
                </a:cubicBezTo>
                <a:cubicBezTo>
                  <a:pt x="5719292" y="6448354"/>
                  <a:pt x="5717534" y="6457883"/>
                  <a:pt x="5717534" y="6469146"/>
                </a:cubicBezTo>
                <a:cubicBezTo>
                  <a:pt x="5717534" y="6480548"/>
                  <a:pt x="5719290" y="6490438"/>
                  <a:pt x="5722801" y="6498815"/>
                </a:cubicBezTo>
                <a:cubicBezTo>
                  <a:pt x="5726313" y="6507192"/>
                  <a:pt x="5730824" y="6513277"/>
                  <a:pt x="5736335" y="6517070"/>
                </a:cubicBezTo>
                <a:cubicBezTo>
                  <a:pt x="5741847" y="6520863"/>
                  <a:pt x="5748486" y="6522759"/>
                  <a:pt x="5756253" y="6522759"/>
                </a:cubicBezTo>
                <a:cubicBezTo>
                  <a:pt x="5765090" y="6522759"/>
                  <a:pt x="5772590" y="6519934"/>
                  <a:pt x="5778751" y="6514283"/>
                </a:cubicBezTo>
                <a:cubicBezTo>
                  <a:pt x="5784914" y="6508632"/>
                  <a:pt x="5789228" y="6500063"/>
                  <a:pt x="5791693" y="6488575"/>
                </a:cubicBezTo>
                <a:lnTo>
                  <a:pt x="5780530" y="6485157"/>
                </a:lnTo>
                <a:cubicBezTo>
                  <a:pt x="5779042" y="6493901"/>
                  <a:pt x="5776101" y="6500423"/>
                  <a:pt x="5771705" y="6504726"/>
                </a:cubicBezTo>
                <a:cubicBezTo>
                  <a:pt x="5767311" y="6509028"/>
                  <a:pt x="5762090" y="6511179"/>
                  <a:pt x="5756044" y="6511179"/>
                </a:cubicBezTo>
                <a:cubicBezTo>
                  <a:pt x="5747858" y="6511179"/>
                  <a:pt x="5741300" y="6507676"/>
                  <a:pt x="5736370" y="6500671"/>
                </a:cubicBezTo>
                <a:cubicBezTo>
                  <a:pt x="5731441" y="6493665"/>
                  <a:pt x="5728975" y="6483157"/>
                  <a:pt x="5728975" y="6469145"/>
                </a:cubicBezTo>
                <a:cubicBezTo>
                  <a:pt x="5728975" y="6459883"/>
                  <a:pt x="5730198" y="6452226"/>
                  <a:pt x="5732643" y="6446175"/>
                </a:cubicBezTo>
                <a:cubicBezTo>
                  <a:pt x="5735088" y="6440123"/>
                  <a:pt x="5738360" y="6435666"/>
                  <a:pt x="5742458" y="6432804"/>
                </a:cubicBezTo>
                <a:cubicBezTo>
                  <a:pt x="5746557" y="6429941"/>
                  <a:pt x="5751401" y="6428509"/>
                  <a:pt x="5756990" y="6428509"/>
                </a:cubicBezTo>
                <a:cubicBezTo>
                  <a:pt x="5768214" y="6428509"/>
                  <a:pt x="5775688" y="6435602"/>
                  <a:pt x="5779414" y="6449787"/>
                </a:cubicBezTo>
                <a:lnTo>
                  <a:pt x="5790297" y="6446648"/>
                </a:lnTo>
                <a:cubicBezTo>
                  <a:pt x="5787970" y="6436903"/>
                  <a:pt x="5783896" y="6429514"/>
                  <a:pt x="5778077" y="6424480"/>
                </a:cubicBezTo>
                <a:cubicBezTo>
                  <a:pt x="5772258" y="6419446"/>
                  <a:pt x="5765298" y="6416929"/>
                  <a:pt x="5757198" y="6416929"/>
                </a:cubicBezTo>
                <a:close/>
                <a:moveTo>
                  <a:pt x="10831507" y="6415085"/>
                </a:moveTo>
                <a:lnTo>
                  <a:pt x="10872790" y="6415085"/>
                </a:lnTo>
                <a:cubicBezTo>
                  <a:pt x="10892893" y="6415085"/>
                  <a:pt x="10902944" y="6418073"/>
                  <a:pt x="10902944" y="6430773"/>
                </a:cubicBezTo>
                <a:cubicBezTo>
                  <a:pt x="10902944" y="6443473"/>
                  <a:pt x="10892893" y="6446835"/>
                  <a:pt x="10872790" y="6446835"/>
                </a:cubicBezTo>
                <a:lnTo>
                  <a:pt x="10831507" y="6446835"/>
                </a:lnTo>
                <a:close/>
                <a:moveTo>
                  <a:pt x="11105169" y="6411910"/>
                </a:moveTo>
                <a:cubicBezTo>
                  <a:pt x="11135239" y="6411910"/>
                  <a:pt x="11149006" y="6426089"/>
                  <a:pt x="11149006" y="6455567"/>
                </a:cubicBezTo>
                <a:cubicBezTo>
                  <a:pt x="11149006" y="6485044"/>
                  <a:pt x="11135239" y="6499223"/>
                  <a:pt x="11105169" y="6499223"/>
                </a:cubicBezTo>
                <a:cubicBezTo>
                  <a:pt x="11074736" y="6499223"/>
                  <a:pt x="11061694" y="6485044"/>
                  <a:pt x="11061694" y="6454447"/>
                </a:cubicBezTo>
                <a:cubicBezTo>
                  <a:pt x="11061694" y="6426089"/>
                  <a:pt x="11075823" y="6411910"/>
                  <a:pt x="11105169" y="6411910"/>
                </a:cubicBezTo>
                <a:close/>
                <a:moveTo>
                  <a:pt x="11209332" y="6394447"/>
                </a:moveTo>
                <a:lnTo>
                  <a:pt x="11209332" y="6518272"/>
                </a:lnTo>
                <a:lnTo>
                  <a:pt x="11244507" y="6518272"/>
                </a:lnTo>
                <a:lnTo>
                  <a:pt x="11242694" y="6424387"/>
                </a:lnTo>
                <a:lnTo>
                  <a:pt x="11312681" y="6518272"/>
                </a:lnTo>
                <a:lnTo>
                  <a:pt x="11352207" y="6518272"/>
                </a:lnTo>
                <a:lnTo>
                  <a:pt x="11352207" y="6394447"/>
                </a:lnTo>
                <a:lnTo>
                  <a:pt x="11317395" y="6394447"/>
                </a:lnTo>
                <a:lnTo>
                  <a:pt x="11318845" y="6483527"/>
                </a:lnTo>
                <a:lnTo>
                  <a:pt x="11252485" y="6394447"/>
                </a:lnTo>
                <a:close/>
                <a:moveTo>
                  <a:pt x="10966444" y="6394447"/>
                </a:moveTo>
                <a:lnTo>
                  <a:pt x="10966444" y="6518272"/>
                </a:lnTo>
                <a:lnTo>
                  <a:pt x="11001369" y="6518272"/>
                </a:lnTo>
                <a:lnTo>
                  <a:pt x="11001369" y="6394447"/>
                </a:lnTo>
                <a:close/>
                <a:moveTo>
                  <a:pt x="10796582" y="6394447"/>
                </a:moveTo>
                <a:lnTo>
                  <a:pt x="10796582" y="6518272"/>
                </a:lnTo>
                <a:lnTo>
                  <a:pt x="10830878" y="6518272"/>
                </a:lnTo>
                <a:lnTo>
                  <a:pt x="10830878" y="6469481"/>
                </a:lnTo>
                <a:lnTo>
                  <a:pt x="10871377" y="6469481"/>
                </a:lnTo>
                <a:lnTo>
                  <a:pt x="10907133" y="6518272"/>
                </a:lnTo>
                <a:lnTo>
                  <a:pt x="10945807" y="6518272"/>
                </a:lnTo>
                <a:lnTo>
                  <a:pt x="10905308" y="6466524"/>
                </a:lnTo>
                <a:cubicBezTo>
                  <a:pt x="10926470" y="6462828"/>
                  <a:pt x="10938145" y="6450631"/>
                  <a:pt x="10938145" y="6431410"/>
                </a:cubicBezTo>
                <a:cubicBezTo>
                  <a:pt x="10938145" y="6405536"/>
                  <a:pt x="10919902" y="6394447"/>
                  <a:pt x="10881228" y="6394447"/>
                </a:cubicBezTo>
                <a:close/>
                <a:moveTo>
                  <a:pt x="10728319" y="6394447"/>
                </a:moveTo>
                <a:lnTo>
                  <a:pt x="10728319" y="6518272"/>
                </a:lnTo>
                <a:lnTo>
                  <a:pt x="10763244" y="6518272"/>
                </a:lnTo>
                <a:lnTo>
                  <a:pt x="10763244" y="6394447"/>
                </a:lnTo>
                <a:close/>
                <a:moveTo>
                  <a:pt x="10605817" y="6394447"/>
                </a:moveTo>
                <a:cubicBezTo>
                  <a:pt x="10567410" y="6394447"/>
                  <a:pt x="10548932" y="6405166"/>
                  <a:pt x="10548932" y="6432149"/>
                </a:cubicBezTo>
                <a:cubicBezTo>
                  <a:pt x="10548932" y="6457284"/>
                  <a:pt x="10565961" y="6468003"/>
                  <a:pt x="10602918" y="6468003"/>
                </a:cubicBezTo>
                <a:lnTo>
                  <a:pt x="10643136" y="6468003"/>
                </a:lnTo>
                <a:cubicBezTo>
                  <a:pt x="10659803" y="6468003"/>
                  <a:pt x="10667411" y="6470960"/>
                  <a:pt x="10667411" y="6482049"/>
                </a:cubicBezTo>
                <a:cubicBezTo>
                  <a:pt x="10667411" y="6492768"/>
                  <a:pt x="10659078" y="6496095"/>
                  <a:pt x="10640962" y="6496095"/>
                </a:cubicBezTo>
                <a:lnTo>
                  <a:pt x="10555454" y="6496095"/>
                </a:lnTo>
                <a:lnTo>
                  <a:pt x="10555454" y="6518272"/>
                </a:lnTo>
                <a:lnTo>
                  <a:pt x="10646397" y="6518272"/>
                </a:lnTo>
                <a:cubicBezTo>
                  <a:pt x="10684803" y="6518272"/>
                  <a:pt x="10702919" y="6507183"/>
                  <a:pt x="10702919" y="6480940"/>
                </a:cubicBezTo>
                <a:cubicBezTo>
                  <a:pt x="10702919" y="6455066"/>
                  <a:pt x="10687339" y="6446195"/>
                  <a:pt x="10651469" y="6446195"/>
                </a:cubicBezTo>
                <a:lnTo>
                  <a:pt x="10606179" y="6446195"/>
                </a:lnTo>
                <a:cubicBezTo>
                  <a:pt x="10592048" y="6446195"/>
                  <a:pt x="10584802" y="6441759"/>
                  <a:pt x="10584802" y="6432519"/>
                </a:cubicBezTo>
                <a:cubicBezTo>
                  <a:pt x="10584802" y="6421060"/>
                  <a:pt x="10593135" y="6416255"/>
                  <a:pt x="10610889" y="6416255"/>
                </a:cubicBezTo>
                <a:lnTo>
                  <a:pt x="10694948" y="6416255"/>
                </a:lnTo>
                <a:lnTo>
                  <a:pt x="10694948" y="6394447"/>
                </a:lnTo>
                <a:close/>
                <a:moveTo>
                  <a:pt x="10382244" y="6394447"/>
                </a:moveTo>
                <a:lnTo>
                  <a:pt x="10382244" y="6518272"/>
                </a:lnTo>
                <a:lnTo>
                  <a:pt x="10417145" y="6518272"/>
                </a:lnTo>
                <a:lnTo>
                  <a:pt x="10415691" y="6424387"/>
                </a:lnTo>
                <a:lnTo>
                  <a:pt x="10485856" y="6518272"/>
                </a:lnTo>
                <a:lnTo>
                  <a:pt x="10525119" y="6518272"/>
                </a:lnTo>
                <a:lnTo>
                  <a:pt x="10525119" y="6394447"/>
                </a:lnTo>
                <a:lnTo>
                  <a:pt x="10490582" y="6394447"/>
                </a:lnTo>
                <a:lnTo>
                  <a:pt x="10492036" y="6483527"/>
                </a:lnTo>
                <a:lnTo>
                  <a:pt x="10425506" y="6394447"/>
                </a:lnTo>
                <a:close/>
                <a:moveTo>
                  <a:pt x="10295714" y="6394447"/>
                </a:moveTo>
                <a:cubicBezTo>
                  <a:pt x="10244374" y="6394447"/>
                  <a:pt x="10220319" y="6414777"/>
                  <a:pt x="10220319" y="6458393"/>
                </a:cubicBezTo>
                <a:cubicBezTo>
                  <a:pt x="10220319" y="6480940"/>
                  <a:pt x="10228218" y="6497204"/>
                  <a:pt x="10245092" y="6507183"/>
                </a:cubicBezTo>
                <a:cubicBezTo>
                  <a:pt x="10260530" y="6517163"/>
                  <a:pt x="10275609" y="6518272"/>
                  <a:pt x="10294996" y="6518272"/>
                </a:cubicBezTo>
                <a:lnTo>
                  <a:pt x="10352081" y="6518272"/>
                </a:lnTo>
                <a:lnTo>
                  <a:pt x="10352081" y="6496464"/>
                </a:lnTo>
                <a:lnTo>
                  <a:pt x="10296432" y="6496464"/>
                </a:lnTo>
                <a:cubicBezTo>
                  <a:pt x="10269864" y="6496464"/>
                  <a:pt x="10258376" y="6488702"/>
                  <a:pt x="10258376" y="6466155"/>
                </a:cubicBezTo>
                <a:lnTo>
                  <a:pt x="10352081" y="6466155"/>
                </a:lnTo>
                <a:lnTo>
                  <a:pt x="10352081" y="6444717"/>
                </a:lnTo>
                <a:lnTo>
                  <a:pt x="10258376" y="6444717"/>
                </a:lnTo>
                <a:cubicBezTo>
                  <a:pt x="10259812" y="6425126"/>
                  <a:pt x="10272019" y="6415886"/>
                  <a:pt x="10296432" y="6415886"/>
                </a:cubicBezTo>
                <a:lnTo>
                  <a:pt x="10352081" y="6415886"/>
                </a:lnTo>
                <a:lnTo>
                  <a:pt x="10352081" y="6394447"/>
                </a:lnTo>
                <a:close/>
                <a:moveTo>
                  <a:pt x="10107342" y="6394447"/>
                </a:moveTo>
                <a:cubicBezTo>
                  <a:pt x="10068573" y="6394447"/>
                  <a:pt x="10050457" y="6405166"/>
                  <a:pt x="10050457" y="6432149"/>
                </a:cubicBezTo>
                <a:cubicBezTo>
                  <a:pt x="10050457" y="6457284"/>
                  <a:pt x="10067486" y="6468003"/>
                  <a:pt x="10104443" y="6468003"/>
                </a:cubicBezTo>
                <a:lnTo>
                  <a:pt x="10144661" y="6468003"/>
                </a:lnTo>
                <a:cubicBezTo>
                  <a:pt x="10160965" y="6468003"/>
                  <a:pt x="10168574" y="6470960"/>
                  <a:pt x="10168574" y="6482049"/>
                </a:cubicBezTo>
                <a:cubicBezTo>
                  <a:pt x="10168574" y="6492768"/>
                  <a:pt x="10160241" y="6496095"/>
                  <a:pt x="10142125" y="6496095"/>
                </a:cubicBezTo>
                <a:lnTo>
                  <a:pt x="10056979" y="6496095"/>
                </a:lnTo>
                <a:lnTo>
                  <a:pt x="10056979" y="6518272"/>
                </a:lnTo>
                <a:lnTo>
                  <a:pt x="10147559" y="6518272"/>
                </a:lnTo>
                <a:cubicBezTo>
                  <a:pt x="10185966" y="6518272"/>
                  <a:pt x="10204444" y="6507183"/>
                  <a:pt x="10204444" y="6480940"/>
                </a:cubicBezTo>
                <a:cubicBezTo>
                  <a:pt x="10204444" y="6455066"/>
                  <a:pt x="10188864" y="6446195"/>
                  <a:pt x="10152632" y="6446195"/>
                </a:cubicBezTo>
                <a:lnTo>
                  <a:pt x="10107704" y="6446195"/>
                </a:lnTo>
                <a:cubicBezTo>
                  <a:pt x="10093211" y="6446195"/>
                  <a:pt x="10085965" y="6441759"/>
                  <a:pt x="10085965" y="6432519"/>
                </a:cubicBezTo>
                <a:cubicBezTo>
                  <a:pt x="10085965" y="6421060"/>
                  <a:pt x="10094298" y="6416255"/>
                  <a:pt x="10112414" y="6416255"/>
                </a:cubicBezTo>
                <a:lnTo>
                  <a:pt x="10196473" y="6416255"/>
                </a:lnTo>
                <a:lnTo>
                  <a:pt x="10196473" y="6394447"/>
                </a:lnTo>
                <a:close/>
                <a:moveTo>
                  <a:pt x="11106144" y="6391272"/>
                </a:moveTo>
                <a:cubicBezTo>
                  <a:pt x="11051685" y="6391272"/>
                  <a:pt x="11025182" y="6411905"/>
                  <a:pt x="11025182" y="6454277"/>
                </a:cubicBezTo>
                <a:cubicBezTo>
                  <a:pt x="11025182" y="6499227"/>
                  <a:pt x="11050233" y="6519860"/>
                  <a:pt x="11106144" y="6519860"/>
                </a:cubicBezTo>
                <a:cubicBezTo>
                  <a:pt x="11161330" y="6519860"/>
                  <a:pt x="11187107" y="6499227"/>
                  <a:pt x="11187107" y="6455382"/>
                </a:cubicBezTo>
                <a:cubicBezTo>
                  <a:pt x="11187107" y="6411905"/>
                  <a:pt x="11161330" y="6391272"/>
                  <a:pt x="11106144" y="6391272"/>
                </a:cubicBezTo>
                <a:close/>
                <a:moveTo>
                  <a:pt x="0" y="0"/>
                </a:moveTo>
                <a:lnTo>
                  <a:pt x="12188819" y="0"/>
                </a:lnTo>
                <a:lnTo>
                  <a:pt x="12188819" y="6857997"/>
                </a:lnTo>
                <a:lnTo>
                  <a:pt x="0" y="6857997"/>
                </a:lnTo>
                <a:close/>
              </a:path>
            </a:pathLst>
          </a:custGeom>
        </p:spPr>
        <p:txBody>
          <a:bodyPr wrap="square">
            <a:noAutofit/>
          </a:bodyPr>
          <a:lstStyle>
            <a:lvl1pPr algn="ctr">
              <a:defRPr/>
            </a:lvl1pPr>
          </a:lstStyle>
          <a:p>
            <a:r>
              <a:rPr lang="en-US"/>
              <a:t>Click icon to add picture</a:t>
            </a:r>
          </a:p>
        </p:txBody>
      </p:sp>
      <p:sp>
        <p:nvSpPr>
          <p:cNvPr id="4" name="Textplatzhalter 3"/>
          <p:cNvSpPr>
            <a:spLocks noGrp="1"/>
          </p:cNvSpPr>
          <p:nvPr>
            <p:ph type="body" sz="quarter" idx="10" hasCustomPrompt="1"/>
          </p:nvPr>
        </p:nvSpPr>
        <p:spPr>
          <a:xfrm>
            <a:off x="848931" y="914398"/>
            <a:ext cx="5148000" cy="5328000"/>
          </a:xfrm>
        </p:spPr>
        <p:txBody>
          <a:bodyPr/>
          <a:lstStyle>
            <a:lvl1pPr marL="0" indent="0">
              <a:buFontTx/>
              <a:buNone/>
              <a:defRPr b="0"/>
            </a:lvl1pPr>
            <a:lvl2pPr marL="216000" indent="-216000">
              <a:buSzPct val="100000"/>
              <a:defRPr/>
            </a:lvl2pPr>
            <a:lvl3pPr marL="720000" indent="-216000">
              <a:spcBef>
                <a:spcPts val="900"/>
              </a:spcBef>
              <a:buSzPct val="90000"/>
              <a:defRPr/>
            </a:lvl3pPr>
            <a:lvl4pPr marL="1080000">
              <a:spcBef>
                <a:spcPts val="900"/>
              </a:spcBef>
              <a:buSzPct val="80000"/>
              <a:defRPr/>
            </a:lvl4pPr>
            <a:lvl5pPr marL="1440000" indent="-216000">
              <a:lnSpc>
                <a:spcPct val="100000"/>
              </a:lnSpc>
              <a:spcBef>
                <a:spcPts val="900"/>
              </a:spcBef>
              <a:buSzPct val="70000"/>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lvl1pPr>
          </a:lstStyle>
          <a:p>
            <a:pPr lvl="0"/>
            <a:r>
              <a:rPr lang="en-US" noProof="0"/>
              <a:t>Add Title </a:t>
            </a:r>
          </a:p>
        </p:txBody>
      </p:sp>
    </p:spTree>
    <p:extLst>
      <p:ext uri="{BB962C8B-B14F-4D97-AF65-F5344CB8AC3E}">
        <p14:creationId xmlns:p14="http://schemas.microsoft.com/office/powerpoint/2010/main" val="3529812212"/>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Green, Title, Text">
    <p:bg>
      <p:bgPr>
        <a:solidFill>
          <a:srgbClr val="66CC33"/>
        </a:solidFill>
        <a:effectLst/>
      </p:bgPr>
    </p:bg>
    <p:spTree>
      <p:nvGrpSpPr>
        <p:cNvPr id="1" name=""/>
        <p:cNvGrpSpPr/>
        <p:nvPr/>
      </p:nvGrpSpPr>
      <p:grpSpPr>
        <a:xfrm>
          <a:off x="0" y="0"/>
          <a:ext cx="0" cy="0"/>
          <a:chOff x="0" y="0"/>
          <a:chExt cx="0" cy="0"/>
        </a:xfrm>
      </p:grpSpPr>
      <p:sp>
        <p:nvSpPr>
          <p:cNvPr id="10" name="Rectangle 2"/>
          <p:cNvSpPr>
            <a:spLocks noGrp="1" noChangeArrowheads="1"/>
          </p:cNvSpPr>
          <p:nvPr>
            <p:ph type="title" hasCustomPrompt="1"/>
          </p:nvPr>
        </p:nvSpPr>
        <p:spPr bwMode="auto">
          <a:xfrm>
            <a:off x="839787" y="283464"/>
            <a:ext cx="10512000"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lvl1pPr>
              <a:defRPr>
                <a:solidFill>
                  <a:schemeClr val="bg1"/>
                </a:solidFill>
              </a:defRPr>
            </a:lvl1pPr>
          </a:lstStyle>
          <a:p>
            <a:pPr lvl="0"/>
            <a:r>
              <a:rPr lang="en-US" noProof="0"/>
              <a:t>Add Title</a:t>
            </a:r>
          </a:p>
        </p:txBody>
      </p:sp>
      <p:sp>
        <p:nvSpPr>
          <p:cNvPr id="13" name="Textplatzhalter 3"/>
          <p:cNvSpPr>
            <a:spLocks noGrp="1"/>
          </p:cNvSpPr>
          <p:nvPr>
            <p:ph type="body" sz="quarter" idx="10" hasCustomPrompt="1"/>
          </p:nvPr>
        </p:nvSpPr>
        <p:spPr>
          <a:xfrm>
            <a:off x="839098" y="907362"/>
            <a:ext cx="10512000" cy="5328000"/>
          </a:xfrm>
        </p:spPr>
        <p:txBody>
          <a:bodyPr/>
          <a:lstStyle>
            <a:lvl1pPr marL="0" indent="0">
              <a:buFontTx/>
              <a:buNone/>
              <a:defRPr b="0">
                <a:solidFill>
                  <a:schemeClr val="tx1"/>
                </a:solidFill>
              </a:defRPr>
            </a:lvl1pPr>
            <a:lvl2pPr marL="216000" indent="-216000">
              <a:buSzPct val="100000"/>
              <a:defRPr>
                <a:solidFill>
                  <a:schemeClr val="tx1"/>
                </a:solidFill>
              </a:defRPr>
            </a:lvl2pPr>
            <a:lvl3pPr marL="720000" indent="-216000">
              <a:spcBef>
                <a:spcPts val="900"/>
              </a:spcBef>
              <a:buSzPct val="90000"/>
              <a:defRPr baseline="0">
                <a:solidFill>
                  <a:schemeClr val="tx1"/>
                </a:solidFill>
              </a:defRPr>
            </a:lvl3pPr>
            <a:lvl4pPr marL="1080000">
              <a:spcBef>
                <a:spcPts val="900"/>
              </a:spcBef>
              <a:buSzPct val="80000"/>
              <a:defRPr>
                <a:solidFill>
                  <a:schemeClr val="tx1"/>
                </a:solidFill>
              </a:defRPr>
            </a:lvl4pPr>
            <a:lvl5pPr marL="1440000" indent="-216000">
              <a:lnSpc>
                <a:spcPct val="100000"/>
              </a:lnSpc>
              <a:spcBef>
                <a:spcPts val="900"/>
              </a:spcBef>
              <a:buSzPct val="70000"/>
              <a:defRPr>
                <a:solidFill>
                  <a:schemeClr val="tx1"/>
                </a:solidFill>
              </a:defRPr>
            </a:lvl5p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pic>
        <p:nvPicPr>
          <p:cNvPr id="5" name="Grafik 4">
            <a:extLst>
              <a:ext uri="{FF2B5EF4-FFF2-40B4-BE49-F238E27FC236}">
                <a16:creationId xmlns:a16="http://schemas.microsoft.com/office/drawing/2014/main" id="{AF036631-25D0-4B0E-A1BD-EBA4A12F99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Tree>
    <p:extLst>
      <p:ext uri="{BB962C8B-B14F-4D97-AF65-F5344CB8AC3E}">
        <p14:creationId xmlns:p14="http://schemas.microsoft.com/office/powerpoint/2010/main" val="32859218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3910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image" Target="../media/image18.wmf"/><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theme" Target="../theme/theme10.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5" Type="http://schemas.openxmlformats.org/officeDocument/2006/relationships/image" Target="../media/image20.jpeg"/><Relationship Id="rId4"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theme" Target="../theme/theme12.xml"/><Relationship Id="rId1" Type="http://schemas.openxmlformats.org/officeDocument/2006/relationships/slideLayout" Target="../slideLayouts/slideLayout145.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13.xml"/><Relationship Id="rId1" Type="http://schemas.openxmlformats.org/officeDocument/2006/relationships/slideLayout" Target="../slideLayouts/slideLayout146.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4" Type="http://schemas.openxmlformats.org/officeDocument/2006/relationships/image" Target="../media/image21.emf"/></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15.xml"/><Relationship Id="rId1" Type="http://schemas.openxmlformats.org/officeDocument/2006/relationships/slideLayout" Target="../slideLayouts/slideLayout149.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151.xml"/><Relationship Id="rId1" Type="http://schemas.openxmlformats.org/officeDocument/2006/relationships/slideLayout" Target="../slideLayouts/slideLayout150.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4"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8.xml"/><Relationship Id="rId1" Type="http://schemas.openxmlformats.org/officeDocument/2006/relationships/slideLayout" Target="../slideLayouts/slideLayout15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19.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image" Target="../media/image2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6.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heme" Target="../theme/theme20.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image" Target="../media/image18.w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21" Type="http://schemas.openxmlformats.org/officeDocument/2006/relationships/theme" Target="../theme/theme2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2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1.emf"/><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emf"/><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image" Target="../media/image6.emf"/><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image" Target="../media/image1.emf"/><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6" Type="http://schemas.openxmlformats.org/officeDocument/2006/relationships/image" Target="../media/image1.emf"/><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heme" Target="../theme/theme7.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image" Target="../media/image1.emf"/><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14.jpeg"/><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theme" Target="../theme/theme9.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a:t>
            </a:r>
            <a:r>
              <a:rPr lang="en-US" noProof="0"/>
              <a:t> </a:t>
            </a:r>
            <a:r>
              <a:rPr lang="en-US" noProof="0" err="1"/>
              <a:t>hinzufügen</a:t>
            </a:r>
            <a:r>
              <a:rPr lang="en-US" noProof="0"/>
              <a:t> </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064" r:id="rId1"/>
    <p:sldLayoutId id="2147484054" r:id="rId2"/>
    <p:sldLayoutId id="2147484065" r:id="rId3"/>
    <p:sldLayoutId id="2147484050" r:id="rId4"/>
    <p:sldLayoutId id="2147484051" r:id="rId5"/>
    <p:sldLayoutId id="2147484062" r:id="rId6"/>
    <p:sldLayoutId id="2147484063" r:id="rId7"/>
    <p:sldLayoutId id="2147484067" r:id="rId8"/>
    <p:sldLayoutId id="2147484066" r:id="rId9"/>
    <p:sldLayoutId id="2147484058" r:id="rId10"/>
    <p:sldLayoutId id="2147484052" r:id="rId11"/>
    <p:sldLayoutId id="2147484059" r:id="rId12"/>
    <p:sldLayoutId id="2147484285" r:id="rId13"/>
    <p:sldLayoutId id="2147484286" r:id="rId14"/>
    <p:sldLayoutId id="2147484287" r:id="rId15"/>
    <p:sldLayoutId id="2147484288" r:id="rId16"/>
    <p:sldLayoutId id="2147484325" r:id="rId17"/>
    <p:sldLayoutId id="2147484327" r:id="rId18"/>
  </p:sldLayoutIdLst>
  <p:hf sldNum="0"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Grafik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555557" y="6306471"/>
            <a:ext cx="1985568" cy="309707"/>
          </a:xfrm>
          <a:prstGeom prst="rect">
            <a:avLst/>
          </a:prstGeom>
        </p:spPr>
      </p:pic>
      <p:sp>
        <p:nvSpPr>
          <p:cNvPr id="1026" name="Rectangle 2"/>
          <p:cNvSpPr>
            <a:spLocks noGrp="1" noChangeArrowheads="1"/>
          </p:cNvSpPr>
          <p:nvPr>
            <p:ph type="title"/>
          </p:nvPr>
        </p:nvSpPr>
        <p:spPr bwMode="auto">
          <a:xfrm>
            <a:off x="670984" y="287338"/>
            <a:ext cx="1084368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p>
            <a:pPr lvl="0"/>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027" name="Rectangle 3"/>
          <p:cNvSpPr>
            <a:spLocks noGrp="1" noChangeArrowheads="1"/>
          </p:cNvSpPr>
          <p:nvPr>
            <p:ph type="body" idx="1"/>
          </p:nvPr>
        </p:nvSpPr>
        <p:spPr bwMode="auto">
          <a:xfrm>
            <a:off x="670984" y="1268413"/>
            <a:ext cx="10850033"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1030" name="Fußzeilenplatzhalter 4"/>
          <p:cNvSpPr txBox="1">
            <a:spLocks/>
          </p:cNvSpPr>
          <p:nvPr/>
        </p:nvSpPr>
        <p:spPr bwMode="auto">
          <a:xfrm>
            <a:off x="670983" y="6381751"/>
            <a:ext cx="27367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noProof="0">
                <a:solidFill>
                  <a:schemeClr val="bg2"/>
                </a:solidFill>
              </a:rPr>
              <a:t>© Copyright Sensirion AG, Switzerland</a:t>
            </a:r>
          </a:p>
        </p:txBody>
      </p:sp>
      <p:sp>
        <p:nvSpPr>
          <p:cNvPr id="3" name="Fußzeilenplatzhalter 2"/>
          <p:cNvSpPr>
            <a:spLocks noGrp="1"/>
          </p:cNvSpPr>
          <p:nvPr>
            <p:ph type="ftr" sz="quarter" idx="3"/>
          </p:nvPr>
        </p:nvSpPr>
        <p:spPr>
          <a:xfrm>
            <a:off x="3983766" y="6381751"/>
            <a:ext cx="4224469" cy="201613"/>
          </a:xfrm>
          <a:prstGeom prst="rect">
            <a:avLst/>
          </a:prstGeom>
        </p:spPr>
        <p:txBody>
          <a:bodyPr vert="horz" lIns="0" tIns="0" rIns="0" bIns="0" rtlCol="0" anchor="t" anchorCtr="0"/>
          <a:lstStyle>
            <a:lvl1pPr algn="ctr">
              <a:defRPr sz="1100">
                <a:solidFill>
                  <a:schemeClr val="bg2"/>
                </a:solidFill>
              </a:defRPr>
            </a:lvl1pPr>
          </a:lstStyle>
          <a:p>
            <a:r>
              <a:rPr lang="en-US" noProof="0"/>
              <a:t>Confidential</a:t>
            </a:r>
          </a:p>
        </p:txBody>
      </p:sp>
    </p:spTree>
    <p:extLst>
      <p:ext uri="{BB962C8B-B14F-4D97-AF65-F5344CB8AC3E}">
        <p14:creationId xmlns:p14="http://schemas.microsoft.com/office/powerpoint/2010/main" val="3036959107"/>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Lst>
  <p:hf sldNum="0" hdr="0" dt="0"/>
  <p:txStyles>
    <p:titleStyle>
      <a:lvl1pPr algn="l" rtl="0" eaLnBrk="1" fontAlgn="base" hangingPunct="1">
        <a:spcBef>
          <a:spcPct val="0"/>
        </a:spcBef>
        <a:spcAft>
          <a:spcPct val="0"/>
        </a:spcAft>
        <a:defRPr sz="3100">
          <a:solidFill>
            <a:schemeClr val="tx2"/>
          </a:solidFill>
          <a:latin typeface="+mj-lt"/>
          <a:ea typeface="+mj-ea"/>
          <a:cs typeface="+mj-cs"/>
        </a:defRPr>
      </a:lvl1pPr>
      <a:lvl2pPr algn="l" rtl="0" eaLnBrk="1" fontAlgn="base" hangingPunct="1">
        <a:spcBef>
          <a:spcPct val="0"/>
        </a:spcBef>
        <a:spcAft>
          <a:spcPct val="0"/>
        </a:spcAft>
        <a:defRPr sz="3100">
          <a:solidFill>
            <a:srgbClr val="66CC33"/>
          </a:solidFill>
          <a:latin typeface="Arial Narrow" pitchFamily="34" charset="0"/>
        </a:defRPr>
      </a:lvl2pPr>
      <a:lvl3pPr algn="l" rtl="0" eaLnBrk="1" fontAlgn="base" hangingPunct="1">
        <a:spcBef>
          <a:spcPct val="0"/>
        </a:spcBef>
        <a:spcAft>
          <a:spcPct val="0"/>
        </a:spcAft>
        <a:defRPr sz="3100">
          <a:solidFill>
            <a:srgbClr val="66CC33"/>
          </a:solidFill>
          <a:latin typeface="Arial Narrow" pitchFamily="34" charset="0"/>
        </a:defRPr>
      </a:lvl3pPr>
      <a:lvl4pPr algn="l" rtl="0" eaLnBrk="1" fontAlgn="base" hangingPunct="1">
        <a:spcBef>
          <a:spcPct val="0"/>
        </a:spcBef>
        <a:spcAft>
          <a:spcPct val="0"/>
        </a:spcAft>
        <a:defRPr sz="3100">
          <a:solidFill>
            <a:srgbClr val="66CC33"/>
          </a:solidFill>
          <a:latin typeface="Arial Narrow" pitchFamily="34" charset="0"/>
        </a:defRPr>
      </a:lvl4pPr>
      <a:lvl5pPr algn="l" rtl="0" eaLnBrk="1" fontAlgn="base" hangingPunct="1">
        <a:spcBef>
          <a:spcPct val="0"/>
        </a:spcBef>
        <a:spcAft>
          <a:spcPct val="0"/>
        </a:spcAft>
        <a:defRPr sz="3100">
          <a:solidFill>
            <a:srgbClr val="66CC33"/>
          </a:solidFill>
          <a:latin typeface="Arial Narrow" pitchFamily="34" charset="0"/>
        </a:defRPr>
      </a:lvl5pPr>
      <a:lvl6pPr marL="457200" algn="l" rtl="0" eaLnBrk="1" fontAlgn="base" hangingPunct="1">
        <a:spcBef>
          <a:spcPct val="0"/>
        </a:spcBef>
        <a:spcAft>
          <a:spcPct val="0"/>
        </a:spcAft>
        <a:defRPr sz="3100">
          <a:solidFill>
            <a:srgbClr val="66CC33"/>
          </a:solidFill>
          <a:latin typeface="Arial Narrow" pitchFamily="34" charset="0"/>
        </a:defRPr>
      </a:lvl6pPr>
      <a:lvl7pPr marL="914400" algn="l" rtl="0" eaLnBrk="1" fontAlgn="base" hangingPunct="1">
        <a:spcBef>
          <a:spcPct val="0"/>
        </a:spcBef>
        <a:spcAft>
          <a:spcPct val="0"/>
        </a:spcAft>
        <a:defRPr sz="3100">
          <a:solidFill>
            <a:srgbClr val="66CC33"/>
          </a:solidFill>
          <a:latin typeface="Arial Narrow" pitchFamily="34" charset="0"/>
        </a:defRPr>
      </a:lvl7pPr>
      <a:lvl8pPr marL="1371600" algn="l" rtl="0" eaLnBrk="1" fontAlgn="base" hangingPunct="1">
        <a:spcBef>
          <a:spcPct val="0"/>
        </a:spcBef>
        <a:spcAft>
          <a:spcPct val="0"/>
        </a:spcAft>
        <a:defRPr sz="3100">
          <a:solidFill>
            <a:srgbClr val="66CC33"/>
          </a:solidFill>
          <a:latin typeface="Arial Narrow" pitchFamily="34" charset="0"/>
        </a:defRPr>
      </a:lvl8pPr>
      <a:lvl9pPr marL="1828800" algn="l" rtl="0" eaLnBrk="1" fontAlgn="base" hangingPunct="1">
        <a:spcBef>
          <a:spcPct val="0"/>
        </a:spcBef>
        <a:spcAft>
          <a:spcPct val="0"/>
        </a:spcAft>
        <a:defRPr sz="3100">
          <a:solidFill>
            <a:srgbClr val="66CC33"/>
          </a:solidFill>
          <a:latin typeface="Arial Narrow" pitchFamily="34" charset="0"/>
        </a:defRPr>
      </a:lvl9pPr>
    </p:titleStyle>
    <p:bodyStyle>
      <a:lvl1pPr marL="0" indent="0" algn="l" rtl="0" eaLnBrk="1" fontAlgn="base" hangingPunct="1">
        <a:spcBef>
          <a:spcPts val="1100"/>
        </a:spcBef>
        <a:spcAft>
          <a:spcPts val="0"/>
        </a:spcAft>
        <a:tabLst/>
        <a:defRPr sz="2400">
          <a:solidFill>
            <a:schemeClr val="bg2"/>
          </a:solidFill>
          <a:latin typeface="+mn-lt"/>
          <a:ea typeface="+mn-ea"/>
          <a:cs typeface="+mn-cs"/>
        </a:defRPr>
      </a:lvl1pPr>
      <a:lvl2pPr marL="361950" indent="-361950" algn="l" rtl="0" eaLnBrk="1" fontAlgn="base" hangingPunct="1">
        <a:spcBef>
          <a:spcPts val="1100"/>
        </a:spcBef>
        <a:spcAft>
          <a:spcPct val="0"/>
        </a:spcAft>
        <a:buClr>
          <a:schemeClr val="bg2"/>
        </a:buClr>
        <a:buSzPct val="105000"/>
        <a:buFont typeface="Wingdings" pitchFamily="2" charset="2"/>
        <a:buChar char="§"/>
        <a:tabLst/>
        <a:defRPr sz="2000">
          <a:solidFill>
            <a:schemeClr val="tx1"/>
          </a:solidFill>
          <a:latin typeface="+mn-lt"/>
        </a:defRPr>
      </a:lvl2pPr>
      <a:lvl3pPr marL="647700" indent="-285750" algn="l" rtl="0" eaLnBrk="1" fontAlgn="base" hangingPunct="1">
        <a:spcBef>
          <a:spcPts val="300"/>
        </a:spcBef>
        <a:spcAft>
          <a:spcPct val="0"/>
        </a:spcAft>
        <a:buClr>
          <a:schemeClr val="bg2"/>
        </a:buClr>
        <a:buSzPct val="95000"/>
        <a:buFont typeface="Wingdings" pitchFamily="2" charset="2"/>
        <a:buChar char="§"/>
        <a:tabLst/>
        <a:defRPr sz="2000">
          <a:solidFill>
            <a:schemeClr val="tx1"/>
          </a:solidFill>
          <a:latin typeface="+mn-lt"/>
        </a:defRPr>
      </a:lvl3pPr>
      <a:lvl4pPr marL="972000" indent="-324000" algn="l" rtl="0" eaLnBrk="1" fontAlgn="base" hangingPunct="1">
        <a:spcBef>
          <a:spcPts val="0"/>
        </a:spcBef>
        <a:spcAft>
          <a:spcPct val="0"/>
        </a:spcAft>
        <a:buClr>
          <a:schemeClr val="bg2"/>
        </a:buClr>
        <a:buSzPct val="85000"/>
        <a:buFont typeface="Wingdings" pitchFamily="2" charset="2"/>
        <a:buChar char="§"/>
        <a:tabLst/>
        <a:defRPr sz="2000">
          <a:solidFill>
            <a:schemeClr val="tx1"/>
          </a:solidFill>
          <a:latin typeface="+mn-lt"/>
        </a:defRPr>
      </a:lvl4pPr>
      <a:lvl5pPr marL="1296000" indent="-324000" algn="l" rtl="0" eaLnBrk="1" fontAlgn="base" hangingPunct="1">
        <a:spcBef>
          <a:spcPct val="0"/>
        </a:spcBef>
        <a:spcAft>
          <a:spcPct val="0"/>
        </a:spcAft>
        <a:buClr>
          <a:schemeClr val="bg2"/>
        </a:buClr>
        <a:buSzPct val="75000"/>
        <a:buFont typeface="Wingdings" pitchFamily="2" charset="2"/>
        <a:buChar char="§"/>
        <a:tabLst/>
        <a:defRPr sz="2000">
          <a:solidFill>
            <a:schemeClr val="tx1"/>
          </a:solidFill>
          <a:latin typeface="+mn-lt"/>
        </a:defRPr>
      </a:lvl5pPr>
      <a:lvl6pPr marL="16383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6pPr>
      <a:lvl7pPr marL="20955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7pPr>
      <a:lvl8pPr marL="25527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8pPr>
      <a:lvl9pPr marL="30099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einemUntertitelkann</a:t>
            </a:r>
            <a:r>
              <a:rPr lang="en-US" noProof="0"/>
              <a:t> der Text </a:t>
            </a:r>
            <a:r>
              <a:rPr lang="en-US" noProof="0" err="1"/>
              <a:t>fettgemachtwerden</a:t>
            </a:r>
            <a:r>
              <a:rPr lang="en-US" noProof="0"/>
              <a: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hinzufügen</a:t>
            </a:r>
            <a:endParaRPr lang="en-US" noProof="0"/>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54028" y="0"/>
            <a:ext cx="1437972" cy="1440000"/>
          </a:xfrm>
          <a:prstGeom prst="rect">
            <a:avLst/>
          </a:prstGeom>
        </p:spPr>
      </p:pic>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237" r:id="rId1"/>
    <p:sldLayoutId id="2147484235" r:id="rId2"/>
  </p:sldLayoutIdLst>
  <p:hf sldNum="0"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5557" y="6306471"/>
            <a:ext cx="1985568" cy="309707"/>
          </a:xfrm>
          <a:prstGeom prst="rect">
            <a:avLst/>
          </a:prstGeom>
        </p:spPr>
      </p:pic>
      <p:sp>
        <p:nvSpPr>
          <p:cNvPr id="1026" name="Rectangle 2"/>
          <p:cNvSpPr>
            <a:spLocks noGrp="1" noChangeArrowheads="1"/>
          </p:cNvSpPr>
          <p:nvPr>
            <p:ph type="title"/>
          </p:nvPr>
        </p:nvSpPr>
        <p:spPr bwMode="auto">
          <a:xfrm>
            <a:off x="670984" y="287338"/>
            <a:ext cx="10843683"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p>
            <a:pPr lvl="0"/>
            <a:r>
              <a:rPr lang="en-US" noProof="0"/>
              <a:t>Click to add title</a:t>
            </a:r>
          </a:p>
        </p:txBody>
      </p:sp>
      <p:sp>
        <p:nvSpPr>
          <p:cNvPr id="1027" name="Rectangle 3"/>
          <p:cNvSpPr>
            <a:spLocks noGrp="1" noChangeArrowheads="1"/>
          </p:cNvSpPr>
          <p:nvPr>
            <p:ph type="body" idx="1"/>
          </p:nvPr>
        </p:nvSpPr>
        <p:spPr bwMode="auto">
          <a:xfrm>
            <a:off x="670984" y="1268413"/>
            <a:ext cx="10850033" cy="4897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noProof="0"/>
              <a:t>Edit text master by clicking </a:t>
            </a:r>
          </a:p>
          <a:p>
            <a:pPr lvl="1"/>
            <a:r>
              <a:rPr lang="en-US" noProof="0"/>
              <a:t>Second layer (every layer by paragraph indent)</a:t>
            </a:r>
          </a:p>
          <a:p>
            <a:pPr lvl="2"/>
            <a:r>
              <a:rPr lang="en-US" noProof="0"/>
              <a:t>Third layer</a:t>
            </a:r>
          </a:p>
          <a:p>
            <a:pPr lvl="3"/>
            <a:r>
              <a:rPr lang="en-US" noProof="0"/>
              <a:t>Fourth layer</a:t>
            </a:r>
          </a:p>
          <a:p>
            <a:pPr lvl="4"/>
            <a:r>
              <a:rPr lang="en-US" noProof="0"/>
              <a:t>Fifth layer</a:t>
            </a:r>
          </a:p>
        </p:txBody>
      </p:sp>
      <p:sp>
        <p:nvSpPr>
          <p:cNvPr id="1030" name="Fußzeilenplatzhalter 4"/>
          <p:cNvSpPr txBox="1">
            <a:spLocks/>
          </p:cNvSpPr>
          <p:nvPr/>
        </p:nvSpPr>
        <p:spPr bwMode="auto">
          <a:xfrm>
            <a:off x="670983" y="6381751"/>
            <a:ext cx="2736717"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noProof="0">
                <a:solidFill>
                  <a:schemeClr val="bg2"/>
                </a:solidFill>
              </a:rPr>
              <a:t>© Copyright Sensirion AG, Switzerland</a:t>
            </a:r>
          </a:p>
        </p:txBody>
      </p:sp>
      <p:sp>
        <p:nvSpPr>
          <p:cNvPr id="7" name="Fußzeilenplatzhalter 4"/>
          <p:cNvSpPr txBox="1">
            <a:spLocks/>
          </p:cNvSpPr>
          <p:nvPr userDrawn="1"/>
        </p:nvSpPr>
        <p:spPr bwMode="auto">
          <a:xfrm>
            <a:off x="3984235" y="6381750"/>
            <a:ext cx="4224000" cy="216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algn="ctr" eaLnBrk="1" hangingPunct="1">
              <a:defRPr/>
            </a:pPr>
            <a:r>
              <a:rPr lang="en-US" sz="1100" noProof="0">
                <a:solidFill>
                  <a:schemeClr val="bg2"/>
                </a:solidFill>
              </a:rPr>
              <a:t>Confidential</a:t>
            </a:r>
          </a:p>
        </p:txBody>
      </p:sp>
    </p:spTree>
    <p:extLst>
      <p:ext uri="{BB962C8B-B14F-4D97-AF65-F5344CB8AC3E}">
        <p14:creationId xmlns:p14="http://schemas.microsoft.com/office/powerpoint/2010/main" val="4090039044"/>
      </p:ext>
    </p:extLst>
  </p:cSld>
  <p:clrMap bg1="lt1" tx1="dk1" bg2="lt2" tx2="dk2" accent1="accent1" accent2="accent2" accent3="accent3" accent4="accent4" accent5="accent5" accent6="accent6" hlink="hlink" folHlink="folHlink"/>
  <p:sldLayoutIdLst>
    <p:sldLayoutId id="2147484268" r:id="rId1"/>
  </p:sldLayoutIdLst>
  <p:hf sldNum="0" hdr="0" dt="0"/>
  <p:txStyles>
    <p:titleStyle>
      <a:lvl1pPr algn="l" rtl="0" eaLnBrk="1" fontAlgn="base" hangingPunct="1">
        <a:spcBef>
          <a:spcPct val="0"/>
        </a:spcBef>
        <a:spcAft>
          <a:spcPct val="0"/>
        </a:spcAft>
        <a:defRPr sz="3100">
          <a:solidFill>
            <a:srgbClr val="66CC33"/>
          </a:solidFill>
          <a:latin typeface="+mj-lt"/>
          <a:ea typeface="+mj-ea"/>
          <a:cs typeface="+mj-cs"/>
        </a:defRPr>
      </a:lvl1pPr>
      <a:lvl2pPr algn="l" rtl="0" eaLnBrk="1" fontAlgn="base" hangingPunct="1">
        <a:spcBef>
          <a:spcPct val="0"/>
        </a:spcBef>
        <a:spcAft>
          <a:spcPct val="0"/>
        </a:spcAft>
        <a:defRPr sz="3100">
          <a:solidFill>
            <a:srgbClr val="66CC33"/>
          </a:solidFill>
          <a:latin typeface="Arial Narrow" pitchFamily="34" charset="0"/>
        </a:defRPr>
      </a:lvl2pPr>
      <a:lvl3pPr algn="l" rtl="0" eaLnBrk="1" fontAlgn="base" hangingPunct="1">
        <a:spcBef>
          <a:spcPct val="0"/>
        </a:spcBef>
        <a:spcAft>
          <a:spcPct val="0"/>
        </a:spcAft>
        <a:defRPr sz="3100">
          <a:solidFill>
            <a:srgbClr val="66CC33"/>
          </a:solidFill>
          <a:latin typeface="Arial Narrow" pitchFamily="34" charset="0"/>
        </a:defRPr>
      </a:lvl3pPr>
      <a:lvl4pPr algn="l" rtl="0" eaLnBrk="1" fontAlgn="base" hangingPunct="1">
        <a:spcBef>
          <a:spcPct val="0"/>
        </a:spcBef>
        <a:spcAft>
          <a:spcPct val="0"/>
        </a:spcAft>
        <a:defRPr sz="3100">
          <a:solidFill>
            <a:srgbClr val="66CC33"/>
          </a:solidFill>
          <a:latin typeface="Arial Narrow" pitchFamily="34" charset="0"/>
        </a:defRPr>
      </a:lvl4pPr>
      <a:lvl5pPr algn="l" rtl="0" eaLnBrk="1" fontAlgn="base" hangingPunct="1">
        <a:spcBef>
          <a:spcPct val="0"/>
        </a:spcBef>
        <a:spcAft>
          <a:spcPct val="0"/>
        </a:spcAft>
        <a:defRPr sz="3100">
          <a:solidFill>
            <a:srgbClr val="66CC33"/>
          </a:solidFill>
          <a:latin typeface="Arial Narrow" pitchFamily="34" charset="0"/>
        </a:defRPr>
      </a:lvl5pPr>
      <a:lvl6pPr marL="457200" algn="l" rtl="0" eaLnBrk="1" fontAlgn="base" hangingPunct="1">
        <a:spcBef>
          <a:spcPct val="0"/>
        </a:spcBef>
        <a:spcAft>
          <a:spcPct val="0"/>
        </a:spcAft>
        <a:defRPr sz="3100">
          <a:solidFill>
            <a:srgbClr val="66CC33"/>
          </a:solidFill>
          <a:latin typeface="Arial Narrow" pitchFamily="34" charset="0"/>
        </a:defRPr>
      </a:lvl6pPr>
      <a:lvl7pPr marL="914400" algn="l" rtl="0" eaLnBrk="1" fontAlgn="base" hangingPunct="1">
        <a:spcBef>
          <a:spcPct val="0"/>
        </a:spcBef>
        <a:spcAft>
          <a:spcPct val="0"/>
        </a:spcAft>
        <a:defRPr sz="3100">
          <a:solidFill>
            <a:srgbClr val="66CC33"/>
          </a:solidFill>
          <a:latin typeface="Arial Narrow" pitchFamily="34" charset="0"/>
        </a:defRPr>
      </a:lvl7pPr>
      <a:lvl8pPr marL="1371600" algn="l" rtl="0" eaLnBrk="1" fontAlgn="base" hangingPunct="1">
        <a:spcBef>
          <a:spcPct val="0"/>
        </a:spcBef>
        <a:spcAft>
          <a:spcPct val="0"/>
        </a:spcAft>
        <a:defRPr sz="3100">
          <a:solidFill>
            <a:srgbClr val="66CC33"/>
          </a:solidFill>
          <a:latin typeface="Arial Narrow" pitchFamily="34" charset="0"/>
        </a:defRPr>
      </a:lvl8pPr>
      <a:lvl9pPr marL="1828800" algn="l" rtl="0" eaLnBrk="1" fontAlgn="base" hangingPunct="1">
        <a:spcBef>
          <a:spcPct val="0"/>
        </a:spcBef>
        <a:spcAft>
          <a:spcPct val="0"/>
        </a:spcAft>
        <a:defRPr sz="3100">
          <a:solidFill>
            <a:srgbClr val="66CC33"/>
          </a:solidFill>
          <a:latin typeface="Arial Narrow" pitchFamily="34" charset="0"/>
        </a:defRPr>
      </a:lvl9pPr>
    </p:titleStyle>
    <p:bodyStyle>
      <a:lvl1pPr marL="0" indent="0" algn="l" rtl="0" eaLnBrk="1" fontAlgn="base" hangingPunct="1">
        <a:spcBef>
          <a:spcPts val="1100"/>
        </a:spcBef>
        <a:spcAft>
          <a:spcPts val="0"/>
        </a:spcAft>
        <a:tabLst/>
        <a:defRPr sz="2400">
          <a:solidFill>
            <a:schemeClr val="bg2"/>
          </a:solidFill>
          <a:latin typeface="+mn-lt"/>
          <a:ea typeface="+mn-ea"/>
          <a:cs typeface="+mn-cs"/>
        </a:defRPr>
      </a:lvl1pPr>
      <a:lvl2pPr marL="361950" indent="-361950" algn="l" rtl="0" eaLnBrk="1" fontAlgn="base" hangingPunct="1">
        <a:spcBef>
          <a:spcPts val="1100"/>
        </a:spcBef>
        <a:spcAft>
          <a:spcPct val="0"/>
        </a:spcAft>
        <a:buClr>
          <a:schemeClr val="bg2"/>
        </a:buClr>
        <a:buSzPct val="105000"/>
        <a:buFont typeface="Wingdings" pitchFamily="2" charset="2"/>
        <a:buChar char="§"/>
        <a:tabLst/>
        <a:defRPr sz="2000" baseline="0">
          <a:solidFill>
            <a:schemeClr val="tx1"/>
          </a:solidFill>
          <a:latin typeface="+mn-lt"/>
        </a:defRPr>
      </a:lvl2pPr>
      <a:lvl3pPr marL="647700" indent="-285750" algn="l" rtl="0" eaLnBrk="1" fontAlgn="base" hangingPunct="1">
        <a:spcBef>
          <a:spcPts val="300"/>
        </a:spcBef>
        <a:spcAft>
          <a:spcPct val="0"/>
        </a:spcAft>
        <a:buClr>
          <a:schemeClr val="bg2"/>
        </a:buClr>
        <a:buSzPct val="95000"/>
        <a:buFont typeface="Wingdings" pitchFamily="2" charset="2"/>
        <a:buChar char="§"/>
        <a:tabLst/>
        <a:defRPr sz="2000">
          <a:solidFill>
            <a:schemeClr val="tx1"/>
          </a:solidFill>
          <a:latin typeface="+mn-lt"/>
        </a:defRPr>
      </a:lvl3pPr>
      <a:lvl4pPr marL="972000" indent="-324000" algn="l" rtl="0" eaLnBrk="1" fontAlgn="base" hangingPunct="1">
        <a:spcBef>
          <a:spcPts val="0"/>
        </a:spcBef>
        <a:spcAft>
          <a:spcPct val="0"/>
        </a:spcAft>
        <a:buClr>
          <a:schemeClr val="bg2"/>
        </a:buClr>
        <a:buSzPct val="85000"/>
        <a:buFont typeface="Wingdings" pitchFamily="2" charset="2"/>
        <a:buChar char="§"/>
        <a:tabLst/>
        <a:defRPr sz="2000">
          <a:solidFill>
            <a:schemeClr val="tx1"/>
          </a:solidFill>
          <a:latin typeface="+mn-lt"/>
        </a:defRPr>
      </a:lvl4pPr>
      <a:lvl5pPr marL="1296000" indent="-324000" algn="l" rtl="0" eaLnBrk="1" fontAlgn="base" hangingPunct="1">
        <a:spcBef>
          <a:spcPct val="0"/>
        </a:spcBef>
        <a:spcAft>
          <a:spcPct val="0"/>
        </a:spcAft>
        <a:buClr>
          <a:schemeClr val="bg2"/>
        </a:buClr>
        <a:buSzPct val="75000"/>
        <a:buFont typeface="Wingdings" pitchFamily="2" charset="2"/>
        <a:buChar char="§"/>
        <a:tabLst/>
        <a:defRPr sz="2000">
          <a:solidFill>
            <a:schemeClr val="tx1"/>
          </a:solidFill>
          <a:latin typeface="+mn-lt"/>
        </a:defRPr>
      </a:lvl5pPr>
      <a:lvl6pPr marL="16383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6pPr>
      <a:lvl7pPr marL="20955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7pPr>
      <a:lvl8pPr marL="25527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8pPr>
      <a:lvl9pPr marL="30099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839788" y="908049"/>
            <a:ext cx="10547998" cy="5328000"/>
          </a:xfrm>
          <a:prstGeom prst="rect">
            <a:avLst/>
          </a:prstGeom>
        </p:spPr>
        <p:txBody>
          <a:bodyPr vert="horz" lIns="0" tIns="0" rIns="91440" bIns="0" rtlCol="0">
            <a:noAutofit/>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a:t>
            </a:r>
          </a:p>
        </p:txBody>
      </p:sp>
      <p:grpSp>
        <p:nvGrpSpPr>
          <p:cNvPr id="2" name="Gruppierung 1"/>
          <p:cNvGrpSpPr/>
          <p:nvPr userDrawn="1"/>
        </p:nvGrpSpPr>
        <p:grpSpPr>
          <a:xfrm>
            <a:off x="839769" y="6387669"/>
            <a:ext cx="10537315" cy="235359"/>
            <a:chOff x="839769" y="6369739"/>
            <a:chExt cx="10537315" cy="235359"/>
          </a:xfrm>
        </p:grpSpPr>
        <p:pic>
          <p:nvPicPr>
            <p:cNvPr id="12" name="Bild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084" y="6375533"/>
              <a:ext cx="1296000" cy="223770"/>
            </a:xfrm>
            <a:prstGeom prst="rect">
              <a:avLst/>
            </a:prstGeom>
          </p:spPr>
        </p:pic>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303" r:id="rId1"/>
  </p:sldLayoutIdLst>
  <p:hf sldNum="0" hdr="0" ftr="0" dt="0"/>
  <p:txStyles>
    <p:titleStyle>
      <a:lvl1pPr algn="l" defTabSz="914400" rtl="0" eaLnBrk="1" latinLnBrk="0" hangingPunct="1">
        <a:lnSpc>
          <a:spcPct val="90000"/>
        </a:lnSpc>
        <a:spcBef>
          <a:spcPct val="0"/>
        </a:spcBef>
        <a:buNone/>
        <a:defRPr sz="3100" b="1" kern="1200">
          <a:solidFill>
            <a:srgbClr val="66CC33"/>
          </a:solidFill>
          <a:latin typeface="Arial Narrow" panose="020B0606020202030204" pitchFamily="34" charset="0"/>
          <a:ea typeface="+mj-ea"/>
          <a:cs typeface="+mj-cs"/>
        </a:defRPr>
      </a:lvl1pPr>
    </p:titleStyle>
    <p:bodyStyle>
      <a:lvl1pPr marL="0" indent="0" algn="l" defTabSz="900000" rtl="0" eaLnBrk="1" latinLnBrk="0" hangingPunct="1">
        <a:lnSpc>
          <a:spcPct val="100000"/>
        </a:lnSpc>
        <a:spcBef>
          <a:spcPts val="600"/>
        </a:spcBef>
        <a:buSzPct val="105000"/>
        <a:buFontTx/>
        <a:buNone/>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74"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D78360A0-B6AC-4AA3-88AB-82FDB0DFDB69}"/>
              </a:ext>
            </a:extLst>
          </p:cNvPr>
          <p:cNvSpPr>
            <a:spLocks noGrp="1"/>
          </p:cNvSpPr>
          <p:nvPr>
            <p:ph type="sldNum" sz="quarter" idx="4"/>
          </p:nvPr>
        </p:nvSpPr>
        <p:spPr>
          <a:xfrm>
            <a:off x="11599863" y="6623293"/>
            <a:ext cx="466725" cy="234000"/>
          </a:xfrm>
          <a:prstGeom prst="rect">
            <a:avLst/>
          </a:prstGeom>
        </p:spPr>
        <p:txBody>
          <a:bodyPr vert="horz" lIns="0" tIns="0" rIns="0" bIns="0" rtlCol="0" anchor="t" anchorCtr="0"/>
          <a:lstStyle>
            <a:lvl1pPr algn="r">
              <a:defRPr sz="1100">
                <a:solidFill>
                  <a:schemeClr val="tx1"/>
                </a:solidFill>
              </a:defRPr>
            </a:lvl1pPr>
          </a:lstStyle>
          <a:p>
            <a:fld id="{B82950B1-C7CF-425D-9A48-9AE722F4F236}" type="slidenum">
              <a:rPr lang="de-CH" smtClean="0"/>
              <a:pPr/>
              <a:t>‹#›</a:t>
            </a:fld>
            <a:endParaRPr lang="de-CH"/>
          </a:p>
        </p:txBody>
      </p:sp>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hinzufügen</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noProof="1">
                  <a:solidFill>
                    <a:schemeClr val="tx1"/>
                  </a:solidFill>
                </a:rPr>
                <a:t>© Copyright Sensirion AG, 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pic>
        <p:nvPicPr>
          <p:cNvPr id="9" name="Grafik 8">
            <a:extLst>
              <a:ext uri="{FF2B5EF4-FFF2-40B4-BE49-F238E27FC236}">
                <a16:creationId xmlns:a16="http://schemas.microsoft.com/office/drawing/2014/main" id="{23D85E1E-44ED-46EF-9CAC-B34705A4CB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11568" y="6356356"/>
            <a:ext cx="1381125" cy="200025"/>
          </a:xfrm>
          <a:prstGeom prst="rect">
            <a:avLst/>
          </a:prstGeom>
        </p:spPr>
      </p:pic>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247" r:id="rId1"/>
    <p:sldLayoutId id="2147484246" r:id="rId2"/>
  </p:sldLayoutIdLst>
  <p:hf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839787" y="908051"/>
            <a:ext cx="10537297" cy="5329238"/>
          </a:xfrm>
          <a:prstGeom prst="rect">
            <a:avLst/>
          </a:prstGeom>
        </p:spPr>
        <p:txBody>
          <a:bodyPr vert="horz" lIns="0" tIns="0" rIns="91440" bIns="0" rtlCol="0">
            <a:noAutofit/>
          </a:bodyPr>
          <a:lstStyle/>
          <a:p>
            <a:pPr lvl="0"/>
            <a:r>
              <a:rPr lang="de-CH" noProof="0"/>
              <a:t>Add </a:t>
            </a:r>
            <a:r>
              <a:rPr lang="de-CH" noProof="0" err="1"/>
              <a:t>text</a:t>
            </a:r>
            <a:endParaRPr lang="de-CH" noProof="0"/>
          </a:p>
          <a:p>
            <a:pPr lvl="1"/>
            <a:r>
              <a:rPr lang="de-CH" noProof="0"/>
              <a:t>First </a:t>
            </a:r>
            <a:r>
              <a:rPr lang="de-CH" noProof="0" err="1"/>
              <a:t>bullet</a:t>
            </a:r>
            <a:endParaRPr lang="de-CH" noProof="0"/>
          </a:p>
          <a:p>
            <a:pPr lvl="2"/>
            <a:r>
              <a:rPr lang="de-CH" noProof="0"/>
              <a:t>Second </a:t>
            </a:r>
            <a:r>
              <a:rPr lang="de-CH" noProof="0" err="1"/>
              <a:t>bullet</a:t>
            </a:r>
            <a:endParaRPr lang="de-CH" noProof="0"/>
          </a:p>
          <a:p>
            <a:pPr lvl="3"/>
            <a:r>
              <a:rPr lang="de-CH" noProof="0"/>
              <a:t>Third </a:t>
            </a:r>
            <a:r>
              <a:rPr lang="de-CH" noProof="0" err="1"/>
              <a:t>bullet</a:t>
            </a:r>
            <a:endParaRPr lang="de-CH" noProof="0"/>
          </a:p>
          <a:p>
            <a:pPr lvl="4"/>
            <a:r>
              <a:rPr lang="de-CH" noProof="0" err="1"/>
              <a:t>Fourthbullet</a:t>
            </a:r>
            <a:endParaRPr lang="de-CH" noProof="0"/>
          </a:p>
        </p:txBody>
      </p:sp>
      <p:sp>
        <p:nvSpPr>
          <p:cNvPr id="7" name="Rectangle 2"/>
          <p:cNvSpPr>
            <a:spLocks noGrp="1" noChangeArrowheads="1"/>
          </p:cNvSpPr>
          <p:nvPr>
            <p:ph type="title"/>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de-CH" noProof="0"/>
              <a:t>Add Title </a:t>
            </a:r>
          </a:p>
        </p:txBody>
      </p:sp>
      <p:grpSp>
        <p:nvGrpSpPr>
          <p:cNvPr id="2" name="Gruppierung 1"/>
          <p:cNvGrpSpPr/>
          <p:nvPr userDrawn="1"/>
        </p:nvGrpSpPr>
        <p:grpSpPr>
          <a:xfrm>
            <a:off x="839769" y="6387669"/>
            <a:ext cx="10537315" cy="235359"/>
            <a:chOff x="839769" y="6369739"/>
            <a:chExt cx="10537315" cy="235359"/>
          </a:xfrm>
        </p:grpSpPr>
        <p:pic>
          <p:nvPicPr>
            <p:cNvPr id="12" name="Bild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084" y="6375533"/>
              <a:ext cx="1296000" cy="223770"/>
            </a:xfrm>
            <a:prstGeom prst="rect">
              <a:avLst/>
            </a:prstGeom>
          </p:spPr>
        </p:pic>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de-CH" sz="1100">
                  <a:solidFill>
                    <a:schemeClr val="tx1"/>
                  </a:solidFill>
                </a:rPr>
                <a:t>© Copyright Sensirion AG, </a:t>
              </a:r>
              <a:r>
                <a:rPr lang="de-CH" sz="1100" noProof="0" err="1">
                  <a:solidFill>
                    <a:schemeClr val="tx1"/>
                  </a:solidFill>
                </a:rPr>
                <a:t>Switzerland</a:t>
              </a:r>
              <a:endParaRPr lang="de-CH" sz="1100" noProof="0">
                <a:solidFill>
                  <a:schemeClr val="tx1"/>
                </a:solidFill>
              </a:endParaRP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de-CH" sz="1100" err="1">
                  <a:solidFill>
                    <a:schemeClr val="tx1"/>
                  </a:solidFill>
                </a:rPr>
                <a:t>Confidential</a:t>
              </a:r>
              <a:endParaRPr lang="de-CH" sz="1100">
                <a:solidFill>
                  <a:schemeClr val="tx1"/>
                </a:solidFill>
              </a:endParaRPr>
            </a:p>
          </p:txBody>
        </p:sp>
      </p:grpSp>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249" r:id="rId1"/>
  </p:sldLayoutIdLst>
  <p:hf sldNum="0" hdr="0" ftr="0" dt="0"/>
  <p:txStyles>
    <p:titleStyle>
      <a:lvl1pPr algn="l" defTabSz="914400" rtl="0" eaLnBrk="1" latinLnBrk="0" hangingPunct="1">
        <a:lnSpc>
          <a:spcPct val="90000"/>
        </a:lnSpc>
        <a:spcBef>
          <a:spcPct val="0"/>
        </a:spcBef>
        <a:buNone/>
        <a:defRPr sz="3100" b="1" kern="1200">
          <a:solidFill>
            <a:srgbClr val="66CC33"/>
          </a:solidFill>
          <a:latin typeface="Arial Narrow" panose="020B0606020202030204" pitchFamily="34" charset="0"/>
          <a:ea typeface="+mj-ea"/>
          <a:cs typeface="+mj-cs"/>
        </a:defRPr>
      </a:lvl1pPr>
    </p:titleStyle>
    <p:bodyStyle>
      <a:lvl1pPr marL="0" indent="0" algn="l" defTabSz="900000" rtl="0" eaLnBrk="1" latinLnBrk="0" hangingPunct="1">
        <a:lnSpc>
          <a:spcPct val="100000"/>
        </a:lnSpc>
        <a:spcBef>
          <a:spcPts val="600"/>
        </a:spcBef>
        <a:buSzPct val="105000"/>
        <a:buFontTx/>
        <a:buNone/>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74"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einemUntertitelkann</a:t>
            </a:r>
            <a:r>
              <a:rPr lang="en-US" noProof="0"/>
              <a:t> der Text </a:t>
            </a:r>
            <a:r>
              <a:rPr lang="en-US" noProof="0" err="1"/>
              <a:t>fettgemachtwerden</a:t>
            </a:r>
            <a:r>
              <a:rPr lang="en-US" noProof="0"/>
              <a: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hinzufügen</a:t>
            </a:r>
          </a:p>
        </p:txBody>
      </p:sp>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252" r:id="rId1"/>
    <p:sldLayoutId id="2147484251" r:id="rId2"/>
  </p:sldLayoutIdLst>
  <p:hf sldNum="0"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hinzufügen</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sp>
        <p:nvSpPr>
          <p:cNvPr id="8" name="Slide Number Placeholder 5"/>
          <p:cNvSpPr>
            <a:spLocks noGrp="1"/>
          </p:cNvSpPr>
          <p:nvPr userDrawn="1"/>
        </p:nvSpPr>
        <p:spPr>
          <a:xfrm>
            <a:off x="11720995" y="6523871"/>
            <a:ext cx="466725" cy="365125"/>
          </a:xfrm>
          <a:prstGeom prst="rect">
            <a:avLst/>
          </a:prstGeom>
        </p:spPr>
        <p:txBody>
          <a:bodyPr vert="horz" lIns="91440" tIns="45720" rIns="91440" bIns="45720" rtlCol="0" anchor="ctr"/>
          <a:lstStyle>
            <a:defPPr>
              <a:defRPr lang="de-DE"/>
            </a:defPPr>
            <a:lvl1pPr algn="ct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553BBF28-59B0-4969-8EAE-E099AE92A1EC}"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257" r:id="rId1"/>
    <p:sldLayoutId id="2147484255" r:id="rId2"/>
  </p:sldLayoutIdLst>
  <p:hf sldNum="0"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altLang="zh-TW" noProof="0"/>
              <a:t>Add text (make this text bold if it should be a subtitle) / Text </a:t>
            </a:r>
            <a:r>
              <a:rPr lang="en-US" altLang="zh-TW" noProof="0" err="1"/>
              <a:t>hinzufügen</a:t>
            </a:r>
            <a:r>
              <a:rPr lang="en-US" altLang="zh-TW" noProof="0"/>
              <a:t> (</a:t>
            </a:r>
            <a:r>
              <a:rPr lang="en-US" altLang="zh-TW" noProof="0" err="1"/>
              <a:t>bei</a:t>
            </a:r>
            <a:r>
              <a:rPr lang="en-US" altLang="zh-TW" noProof="0"/>
              <a:t> </a:t>
            </a:r>
            <a:r>
              <a:rPr lang="en-US" altLang="zh-TW" noProof="0" err="1"/>
              <a:t>einem</a:t>
            </a:r>
            <a:r>
              <a:rPr lang="en-US" altLang="zh-TW" noProof="0"/>
              <a:t> </a:t>
            </a:r>
            <a:r>
              <a:rPr lang="en-US" altLang="zh-TW" noProof="0" err="1"/>
              <a:t>Untertitel</a:t>
            </a:r>
            <a:r>
              <a:rPr lang="en-US" altLang="zh-TW" noProof="0"/>
              <a:t> </a:t>
            </a:r>
            <a:r>
              <a:rPr lang="en-US" altLang="zh-TW" noProof="0" err="1"/>
              <a:t>kann</a:t>
            </a:r>
            <a:r>
              <a:rPr lang="en-US" altLang="zh-TW" noProof="0"/>
              <a:t> der Text </a:t>
            </a:r>
            <a:r>
              <a:rPr lang="en-US" altLang="zh-TW" noProof="0" err="1"/>
              <a:t>fett</a:t>
            </a:r>
            <a:r>
              <a:rPr lang="en-US" altLang="zh-TW" noProof="0"/>
              <a:t> </a:t>
            </a:r>
            <a:r>
              <a:rPr lang="en-US" altLang="zh-TW" noProof="0" err="1"/>
              <a:t>gemacht</a:t>
            </a:r>
            <a:r>
              <a:rPr lang="en-US" altLang="zh-TW" noProof="0"/>
              <a:t> </a:t>
            </a:r>
            <a:r>
              <a:rPr lang="en-US" altLang="zh-TW" noProof="0" err="1"/>
              <a:t>werden</a:t>
            </a:r>
            <a:r>
              <a:rPr lang="en-US" altLang="zh-TW" noProof="0"/>
              <a:t>)</a:t>
            </a:r>
          </a:p>
          <a:p>
            <a:pPr lvl="1"/>
            <a:r>
              <a:rPr lang="en-US" altLang="zh-TW" noProof="0"/>
              <a:t>First bullet</a:t>
            </a:r>
          </a:p>
          <a:p>
            <a:pPr lvl="2"/>
            <a:r>
              <a:rPr lang="en-US" altLang="zh-TW" noProof="0"/>
              <a:t>Second bullet</a:t>
            </a:r>
          </a:p>
          <a:p>
            <a:pPr lvl="3"/>
            <a:r>
              <a:rPr lang="en-US" altLang="zh-TW" noProof="0"/>
              <a:t>Third bullet</a:t>
            </a:r>
          </a:p>
          <a:p>
            <a:pPr lvl="4"/>
            <a:r>
              <a:rPr lang="en-US" altLang="zh-TW"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altLang="zh-TW" noProof="0"/>
              <a:t>Add Title / </a:t>
            </a:r>
            <a:r>
              <a:rPr lang="en-US" altLang="zh-TW" noProof="0" err="1"/>
              <a:t>Titel</a:t>
            </a:r>
            <a:r>
              <a:rPr lang="zh-TW" altLang="en-US" noProof="0"/>
              <a:t> </a:t>
            </a:r>
            <a:r>
              <a:rPr lang="en-US" altLang="zh-TW" noProof="0" err="1"/>
              <a:t>hinzufügen</a:t>
            </a:r>
            <a:r>
              <a:rPr lang="zh-TW" altLang="en-US" noProof="0"/>
              <a:t> </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altLang="zh-TW" sz="1100">
                  <a:solidFill>
                    <a:schemeClr val="tx1"/>
                  </a:solidFill>
                </a:rPr>
                <a:t>© Copyright Sensirion</a:t>
              </a:r>
              <a:r>
                <a:rPr lang="zh-TW" altLang="en-US" sz="1100">
                  <a:solidFill>
                    <a:schemeClr val="tx1"/>
                  </a:solidFill>
                </a:rPr>
                <a:t> </a:t>
              </a:r>
              <a:r>
                <a:rPr lang="en-US" altLang="zh-TW" sz="1100">
                  <a:solidFill>
                    <a:schemeClr val="tx1"/>
                  </a:solidFill>
                </a:rPr>
                <a:t>AG, </a:t>
              </a:r>
              <a:r>
                <a:rPr lang="en-US" altLang="zh-TW"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altLang="zh-TW" sz="1100">
                  <a:solidFill>
                    <a:schemeClr val="tx1"/>
                  </a:solidFill>
                </a:rPr>
                <a:t>Confidential </a:t>
              </a:r>
            </a:p>
          </p:txBody>
        </p:sp>
      </p:grpSp>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259" r:id="rId1"/>
  </p:sldLayoutIdLst>
  <p:hf sldNum="0"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D78360A0-B6AC-4AA3-88AB-82FDB0DFDB69}"/>
              </a:ext>
            </a:extLst>
          </p:cNvPr>
          <p:cNvSpPr>
            <a:spLocks noGrp="1"/>
          </p:cNvSpPr>
          <p:nvPr>
            <p:ph type="sldNum" sz="quarter" idx="4"/>
          </p:nvPr>
        </p:nvSpPr>
        <p:spPr>
          <a:xfrm>
            <a:off x="11599863" y="6623293"/>
            <a:ext cx="466725" cy="234000"/>
          </a:xfrm>
          <a:prstGeom prst="rect">
            <a:avLst/>
          </a:prstGeom>
        </p:spPr>
        <p:txBody>
          <a:bodyPr vert="horz" lIns="0" tIns="0" rIns="0" bIns="0" rtlCol="0" anchor="t" anchorCtr="0"/>
          <a:lstStyle>
            <a:lvl1pPr algn="r">
              <a:defRPr sz="1100">
                <a:solidFill>
                  <a:schemeClr val="tx1"/>
                </a:solidFill>
              </a:defRPr>
            </a:lvl1pPr>
          </a:lstStyle>
          <a:p>
            <a:fld id="{B82950B1-C7CF-425D-9A48-9AE722F4F236}" type="slidenum">
              <a:rPr lang="de-CH" smtClean="0"/>
              <a:pPr/>
              <a:t>‹#›</a:t>
            </a:fld>
            <a:endParaRPr lang="de-CH"/>
          </a:p>
        </p:txBody>
      </p:sp>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a:t>
            </a:r>
            <a:r>
              <a:rPr lang="en-US" noProof="0"/>
              <a:t> </a:t>
            </a:r>
            <a:r>
              <a:rPr lang="en-US" noProof="0" err="1"/>
              <a:t>hinzufügen</a:t>
            </a:r>
            <a:r>
              <a:rPr lang="en-US" noProof="0"/>
              <a:t> </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noProof="1">
                  <a:solidFill>
                    <a:schemeClr val="tx1"/>
                  </a:solidFill>
                </a:rPr>
                <a:t>© Copyright Sensirion AG, 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pic>
        <p:nvPicPr>
          <p:cNvPr id="9" name="Grafik 8">
            <a:extLst>
              <a:ext uri="{FF2B5EF4-FFF2-40B4-BE49-F238E27FC236}">
                <a16:creationId xmlns:a16="http://schemas.microsoft.com/office/drawing/2014/main" id="{23D85E1E-44ED-46EF-9CAC-B34705A4CB1A}"/>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011568" y="6356356"/>
            <a:ext cx="1381125" cy="200025"/>
          </a:xfrm>
          <a:prstGeom prst="rect">
            <a:avLst/>
          </a:prstGeom>
        </p:spPr>
      </p:pic>
    </p:spTree>
    <p:extLst>
      <p:ext uri="{BB962C8B-B14F-4D97-AF65-F5344CB8AC3E}">
        <p14:creationId xmlns:p14="http://schemas.microsoft.com/office/powerpoint/2010/main" val="928994465"/>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8" r:id="rId6"/>
    <p:sldLayoutId id="2147484279" r:id="rId7"/>
    <p:sldLayoutId id="2147484280" r:id="rId8"/>
    <p:sldLayoutId id="2147484281" r:id="rId9"/>
    <p:sldLayoutId id="2147484282" r:id="rId10"/>
    <p:sldLayoutId id="2147484283" r:id="rId11"/>
    <p:sldLayoutId id="2147484284" r:id="rId12"/>
  </p:sldLayoutIdLst>
  <p:hf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000000"/>
          </p15:clr>
        </p15:guide>
        <p15:guide id="2" orient="horz" pos="2160" userDrawn="1">
          <p15:clr>
            <a:srgbClr val="000000"/>
          </p15:clr>
        </p15:guide>
        <p15:guide id="4" orient="horz" pos="3929" userDrawn="1">
          <p15:clr>
            <a:srgbClr val="000000"/>
          </p15:clr>
        </p15:guide>
        <p15:guide id="5" pos="529" userDrawn="1">
          <p15:clr>
            <a:srgbClr val="000000"/>
          </p15:clr>
        </p15:guide>
        <p15:guide id="6" orient="horz" pos="1979" userDrawn="1">
          <p15:clr>
            <a:srgbClr val="9FCC3B"/>
          </p15:clr>
        </p15:guide>
        <p15:guide id="7" orient="horz" pos="2341" userDrawn="1">
          <p15:clr>
            <a:srgbClr val="9FCC3B"/>
          </p15:clr>
        </p15:guide>
        <p15:guide id="8" pos="3840" userDrawn="1">
          <p15:clr>
            <a:srgbClr val="000000"/>
          </p15:clr>
        </p15:guide>
        <p15:guide id="9" orient="horz" pos="572" userDrawn="1">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839787" y="908051"/>
            <a:ext cx="10537297" cy="5329238"/>
          </a:xfrm>
          <a:prstGeom prst="rect">
            <a:avLst/>
          </a:prstGeom>
        </p:spPr>
        <p:txBody>
          <a:bodyPr vert="horz" lIns="0" tIns="0" rIns="91440" bIns="0" rtlCol="0">
            <a:noAutofit/>
          </a:body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a:t>
            </a:r>
          </a:p>
        </p:txBody>
      </p:sp>
      <p:grpSp>
        <p:nvGrpSpPr>
          <p:cNvPr id="2" name="Gruppierung 1"/>
          <p:cNvGrpSpPr/>
          <p:nvPr userDrawn="1"/>
        </p:nvGrpSpPr>
        <p:grpSpPr>
          <a:xfrm>
            <a:off x="839769" y="6387669"/>
            <a:ext cx="10537315" cy="235359"/>
            <a:chOff x="839769" y="6369739"/>
            <a:chExt cx="10537315" cy="235359"/>
          </a:xfrm>
        </p:grpSpPr>
        <p:pic>
          <p:nvPicPr>
            <p:cNvPr id="12" name="Bild 1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081084" y="6375533"/>
              <a:ext cx="1296000" cy="223770"/>
            </a:xfrm>
            <a:prstGeom prst="rect">
              <a:avLst/>
            </a:prstGeom>
          </p:spPr>
        </p:pic>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GB" sz="1100">
                  <a:solidFill>
                    <a:schemeClr val="tx1"/>
                  </a:solidFill>
                </a:rPr>
                <a:t>© Copyright Sensirion AG, </a:t>
              </a:r>
              <a:r>
                <a:rPr lang="en-GB"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GB" sz="1100">
                  <a:solidFill>
                    <a:schemeClr val="tx1"/>
                  </a:solidFill>
                </a:rPr>
                <a:t>Confidential </a:t>
              </a:r>
            </a:p>
          </p:txBody>
        </p:sp>
      </p:grpSp>
    </p:spTree>
    <p:extLst>
      <p:ext uri="{BB962C8B-B14F-4D97-AF65-F5344CB8AC3E}">
        <p14:creationId xmlns:p14="http://schemas.microsoft.com/office/powerpoint/2010/main" val="1506289485"/>
      </p:ext>
    </p:extLst>
  </p:cSld>
  <p:clrMap bg1="lt1" tx1="dk1" bg2="lt2" tx2="dk2" accent1="accent1" accent2="accent2" accent3="accent3" accent4="accent4" accent5="accent5" accent6="accent6" hlink="hlink" folHlink="folHlink"/>
  <p:sldLayoutIdLst>
    <p:sldLayoutId id="2147484244" r:id="rId1"/>
    <p:sldLayoutId id="2147484236"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213" r:id="rId14"/>
    <p:sldLayoutId id="2147484215" r:id="rId15"/>
    <p:sldLayoutId id="2147484269" r:id="rId16"/>
    <p:sldLayoutId id="2147484302" r:id="rId17"/>
    <p:sldLayoutId id="2147484326" r:id="rId18"/>
  </p:sldLayoutIdLst>
  <p:hf sldNum="0" hdr="0" ftr="0" dt="0"/>
  <p:txStyles>
    <p:titleStyle>
      <a:lvl1pPr algn="l" defTabSz="914400" rtl="0" eaLnBrk="1" latinLnBrk="0" hangingPunct="1">
        <a:lnSpc>
          <a:spcPct val="90000"/>
        </a:lnSpc>
        <a:spcBef>
          <a:spcPct val="0"/>
        </a:spcBef>
        <a:buNone/>
        <a:defRPr sz="3100" b="1" kern="1200">
          <a:solidFill>
            <a:srgbClr val="66CC33"/>
          </a:solidFill>
          <a:latin typeface="Arial Narrow" panose="020B0606020202030204" pitchFamily="34" charset="0"/>
          <a:ea typeface="+mj-ea"/>
          <a:cs typeface="+mj-cs"/>
        </a:defRPr>
      </a:lvl1pPr>
    </p:titleStyle>
    <p:bodyStyle>
      <a:lvl1pPr marL="0" indent="0" algn="l" defTabSz="900000" rtl="0" eaLnBrk="1" latinLnBrk="0" hangingPunct="1">
        <a:lnSpc>
          <a:spcPct val="100000"/>
        </a:lnSpc>
        <a:spcBef>
          <a:spcPts val="600"/>
        </a:spcBef>
        <a:buSzPct val="105000"/>
        <a:buFontTx/>
        <a:buNone/>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74">
          <p15:clr>
            <a:srgbClr val="000000"/>
          </p15:clr>
        </p15:guide>
        <p15:guide id="2" orient="horz" pos="2160">
          <p15:clr>
            <a:srgbClr val="000000"/>
          </p15:clr>
        </p15:guide>
        <p15:guide id="4" orient="horz" pos="3929">
          <p15:clr>
            <a:srgbClr val="000000"/>
          </p15:clr>
        </p15:guide>
        <p15:guide id="5" pos="529">
          <p15:clr>
            <a:srgbClr val="000000"/>
          </p15:clr>
        </p15:guide>
        <p15:guide id="6" orient="horz" pos="1979">
          <p15:clr>
            <a:srgbClr val="9FCC3B"/>
          </p15:clr>
        </p15:guide>
        <p15:guide id="7" orient="horz" pos="2341">
          <p15:clr>
            <a:srgbClr val="9FCC3B"/>
          </p15:clr>
        </p15:guide>
        <p15:guide id="8" pos="3840">
          <p15:clr>
            <a:srgbClr val="000000"/>
          </p15:clr>
        </p15:guide>
        <p15:guide id="9" orient="horz" pos="572">
          <p15:clr>
            <a:srgbClr val="00000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Grafik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555557" y="6306471"/>
            <a:ext cx="1985568" cy="309707"/>
          </a:xfrm>
          <a:prstGeom prst="rect">
            <a:avLst/>
          </a:prstGeom>
        </p:spPr>
      </p:pic>
      <p:sp>
        <p:nvSpPr>
          <p:cNvPr id="1026" name="Rectangle 2"/>
          <p:cNvSpPr>
            <a:spLocks noGrp="1" noChangeArrowheads="1"/>
          </p:cNvSpPr>
          <p:nvPr>
            <p:ph type="title"/>
          </p:nvPr>
        </p:nvSpPr>
        <p:spPr bwMode="auto">
          <a:xfrm>
            <a:off x="670984" y="287338"/>
            <a:ext cx="1084368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p>
            <a:pPr lvl="0"/>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027" name="Rectangle 3"/>
          <p:cNvSpPr>
            <a:spLocks noGrp="1" noChangeArrowheads="1"/>
          </p:cNvSpPr>
          <p:nvPr>
            <p:ph type="body" idx="1"/>
          </p:nvPr>
        </p:nvSpPr>
        <p:spPr bwMode="auto">
          <a:xfrm>
            <a:off x="670984" y="1268413"/>
            <a:ext cx="10850033"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1030" name="Fußzeilenplatzhalter 4"/>
          <p:cNvSpPr txBox="1">
            <a:spLocks/>
          </p:cNvSpPr>
          <p:nvPr/>
        </p:nvSpPr>
        <p:spPr bwMode="auto">
          <a:xfrm>
            <a:off x="670983" y="6381751"/>
            <a:ext cx="27367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noProof="0">
                <a:solidFill>
                  <a:schemeClr val="bg2"/>
                </a:solidFill>
              </a:rPr>
              <a:t>© Copyright Sensirion AG, Switzerland</a:t>
            </a:r>
          </a:p>
        </p:txBody>
      </p:sp>
      <p:sp>
        <p:nvSpPr>
          <p:cNvPr id="3" name="Fußzeilenplatzhalter 2"/>
          <p:cNvSpPr>
            <a:spLocks noGrp="1"/>
          </p:cNvSpPr>
          <p:nvPr>
            <p:ph type="ftr" sz="quarter" idx="3"/>
          </p:nvPr>
        </p:nvSpPr>
        <p:spPr>
          <a:xfrm>
            <a:off x="3983766" y="6381751"/>
            <a:ext cx="4224469" cy="201613"/>
          </a:xfrm>
          <a:prstGeom prst="rect">
            <a:avLst/>
          </a:prstGeom>
        </p:spPr>
        <p:txBody>
          <a:bodyPr vert="horz" lIns="0" tIns="0" rIns="0" bIns="0" rtlCol="0" anchor="t" anchorCtr="0"/>
          <a:lstStyle>
            <a:lvl1pPr algn="ctr">
              <a:defRPr sz="1100">
                <a:solidFill>
                  <a:schemeClr val="bg2"/>
                </a:solidFill>
              </a:defRPr>
            </a:lvl1pPr>
          </a:lstStyle>
          <a:p>
            <a:r>
              <a:rPr lang="en-US" noProof="0"/>
              <a:t>Confidential</a:t>
            </a:r>
          </a:p>
        </p:txBody>
      </p:sp>
    </p:spTree>
    <p:extLst>
      <p:ext uri="{BB962C8B-B14F-4D97-AF65-F5344CB8AC3E}">
        <p14:creationId xmlns:p14="http://schemas.microsoft.com/office/powerpoint/2010/main" val="1429765136"/>
      </p:ext>
    </p:extLst>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 id="2147484300" r:id="rId11"/>
    <p:sldLayoutId id="2147484301" r:id="rId12"/>
  </p:sldLayoutIdLst>
  <p:hf sldNum="0" hdr="0" dt="0"/>
  <p:txStyles>
    <p:titleStyle>
      <a:lvl1pPr algn="l" rtl="0" eaLnBrk="1" fontAlgn="base" hangingPunct="1">
        <a:spcBef>
          <a:spcPct val="0"/>
        </a:spcBef>
        <a:spcAft>
          <a:spcPct val="0"/>
        </a:spcAft>
        <a:defRPr sz="3100">
          <a:solidFill>
            <a:schemeClr val="tx2"/>
          </a:solidFill>
          <a:latin typeface="+mj-lt"/>
          <a:ea typeface="+mj-ea"/>
          <a:cs typeface="+mj-cs"/>
        </a:defRPr>
      </a:lvl1pPr>
      <a:lvl2pPr algn="l" rtl="0" eaLnBrk="1" fontAlgn="base" hangingPunct="1">
        <a:spcBef>
          <a:spcPct val="0"/>
        </a:spcBef>
        <a:spcAft>
          <a:spcPct val="0"/>
        </a:spcAft>
        <a:defRPr sz="3100">
          <a:solidFill>
            <a:srgbClr val="66CC33"/>
          </a:solidFill>
          <a:latin typeface="Arial Narrow" pitchFamily="34" charset="0"/>
        </a:defRPr>
      </a:lvl2pPr>
      <a:lvl3pPr algn="l" rtl="0" eaLnBrk="1" fontAlgn="base" hangingPunct="1">
        <a:spcBef>
          <a:spcPct val="0"/>
        </a:spcBef>
        <a:spcAft>
          <a:spcPct val="0"/>
        </a:spcAft>
        <a:defRPr sz="3100">
          <a:solidFill>
            <a:srgbClr val="66CC33"/>
          </a:solidFill>
          <a:latin typeface="Arial Narrow" pitchFamily="34" charset="0"/>
        </a:defRPr>
      </a:lvl3pPr>
      <a:lvl4pPr algn="l" rtl="0" eaLnBrk="1" fontAlgn="base" hangingPunct="1">
        <a:spcBef>
          <a:spcPct val="0"/>
        </a:spcBef>
        <a:spcAft>
          <a:spcPct val="0"/>
        </a:spcAft>
        <a:defRPr sz="3100">
          <a:solidFill>
            <a:srgbClr val="66CC33"/>
          </a:solidFill>
          <a:latin typeface="Arial Narrow" pitchFamily="34" charset="0"/>
        </a:defRPr>
      </a:lvl4pPr>
      <a:lvl5pPr algn="l" rtl="0" eaLnBrk="1" fontAlgn="base" hangingPunct="1">
        <a:spcBef>
          <a:spcPct val="0"/>
        </a:spcBef>
        <a:spcAft>
          <a:spcPct val="0"/>
        </a:spcAft>
        <a:defRPr sz="3100">
          <a:solidFill>
            <a:srgbClr val="66CC33"/>
          </a:solidFill>
          <a:latin typeface="Arial Narrow" pitchFamily="34" charset="0"/>
        </a:defRPr>
      </a:lvl5pPr>
      <a:lvl6pPr marL="457200" algn="l" rtl="0" eaLnBrk="1" fontAlgn="base" hangingPunct="1">
        <a:spcBef>
          <a:spcPct val="0"/>
        </a:spcBef>
        <a:spcAft>
          <a:spcPct val="0"/>
        </a:spcAft>
        <a:defRPr sz="3100">
          <a:solidFill>
            <a:srgbClr val="66CC33"/>
          </a:solidFill>
          <a:latin typeface="Arial Narrow" pitchFamily="34" charset="0"/>
        </a:defRPr>
      </a:lvl6pPr>
      <a:lvl7pPr marL="914400" algn="l" rtl="0" eaLnBrk="1" fontAlgn="base" hangingPunct="1">
        <a:spcBef>
          <a:spcPct val="0"/>
        </a:spcBef>
        <a:spcAft>
          <a:spcPct val="0"/>
        </a:spcAft>
        <a:defRPr sz="3100">
          <a:solidFill>
            <a:srgbClr val="66CC33"/>
          </a:solidFill>
          <a:latin typeface="Arial Narrow" pitchFamily="34" charset="0"/>
        </a:defRPr>
      </a:lvl7pPr>
      <a:lvl8pPr marL="1371600" algn="l" rtl="0" eaLnBrk="1" fontAlgn="base" hangingPunct="1">
        <a:spcBef>
          <a:spcPct val="0"/>
        </a:spcBef>
        <a:spcAft>
          <a:spcPct val="0"/>
        </a:spcAft>
        <a:defRPr sz="3100">
          <a:solidFill>
            <a:srgbClr val="66CC33"/>
          </a:solidFill>
          <a:latin typeface="Arial Narrow" pitchFamily="34" charset="0"/>
        </a:defRPr>
      </a:lvl8pPr>
      <a:lvl9pPr marL="1828800" algn="l" rtl="0" eaLnBrk="1" fontAlgn="base" hangingPunct="1">
        <a:spcBef>
          <a:spcPct val="0"/>
        </a:spcBef>
        <a:spcAft>
          <a:spcPct val="0"/>
        </a:spcAft>
        <a:defRPr sz="3100">
          <a:solidFill>
            <a:srgbClr val="66CC33"/>
          </a:solidFill>
          <a:latin typeface="Arial Narrow" pitchFamily="34" charset="0"/>
        </a:defRPr>
      </a:lvl9pPr>
    </p:titleStyle>
    <p:bodyStyle>
      <a:lvl1pPr marL="0" indent="0" algn="l" rtl="0" eaLnBrk="1" fontAlgn="base" hangingPunct="1">
        <a:spcBef>
          <a:spcPts val="1100"/>
        </a:spcBef>
        <a:spcAft>
          <a:spcPts val="0"/>
        </a:spcAft>
        <a:tabLst/>
        <a:defRPr sz="2400">
          <a:solidFill>
            <a:schemeClr val="bg2"/>
          </a:solidFill>
          <a:latin typeface="+mn-lt"/>
          <a:ea typeface="+mn-ea"/>
          <a:cs typeface="+mn-cs"/>
        </a:defRPr>
      </a:lvl1pPr>
      <a:lvl2pPr marL="361950" indent="-361950" algn="l" rtl="0" eaLnBrk="1" fontAlgn="base" hangingPunct="1">
        <a:spcBef>
          <a:spcPts val="1100"/>
        </a:spcBef>
        <a:spcAft>
          <a:spcPct val="0"/>
        </a:spcAft>
        <a:buClr>
          <a:schemeClr val="bg2"/>
        </a:buClr>
        <a:buSzPct val="105000"/>
        <a:buFont typeface="Wingdings" pitchFamily="2" charset="2"/>
        <a:buChar char="§"/>
        <a:tabLst/>
        <a:defRPr sz="2000">
          <a:solidFill>
            <a:schemeClr val="tx1"/>
          </a:solidFill>
          <a:latin typeface="+mn-lt"/>
        </a:defRPr>
      </a:lvl2pPr>
      <a:lvl3pPr marL="647700" indent="-285750" algn="l" rtl="0" eaLnBrk="1" fontAlgn="base" hangingPunct="1">
        <a:spcBef>
          <a:spcPts val="300"/>
        </a:spcBef>
        <a:spcAft>
          <a:spcPct val="0"/>
        </a:spcAft>
        <a:buClr>
          <a:schemeClr val="bg2"/>
        </a:buClr>
        <a:buSzPct val="95000"/>
        <a:buFont typeface="Wingdings" pitchFamily="2" charset="2"/>
        <a:buChar char="§"/>
        <a:tabLst/>
        <a:defRPr sz="2000">
          <a:solidFill>
            <a:schemeClr val="tx1"/>
          </a:solidFill>
          <a:latin typeface="+mn-lt"/>
        </a:defRPr>
      </a:lvl3pPr>
      <a:lvl4pPr marL="972000" indent="-324000" algn="l" rtl="0" eaLnBrk="1" fontAlgn="base" hangingPunct="1">
        <a:spcBef>
          <a:spcPts val="0"/>
        </a:spcBef>
        <a:spcAft>
          <a:spcPct val="0"/>
        </a:spcAft>
        <a:buClr>
          <a:schemeClr val="bg2"/>
        </a:buClr>
        <a:buSzPct val="85000"/>
        <a:buFont typeface="Wingdings" pitchFamily="2" charset="2"/>
        <a:buChar char="§"/>
        <a:tabLst/>
        <a:defRPr sz="2000">
          <a:solidFill>
            <a:schemeClr val="tx1"/>
          </a:solidFill>
          <a:latin typeface="+mn-lt"/>
        </a:defRPr>
      </a:lvl4pPr>
      <a:lvl5pPr marL="1296000" indent="-324000" algn="l" rtl="0" eaLnBrk="1" fontAlgn="base" hangingPunct="1">
        <a:spcBef>
          <a:spcPct val="0"/>
        </a:spcBef>
        <a:spcAft>
          <a:spcPct val="0"/>
        </a:spcAft>
        <a:buClr>
          <a:schemeClr val="bg2"/>
        </a:buClr>
        <a:buSzPct val="75000"/>
        <a:buFont typeface="Wingdings" pitchFamily="2" charset="2"/>
        <a:buChar char="§"/>
        <a:tabLst/>
        <a:defRPr sz="2000">
          <a:solidFill>
            <a:schemeClr val="tx1"/>
          </a:solidFill>
          <a:latin typeface="+mn-lt"/>
        </a:defRPr>
      </a:lvl5pPr>
      <a:lvl6pPr marL="16383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6pPr>
      <a:lvl7pPr marL="20955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7pPr>
      <a:lvl8pPr marL="25527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8pPr>
      <a:lvl9pPr marL="30099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D78360A0-B6AC-4AA3-88AB-82FDB0DFDB69}"/>
              </a:ext>
            </a:extLst>
          </p:cNvPr>
          <p:cNvSpPr>
            <a:spLocks noGrp="1"/>
          </p:cNvSpPr>
          <p:nvPr>
            <p:ph type="sldNum" sz="quarter" idx="4"/>
          </p:nvPr>
        </p:nvSpPr>
        <p:spPr>
          <a:xfrm>
            <a:off x="11599863" y="6623293"/>
            <a:ext cx="466725" cy="234000"/>
          </a:xfrm>
          <a:prstGeom prst="rect">
            <a:avLst/>
          </a:prstGeom>
        </p:spPr>
        <p:txBody>
          <a:bodyPr vert="horz" lIns="0" tIns="0" rIns="0" bIns="0" rtlCol="0" anchor="t" anchorCtr="0"/>
          <a:lstStyle>
            <a:lvl1pPr algn="r">
              <a:defRPr sz="1100">
                <a:solidFill>
                  <a:schemeClr val="tx1"/>
                </a:solidFill>
              </a:defRPr>
            </a:lvl1pPr>
          </a:lstStyle>
          <a:p>
            <a:fld id="{B82950B1-C7CF-425D-9A48-9AE722F4F236}" type="slidenum">
              <a:rPr lang="de-CH" smtClean="0"/>
              <a:pPr/>
              <a:t>‹#›</a:t>
            </a:fld>
            <a:endParaRPr lang="de-CH" dirty="0"/>
          </a:p>
        </p:txBody>
      </p:sp>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dirty="0"/>
              <a:t>Add text (make this text bold if it should be a subtitle) / </a:t>
            </a:r>
            <a:r>
              <a:rPr lang="de-CH" noProof="0" dirty="0"/>
              <a:t>Text hinzufügen (bei einem Untertitel kann der Text fett gemacht werden)</a:t>
            </a:r>
          </a:p>
          <a:p>
            <a:pPr lvl="1"/>
            <a:r>
              <a:rPr lang="en-US" noProof="0" dirty="0"/>
              <a:t>First bullet</a:t>
            </a:r>
          </a:p>
          <a:p>
            <a:pPr lvl="2"/>
            <a:r>
              <a:rPr lang="en-US" noProof="0" dirty="0"/>
              <a:t>Second bullet</a:t>
            </a:r>
          </a:p>
          <a:p>
            <a:pPr lvl="3"/>
            <a:r>
              <a:rPr lang="en-US" noProof="0" dirty="0"/>
              <a:t>Third bullet</a:t>
            </a:r>
          </a:p>
          <a:p>
            <a:pPr lvl="4"/>
            <a:r>
              <a:rPr lang="en-US" noProof="0" dirty="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dirty="0"/>
              <a:t>Add Title / </a:t>
            </a:r>
            <a:r>
              <a:rPr lang="en-US" noProof="0" dirty="0" err="1"/>
              <a:t>Titel</a:t>
            </a:r>
            <a:r>
              <a:rPr lang="en-US" noProof="0" dirty="0"/>
              <a:t> </a:t>
            </a:r>
            <a:r>
              <a:rPr lang="en-US" noProof="0" dirty="0" err="1"/>
              <a:t>hinzufügen</a:t>
            </a:r>
            <a:r>
              <a:rPr lang="en-US" noProof="0" dirty="0"/>
              <a:t> </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noProof="1">
                  <a:solidFill>
                    <a:schemeClr val="tx1"/>
                  </a:solidFill>
                </a:rPr>
                <a:t>© Copyright Sensirion AG, 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tx1"/>
                  </a:solidFill>
                </a:rPr>
                <a:t>Confidential </a:t>
              </a:r>
            </a:p>
          </p:txBody>
        </p:sp>
      </p:grpSp>
      <p:pic>
        <p:nvPicPr>
          <p:cNvPr id="9" name="Grafik 8">
            <a:extLst>
              <a:ext uri="{FF2B5EF4-FFF2-40B4-BE49-F238E27FC236}">
                <a16:creationId xmlns:a16="http://schemas.microsoft.com/office/drawing/2014/main" id="{23D85E1E-44ED-46EF-9CAC-B34705A4CB1A}"/>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011568" y="6356356"/>
            <a:ext cx="1381125" cy="200025"/>
          </a:xfrm>
          <a:prstGeom prst="rect">
            <a:avLst/>
          </a:prstGeom>
        </p:spPr>
      </p:pic>
    </p:spTree>
    <p:extLst>
      <p:ext uri="{BB962C8B-B14F-4D97-AF65-F5344CB8AC3E}">
        <p14:creationId xmlns:p14="http://schemas.microsoft.com/office/powerpoint/2010/main" val="1619382483"/>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Lst>
  <p:hf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p15:clr>
            <a:srgbClr val="000000"/>
          </p15:clr>
        </p15:guide>
        <p15:guide id="2" orient="horz" pos="2160">
          <p15:clr>
            <a:srgbClr val="000000"/>
          </p15:clr>
        </p15:guide>
        <p15:guide id="4" orient="horz" pos="3929">
          <p15:clr>
            <a:srgbClr val="000000"/>
          </p15:clr>
        </p15:guide>
        <p15:guide id="5" pos="529">
          <p15:clr>
            <a:srgbClr val="000000"/>
          </p15:clr>
        </p15:guide>
        <p15:guide id="6" orient="horz" pos="1979">
          <p15:clr>
            <a:srgbClr val="9FCC3B"/>
          </p15:clr>
        </p15:guide>
        <p15:guide id="7" orient="horz" pos="2341">
          <p15:clr>
            <a:srgbClr val="9FCC3B"/>
          </p15:clr>
        </p15:guide>
        <p15:guide id="8" pos="3840">
          <p15:clr>
            <a:srgbClr val="000000"/>
          </p15:clr>
        </p15:guide>
        <p15:guide id="9" orient="horz" pos="572">
          <p15:clr>
            <a:srgbClr val="00000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spTree>
    <p:extLst>
      <p:ext uri="{BB962C8B-B14F-4D97-AF65-F5344CB8AC3E}">
        <p14:creationId xmlns:p14="http://schemas.microsoft.com/office/powerpoint/2010/main" val="3037585114"/>
      </p:ext>
    </p:extLst>
  </p:cSld>
  <p:clrMap bg1="lt1" tx1="dk1" bg2="lt2" tx2="dk2" accent1="accent1" accent2="accent2" accent3="accent3" accent4="accent4" accent5="accent5" accent6="accent6" hlink="hlink" folHlink="folHlink"/>
  <p:sldLayoutIdLst>
    <p:sldLayoutId id="2147484086" r:id="rId1"/>
    <p:sldLayoutId id="2147484238"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Lst>
  <p:hf sldNum="0" hdr="0" ftr="0" dt="0"/>
  <p:txStyles>
    <p:titleStyle>
      <a:lvl1pPr algn="l" defTabSz="914400" rtl="0" eaLnBrk="1" latinLnBrk="0" hangingPunct="1">
        <a:lnSpc>
          <a:spcPct val="90000"/>
        </a:lnSpc>
        <a:spcBef>
          <a:spcPct val="0"/>
        </a:spcBef>
        <a:buNone/>
        <a:defRPr sz="3100" b="1" kern="1200">
          <a:solidFill>
            <a:srgbClr val="66CC33"/>
          </a:solidFill>
          <a:latin typeface="Arial Narrow" panose="020B0606020202030204" pitchFamily="34" charset="0"/>
          <a:ea typeface="+mj-ea"/>
          <a:cs typeface="+mj-cs"/>
        </a:defRPr>
      </a:lvl1pPr>
    </p:titleStyle>
    <p:bodyStyle>
      <a:lvl1pPr marL="0" indent="0" algn="l" defTabSz="900000" rtl="0" eaLnBrk="1" latinLnBrk="0" hangingPunct="1">
        <a:lnSpc>
          <a:spcPct val="100000"/>
        </a:lnSpc>
        <a:spcBef>
          <a:spcPts val="600"/>
        </a:spcBef>
        <a:buSzPct val="105000"/>
        <a:buFontTx/>
        <a:buNone/>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p15:clr>
            <a:srgbClr val="000000"/>
          </p15:clr>
        </p15:guide>
        <p15:guide id="2" orient="horz" pos="2160">
          <p15:clr>
            <a:srgbClr val="000000"/>
          </p15:clr>
        </p15:guide>
        <p15:guide id="4" orient="horz" pos="3929">
          <p15:clr>
            <a:srgbClr val="000000"/>
          </p15:clr>
        </p15:guide>
        <p15:guide id="5" pos="529">
          <p15:clr>
            <a:srgbClr val="000000"/>
          </p15:clr>
        </p15:guide>
        <p15:guide id="6" orient="horz" pos="1979">
          <p15:clr>
            <a:srgbClr val="9FCC3B"/>
          </p15:clr>
        </p15:guide>
        <p15:guide id="7" orient="horz" pos="2341">
          <p15:clr>
            <a:srgbClr val="9FCC3B"/>
          </p15:clr>
        </p15:guide>
        <p15:guide id="8" pos="3840">
          <p15:clr>
            <a:srgbClr val="000000"/>
          </p15:clr>
        </p15:guide>
        <p15:guide id="9" orient="horz" pos="572">
          <p15:clr>
            <a:srgbClr val="00000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a:t>
            </a:r>
            <a:r>
              <a:rPr lang="en-US" noProof="0"/>
              <a:t> </a:t>
            </a:r>
            <a:r>
              <a:rPr lang="en-US" noProof="0" err="1"/>
              <a:t>hinzufügen</a:t>
            </a:r>
            <a:r>
              <a:rPr lang="en-US" noProof="0"/>
              <a:t> </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spTree>
    <p:extLst>
      <p:ext uri="{BB962C8B-B14F-4D97-AF65-F5344CB8AC3E}">
        <p14:creationId xmlns:p14="http://schemas.microsoft.com/office/powerpoint/2010/main" val="588691429"/>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6" r:id="rId13"/>
  </p:sldLayoutIdLst>
  <p:hf sldNum="0"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p15:clr>
            <a:srgbClr val="000000"/>
          </p15:clr>
        </p15:guide>
        <p15:guide id="2" orient="horz" pos="2160">
          <p15:clr>
            <a:srgbClr val="000000"/>
          </p15:clr>
        </p15:guide>
        <p15:guide id="4" orient="horz" pos="3929">
          <p15:clr>
            <a:srgbClr val="000000"/>
          </p15:clr>
        </p15:guide>
        <p15:guide id="5" pos="529">
          <p15:clr>
            <a:srgbClr val="000000"/>
          </p15:clr>
        </p15:guide>
        <p15:guide id="6" orient="horz" pos="1979">
          <p15:clr>
            <a:srgbClr val="9FCC3B"/>
          </p15:clr>
        </p15:guide>
        <p15:guide id="7" orient="horz" pos="2341">
          <p15:clr>
            <a:srgbClr val="9FCC3B"/>
          </p15:clr>
        </p15:guide>
        <p15:guide id="8" pos="3840">
          <p15:clr>
            <a:srgbClr val="000000"/>
          </p15:clr>
        </p15:guide>
        <p15:guide id="9" orient="horz" pos="572">
          <p15:clr>
            <a:srgbClr val="00000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839787" y="908051"/>
            <a:ext cx="10537297" cy="5329238"/>
          </a:xfrm>
          <a:prstGeom prst="rect">
            <a:avLst/>
          </a:prstGeom>
        </p:spPr>
        <p:txBody>
          <a:bodyPr vert="horz" lIns="0" tIns="0" rIns="91440" bIns="0" rtlCol="0">
            <a:noAutofit/>
          </a:bodyPr>
          <a:lstStyle/>
          <a:p>
            <a:pPr lvl="0"/>
            <a:r>
              <a:rPr lang="en-US" noProof="0"/>
              <a:t>Add tex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7" y="283464"/>
            <a:ext cx="10537297"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a:t>
            </a:r>
          </a:p>
        </p:txBody>
      </p:sp>
      <p:grpSp>
        <p:nvGrpSpPr>
          <p:cNvPr id="2" name="Gruppierung 1"/>
          <p:cNvGrpSpPr/>
          <p:nvPr userDrawn="1"/>
        </p:nvGrpSpPr>
        <p:grpSpPr>
          <a:xfrm>
            <a:off x="839769" y="6387669"/>
            <a:ext cx="10537315" cy="235359"/>
            <a:chOff x="839769" y="6369739"/>
            <a:chExt cx="10537315" cy="235359"/>
          </a:xfrm>
        </p:grpSpPr>
        <p:pic>
          <p:nvPicPr>
            <p:cNvPr id="12" name="Bild 1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081084" y="6375533"/>
              <a:ext cx="1296000" cy="223770"/>
            </a:xfrm>
            <a:prstGeom prst="rect">
              <a:avLst/>
            </a:prstGeom>
          </p:spPr>
        </p:pic>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GB" sz="1100">
                  <a:solidFill>
                    <a:schemeClr val="tx1"/>
                  </a:solidFill>
                </a:rPr>
                <a:t>© Copyright </a:t>
              </a:r>
              <a:r>
                <a:rPr lang="en-GB" sz="1100" err="1">
                  <a:solidFill>
                    <a:schemeClr val="tx1"/>
                  </a:solidFill>
                </a:rPr>
                <a:t>Sensirion</a:t>
              </a:r>
              <a:r>
                <a:rPr lang="en-GB" sz="1100">
                  <a:solidFill>
                    <a:schemeClr val="tx1"/>
                  </a:solidFill>
                </a:rPr>
                <a:t> AG, </a:t>
              </a:r>
              <a:r>
                <a:rPr lang="en-GB"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GB" sz="1100">
                  <a:solidFill>
                    <a:schemeClr val="tx1"/>
                  </a:solidFill>
                </a:rPr>
                <a:t>Confidential </a:t>
              </a:r>
            </a:p>
          </p:txBody>
        </p:sp>
      </p:grpSp>
    </p:spTree>
    <p:extLst>
      <p:ext uri="{BB962C8B-B14F-4D97-AF65-F5344CB8AC3E}">
        <p14:creationId xmlns:p14="http://schemas.microsoft.com/office/powerpoint/2010/main" val="3183618008"/>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239" r:id="rId12"/>
    <p:sldLayoutId id="2147484131" r:id="rId13"/>
  </p:sldLayoutIdLst>
  <p:hf sldNum="0" hdr="0" ftr="0" dt="0"/>
  <p:txStyles>
    <p:titleStyle>
      <a:lvl1pPr algn="l" defTabSz="914400" rtl="0" eaLnBrk="1" latinLnBrk="0" hangingPunct="1">
        <a:lnSpc>
          <a:spcPct val="90000"/>
        </a:lnSpc>
        <a:spcBef>
          <a:spcPct val="0"/>
        </a:spcBef>
        <a:buNone/>
        <a:defRPr sz="3100" b="1" kern="1200">
          <a:solidFill>
            <a:srgbClr val="66CC33"/>
          </a:solidFill>
          <a:latin typeface="Arial Narrow" panose="020B0606020202030204" pitchFamily="34" charset="0"/>
          <a:ea typeface="+mj-ea"/>
          <a:cs typeface="+mj-cs"/>
        </a:defRPr>
      </a:lvl1pPr>
    </p:titleStyle>
    <p:bodyStyle>
      <a:lvl1pPr marL="0" indent="0" algn="l" defTabSz="900000" rtl="0" eaLnBrk="1" latinLnBrk="0" hangingPunct="1">
        <a:lnSpc>
          <a:spcPct val="100000"/>
        </a:lnSpc>
        <a:spcBef>
          <a:spcPts val="600"/>
        </a:spcBef>
        <a:buSzPct val="105000"/>
        <a:buFontTx/>
        <a:buNone/>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74">
          <p15:clr>
            <a:srgbClr val="000000"/>
          </p15:clr>
        </p15:guide>
        <p15:guide id="2" orient="horz" pos="2160">
          <p15:clr>
            <a:srgbClr val="000000"/>
          </p15:clr>
        </p15:guide>
        <p15:guide id="4" orient="horz" pos="3929">
          <p15:clr>
            <a:srgbClr val="000000"/>
          </p15:clr>
        </p15:guide>
        <p15:guide id="5" pos="529">
          <p15:clr>
            <a:srgbClr val="000000"/>
          </p15:clr>
        </p15:guide>
        <p15:guide id="6" orient="horz" pos="1979">
          <p15:clr>
            <a:srgbClr val="9FCC3B"/>
          </p15:clr>
        </p15:guide>
        <p15:guide id="7" orient="horz" pos="2341">
          <p15:clr>
            <a:srgbClr val="9FCC3B"/>
          </p15:clr>
        </p15:guide>
        <p15:guide id="8" pos="3840">
          <p15:clr>
            <a:srgbClr val="000000"/>
          </p15:clr>
        </p15:guide>
        <p15:guide id="9" orient="horz" pos="572">
          <p15:clr>
            <a:srgbClr val="00000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Text </a:t>
            </a:r>
            <a:r>
              <a:rPr lang="en-US" noProof="0" err="1"/>
              <a:t>hinzufügen</a:t>
            </a:r>
            <a:r>
              <a:rPr lang="en-US" noProof="0"/>
              <a:t> (</a:t>
            </a:r>
            <a:r>
              <a:rPr lang="en-US" noProof="0" err="1"/>
              <a:t>bei</a:t>
            </a:r>
            <a:r>
              <a:rPr lang="en-US" noProof="0"/>
              <a:t> </a:t>
            </a:r>
            <a:r>
              <a:rPr lang="en-US" noProof="0" err="1"/>
              <a:t>einem</a:t>
            </a:r>
            <a:r>
              <a:rPr lang="en-US" noProof="0"/>
              <a:t> </a:t>
            </a:r>
            <a:r>
              <a:rPr lang="en-US" noProof="0" err="1"/>
              <a:t>Untertitel</a:t>
            </a:r>
            <a:r>
              <a:rPr lang="en-US" noProof="0"/>
              <a:t> </a:t>
            </a:r>
            <a:r>
              <a:rPr lang="en-US" noProof="0" err="1"/>
              <a:t>kann</a:t>
            </a:r>
            <a:r>
              <a:rPr lang="en-US" noProof="0"/>
              <a:t> der Text </a:t>
            </a:r>
            <a:r>
              <a:rPr lang="en-US" noProof="0" err="1"/>
              <a:t>fett</a:t>
            </a:r>
            <a:r>
              <a:rPr lang="en-US" noProof="0"/>
              <a:t> </a:t>
            </a:r>
            <a:r>
              <a:rPr lang="en-US" noProof="0" err="1"/>
              <a:t>gemacht</a:t>
            </a:r>
            <a:r>
              <a:rPr lang="en-US" noProof="0"/>
              <a:t> </a:t>
            </a:r>
            <a:r>
              <a:rPr lang="en-US" noProof="0" err="1"/>
              <a:t>werden</a:t>
            </a:r>
            <a:r>
              <a:rPr lang="en-US" noProof="0"/>
              <a:t>)</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a:t>
            </a:r>
            <a:r>
              <a:rPr lang="en-US" noProof="0"/>
              <a:t> </a:t>
            </a:r>
            <a:r>
              <a:rPr lang="en-US" noProof="0" err="1"/>
              <a:t>hinzufügen</a:t>
            </a:r>
            <a:r>
              <a:rPr lang="en-US" noProof="0"/>
              <a:t> </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spTree>
    <p:extLst>
      <p:ext uri="{BB962C8B-B14F-4D97-AF65-F5344CB8AC3E}">
        <p14:creationId xmlns:p14="http://schemas.microsoft.com/office/powerpoint/2010/main" val="886734798"/>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267" r:id="rId13"/>
  </p:sldLayoutIdLst>
  <p:hf sldNum="0"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p15:clr>
            <a:srgbClr val="000000"/>
          </p15:clr>
        </p15:guide>
        <p15:guide id="2" orient="horz" pos="2160">
          <p15:clr>
            <a:srgbClr val="000000"/>
          </p15:clr>
        </p15:guide>
        <p15:guide id="4" orient="horz" pos="3929">
          <p15:clr>
            <a:srgbClr val="000000"/>
          </p15:clr>
        </p15:guide>
        <p15:guide id="5" pos="529">
          <p15:clr>
            <a:srgbClr val="000000"/>
          </p15:clr>
        </p15:guide>
        <p15:guide id="6" orient="horz" pos="1979">
          <p15:clr>
            <a:srgbClr val="9FCC3B"/>
          </p15:clr>
        </p15:guide>
        <p15:guide id="7" orient="horz" pos="2341">
          <p15:clr>
            <a:srgbClr val="9FCC3B"/>
          </p15:clr>
        </p15:guide>
        <p15:guide id="8" pos="3840">
          <p15:clr>
            <a:srgbClr val="000000"/>
          </p15:clr>
        </p15:guide>
        <p15:guide id="9" orient="horz" pos="572">
          <p15:clr>
            <a:srgbClr val="00000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012245" y="6355559"/>
            <a:ext cx="1380445" cy="304800"/>
          </a:xfrm>
          <a:prstGeom prst="rect">
            <a:avLst/>
          </a:prstGeom>
        </p:spPr>
      </p:pic>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lvl="0"/>
            <a:r>
              <a:rPr lang="en-US" noProof="0"/>
              <a:t>Add text (make this text bold if it should be a subtitle)</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a:t>
            </a:r>
          </a:p>
        </p:txBody>
      </p:sp>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spTree>
    <p:extLst>
      <p:ext uri="{BB962C8B-B14F-4D97-AF65-F5344CB8AC3E}">
        <p14:creationId xmlns:p14="http://schemas.microsoft.com/office/powerpoint/2010/main" val="1641719826"/>
      </p:ext>
    </p:extLst>
  </p:cSld>
  <p:clrMap bg1="lt1" tx1="dk1" bg2="lt2" tx2="dk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 id="2147484176" r:id="rId12"/>
    <p:sldLayoutId id="2147484178" r:id="rId13"/>
    <p:sldLayoutId id="2147484179" r:id="rId14"/>
  </p:sldLayoutIdLst>
  <p:hf sldNum="0" hdr="0" ftr="0" dt="0"/>
  <p:txStyles>
    <p:titleStyle>
      <a:lvl1pPr algn="l" defTabSz="914400" rtl="0" eaLnBrk="1" latinLnBrk="0" hangingPunct="1">
        <a:lnSpc>
          <a:spcPct val="90000"/>
        </a:lnSpc>
        <a:spcBef>
          <a:spcPct val="0"/>
        </a:spcBef>
        <a:buNone/>
        <a:defRPr sz="3100" b="1" kern="1200">
          <a:solidFill>
            <a:srgbClr val="66CC33"/>
          </a:solidFill>
          <a:latin typeface="Arial Narrow" panose="020B0606020202030204" pitchFamily="34" charset="0"/>
          <a:ea typeface="+mj-ea"/>
          <a:cs typeface="+mj-cs"/>
        </a:defRPr>
      </a:lvl1pPr>
    </p:titleStyle>
    <p:bodyStyle>
      <a:lvl1pPr marL="0" indent="0" algn="l" defTabSz="900000" rtl="0" eaLnBrk="1" latinLnBrk="0" hangingPunct="1">
        <a:lnSpc>
          <a:spcPct val="100000"/>
        </a:lnSpc>
        <a:spcBef>
          <a:spcPts val="600"/>
        </a:spcBef>
        <a:buSzPct val="105000"/>
        <a:buFontTx/>
        <a:buNone/>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p15:clr>
            <a:srgbClr val="000000"/>
          </p15:clr>
        </p15:guide>
        <p15:guide id="2" orient="horz" pos="2160">
          <p15:clr>
            <a:srgbClr val="000000"/>
          </p15:clr>
        </p15:guide>
        <p15:guide id="4" orient="horz" pos="3929">
          <p15:clr>
            <a:srgbClr val="000000"/>
          </p15:clr>
        </p15:guide>
        <p15:guide id="5" pos="529">
          <p15:clr>
            <a:srgbClr val="000000"/>
          </p15:clr>
        </p15:guide>
        <p15:guide id="6" orient="horz" pos="1979">
          <p15:clr>
            <a:srgbClr val="9FCC3B"/>
          </p15:clr>
        </p15:guide>
        <p15:guide id="7" orient="horz" pos="2341">
          <p15:clr>
            <a:srgbClr val="9FCC3B"/>
          </p15:clr>
        </p15:guide>
        <p15:guide id="8" pos="3840">
          <p15:clr>
            <a:srgbClr val="000000"/>
          </p15:clr>
        </p15:guide>
        <p15:guide id="9" orient="horz" pos="572">
          <p15:clr>
            <a:srgbClr val="00000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839788" y="908049"/>
            <a:ext cx="10512425" cy="5328000"/>
          </a:xfrm>
          <a:prstGeom prst="rect">
            <a:avLst/>
          </a:prstGeom>
        </p:spPr>
        <p:txBody>
          <a:bodyPr vert="horz" lIns="0" tIns="0" rIns="91440" bIns="0" rtlCol="0">
            <a:noAutofit/>
          </a:bodyPr>
          <a:lstStyle/>
          <a:p>
            <a:pPr marL="0" marR="0" lvl="0" indent="0" algn="l" defTabSz="900000" rtl="0" eaLnBrk="1" fontAlgn="auto" latinLnBrk="0" hangingPunct="1">
              <a:lnSpc>
                <a:spcPct val="100000"/>
              </a:lnSpc>
              <a:spcBef>
                <a:spcPts val="600"/>
              </a:spcBef>
              <a:spcAft>
                <a:spcPts val="0"/>
              </a:spcAft>
              <a:buClrTx/>
              <a:buSzPct val="105000"/>
              <a:buFontTx/>
              <a:buNone/>
              <a:tabLst/>
              <a:defRPr/>
            </a:pPr>
            <a:r>
              <a:rPr lang="en-US" noProof="0"/>
              <a:t>Add text (make this text bold if it should be a subtitle) / </a:t>
            </a:r>
            <a:r>
              <a:rPr lang="de-CH" noProof="0"/>
              <a:t>Text hinzufügen (bei einem Untertitel kann der Text fett gemacht werden)</a:t>
            </a:r>
          </a:p>
          <a:p>
            <a:pPr lvl="1"/>
            <a:r>
              <a:rPr lang="en-US" noProof="0"/>
              <a:t>First bullet</a:t>
            </a:r>
          </a:p>
          <a:p>
            <a:pPr lvl="2"/>
            <a:r>
              <a:rPr lang="en-US" noProof="0"/>
              <a:t>Second bullet</a:t>
            </a:r>
          </a:p>
          <a:p>
            <a:pPr lvl="3"/>
            <a:r>
              <a:rPr lang="en-US" noProof="0"/>
              <a:t>Third bullet</a:t>
            </a:r>
          </a:p>
          <a:p>
            <a:pPr lvl="4"/>
            <a:r>
              <a:rPr lang="en-US" noProof="0"/>
              <a:t>Fourth bullet</a:t>
            </a:r>
          </a:p>
        </p:txBody>
      </p:sp>
      <p:sp>
        <p:nvSpPr>
          <p:cNvPr id="7" name="Rectangle 2"/>
          <p:cNvSpPr>
            <a:spLocks noGrp="1" noChangeArrowheads="1"/>
          </p:cNvSpPr>
          <p:nvPr>
            <p:ph type="title"/>
          </p:nvPr>
        </p:nvSpPr>
        <p:spPr bwMode="auto">
          <a:xfrm>
            <a:off x="839788" y="283464"/>
            <a:ext cx="10512426"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bodyPr>
          <a:lstStyle/>
          <a:p>
            <a:pPr lvl="0"/>
            <a:r>
              <a:rPr lang="en-US" noProof="0"/>
              <a:t>Add Title / </a:t>
            </a:r>
            <a:r>
              <a:rPr lang="en-US" noProof="0" err="1"/>
              <a:t>Titel</a:t>
            </a:r>
            <a:r>
              <a:rPr lang="en-US" noProof="0"/>
              <a:t> </a:t>
            </a:r>
            <a:r>
              <a:rPr lang="en-US" noProof="0" err="1"/>
              <a:t>hinzufügen</a:t>
            </a:r>
            <a:r>
              <a:rPr lang="en-US" noProof="0"/>
              <a:t> </a:t>
            </a:r>
          </a:p>
        </p:txBody>
      </p:sp>
      <p:grpSp>
        <p:nvGrpSpPr>
          <p:cNvPr id="4" name="Group 3"/>
          <p:cNvGrpSpPr/>
          <p:nvPr userDrawn="1"/>
        </p:nvGrpSpPr>
        <p:grpSpPr>
          <a:xfrm>
            <a:off x="839769" y="6355559"/>
            <a:ext cx="10552921" cy="304800"/>
            <a:chOff x="839769" y="6355559"/>
            <a:chExt cx="10552921" cy="304800"/>
          </a:xfrm>
        </p:grpSpPr>
        <p:pic>
          <p:nvPicPr>
            <p:cNvPr id="5" name="Grafik 4">
              <a:extLst>
                <a:ext uri="{FF2B5EF4-FFF2-40B4-BE49-F238E27FC236}">
                  <a16:creationId xmlns:a16="http://schemas.microsoft.com/office/drawing/2014/main" id="{F26D79EF-D20D-4F5F-9B11-35DBA96BE23B}"/>
                </a:ext>
              </a:extLst>
            </p:cNvPr>
            <p:cNvPicPr>
              <a:picLocks noChangeAspect="1"/>
            </p:cNvPicPr>
            <p:nvPr userDrawn="1"/>
          </p:nvPicPr>
          <p:blipFill>
            <a:blip r:embed="rId15">
              <a:extLst>
                <a:ext uri="{28A0092B-C50C-407E-A947-70E740481C1C}">
                  <a14:useLocalDpi xmlns:a14="http://schemas.microsoft.com/office/drawing/2010/main"/>
                </a:ext>
              </a:extLst>
            </a:blip>
            <a:stretch>
              <a:fillRect/>
            </a:stretch>
          </p:blipFill>
          <p:spPr>
            <a:xfrm>
              <a:off x="10012245" y="6355559"/>
              <a:ext cx="1380445" cy="304800"/>
            </a:xfrm>
            <a:prstGeom prst="rect">
              <a:avLst/>
            </a:prstGeom>
          </p:spPr>
        </p:pic>
        <p:grpSp>
          <p:nvGrpSpPr>
            <p:cNvPr id="2" name="Gruppierung 1"/>
            <p:cNvGrpSpPr/>
            <p:nvPr userDrawn="1"/>
          </p:nvGrpSpPr>
          <p:grpSpPr>
            <a:xfrm>
              <a:off x="839769" y="6387669"/>
              <a:ext cx="7608907" cy="235359"/>
              <a:chOff x="839769" y="6369739"/>
              <a:chExt cx="7608907" cy="235359"/>
            </a:xfrm>
          </p:grpSpPr>
          <p:sp>
            <p:nvSpPr>
              <p:cNvPr id="10" name="Fußzeilenplatzhalter 4"/>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 Copyright </a:t>
                </a:r>
                <a:r>
                  <a:rPr lang="en-US" sz="1100" err="1">
                    <a:solidFill>
                      <a:schemeClr val="tx1"/>
                    </a:solidFill>
                  </a:rPr>
                  <a:t>Sensirion</a:t>
                </a:r>
                <a:r>
                  <a:rPr lang="en-US" sz="1100">
                    <a:solidFill>
                      <a:schemeClr val="tx1"/>
                    </a:solidFill>
                  </a:rPr>
                  <a:t> AG, </a:t>
                </a:r>
                <a:r>
                  <a:rPr lang="en-US" sz="1100" noProof="0">
                    <a:solidFill>
                      <a:schemeClr val="tx1"/>
                    </a:solidFill>
                  </a:rPr>
                  <a:t>Switzerland</a:t>
                </a:r>
              </a:p>
            </p:txBody>
          </p:sp>
          <p:sp>
            <p:nvSpPr>
              <p:cNvPr id="11" name="Fußzeilenplatzhalter 4"/>
              <p:cNvSpPr txBox="1">
                <a:spLocks/>
              </p:cNvSpPr>
              <p:nvPr userDrawn="1"/>
            </p:nvSpPr>
            <p:spPr bwMode="auto">
              <a:xfrm>
                <a:off x="571195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tx1"/>
                    </a:solidFill>
                  </a:rPr>
                  <a:t>Confidential </a:t>
                </a:r>
              </a:p>
            </p:txBody>
          </p:sp>
        </p:grpSp>
      </p:grpSp>
    </p:spTree>
    <p:extLst>
      <p:ext uri="{BB962C8B-B14F-4D97-AF65-F5344CB8AC3E}">
        <p14:creationId xmlns:p14="http://schemas.microsoft.com/office/powerpoint/2010/main" val="3177638158"/>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5" r:id="rId13"/>
  </p:sldLayoutIdLst>
  <p:hf sldNum="0" hdr="0" ftr="0" dt="0"/>
  <p:txStyles>
    <p:title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p:titleStyle>
    <p:body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p15:clr>
            <a:srgbClr val="000000"/>
          </p15:clr>
        </p15:guide>
        <p15:guide id="2" orient="horz" pos="2160">
          <p15:clr>
            <a:srgbClr val="000000"/>
          </p15:clr>
        </p15:guide>
        <p15:guide id="4" orient="horz" pos="3929">
          <p15:clr>
            <a:srgbClr val="000000"/>
          </p15:clr>
        </p15:guide>
        <p15:guide id="5" pos="529">
          <p15:clr>
            <a:srgbClr val="000000"/>
          </p15:clr>
        </p15:guide>
        <p15:guide id="6" orient="horz" pos="1979">
          <p15:clr>
            <a:srgbClr val="9FCC3B"/>
          </p15:clr>
        </p15:guide>
        <p15:guide id="7" orient="horz" pos="2341">
          <p15:clr>
            <a:srgbClr val="9FCC3B"/>
          </p15:clr>
        </p15:guide>
        <p15:guide id="8" pos="3840">
          <p15:clr>
            <a:srgbClr val="000000"/>
          </p15:clr>
        </p15:guide>
        <p15:guide id="9" orient="horz" pos="572">
          <p15:clr>
            <a:srgbClr val="00000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70984" y="287338"/>
            <a:ext cx="10843683" cy="647700"/>
          </a:xfrm>
          <a:prstGeom prst="rect">
            <a:avLst/>
          </a:prstGeom>
          <a:noFill/>
          <a:ln w="9525">
            <a:noFill/>
            <a:miter lim="800000"/>
            <a:headEnd/>
            <a:tailEnd/>
          </a:ln>
        </p:spPr>
        <p:txBody>
          <a:bodyPr vert="horz" wrap="none" lIns="0" tIns="0" rIns="0" bIns="0" numCol="1" anchor="ctr" anchorCtr="0" compatLnSpc="1">
            <a:prstTxWarp prst="textNoShape">
              <a:avLst/>
            </a:prstTxWarp>
          </a:bodyPr>
          <a:lstStyle/>
          <a:p>
            <a:pPr lvl="0"/>
            <a:r>
              <a:rPr lang="de-DE"/>
              <a:t>Titelmasterformat durch Klicken bearbeiten</a:t>
            </a:r>
          </a:p>
        </p:txBody>
      </p:sp>
      <p:sp>
        <p:nvSpPr>
          <p:cNvPr id="1027" name="Rectangle 3"/>
          <p:cNvSpPr>
            <a:spLocks noGrp="1" noChangeArrowheads="1"/>
          </p:cNvSpPr>
          <p:nvPr>
            <p:ph type="body" idx="1"/>
          </p:nvPr>
        </p:nvSpPr>
        <p:spPr bwMode="auto">
          <a:xfrm>
            <a:off x="670984" y="1835150"/>
            <a:ext cx="10843683" cy="431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1" name="Fußzeilenplatzhalter 4"/>
          <p:cNvSpPr txBox="1">
            <a:spLocks/>
          </p:cNvSpPr>
          <p:nvPr/>
        </p:nvSpPr>
        <p:spPr>
          <a:xfrm>
            <a:off x="3776133" y="6281739"/>
            <a:ext cx="4622800" cy="365125"/>
          </a:xfrm>
          <a:prstGeom prst="rect">
            <a:avLst/>
          </a:prstGeom>
        </p:spPr>
        <p:txBody>
          <a:bodyPr lIns="0" tIns="0" rIns="0" bIns="0" anchor="ctr"/>
          <a:lstStyle>
            <a:lvl1pPr algn="l">
              <a:defRPr sz="1100">
                <a:solidFill>
                  <a:srgbClr val="7B7373"/>
                </a:solidFill>
                <a:latin typeface="Arial Narrow" pitchFamily="34" charset="0"/>
              </a:defRPr>
            </a:lvl1pPr>
          </a:lstStyle>
          <a:p>
            <a:pPr algn="ctr">
              <a:defRPr/>
            </a:pPr>
            <a:r>
              <a:rPr lang="de-CH" sz="1100" err="1"/>
              <a:t>confidential</a:t>
            </a:r>
            <a:endParaRPr lang="de-CH" sz="1100"/>
          </a:p>
        </p:txBody>
      </p:sp>
      <p:pic>
        <p:nvPicPr>
          <p:cNvPr id="1029" name="Picture 2" descr="S:\Verkauf_Marketing\01_Marketing\03_Corporate_Design\02_Logos\01_Logo_Sensirion_Green\Screen\Sensirion_green_RGB_300dpi_4cm.jpg"/>
          <p:cNvPicPr>
            <a:picLocks noChangeAspect="1" noChangeArrowheads="1"/>
          </p:cNvPicPr>
          <p:nvPr/>
        </p:nvPicPr>
        <p:blipFill>
          <a:blip r:embed="rId18" cstate="print"/>
          <a:srcRect/>
          <a:stretch>
            <a:fillRect/>
          </a:stretch>
        </p:blipFill>
        <p:spPr bwMode="auto">
          <a:xfrm>
            <a:off x="9601201" y="6335713"/>
            <a:ext cx="1917700" cy="247650"/>
          </a:xfrm>
          <a:prstGeom prst="rect">
            <a:avLst/>
          </a:prstGeom>
          <a:noFill/>
          <a:ln w="9525">
            <a:noFill/>
            <a:miter lim="800000"/>
            <a:headEnd/>
            <a:tailEnd/>
          </a:ln>
        </p:spPr>
      </p:pic>
      <p:sp>
        <p:nvSpPr>
          <p:cNvPr id="2" name="Fußzeilenplatzhalter 4"/>
          <p:cNvSpPr txBox="1">
            <a:spLocks/>
          </p:cNvSpPr>
          <p:nvPr/>
        </p:nvSpPr>
        <p:spPr>
          <a:xfrm>
            <a:off x="670984" y="6278564"/>
            <a:ext cx="4622800" cy="365125"/>
          </a:xfrm>
          <a:prstGeom prst="rect">
            <a:avLst/>
          </a:prstGeom>
        </p:spPr>
        <p:txBody>
          <a:bodyPr lIns="0" tIns="0" rIns="0" bIns="0" anchor="ctr"/>
          <a:lstStyle/>
          <a:p>
            <a:pPr fontAlgn="base">
              <a:spcBef>
                <a:spcPct val="0"/>
              </a:spcBef>
              <a:spcAft>
                <a:spcPct val="0"/>
              </a:spcAft>
              <a:defRPr/>
            </a:pPr>
            <a:r>
              <a:rPr lang="de-CH" sz="1100">
                <a:solidFill>
                  <a:srgbClr val="7B7373"/>
                </a:solidFill>
              </a:rPr>
              <a:t>© Copyright Sensirion AG, Switzerland</a:t>
            </a:r>
          </a:p>
        </p:txBody>
      </p:sp>
      <p:sp>
        <p:nvSpPr>
          <p:cNvPr id="9" name="Line 6"/>
          <p:cNvSpPr>
            <a:spLocks noChangeShapeType="1"/>
          </p:cNvSpPr>
          <p:nvPr/>
        </p:nvSpPr>
        <p:spPr bwMode="auto">
          <a:xfrm rot="10800000" flipH="1">
            <a:off x="670985" y="936625"/>
            <a:ext cx="10850033" cy="0"/>
          </a:xfrm>
          <a:prstGeom prst="line">
            <a:avLst/>
          </a:prstGeom>
          <a:noFill/>
          <a:ln w="22225">
            <a:solidFill>
              <a:srgbClr val="66CC21"/>
            </a:solidFill>
            <a:round/>
            <a:headEnd/>
            <a:tailEnd/>
          </a:ln>
        </p:spPr>
        <p:txBody>
          <a:bodyPr lIns="0" tIns="0" rIns="0" bIns="0"/>
          <a:lstStyle/>
          <a:p>
            <a:pPr>
              <a:defRPr/>
            </a:pPr>
            <a:endParaRPr lang="de-CH" sz="2000">
              <a:solidFill>
                <a:srgbClr val="000000"/>
              </a:solidFill>
            </a:endParaRPr>
          </a:p>
        </p:txBody>
      </p:sp>
    </p:spTree>
    <p:extLst>
      <p:ext uri="{BB962C8B-B14F-4D97-AF65-F5344CB8AC3E}">
        <p14:creationId xmlns:p14="http://schemas.microsoft.com/office/powerpoint/2010/main" val="3969527260"/>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 id="2147484210" r:id="rId14"/>
    <p:sldLayoutId id="2147484211" r:id="rId15"/>
    <p:sldLayoutId id="2147484212" r:id="rId16"/>
  </p:sldLayoutIdLst>
  <p:txStyles>
    <p:titleStyle>
      <a:lvl1pPr algn="l" rtl="0" eaLnBrk="1" fontAlgn="base" hangingPunct="1">
        <a:spcBef>
          <a:spcPct val="0"/>
        </a:spcBef>
        <a:spcAft>
          <a:spcPct val="0"/>
        </a:spcAft>
        <a:defRPr sz="3100">
          <a:solidFill>
            <a:srgbClr val="66CC33"/>
          </a:solidFill>
          <a:latin typeface="+mj-lt"/>
          <a:ea typeface="+mj-ea"/>
          <a:cs typeface="+mj-cs"/>
        </a:defRPr>
      </a:lvl1pPr>
      <a:lvl2pPr algn="l" rtl="0" eaLnBrk="1" fontAlgn="base" hangingPunct="1">
        <a:spcBef>
          <a:spcPct val="0"/>
        </a:spcBef>
        <a:spcAft>
          <a:spcPct val="0"/>
        </a:spcAft>
        <a:defRPr sz="3100">
          <a:solidFill>
            <a:srgbClr val="66CC33"/>
          </a:solidFill>
          <a:latin typeface="Arial Narrow" pitchFamily="34" charset="0"/>
        </a:defRPr>
      </a:lvl2pPr>
      <a:lvl3pPr algn="l" rtl="0" eaLnBrk="1" fontAlgn="base" hangingPunct="1">
        <a:spcBef>
          <a:spcPct val="0"/>
        </a:spcBef>
        <a:spcAft>
          <a:spcPct val="0"/>
        </a:spcAft>
        <a:defRPr sz="3100">
          <a:solidFill>
            <a:srgbClr val="66CC33"/>
          </a:solidFill>
          <a:latin typeface="Arial Narrow" pitchFamily="34" charset="0"/>
        </a:defRPr>
      </a:lvl3pPr>
      <a:lvl4pPr algn="l" rtl="0" eaLnBrk="1" fontAlgn="base" hangingPunct="1">
        <a:spcBef>
          <a:spcPct val="0"/>
        </a:spcBef>
        <a:spcAft>
          <a:spcPct val="0"/>
        </a:spcAft>
        <a:defRPr sz="3100">
          <a:solidFill>
            <a:srgbClr val="66CC33"/>
          </a:solidFill>
          <a:latin typeface="Arial Narrow" pitchFamily="34" charset="0"/>
        </a:defRPr>
      </a:lvl4pPr>
      <a:lvl5pPr algn="l" rtl="0" eaLnBrk="1" fontAlgn="base" hangingPunct="1">
        <a:spcBef>
          <a:spcPct val="0"/>
        </a:spcBef>
        <a:spcAft>
          <a:spcPct val="0"/>
        </a:spcAft>
        <a:defRPr sz="3100">
          <a:solidFill>
            <a:srgbClr val="66CC33"/>
          </a:solidFill>
          <a:latin typeface="Arial Narrow" pitchFamily="34" charset="0"/>
        </a:defRPr>
      </a:lvl5pPr>
      <a:lvl6pPr marL="457200" algn="l" rtl="0" eaLnBrk="1" fontAlgn="base" hangingPunct="1">
        <a:spcBef>
          <a:spcPct val="0"/>
        </a:spcBef>
        <a:spcAft>
          <a:spcPct val="0"/>
        </a:spcAft>
        <a:defRPr sz="3100">
          <a:solidFill>
            <a:srgbClr val="66CC33"/>
          </a:solidFill>
          <a:latin typeface="Arial Narrow" pitchFamily="34" charset="0"/>
        </a:defRPr>
      </a:lvl6pPr>
      <a:lvl7pPr marL="914400" algn="l" rtl="0" eaLnBrk="1" fontAlgn="base" hangingPunct="1">
        <a:spcBef>
          <a:spcPct val="0"/>
        </a:spcBef>
        <a:spcAft>
          <a:spcPct val="0"/>
        </a:spcAft>
        <a:defRPr sz="3100">
          <a:solidFill>
            <a:srgbClr val="66CC33"/>
          </a:solidFill>
          <a:latin typeface="Arial Narrow" pitchFamily="34" charset="0"/>
        </a:defRPr>
      </a:lvl7pPr>
      <a:lvl8pPr marL="1371600" algn="l" rtl="0" eaLnBrk="1" fontAlgn="base" hangingPunct="1">
        <a:spcBef>
          <a:spcPct val="0"/>
        </a:spcBef>
        <a:spcAft>
          <a:spcPct val="0"/>
        </a:spcAft>
        <a:defRPr sz="3100">
          <a:solidFill>
            <a:srgbClr val="66CC33"/>
          </a:solidFill>
          <a:latin typeface="Arial Narrow" pitchFamily="34" charset="0"/>
        </a:defRPr>
      </a:lvl8pPr>
      <a:lvl9pPr marL="1828800" algn="l" rtl="0" eaLnBrk="1" fontAlgn="base" hangingPunct="1">
        <a:spcBef>
          <a:spcPct val="0"/>
        </a:spcBef>
        <a:spcAft>
          <a:spcPct val="0"/>
        </a:spcAft>
        <a:defRPr sz="3100">
          <a:solidFill>
            <a:srgbClr val="66CC33"/>
          </a:solidFill>
          <a:latin typeface="Arial Narrow" pitchFamily="34" charset="0"/>
        </a:defRPr>
      </a:lvl9pPr>
    </p:titleStyle>
    <p:bodyStyle>
      <a:lvl1pPr marL="342900" indent="-342900" algn="l" rtl="0" eaLnBrk="1" fontAlgn="base" hangingPunct="1">
        <a:spcBef>
          <a:spcPts val="2400"/>
        </a:spcBef>
        <a:spcAft>
          <a:spcPts val="900"/>
        </a:spcAft>
        <a:tabLst>
          <a:tab pos="0" algn="l"/>
          <a:tab pos="323850" algn="l"/>
          <a:tab pos="654050" algn="l"/>
          <a:tab pos="927100" algn="l"/>
          <a:tab pos="1174750" algn="l"/>
        </a:tabLst>
        <a:defRPr sz="2400">
          <a:solidFill>
            <a:srgbClr val="7B7373"/>
          </a:solidFill>
          <a:latin typeface="+mn-lt"/>
          <a:ea typeface="+mn-ea"/>
          <a:cs typeface="+mn-cs"/>
        </a:defRPr>
      </a:lvl1pPr>
      <a:lvl2pPr marL="330200" indent="-328613" algn="l" rtl="0" eaLnBrk="1" fontAlgn="base" hangingPunct="1">
        <a:spcBef>
          <a:spcPts val="1100"/>
        </a:spcBef>
        <a:spcAft>
          <a:spcPct val="0"/>
        </a:spcAft>
        <a:buClr>
          <a:srgbClr val="7B7373"/>
        </a:buClr>
        <a:buSzPct val="105000"/>
        <a:buFont typeface="Wingdings" pitchFamily="2" charset="2"/>
        <a:buChar char="§"/>
        <a:tabLst>
          <a:tab pos="0" algn="l"/>
          <a:tab pos="323850" algn="l"/>
          <a:tab pos="654050" algn="l"/>
          <a:tab pos="927100" algn="l"/>
          <a:tab pos="1174750" algn="l"/>
        </a:tabLst>
        <a:defRPr sz="2000">
          <a:solidFill>
            <a:schemeClr val="tx1"/>
          </a:solidFill>
          <a:latin typeface="+mn-lt"/>
        </a:defRPr>
      </a:lvl2pPr>
      <a:lvl3pPr marL="654050" indent="-273050" algn="l" rtl="0" eaLnBrk="1" fontAlgn="base" hangingPunct="1">
        <a:spcBef>
          <a:spcPts val="300"/>
        </a:spcBef>
        <a:spcAft>
          <a:spcPct val="0"/>
        </a:spcAft>
        <a:buClr>
          <a:srgbClr val="7B7373"/>
        </a:buClr>
        <a:buSzPct val="95000"/>
        <a:buFont typeface="Wingdings" pitchFamily="2" charset="2"/>
        <a:buChar char="§"/>
        <a:tabLst>
          <a:tab pos="0" algn="l"/>
          <a:tab pos="323850" algn="l"/>
          <a:tab pos="654050" algn="l"/>
          <a:tab pos="927100" algn="l"/>
          <a:tab pos="1174750" algn="l"/>
        </a:tabLst>
        <a:defRPr sz="2000">
          <a:solidFill>
            <a:schemeClr val="tx1"/>
          </a:solidFill>
          <a:latin typeface="+mn-lt"/>
        </a:defRPr>
      </a:lvl3pPr>
      <a:lvl4pPr marL="927100" indent="-209550" algn="l" rtl="0" eaLnBrk="1" fontAlgn="base" hangingPunct="1">
        <a:spcBef>
          <a:spcPts val="100"/>
        </a:spcBef>
        <a:spcAft>
          <a:spcPct val="0"/>
        </a:spcAft>
        <a:buClr>
          <a:srgbClr val="7B7373"/>
        </a:buClr>
        <a:buSzPct val="85000"/>
        <a:buFont typeface="Wingdings" pitchFamily="2" charset="2"/>
        <a:buChar char="§"/>
        <a:tabLst>
          <a:tab pos="0" algn="l"/>
          <a:tab pos="323850" algn="l"/>
          <a:tab pos="654050" algn="l"/>
          <a:tab pos="927100" algn="l"/>
          <a:tab pos="1174750" algn="l"/>
        </a:tabLst>
        <a:defRPr sz="2000">
          <a:solidFill>
            <a:schemeClr val="tx1"/>
          </a:solidFill>
          <a:latin typeface="+mn-lt"/>
        </a:defRPr>
      </a:lvl4pPr>
      <a:lvl5pPr marL="11811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5pPr>
      <a:lvl6pPr marL="16383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6pPr>
      <a:lvl7pPr marL="20955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7pPr>
      <a:lvl8pPr marL="25527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8pPr>
      <a:lvl9pPr marL="3009900" indent="-177800" algn="l" rtl="0" eaLnBrk="1" fontAlgn="base" hangingPunct="1">
        <a:spcBef>
          <a:spcPct val="0"/>
        </a:spcBef>
        <a:spcAft>
          <a:spcPct val="0"/>
        </a:spcAft>
        <a:buClr>
          <a:srgbClr val="7B7373"/>
        </a:buClr>
        <a:buSzPct val="75000"/>
        <a:buFont typeface="Wingdings" pitchFamily="2" charset="2"/>
        <a:buChar char="§"/>
        <a:tabLst>
          <a:tab pos="0" algn="l"/>
          <a:tab pos="323850" algn="l"/>
          <a:tab pos="654050" algn="l"/>
          <a:tab pos="927100" algn="l"/>
          <a:tab pos="1174750" algn="l"/>
        </a:tabLst>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 Id="rId9" Type="http://schemas.openxmlformats.org/officeDocument/2006/relationships/image" Target="../media/image128.png"/></Relationships>
</file>

<file path=ppt/slides/_rels/slide100.xml.rels><?xml version="1.0" encoding="UTF-8" standalone="yes"?>
<Relationships xmlns="http://schemas.openxmlformats.org/package/2006/relationships"><Relationship Id="rId3" Type="http://schemas.openxmlformats.org/officeDocument/2006/relationships/image" Target="../media/image633.png"/><Relationship Id="rId2" Type="http://schemas.openxmlformats.org/officeDocument/2006/relationships/image" Target="../media/image632.png"/><Relationship Id="rId1" Type="http://schemas.openxmlformats.org/officeDocument/2006/relationships/slideLayout" Target="../slideLayouts/slideLayout2.xml"/><Relationship Id="rId5" Type="http://schemas.openxmlformats.org/officeDocument/2006/relationships/image" Target="../media/image635.jpeg"/><Relationship Id="rId4" Type="http://schemas.openxmlformats.org/officeDocument/2006/relationships/image" Target="../media/image634.jpeg"/></Relationships>
</file>

<file path=ppt/slides/_rels/slide101.xml.rels><?xml version="1.0" encoding="UTF-8" standalone="yes"?>
<Relationships xmlns="http://schemas.openxmlformats.org/package/2006/relationships"><Relationship Id="rId3" Type="http://schemas.openxmlformats.org/officeDocument/2006/relationships/image" Target="../media/image636.jpeg"/><Relationship Id="rId2" Type="http://schemas.openxmlformats.org/officeDocument/2006/relationships/notesSlide" Target="../notesSlides/notesSlide37.xml"/><Relationship Id="rId1" Type="http://schemas.openxmlformats.org/officeDocument/2006/relationships/slideLayout" Target="../slideLayouts/slideLayout15.xml"/><Relationship Id="rId5" Type="http://schemas.openxmlformats.org/officeDocument/2006/relationships/image" Target="../media/image638.jpeg"/><Relationship Id="rId4" Type="http://schemas.openxmlformats.org/officeDocument/2006/relationships/image" Target="../media/image637.jpe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3" Type="http://schemas.openxmlformats.org/officeDocument/2006/relationships/image" Target="../media/image640.png"/><Relationship Id="rId2" Type="http://schemas.openxmlformats.org/officeDocument/2006/relationships/image" Target="../media/image639.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642.jpeg"/><Relationship Id="rId2" Type="http://schemas.openxmlformats.org/officeDocument/2006/relationships/image" Target="../media/image641.jpe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hyperlink" Target="https://developer.sensirion.com/home/" TargetMode="External"/><Relationship Id="rId4" Type="http://schemas.openxmlformats.org/officeDocument/2006/relationships/image" Target="../media/image643.png"/></Relationships>
</file>

<file path=ppt/slides/_rels/slide106.xml.rels><?xml version="1.0" encoding="UTF-8" standalone="yes"?>
<Relationships xmlns="http://schemas.openxmlformats.org/package/2006/relationships"><Relationship Id="rId3" Type="http://schemas.openxmlformats.org/officeDocument/2006/relationships/image" Target="../media/image644.jpeg"/><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646.png"/><Relationship Id="rId4" Type="http://schemas.openxmlformats.org/officeDocument/2006/relationships/image" Target="../media/image645.jpeg"/></Relationships>
</file>

<file path=ppt/slides/_rels/slide107.xml.rels><?xml version="1.0" encoding="UTF-8" standalone="yes"?>
<Relationships xmlns="http://schemas.openxmlformats.org/package/2006/relationships"><Relationship Id="rId8" Type="http://schemas.openxmlformats.org/officeDocument/2006/relationships/image" Target="../media/image652.jpeg"/><Relationship Id="rId3" Type="http://schemas.openxmlformats.org/officeDocument/2006/relationships/image" Target="../media/image647.jpeg"/><Relationship Id="rId7" Type="http://schemas.openxmlformats.org/officeDocument/2006/relationships/image" Target="../media/image651.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650.png"/><Relationship Id="rId5" Type="http://schemas.openxmlformats.org/officeDocument/2006/relationships/image" Target="../media/image649.gif"/><Relationship Id="rId10" Type="http://schemas.openxmlformats.org/officeDocument/2006/relationships/image" Target="../media/image654.jpeg"/><Relationship Id="rId4" Type="http://schemas.openxmlformats.org/officeDocument/2006/relationships/image" Target="../media/image648.png"/><Relationship Id="rId9" Type="http://schemas.openxmlformats.org/officeDocument/2006/relationships/image" Target="../media/image653.jpeg"/></Relationships>
</file>

<file path=ppt/slides/_rels/slide108.xml.rels><?xml version="1.0" encoding="UTF-8" standalone="yes"?>
<Relationships xmlns="http://schemas.openxmlformats.org/package/2006/relationships"><Relationship Id="rId8" Type="http://schemas.openxmlformats.org/officeDocument/2006/relationships/image" Target="../media/image660.png"/><Relationship Id="rId3" Type="http://schemas.openxmlformats.org/officeDocument/2006/relationships/image" Target="../media/image655.png"/><Relationship Id="rId7" Type="http://schemas.openxmlformats.org/officeDocument/2006/relationships/image" Target="../media/image659.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658.jpeg"/><Relationship Id="rId5" Type="http://schemas.openxmlformats.org/officeDocument/2006/relationships/image" Target="../media/image657.png"/><Relationship Id="rId4" Type="http://schemas.openxmlformats.org/officeDocument/2006/relationships/image" Target="../media/image656.jpeg"/></Relationships>
</file>

<file path=ppt/slides/_rels/slide109.xml.rels><?xml version="1.0" encoding="UTF-8" standalone="yes"?>
<Relationships xmlns="http://schemas.openxmlformats.org/package/2006/relationships"><Relationship Id="rId3" Type="http://schemas.openxmlformats.org/officeDocument/2006/relationships/image" Target="../media/image661.png"/><Relationship Id="rId2" Type="http://schemas.openxmlformats.org/officeDocument/2006/relationships/hyperlink" Target="https://www.st.com/resource/en/technical_note/tn1426-transition-guide-for-hts221-to-sht4x--stmicroelectronics.pdf" TargetMode="External"/><Relationship Id="rId1" Type="http://schemas.openxmlformats.org/officeDocument/2006/relationships/slideLayout" Target="../slideLayouts/slideLayout4.xml"/><Relationship Id="rId4" Type="http://schemas.openxmlformats.org/officeDocument/2006/relationships/image" Target="../media/image66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111.xml.rels><?xml version="1.0" encoding="UTF-8" standalone="yes"?>
<Relationships xmlns="http://schemas.openxmlformats.org/package/2006/relationships"><Relationship Id="rId3" Type="http://schemas.openxmlformats.org/officeDocument/2006/relationships/image" Target="../media/image664.png"/><Relationship Id="rId2" Type="http://schemas.openxmlformats.org/officeDocument/2006/relationships/image" Target="../media/image663.png"/><Relationship Id="rId1" Type="http://schemas.openxmlformats.org/officeDocument/2006/relationships/slideLayout" Target="../slideLayouts/slideLayout21.xml"/></Relationships>
</file>

<file path=ppt/slides/_rels/slide112.xml.rels><?xml version="1.0" encoding="UTF-8" standalone="yes"?>
<Relationships xmlns="http://schemas.openxmlformats.org/package/2006/relationships"><Relationship Id="rId3" Type="http://schemas.openxmlformats.org/officeDocument/2006/relationships/image" Target="../media/image666.png"/><Relationship Id="rId2" Type="http://schemas.openxmlformats.org/officeDocument/2006/relationships/image" Target="../media/image665.png"/><Relationship Id="rId1" Type="http://schemas.openxmlformats.org/officeDocument/2006/relationships/slideLayout" Target="../slideLayouts/slideLayout21.xml"/></Relationships>
</file>

<file path=ppt/slides/_rels/slide113.xml.rels><?xml version="1.0" encoding="UTF-8" standalone="yes"?>
<Relationships xmlns="http://schemas.openxmlformats.org/package/2006/relationships"><Relationship Id="rId3" Type="http://schemas.openxmlformats.org/officeDocument/2006/relationships/image" Target="../media/image668.jpeg"/><Relationship Id="rId2" Type="http://schemas.openxmlformats.org/officeDocument/2006/relationships/image" Target="../media/image667.png"/><Relationship Id="rId1" Type="http://schemas.openxmlformats.org/officeDocument/2006/relationships/slideLayout" Target="../slideLayouts/slideLayout21.xml"/><Relationship Id="rId5" Type="http://schemas.openxmlformats.org/officeDocument/2006/relationships/image" Target="../media/image670.jpeg"/><Relationship Id="rId4" Type="http://schemas.openxmlformats.org/officeDocument/2006/relationships/image" Target="../media/image669.jpeg"/></Relationships>
</file>

<file path=ppt/slides/_rels/slide114.xml.rels><?xml version="1.0" encoding="UTF-8" standalone="yes"?>
<Relationships xmlns="http://schemas.openxmlformats.org/package/2006/relationships"><Relationship Id="rId3" Type="http://schemas.openxmlformats.org/officeDocument/2006/relationships/image" Target="../media/image672.jpeg"/><Relationship Id="rId2" Type="http://schemas.openxmlformats.org/officeDocument/2006/relationships/image" Target="../media/image671.png"/><Relationship Id="rId1" Type="http://schemas.openxmlformats.org/officeDocument/2006/relationships/slideLayout" Target="../slideLayouts/slideLayout21.xml"/><Relationship Id="rId4" Type="http://schemas.openxmlformats.org/officeDocument/2006/relationships/image" Target="../media/image673.jpe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1" Type="http://schemas.openxmlformats.org/officeDocument/2006/relationships/tags" Target="../tags/tag6.xml"/><Relationship Id="rId6" Type="http://schemas.openxmlformats.org/officeDocument/2006/relationships/tags" Target="../tags/tag11.xml"/><Relationship Id="rId212" Type="http://schemas.openxmlformats.org/officeDocument/2006/relationships/tags" Target="../tags/tag217.xml"/><Relationship Id="rId233" Type="http://schemas.openxmlformats.org/officeDocument/2006/relationships/tags" Target="../tags/tag238.xml"/><Relationship Id="rId238" Type="http://schemas.openxmlformats.org/officeDocument/2006/relationships/tags" Target="../tags/tag243.xml"/><Relationship Id="rId254" Type="http://schemas.openxmlformats.org/officeDocument/2006/relationships/tags" Target="../tags/tag259.xml"/><Relationship Id="rId259" Type="http://schemas.openxmlformats.org/officeDocument/2006/relationships/tags" Target="../tags/tag264.xml"/><Relationship Id="rId23" Type="http://schemas.openxmlformats.org/officeDocument/2006/relationships/tags" Target="../tags/tag28.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119" Type="http://schemas.openxmlformats.org/officeDocument/2006/relationships/tags" Target="../tags/tag124.xml"/><Relationship Id="rId44" Type="http://schemas.openxmlformats.org/officeDocument/2006/relationships/tags" Target="../tags/tag49.xml"/><Relationship Id="rId60" Type="http://schemas.openxmlformats.org/officeDocument/2006/relationships/tags" Target="../tags/tag65.xml"/><Relationship Id="rId65" Type="http://schemas.openxmlformats.org/officeDocument/2006/relationships/tags" Target="../tags/tag70.xml"/><Relationship Id="rId81" Type="http://schemas.openxmlformats.org/officeDocument/2006/relationships/tags" Target="../tags/tag86.xml"/><Relationship Id="rId86" Type="http://schemas.openxmlformats.org/officeDocument/2006/relationships/tags" Target="../tags/tag91.xml"/><Relationship Id="rId130" Type="http://schemas.openxmlformats.org/officeDocument/2006/relationships/tags" Target="../tags/tag135.xml"/><Relationship Id="rId135" Type="http://schemas.openxmlformats.org/officeDocument/2006/relationships/tags" Target="../tags/tag140.xml"/><Relationship Id="rId151" Type="http://schemas.openxmlformats.org/officeDocument/2006/relationships/tags" Target="../tags/tag156.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172" Type="http://schemas.openxmlformats.org/officeDocument/2006/relationships/tags" Target="../tags/tag177.xml"/><Relationship Id="rId193" Type="http://schemas.openxmlformats.org/officeDocument/2006/relationships/tags" Target="../tags/tag198.xml"/><Relationship Id="rId202" Type="http://schemas.openxmlformats.org/officeDocument/2006/relationships/tags" Target="../tags/tag207.xml"/><Relationship Id="rId207" Type="http://schemas.openxmlformats.org/officeDocument/2006/relationships/tags" Target="../tags/tag212.xml"/><Relationship Id="rId223" Type="http://schemas.openxmlformats.org/officeDocument/2006/relationships/tags" Target="../tags/tag228.xml"/><Relationship Id="rId228" Type="http://schemas.openxmlformats.org/officeDocument/2006/relationships/tags" Target="../tags/tag233.xml"/><Relationship Id="rId244" Type="http://schemas.openxmlformats.org/officeDocument/2006/relationships/tags" Target="../tags/tag249.xml"/><Relationship Id="rId249" Type="http://schemas.openxmlformats.org/officeDocument/2006/relationships/tags" Target="../tags/tag254.xml"/><Relationship Id="rId13" Type="http://schemas.openxmlformats.org/officeDocument/2006/relationships/tags" Target="../tags/tag18.xml"/><Relationship Id="rId18" Type="http://schemas.openxmlformats.org/officeDocument/2006/relationships/tags" Target="../tags/tag23.xml"/><Relationship Id="rId39" Type="http://schemas.openxmlformats.org/officeDocument/2006/relationships/tags" Target="../tags/tag44.xml"/><Relationship Id="rId109" Type="http://schemas.openxmlformats.org/officeDocument/2006/relationships/tags" Target="../tags/tag114.xml"/><Relationship Id="rId260" Type="http://schemas.openxmlformats.org/officeDocument/2006/relationships/slideLayout" Target="../slideLayouts/slideLayout178.xml"/><Relationship Id="rId34" Type="http://schemas.openxmlformats.org/officeDocument/2006/relationships/tags" Target="../tags/tag39.xml"/><Relationship Id="rId50" Type="http://schemas.openxmlformats.org/officeDocument/2006/relationships/tags" Target="../tags/tag55.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04" Type="http://schemas.openxmlformats.org/officeDocument/2006/relationships/tags" Target="../tags/tag109.xml"/><Relationship Id="rId120" Type="http://schemas.openxmlformats.org/officeDocument/2006/relationships/tags" Target="../tags/tag125.xml"/><Relationship Id="rId125" Type="http://schemas.openxmlformats.org/officeDocument/2006/relationships/tags" Target="../tags/tag130.xml"/><Relationship Id="rId141" Type="http://schemas.openxmlformats.org/officeDocument/2006/relationships/tags" Target="../tags/tag146.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 Type="http://schemas.openxmlformats.org/officeDocument/2006/relationships/tags" Target="../tags/tag12.xml"/><Relationship Id="rId71" Type="http://schemas.openxmlformats.org/officeDocument/2006/relationships/tags" Target="../tags/tag76.xml"/><Relationship Id="rId92" Type="http://schemas.openxmlformats.org/officeDocument/2006/relationships/tags" Target="../tags/tag97.xml"/><Relationship Id="rId162" Type="http://schemas.openxmlformats.org/officeDocument/2006/relationships/tags" Target="../tags/tag167.xml"/><Relationship Id="rId183" Type="http://schemas.openxmlformats.org/officeDocument/2006/relationships/tags" Target="../tags/tag188.xml"/><Relationship Id="rId213" Type="http://schemas.openxmlformats.org/officeDocument/2006/relationships/tags" Target="../tags/tag218.xml"/><Relationship Id="rId218" Type="http://schemas.openxmlformats.org/officeDocument/2006/relationships/tags" Target="../tags/tag223.xml"/><Relationship Id="rId234" Type="http://schemas.openxmlformats.org/officeDocument/2006/relationships/tags" Target="../tags/tag239.xml"/><Relationship Id="rId239" Type="http://schemas.openxmlformats.org/officeDocument/2006/relationships/tags" Target="../tags/tag244.xml"/><Relationship Id="rId2" Type="http://schemas.openxmlformats.org/officeDocument/2006/relationships/tags" Target="../tags/tag7.xml"/><Relationship Id="rId29" Type="http://schemas.openxmlformats.org/officeDocument/2006/relationships/tags" Target="../tags/tag34.xml"/><Relationship Id="rId250" Type="http://schemas.openxmlformats.org/officeDocument/2006/relationships/tags" Target="../tags/tag255.xml"/><Relationship Id="rId255" Type="http://schemas.openxmlformats.org/officeDocument/2006/relationships/tags" Target="../tags/tag260.xml"/><Relationship Id="rId24" Type="http://schemas.openxmlformats.org/officeDocument/2006/relationships/tags" Target="../tags/tag29.xml"/><Relationship Id="rId40" Type="http://schemas.openxmlformats.org/officeDocument/2006/relationships/tags" Target="../tags/tag45.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15" Type="http://schemas.openxmlformats.org/officeDocument/2006/relationships/tags" Target="../tags/tag120.xml"/><Relationship Id="rId131" Type="http://schemas.openxmlformats.org/officeDocument/2006/relationships/tags" Target="../tags/tag136.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199" Type="http://schemas.openxmlformats.org/officeDocument/2006/relationships/tags" Target="../tags/tag204.xml"/><Relationship Id="rId203" Type="http://schemas.openxmlformats.org/officeDocument/2006/relationships/tags" Target="../tags/tag208.xml"/><Relationship Id="rId208" Type="http://schemas.openxmlformats.org/officeDocument/2006/relationships/tags" Target="../tags/tag213.xml"/><Relationship Id="rId229" Type="http://schemas.openxmlformats.org/officeDocument/2006/relationships/tags" Target="../tags/tag234.xml"/><Relationship Id="rId19" Type="http://schemas.openxmlformats.org/officeDocument/2006/relationships/tags" Target="../tags/tag24.xml"/><Relationship Id="rId224" Type="http://schemas.openxmlformats.org/officeDocument/2006/relationships/tags" Target="../tags/tag229.xml"/><Relationship Id="rId240" Type="http://schemas.openxmlformats.org/officeDocument/2006/relationships/tags" Target="../tags/tag245.xml"/><Relationship Id="rId245" Type="http://schemas.openxmlformats.org/officeDocument/2006/relationships/tags" Target="../tags/tag250.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189" Type="http://schemas.openxmlformats.org/officeDocument/2006/relationships/tags" Target="../tags/tag194.xml"/><Relationship Id="rId219" Type="http://schemas.openxmlformats.org/officeDocument/2006/relationships/tags" Target="../tags/tag224.xml"/><Relationship Id="rId3" Type="http://schemas.openxmlformats.org/officeDocument/2006/relationships/tags" Target="../tags/tag8.xml"/><Relationship Id="rId214" Type="http://schemas.openxmlformats.org/officeDocument/2006/relationships/tags" Target="../tags/tag219.xml"/><Relationship Id="rId230" Type="http://schemas.openxmlformats.org/officeDocument/2006/relationships/tags" Target="../tags/tag235.xml"/><Relationship Id="rId235" Type="http://schemas.openxmlformats.org/officeDocument/2006/relationships/tags" Target="../tags/tag240.xml"/><Relationship Id="rId251" Type="http://schemas.openxmlformats.org/officeDocument/2006/relationships/tags" Target="../tags/tag256.xml"/><Relationship Id="rId256" Type="http://schemas.openxmlformats.org/officeDocument/2006/relationships/tags" Target="../tags/tag261.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220" Type="http://schemas.openxmlformats.org/officeDocument/2006/relationships/tags" Target="../tags/tag225.xml"/><Relationship Id="rId225" Type="http://schemas.openxmlformats.org/officeDocument/2006/relationships/tags" Target="../tags/tag230.xml"/><Relationship Id="rId241" Type="http://schemas.openxmlformats.org/officeDocument/2006/relationships/tags" Target="../tags/tag246.xml"/><Relationship Id="rId246" Type="http://schemas.openxmlformats.org/officeDocument/2006/relationships/tags" Target="../tags/tag251.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s>
</file>

<file path=ppt/slides/_rels/slide117.xml.rels><?xml version="1.0" encoding="UTF-8" standalone="yes"?>
<Relationships xmlns="http://schemas.openxmlformats.org/package/2006/relationships"><Relationship Id="rId3" Type="http://schemas.openxmlformats.org/officeDocument/2006/relationships/image" Target="../media/image674.jpeg"/><Relationship Id="rId2" Type="http://schemas.openxmlformats.org/officeDocument/2006/relationships/notesSlide" Target="../notesSlides/notesSlide43.xml"/><Relationship Id="rId1" Type="http://schemas.openxmlformats.org/officeDocument/2006/relationships/slideLayout" Target="../slideLayouts/slideLayout33.xml"/><Relationship Id="rId4" Type="http://schemas.openxmlformats.org/officeDocument/2006/relationships/image" Target="../media/image675.png"/></Relationships>
</file>

<file path=ppt/slides/_rels/slide118.xml.rels><?xml version="1.0" encoding="UTF-8" standalone="yes"?>
<Relationships xmlns="http://schemas.openxmlformats.org/package/2006/relationships"><Relationship Id="rId3" Type="http://schemas.openxmlformats.org/officeDocument/2006/relationships/image" Target="../media/image676.png"/><Relationship Id="rId2" Type="http://schemas.openxmlformats.org/officeDocument/2006/relationships/hyperlink" Target="mailto:info.us@sensirion.com" TargetMode="External"/><Relationship Id="rId1" Type="http://schemas.openxmlformats.org/officeDocument/2006/relationships/slideLayout" Target="../slideLayouts/slideLayout32.xml"/></Relationships>
</file>

<file path=ppt/slides/_rels/slide119.xml.rels><?xml version="1.0" encoding="UTF-8" standalone="yes"?>
<Relationships xmlns="http://schemas.openxmlformats.org/package/2006/relationships"><Relationship Id="rId13" Type="http://schemas.openxmlformats.org/officeDocument/2006/relationships/tags" Target="../tags/tag277.xml"/><Relationship Id="rId18" Type="http://schemas.openxmlformats.org/officeDocument/2006/relationships/tags" Target="../tags/tag282.xml"/><Relationship Id="rId26" Type="http://schemas.openxmlformats.org/officeDocument/2006/relationships/tags" Target="../tags/tag290.xml"/><Relationship Id="rId39" Type="http://schemas.openxmlformats.org/officeDocument/2006/relationships/tags" Target="../tags/tag303.xml"/><Relationship Id="rId21" Type="http://schemas.openxmlformats.org/officeDocument/2006/relationships/tags" Target="../tags/tag285.xml"/><Relationship Id="rId34" Type="http://schemas.openxmlformats.org/officeDocument/2006/relationships/tags" Target="../tags/tag298.xml"/><Relationship Id="rId42" Type="http://schemas.openxmlformats.org/officeDocument/2006/relationships/tags" Target="../tags/tag306.xml"/><Relationship Id="rId47" Type="http://schemas.openxmlformats.org/officeDocument/2006/relationships/tags" Target="../tags/tag311.xml"/><Relationship Id="rId50" Type="http://schemas.openxmlformats.org/officeDocument/2006/relationships/tags" Target="../tags/tag314.xml"/><Relationship Id="rId55" Type="http://schemas.openxmlformats.org/officeDocument/2006/relationships/tags" Target="../tags/tag319.xml"/><Relationship Id="rId63" Type="http://schemas.openxmlformats.org/officeDocument/2006/relationships/image" Target="../media/image678.png"/><Relationship Id="rId7" Type="http://schemas.openxmlformats.org/officeDocument/2006/relationships/tags" Target="../tags/tag271.xml"/><Relationship Id="rId2" Type="http://schemas.openxmlformats.org/officeDocument/2006/relationships/tags" Target="../tags/tag266.xml"/><Relationship Id="rId16" Type="http://schemas.openxmlformats.org/officeDocument/2006/relationships/tags" Target="../tags/tag280.xml"/><Relationship Id="rId29" Type="http://schemas.openxmlformats.org/officeDocument/2006/relationships/tags" Target="../tags/tag293.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24" Type="http://schemas.openxmlformats.org/officeDocument/2006/relationships/tags" Target="../tags/tag288.xml"/><Relationship Id="rId32" Type="http://schemas.openxmlformats.org/officeDocument/2006/relationships/tags" Target="../tags/tag296.xml"/><Relationship Id="rId37" Type="http://schemas.openxmlformats.org/officeDocument/2006/relationships/tags" Target="../tags/tag301.xml"/><Relationship Id="rId40" Type="http://schemas.openxmlformats.org/officeDocument/2006/relationships/tags" Target="../tags/tag304.xml"/><Relationship Id="rId45" Type="http://schemas.openxmlformats.org/officeDocument/2006/relationships/tags" Target="../tags/tag309.xml"/><Relationship Id="rId53" Type="http://schemas.openxmlformats.org/officeDocument/2006/relationships/tags" Target="../tags/tag317.xml"/><Relationship Id="rId58" Type="http://schemas.openxmlformats.org/officeDocument/2006/relationships/tags" Target="../tags/tag322.xml"/><Relationship Id="rId66" Type="http://schemas.openxmlformats.org/officeDocument/2006/relationships/image" Target="../media/image681.png"/><Relationship Id="rId5" Type="http://schemas.openxmlformats.org/officeDocument/2006/relationships/tags" Target="../tags/tag269.xml"/><Relationship Id="rId15" Type="http://schemas.openxmlformats.org/officeDocument/2006/relationships/tags" Target="../tags/tag279.xml"/><Relationship Id="rId23" Type="http://schemas.openxmlformats.org/officeDocument/2006/relationships/tags" Target="../tags/tag287.xml"/><Relationship Id="rId28" Type="http://schemas.openxmlformats.org/officeDocument/2006/relationships/tags" Target="../tags/tag292.xml"/><Relationship Id="rId36" Type="http://schemas.openxmlformats.org/officeDocument/2006/relationships/tags" Target="../tags/tag300.xml"/><Relationship Id="rId49" Type="http://schemas.openxmlformats.org/officeDocument/2006/relationships/tags" Target="../tags/tag313.xml"/><Relationship Id="rId57" Type="http://schemas.openxmlformats.org/officeDocument/2006/relationships/tags" Target="../tags/tag321.xml"/><Relationship Id="rId61" Type="http://schemas.openxmlformats.org/officeDocument/2006/relationships/image" Target="../media/image677.png"/><Relationship Id="rId10" Type="http://schemas.openxmlformats.org/officeDocument/2006/relationships/tags" Target="../tags/tag274.xml"/><Relationship Id="rId19" Type="http://schemas.openxmlformats.org/officeDocument/2006/relationships/tags" Target="../tags/tag283.xml"/><Relationship Id="rId31" Type="http://schemas.openxmlformats.org/officeDocument/2006/relationships/tags" Target="../tags/tag295.xml"/><Relationship Id="rId44" Type="http://schemas.openxmlformats.org/officeDocument/2006/relationships/tags" Target="../tags/tag308.xml"/><Relationship Id="rId52" Type="http://schemas.openxmlformats.org/officeDocument/2006/relationships/tags" Target="../tags/tag316.xml"/><Relationship Id="rId60" Type="http://schemas.openxmlformats.org/officeDocument/2006/relationships/slideLayout" Target="../slideLayouts/slideLayout26.xml"/><Relationship Id="rId65" Type="http://schemas.openxmlformats.org/officeDocument/2006/relationships/image" Target="../media/image680.jpg"/><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 Id="rId22" Type="http://schemas.openxmlformats.org/officeDocument/2006/relationships/tags" Target="../tags/tag286.xml"/><Relationship Id="rId27" Type="http://schemas.openxmlformats.org/officeDocument/2006/relationships/tags" Target="../tags/tag291.xml"/><Relationship Id="rId30" Type="http://schemas.openxmlformats.org/officeDocument/2006/relationships/tags" Target="../tags/tag294.xml"/><Relationship Id="rId35" Type="http://schemas.openxmlformats.org/officeDocument/2006/relationships/tags" Target="../tags/tag299.xml"/><Relationship Id="rId43" Type="http://schemas.openxmlformats.org/officeDocument/2006/relationships/tags" Target="../tags/tag307.xml"/><Relationship Id="rId48" Type="http://schemas.openxmlformats.org/officeDocument/2006/relationships/tags" Target="../tags/tag312.xml"/><Relationship Id="rId56" Type="http://schemas.openxmlformats.org/officeDocument/2006/relationships/tags" Target="../tags/tag320.xml"/><Relationship Id="rId64" Type="http://schemas.openxmlformats.org/officeDocument/2006/relationships/image" Target="../media/image679.png"/><Relationship Id="rId8" Type="http://schemas.openxmlformats.org/officeDocument/2006/relationships/tags" Target="../tags/tag272.xml"/><Relationship Id="rId51" Type="http://schemas.openxmlformats.org/officeDocument/2006/relationships/tags" Target="../tags/tag315.xml"/><Relationship Id="rId3" Type="http://schemas.openxmlformats.org/officeDocument/2006/relationships/tags" Target="../tags/tag267.xml"/><Relationship Id="rId12" Type="http://schemas.openxmlformats.org/officeDocument/2006/relationships/tags" Target="../tags/tag276.xml"/><Relationship Id="rId17" Type="http://schemas.openxmlformats.org/officeDocument/2006/relationships/tags" Target="../tags/tag281.xml"/><Relationship Id="rId25" Type="http://schemas.openxmlformats.org/officeDocument/2006/relationships/tags" Target="../tags/tag289.xml"/><Relationship Id="rId33" Type="http://schemas.openxmlformats.org/officeDocument/2006/relationships/tags" Target="../tags/tag297.xml"/><Relationship Id="rId38" Type="http://schemas.openxmlformats.org/officeDocument/2006/relationships/tags" Target="../tags/tag302.xml"/><Relationship Id="rId46" Type="http://schemas.openxmlformats.org/officeDocument/2006/relationships/tags" Target="../tags/tag310.xml"/><Relationship Id="rId59" Type="http://schemas.openxmlformats.org/officeDocument/2006/relationships/tags" Target="../tags/tag323.xml"/><Relationship Id="rId67" Type="http://schemas.openxmlformats.org/officeDocument/2006/relationships/image" Target="../media/image682.png"/><Relationship Id="rId20" Type="http://schemas.openxmlformats.org/officeDocument/2006/relationships/tags" Target="../tags/tag284.xml"/><Relationship Id="rId41" Type="http://schemas.openxmlformats.org/officeDocument/2006/relationships/tags" Target="../tags/tag305.xml"/><Relationship Id="rId54" Type="http://schemas.openxmlformats.org/officeDocument/2006/relationships/tags" Target="../tags/tag318.xml"/><Relationship Id="rId62" Type="http://schemas.openxmlformats.org/officeDocument/2006/relationships/hyperlink" Target="http://www.aereps.net/index.html"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17" Type="http://schemas.openxmlformats.org/officeDocument/2006/relationships/image" Target="../media/image144.png"/><Relationship Id="rId2" Type="http://schemas.openxmlformats.org/officeDocument/2006/relationships/image" Target="../media/image129.png"/><Relationship Id="rId16" Type="http://schemas.openxmlformats.org/officeDocument/2006/relationships/image" Target="../media/image143.png"/><Relationship Id="rId1" Type="http://schemas.openxmlformats.org/officeDocument/2006/relationships/slideLayout" Target="../slideLayouts/slideLayout14.xml"/><Relationship Id="rId6" Type="http://schemas.openxmlformats.org/officeDocument/2006/relationships/image" Target="../media/image133.jpeg"/><Relationship Id="rId11" Type="http://schemas.openxmlformats.org/officeDocument/2006/relationships/image" Target="../media/image138.png"/><Relationship Id="rId5" Type="http://schemas.openxmlformats.org/officeDocument/2006/relationships/image" Target="../media/image132.jpeg"/><Relationship Id="rId15" Type="http://schemas.openxmlformats.org/officeDocument/2006/relationships/image" Target="../media/image142.png"/><Relationship Id="rId10" Type="http://schemas.openxmlformats.org/officeDocument/2006/relationships/image" Target="../media/image137.png"/><Relationship Id="rId4" Type="http://schemas.openxmlformats.org/officeDocument/2006/relationships/image" Target="../media/image131.jpeg"/><Relationship Id="rId9" Type="http://schemas.openxmlformats.org/officeDocument/2006/relationships/image" Target="../media/image136.png"/><Relationship Id="rId14" Type="http://schemas.openxmlformats.org/officeDocument/2006/relationships/image" Target="../media/image141.png"/></Relationships>
</file>

<file path=ppt/slides/_rels/slide120.xml.rels><?xml version="1.0" encoding="UTF-8" standalone="yes"?>
<Relationships xmlns="http://schemas.openxmlformats.org/package/2006/relationships"><Relationship Id="rId2" Type="http://schemas.openxmlformats.org/officeDocument/2006/relationships/image" Target="../media/image683.png"/><Relationship Id="rId1" Type="http://schemas.openxmlformats.org/officeDocument/2006/relationships/slideLayout" Target="../slideLayouts/slideLayout32.xml"/></Relationships>
</file>

<file path=ppt/slides/_rels/slide121.xml.rels><?xml version="1.0" encoding="UTF-8" standalone="yes"?>
<Relationships xmlns="http://schemas.openxmlformats.org/package/2006/relationships"><Relationship Id="rId8" Type="http://schemas.openxmlformats.org/officeDocument/2006/relationships/image" Target="../media/image689.png"/><Relationship Id="rId3" Type="http://schemas.openxmlformats.org/officeDocument/2006/relationships/image" Target="../media/image684.png"/><Relationship Id="rId7" Type="http://schemas.openxmlformats.org/officeDocument/2006/relationships/image" Target="../media/image688.jpeg"/><Relationship Id="rId2" Type="http://schemas.openxmlformats.org/officeDocument/2006/relationships/notesSlide" Target="../notesSlides/notesSlide44.xml"/><Relationship Id="rId1" Type="http://schemas.openxmlformats.org/officeDocument/2006/relationships/slideLayout" Target="../slideLayouts/slideLayout32.xml"/><Relationship Id="rId6" Type="http://schemas.openxmlformats.org/officeDocument/2006/relationships/image" Target="../media/image687.png"/><Relationship Id="rId5" Type="http://schemas.openxmlformats.org/officeDocument/2006/relationships/image" Target="../media/image686.png"/><Relationship Id="rId4" Type="http://schemas.openxmlformats.org/officeDocument/2006/relationships/image" Target="../media/image685.png"/></Relationships>
</file>

<file path=ppt/slides/_rels/slide122.xml.rels><?xml version="1.0" encoding="UTF-8" standalone="yes"?>
<Relationships xmlns="http://schemas.openxmlformats.org/package/2006/relationships"><Relationship Id="rId3" Type="http://schemas.openxmlformats.org/officeDocument/2006/relationships/image" Target="../media/image690.png"/><Relationship Id="rId2" Type="http://schemas.openxmlformats.org/officeDocument/2006/relationships/notesSlide" Target="../notesSlides/notesSlide45.xml"/><Relationship Id="rId1" Type="http://schemas.openxmlformats.org/officeDocument/2006/relationships/slideLayout" Target="../slideLayouts/slideLayout36.xml"/></Relationships>
</file>

<file path=ppt/slides/_rels/slide123.xml.rels><?xml version="1.0" encoding="UTF-8" standalone="yes"?>
<Relationships xmlns="http://schemas.openxmlformats.org/package/2006/relationships"><Relationship Id="rId2" Type="http://schemas.openxmlformats.org/officeDocument/2006/relationships/image" Target="../media/image691.jpeg"/><Relationship Id="rId1" Type="http://schemas.openxmlformats.org/officeDocument/2006/relationships/slideLayout" Target="../slideLayouts/slideLayout2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5.xml.rels><?xml version="1.0" encoding="UTF-8" standalone="yes"?>
<Relationships xmlns="http://schemas.openxmlformats.org/package/2006/relationships"><Relationship Id="rId8" Type="http://schemas.openxmlformats.org/officeDocument/2006/relationships/image" Target="../media/image693.png"/><Relationship Id="rId3" Type="http://schemas.openxmlformats.org/officeDocument/2006/relationships/hyperlink" Target="https://sensirion.com/products/catalog/EK-SLF3S-4000B/" TargetMode="External"/><Relationship Id="rId7" Type="http://schemas.openxmlformats.org/officeDocument/2006/relationships/image" Target="../media/image692.png"/><Relationship Id="rId12" Type="http://schemas.openxmlformats.org/officeDocument/2006/relationships/image" Target="../media/image697.png"/><Relationship Id="rId2" Type="http://schemas.openxmlformats.org/officeDocument/2006/relationships/hyperlink" Target="https://sensirion.com/products/technology/" TargetMode="External"/><Relationship Id="rId1" Type="http://schemas.openxmlformats.org/officeDocument/2006/relationships/slideLayout" Target="../slideLayouts/slideLayout35.xml"/><Relationship Id="rId6" Type="http://schemas.openxmlformats.org/officeDocument/2006/relationships/hyperlink" Target="https://sensirion.com/products/catalog/SEK-SFM4300-20-P/" TargetMode="External"/><Relationship Id="rId11" Type="http://schemas.openxmlformats.org/officeDocument/2006/relationships/image" Target="../media/image696.png"/><Relationship Id="rId5" Type="http://schemas.openxmlformats.org/officeDocument/2006/relationships/hyperlink" Target="https://sensirion.com/products/catalog/SEK-SFM3003/" TargetMode="External"/><Relationship Id="rId10" Type="http://schemas.openxmlformats.org/officeDocument/2006/relationships/image" Target="../media/image695.png"/><Relationship Id="rId4" Type="http://schemas.openxmlformats.org/officeDocument/2006/relationships/hyperlink" Target="https://sensirion.com/products/catalog/EK-SLF3S-1300F/" TargetMode="External"/><Relationship Id="rId9" Type="http://schemas.openxmlformats.org/officeDocument/2006/relationships/image" Target="../media/image694.png"/></Relationships>
</file>

<file path=ppt/slides/_rels/slide126.xml.rels><?xml version="1.0" encoding="UTF-8" standalone="yes"?>
<Relationships xmlns="http://schemas.openxmlformats.org/package/2006/relationships"><Relationship Id="rId8" Type="http://schemas.openxmlformats.org/officeDocument/2006/relationships/image" Target="../media/image700.png"/><Relationship Id="rId3" Type="http://schemas.openxmlformats.org/officeDocument/2006/relationships/hyperlink" Target="https://sensirion.com/products/catalog/SEK-SHT41I/" TargetMode="External"/><Relationship Id="rId7" Type="http://schemas.openxmlformats.org/officeDocument/2006/relationships/image" Target="../media/image699.png"/><Relationship Id="rId2" Type="http://schemas.openxmlformats.org/officeDocument/2006/relationships/hyperlink" Target="https://sensirion.com/products/technology/" TargetMode="External"/><Relationship Id="rId1" Type="http://schemas.openxmlformats.org/officeDocument/2006/relationships/slideLayout" Target="../slideLayouts/slideLayout35.xml"/><Relationship Id="rId6" Type="http://schemas.openxmlformats.org/officeDocument/2006/relationships/image" Target="../media/image698.png"/><Relationship Id="rId5" Type="http://schemas.openxmlformats.org/officeDocument/2006/relationships/hyperlink" Target="https://sensirion.com/products/catalog/SEK-SHT41A/" TargetMode="External"/><Relationship Id="rId10" Type="http://schemas.openxmlformats.org/officeDocument/2006/relationships/image" Target="../media/image702.png"/><Relationship Id="rId4" Type="http://schemas.openxmlformats.org/officeDocument/2006/relationships/hyperlink" Target="https://sensirion.com/products/catalog/SEK-SHT45/" TargetMode="External"/><Relationship Id="rId9" Type="http://schemas.openxmlformats.org/officeDocument/2006/relationships/image" Target="../media/image701.png"/></Relationships>
</file>

<file path=ppt/slides/_rels/slide127.xml.rels><?xml version="1.0" encoding="UTF-8" standalone="yes"?>
<Relationships xmlns="http://schemas.openxmlformats.org/package/2006/relationships"><Relationship Id="rId3" Type="http://schemas.openxmlformats.org/officeDocument/2006/relationships/image" Target="../media/image703.png"/><Relationship Id="rId2" Type="http://schemas.openxmlformats.org/officeDocument/2006/relationships/hyperlink" Target="https://sensirion.com/products/catalog/SEK-SEN5x/" TargetMode="External"/><Relationship Id="rId1" Type="http://schemas.openxmlformats.org/officeDocument/2006/relationships/slideLayout" Target="../slideLayouts/slideLayout35.xml"/></Relationships>
</file>

<file path=ppt/slides/_rels/slide128.xml.rels><?xml version="1.0" encoding="UTF-8" standalone="yes"?>
<Relationships xmlns="http://schemas.openxmlformats.org/package/2006/relationships"><Relationship Id="rId8" Type="http://schemas.openxmlformats.org/officeDocument/2006/relationships/image" Target="../media/image710.png"/><Relationship Id="rId3" Type="http://schemas.openxmlformats.org/officeDocument/2006/relationships/image" Target="../media/image705.png"/><Relationship Id="rId7" Type="http://schemas.openxmlformats.org/officeDocument/2006/relationships/image" Target="../media/image709.png"/><Relationship Id="rId2" Type="http://schemas.openxmlformats.org/officeDocument/2006/relationships/image" Target="../media/image704.jpeg"/><Relationship Id="rId1" Type="http://schemas.openxmlformats.org/officeDocument/2006/relationships/slideLayout" Target="../slideLayouts/slideLayout33.xml"/><Relationship Id="rId6" Type="http://schemas.openxmlformats.org/officeDocument/2006/relationships/image" Target="../media/image708.png"/><Relationship Id="rId5" Type="http://schemas.openxmlformats.org/officeDocument/2006/relationships/image" Target="../media/image707.png"/><Relationship Id="rId10" Type="http://schemas.openxmlformats.org/officeDocument/2006/relationships/image" Target="../media/image354.png"/><Relationship Id="rId4" Type="http://schemas.openxmlformats.org/officeDocument/2006/relationships/image" Target="../media/image706.png"/><Relationship Id="rId9" Type="http://schemas.openxmlformats.org/officeDocument/2006/relationships/image" Target="../media/image711.png"/></Relationships>
</file>

<file path=ppt/slides/_rels/slide13.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52.png"/><Relationship Id="rId18" Type="http://schemas.openxmlformats.org/officeDocument/2006/relationships/image" Target="../media/image156.svg"/><Relationship Id="rId3" Type="http://schemas.openxmlformats.org/officeDocument/2006/relationships/image" Target="../media/image146.png"/><Relationship Id="rId7" Type="http://schemas.openxmlformats.org/officeDocument/2006/relationships/image" Target="../media/image148.png"/><Relationship Id="rId12" Type="http://schemas.openxmlformats.org/officeDocument/2006/relationships/image" Target="../media/image151.svg"/><Relationship Id="rId17" Type="http://schemas.openxmlformats.org/officeDocument/2006/relationships/image" Target="../media/image155.png"/><Relationship Id="rId2" Type="http://schemas.openxmlformats.org/officeDocument/2006/relationships/image" Target="../media/image145.png"/><Relationship Id="rId16" Type="http://schemas.microsoft.com/office/2007/relationships/hdphoto" Target="../media/hdphoto5.wdp"/><Relationship Id="rId1" Type="http://schemas.openxmlformats.org/officeDocument/2006/relationships/slideLayout" Target="../slideLayouts/slideLayout5.xml"/><Relationship Id="rId6" Type="http://schemas.microsoft.com/office/2007/relationships/hdphoto" Target="../media/hdphoto2.wdp"/><Relationship Id="rId11" Type="http://schemas.openxmlformats.org/officeDocument/2006/relationships/image" Target="../media/image150.png"/><Relationship Id="rId5" Type="http://schemas.openxmlformats.org/officeDocument/2006/relationships/image" Target="../media/image147.png"/><Relationship Id="rId15" Type="http://schemas.openxmlformats.org/officeDocument/2006/relationships/image" Target="../media/image154.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149.png"/><Relationship Id="rId14" Type="http://schemas.openxmlformats.org/officeDocument/2006/relationships/image" Target="../media/image153.svg"/></Relationships>
</file>

<file path=ppt/slides/_rels/slide14.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svg"/><Relationship Id="rId3" Type="http://schemas.openxmlformats.org/officeDocument/2006/relationships/image" Target="../media/image160.jpeg"/><Relationship Id="rId7" Type="http://schemas.openxmlformats.org/officeDocument/2006/relationships/image" Target="../media/image164.png"/><Relationship Id="rId12" Type="http://schemas.openxmlformats.org/officeDocument/2006/relationships/image" Target="../media/image169.png"/><Relationship Id="rId2" Type="http://schemas.openxmlformats.org/officeDocument/2006/relationships/image" Target="../media/image159.png"/><Relationship Id="rId1" Type="http://schemas.openxmlformats.org/officeDocument/2006/relationships/slideLayout" Target="../slideLayouts/slideLayout2.xml"/><Relationship Id="rId6" Type="http://schemas.openxmlformats.org/officeDocument/2006/relationships/image" Target="../media/image163.png"/><Relationship Id="rId11" Type="http://schemas.openxmlformats.org/officeDocument/2006/relationships/image" Target="../media/image168.svg"/><Relationship Id="rId5" Type="http://schemas.openxmlformats.org/officeDocument/2006/relationships/image" Target="../media/image162.png"/><Relationship Id="rId15" Type="http://schemas.openxmlformats.org/officeDocument/2006/relationships/image" Target="../media/image172.png"/><Relationship Id="rId10" Type="http://schemas.openxmlformats.org/officeDocument/2006/relationships/image" Target="../media/image167.png"/><Relationship Id="rId4" Type="http://schemas.openxmlformats.org/officeDocument/2006/relationships/image" Target="../media/image161.png"/><Relationship Id="rId9" Type="http://schemas.openxmlformats.org/officeDocument/2006/relationships/image" Target="../media/image166.svg"/><Relationship Id="rId14" Type="http://schemas.openxmlformats.org/officeDocument/2006/relationships/image" Target="../media/image171.png"/></Relationships>
</file>

<file path=ppt/slides/_rels/slide18.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svg"/><Relationship Id="rId7" Type="http://schemas.openxmlformats.org/officeDocument/2006/relationships/image" Target="../media/image178.svg"/><Relationship Id="rId2" Type="http://schemas.openxmlformats.org/officeDocument/2006/relationships/image" Target="../media/image173.png"/><Relationship Id="rId1" Type="http://schemas.openxmlformats.org/officeDocument/2006/relationships/slideLayout" Target="../slideLayouts/slideLayout2.xml"/><Relationship Id="rId6" Type="http://schemas.openxmlformats.org/officeDocument/2006/relationships/image" Target="../media/image177.png"/><Relationship Id="rId11" Type="http://schemas.openxmlformats.org/officeDocument/2006/relationships/image" Target="../media/image181.png"/><Relationship Id="rId5" Type="http://schemas.openxmlformats.org/officeDocument/2006/relationships/image" Target="../media/image176.svg"/><Relationship Id="rId10" Type="http://schemas.openxmlformats.org/officeDocument/2006/relationships/image" Target="../media/image180.png"/><Relationship Id="rId4" Type="http://schemas.openxmlformats.org/officeDocument/2006/relationships/image" Target="../media/image175.png"/><Relationship Id="rId9" Type="http://schemas.microsoft.com/office/2007/relationships/hdphoto" Target="../media/hdphoto6.wdp"/></Relationships>
</file>

<file path=ppt/slides/_rels/slide19.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192.jpeg"/><Relationship Id="rId18" Type="http://schemas.openxmlformats.org/officeDocument/2006/relationships/image" Target="../media/image197.png"/><Relationship Id="rId26" Type="http://schemas.openxmlformats.org/officeDocument/2006/relationships/image" Target="../media/image205.png"/><Relationship Id="rId3" Type="http://schemas.openxmlformats.org/officeDocument/2006/relationships/image" Target="../media/image183.png"/><Relationship Id="rId21" Type="http://schemas.openxmlformats.org/officeDocument/2006/relationships/image" Target="../media/image200.png"/><Relationship Id="rId7" Type="http://schemas.openxmlformats.org/officeDocument/2006/relationships/image" Target="../media/image187.png"/><Relationship Id="rId12" Type="http://schemas.openxmlformats.org/officeDocument/2006/relationships/image" Target="../media/image191.png"/><Relationship Id="rId17" Type="http://schemas.openxmlformats.org/officeDocument/2006/relationships/image" Target="../media/image196.png"/><Relationship Id="rId25" Type="http://schemas.openxmlformats.org/officeDocument/2006/relationships/image" Target="../media/image204.png"/><Relationship Id="rId2" Type="http://schemas.openxmlformats.org/officeDocument/2006/relationships/image" Target="../media/image182.png"/><Relationship Id="rId16" Type="http://schemas.openxmlformats.org/officeDocument/2006/relationships/image" Target="../media/image195.png"/><Relationship Id="rId20" Type="http://schemas.openxmlformats.org/officeDocument/2006/relationships/image" Target="../media/image199.jpeg"/><Relationship Id="rId1" Type="http://schemas.openxmlformats.org/officeDocument/2006/relationships/slideLayout" Target="../slideLayouts/slideLayout11.xml"/><Relationship Id="rId6" Type="http://schemas.openxmlformats.org/officeDocument/2006/relationships/image" Target="../media/image186.png"/><Relationship Id="rId11" Type="http://schemas.openxmlformats.org/officeDocument/2006/relationships/image" Target="../media/image190.png"/><Relationship Id="rId24" Type="http://schemas.openxmlformats.org/officeDocument/2006/relationships/image" Target="../media/image203.png"/><Relationship Id="rId5" Type="http://schemas.openxmlformats.org/officeDocument/2006/relationships/image" Target="../media/image185.png"/><Relationship Id="rId15" Type="http://schemas.openxmlformats.org/officeDocument/2006/relationships/image" Target="../media/image194.jpeg"/><Relationship Id="rId23" Type="http://schemas.openxmlformats.org/officeDocument/2006/relationships/image" Target="../media/image202.png"/><Relationship Id="rId28" Type="http://schemas.openxmlformats.org/officeDocument/2006/relationships/image" Target="../media/image207.png"/><Relationship Id="rId10" Type="http://schemas.openxmlformats.org/officeDocument/2006/relationships/image" Target="../media/image189.svg"/><Relationship Id="rId19" Type="http://schemas.openxmlformats.org/officeDocument/2006/relationships/image" Target="../media/image198.png"/><Relationship Id="rId4" Type="http://schemas.openxmlformats.org/officeDocument/2006/relationships/image" Target="../media/image184.jpeg"/><Relationship Id="rId9" Type="http://schemas.openxmlformats.org/officeDocument/2006/relationships/image" Target="../media/image188.png"/><Relationship Id="rId14" Type="http://schemas.openxmlformats.org/officeDocument/2006/relationships/image" Target="../media/image193.jpeg"/><Relationship Id="rId22" Type="http://schemas.openxmlformats.org/officeDocument/2006/relationships/image" Target="../media/image201.png"/><Relationship Id="rId27" Type="http://schemas.openxmlformats.org/officeDocument/2006/relationships/image" Target="../media/image206.png"/></Relationships>
</file>

<file path=ppt/slides/_rels/slide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213.png"/><Relationship Id="rId3" Type="http://schemas.microsoft.com/office/2007/relationships/hdphoto" Target="../media/hdphoto8.wdp"/><Relationship Id="rId7" Type="http://schemas.openxmlformats.org/officeDocument/2006/relationships/image" Target="../media/image212.png"/><Relationship Id="rId2" Type="http://schemas.openxmlformats.org/officeDocument/2006/relationships/image" Target="../media/image208.png"/><Relationship Id="rId1" Type="http://schemas.openxmlformats.org/officeDocument/2006/relationships/slideLayout" Target="../slideLayouts/slideLayout5.xml"/><Relationship Id="rId6" Type="http://schemas.openxmlformats.org/officeDocument/2006/relationships/image" Target="../media/image211.png"/><Relationship Id="rId5" Type="http://schemas.openxmlformats.org/officeDocument/2006/relationships/image" Target="../media/image210.png"/><Relationship Id="rId10" Type="http://schemas.openxmlformats.org/officeDocument/2006/relationships/image" Target="../media/image215.png"/><Relationship Id="rId4" Type="http://schemas.openxmlformats.org/officeDocument/2006/relationships/image" Target="../media/image209.png"/><Relationship Id="rId9" Type="http://schemas.openxmlformats.org/officeDocument/2006/relationships/image" Target="../media/image214.png"/></Relationships>
</file>

<file path=ppt/slides/_rels/slide21.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216.jpeg"/><Relationship Id="rId7" Type="http://schemas.openxmlformats.org/officeDocument/2006/relationships/image" Target="../media/image22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19.jpeg"/><Relationship Id="rId5" Type="http://schemas.openxmlformats.org/officeDocument/2006/relationships/image" Target="../media/image218.jpeg"/><Relationship Id="rId4" Type="http://schemas.openxmlformats.org/officeDocument/2006/relationships/image" Target="../media/image217.png"/><Relationship Id="rId9" Type="http://schemas.openxmlformats.org/officeDocument/2006/relationships/image" Target="../media/image222.png"/></Relationships>
</file>

<file path=ppt/slides/_rels/slide22.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12" Type="http://schemas.openxmlformats.org/officeDocument/2006/relationships/image" Target="../media/image233.png"/><Relationship Id="rId2" Type="http://schemas.openxmlformats.org/officeDocument/2006/relationships/image" Target="../media/image223.png"/><Relationship Id="rId1" Type="http://schemas.openxmlformats.org/officeDocument/2006/relationships/slideLayout" Target="../slideLayouts/slideLayout2.xml"/><Relationship Id="rId6" Type="http://schemas.openxmlformats.org/officeDocument/2006/relationships/image" Target="../media/image227.svg"/><Relationship Id="rId11" Type="http://schemas.openxmlformats.org/officeDocument/2006/relationships/image" Target="../media/image232.svg"/><Relationship Id="rId5" Type="http://schemas.openxmlformats.org/officeDocument/2006/relationships/image" Target="../media/image226.png"/><Relationship Id="rId10" Type="http://schemas.openxmlformats.org/officeDocument/2006/relationships/image" Target="../media/image231.png"/><Relationship Id="rId4" Type="http://schemas.openxmlformats.org/officeDocument/2006/relationships/image" Target="../media/image225.svg"/><Relationship Id="rId9" Type="http://schemas.openxmlformats.org/officeDocument/2006/relationships/image" Target="../media/image230.svg"/></Relationships>
</file>

<file path=ppt/slides/_rels/slide23.xml.rels><?xml version="1.0" encoding="UTF-8" standalone="yes"?>
<Relationships xmlns="http://schemas.openxmlformats.org/package/2006/relationships"><Relationship Id="rId3" Type="http://schemas.openxmlformats.org/officeDocument/2006/relationships/image" Target="../media/image235.png"/><Relationship Id="rId7" Type="http://schemas.openxmlformats.org/officeDocument/2006/relationships/image" Target="../media/image239.png"/><Relationship Id="rId2" Type="http://schemas.openxmlformats.org/officeDocument/2006/relationships/image" Target="../media/image234.jpeg"/><Relationship Id="rId1" Type="http://schemas.openxmlformats.org/officeDocument/2006/relationships/slideLayout" Target="../slideLayouts/slideLayout2.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s>
</file>

<file path=ppt/slides/_rels/slide24.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hyperlink" Target="https://partners.sensirion.com/document/148#/presentations/iaq-distribution" TargetMode="External"/><Relationship Id="rId7" Type="http://schemas.openxmlformats.org/officeDocument/2006/relationships/image" Target="../media/image244.png"/><Relationship Id="rId2" Type="http://schemas.openxmlformats.org/officeDocument/2006/relationships/image" Target="../media/image240.png"/><Relationship Id="rId1" Type="http://schemas.openxmlformats.org/officeDocument/2006/relationships/slideLayout" Target="../slideLayouts/slideLayout2.xml"/><Relationship Id="rId6" Type="http://schemas.openxmlformats.org/officeDocument/2006/relationships/image" Target="../media/image243.png"/><Relationship Id="rId5" Type="http://schemas.openxmlformats.org/officeDocument/2006/relationships/image" Target="../media/image242.png"/><Relationship Id="rId4" Type="http://schemas.openxmlformats.org/officeDocument/2006/relationships/image" Target="../media/image241.png"/></Relationships>
</file>

<file path=ppt/slides/_rels/slide25.xml.rels><?xml version="1.0" encoding="UTF-8" standalone="yes"?>
<Relationships xmlns="http://schemas.openxmlformats.org/package/2006/relationships"><Relationship Id="rId8" Type="http://schemas.openxmlformats.org/officeDocument/2006/relationships/image" Target="../media/image248.svg"/><Relationship Id="rId13" Type="http://schemas.openxmlformats.org/officeDocument/2006/relationships/hyperlink" Target="https://register.gotowebinar.com/register/3643690700471459854" TargetMode="External"/><Relationship Id="rId18" Type="http://schemas.openxmlformats.org/officeDocument/2006/relationships/image" Target="../media/image181.png"/><Relationship Id="rId3" Type="http://schemas.openxmlformats.org/officeDocument/2006/relationships/image" Target="../media/image169.png"/><Relationship Id="rId21" Type="http://schemas.openxmlformats.org/officeDocument/2006/relationships/image" Target="../media/image254.png"/><Relationship Id="rId7" Type="http://schemas.openxmlformats.org/officeDocument/2006/relationships/image" Target="../media/image247.png"/><Relationship Id="rId12" Type="http://schemas.openxmlformats.org/officeDocument/2006/relationships/image" Target="../media/image251.png"/><Relationship Id="rId17" Type="http://schemas.openxmlformats.org/officeDocument/2006/relationships/image" Target="../media/image171.png"/><Relationship Id="rId2" Type="http://schemas.openxmlformats.org/officeDocument/2006/relationships/notesSlide" Target="../notesSlides/notesSlide9.xml"/><Relationship Id="rId16" Type="http://schemas.openxmlformats.org/officeDocument/2006/relationships/image" Target="../media/image253.svg"/><Relationship Id="rId20" Type="http://schemas.openxmlformats.org/officeDocument/2006/relationships/image" Target="../media/image174.svg"/><Relationship Id="rId1" Type="http://schemas.openxmlformats.org/officeDocument/2006/relationships/slideLayout" Target="../slideLayouts/slideLayout2.xml"/><Relationship Id="rId6" Type="http://schemas.openxmlformats.org/officeDocument/2006/relationships/image" Target="../media/image242.png"/><Relationship Id="rId11" Type="http://schemas.openxmlformats.org/officeDocument/2006/relationships/image" Target="../media/image217.png"/><Relationship Id="rId5" Type="http://schemas.openxmlformats.org/officeDocument/2006/relationships/hyperlink" Target="https://partners.sensirion.com/document/148#/presentations/iaq-distribution" TargetMode="External"/><Relationship Id="rId15" Type="http://schemas.openxmlformats.org/officeDocument/2006/relationships/image" Target="../media/image175.png"/><Relationship Id="rId10" Type="http://schemas.openxmlformats.org/officeDocument/2006/relationships/image" Target="../media/image250.jpeg"/><Relationship Id="rId19" Type="http://schemas.openxmlformats.org/officeDocument/2006/relationships/image" Target="../media/image173.png"/><Relationship Id="rId4" Type="http://schemas.openxmlformats.org/officeDocument/2006/relationships/image" Target="../media/image246.svg"/><Relationship Id="rId9" Type="http://schemas.openxmlformats.org/officeDocument/2006/relationships/image" Target="../media/image249.jpeg"/><Relationship Id="rId14" Type="http://schemas.openxmlformats.org/officeDocument/2006/relationships/image" Target="../media/image252.png"/><Relationship Id="rId22" Type="http://schemas.openxmlformats.org/officeDocument/2006/relationships/image" Target="../media/image255.png"/></Relationships>
</file>

<file path=ppt/slides/_rels/slide26.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image" Target="../media/image257.svg"/><Relationship Id="rId7" Type="http://schemas.openxmlformats.org/officeDocument/2006/relationships/image" Target="../media/image261.svg"/><Relationship Id="rId2" Type="http://schemas.openxmlformats.org/officeDocument/2006/relationships/image" Target="../media/image256.png"/><Relationship Id="rId1" Type="http://schemas.openxmlformats.org/officeDocument/2006/relationships/slideLayout" Target="../slideLayouts/slideLayout2.xml"/><Relationship Id="rId6" Type="http://schemas.openxmlformats.org/officeDocument/2006/relationships/image" Target="../media/image260.png"/><Relationship Id="rId5" Type="http://schemas.openxmlformats.org/officeDocument/2006/relationships/image" Target="../media/image259.svg"/><Relationship Id="rId4" Type="http://schemas.openxmlformats.org/officeDocument/2006/relationships/image" Target="../media/image258.png"/><Relationship Id="rId9" Type="http://schemas.openxmlformats.org/officeDocument/2006/relationships/image" Target="../media/image263.svg"/></Relationships>
</file>

<file path=ppt/slides/_rels/slide27.xml.rels><?xml version="1.0" encoding="UTF-8" standalone="yes"?>
<Relationships xmlns="http://schemas.openxmlformats.org/package/2006/relationships"><Relationship Id="rId8" Type="http://schemas.openxmlformats.org/officeDocument/2006/relationships/image" Target="../media/image270.jpeg"/><Relationship Id="rId3" Type="http://schemas.openxmlformats.org/officeDocument/2006/relationships/image" Target="../media/image265.jpeg"/><Relationship Id="rId7" Type="http://schemas.openxmlformats.org/officeDocument/2006/relationships/image" Target="../media/image269.png"/><Relationship Id="rId2" Type="http://schemas.openxmlformats.org/officeDocument/2006/relationships/image" Target="../media/image264.png"/><Relationship Id="rId1" Type="http://schemas.openxmlformats.org/officeDocument/2006/relationships/slideLayout" Target="../slideLayouts/slideLayout2.xml"/><Relationship Id="rId6" Type="http://schemas.openxmlformats.org/officeDocument/2006/relationships/image" Target="../media/image268.png"/><Relationship Id="rId5" Type="http://schemas.openxmlformats.org/officeDocument/2006/relationships/image" Target="../media/image267.jpeg"/><Relationship Id="rId4" Type="http://schemas.openxmlformats.org/officeDocument/2006/relationships/image" Target="../media/image266.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image" Target="../media/image276.png"/><Relationship Id="rId3" Type="http://schemas.microsoft.com/office/2007/relationships/hdphoto" Target="../media/hdphoto9.wdp"/><Relationship Id="rId7" Type="http://schemas.openxmlformats.org/officeDocument/2006/relationships/image" Target="../media/image275.png"/><Relationship Id="rId2" Type="http://schemas.openxmlformats.org/officeDocument/2006/relationships/image" Target="../media/image271.png"/><Relationship Id="rId1" Type="http://schemas.openxmlformats.org/officeDocument/2006/relationships/slideLayout" Target="../slideLayouts/slideLayout2.xml"/><Relationship Id="rId6" Type="http://schemas.openxmlformats.org/officeDocument/2006/relationships/image" Target="../media/image274.png"/><Relationship Id="rId5" Type="http://schemas.openxmlformats.org/officeDocument/2006/relationships/image" Target="../media/image273.png"/><Relationship Id="rId10" Type="http://schemas.openxmlformats.org/officeDocument/2006/relationships/image" Target="../media/image278.png"/><Relationship Id="rId4" Type="http://schemas.openxmlformats.org/officeDocument/2006/relationships/image" Target="../media/image272.png"/><Relationship Id="rId9" Type="http://schemas.openxmlformats.org/officeDocument/2006/relationships/image" Target="../media/image277.png"/></Relationships>
</file>

<file path=ppt/slides/_rels/slide3.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image" Target="../media/image24.jpeg"/><Relationship Id="rId1" Type="http://schemas.openxmlformats.org/officeDocument/2006/relationships/slideLayout" Target="../slideLayouts/slideLayout14.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s>
</file>

<file path=ppt/slides/_rels/slide30.xml.rels><?xml version="1.0" encoding="UTF-8" standalone="yes"?>
<Relationships xmlns="http://schemas.openxmlformats.org/package/2006/relationships"><Relationship Id="rId8" Type="http://schemas.microsoft.com/office/2007/relationships/hdphoto" Target="../media/hdphoto12.wdp"/><Relationship Id="rId13" Type="http://schemas.openxmlformats.org/officeDocument/2006/relationships/image" Target="../media/image284.png"/><Relationship Id="rId18" Type="http://schemas.microsoft.com/office/2007/relationships/hdphoto" Target="../media/hdphoto15.wdp"/><Relationship Id="rId26" Type="http://schemas.openxmlformats.org/officeDocument/2006/relationships/image" Target="../media/image296.png"/><Relationship Id="rId3" Type="http://schemas.openxmlformats.org/officeDocument/2006/relationships/image" Target="../media/image279.png"/><Relationship Id="rId21" Type="http://schemas.openxmlformats.org/officeDocument/2006/relationships/image" Target="../media/image291.svg"/><Relationship Id="rId7" Type="http://schemas.openxmlformats.org/officeDocument/2006/relationships/image" Target="../media/image281.png"/><Relationship Id="rId12" Type="http://schemas.microsoft.com/office/2007/relationships/hdphoto" Target="../media/hdphoto14.wdp"/><Relationship Id="rId17" Type="http://schemas.openxmlformats.org/officeDocument/2006/relationships/image" Target="../media/image288.png"/><Relationship Id="rId25" Type="http://schemas.openxmlformats.org/officeDocument/2006/relationships/image" Target="../media/image295.svg"/><Relationship Id="rId2" Type="http://schemas.openxmlformats.org/officeDocument/2006/relationships/notesSlide" Target="../notesSlides/notesSlide10.xml"/><Relationship Id="rId16" Type="http://schemas.openxmlformats.org/officeDocument/2006/relationships/image" Target="../media/image287.png"/><Relationship Id="rId20" Type="http://schemas.openxmlformats.org/officeDocument/2006/relationships/image" Target="../media/image290.png"/><Relationship Id="rId1" Type="http://schemas.openxmlformats.org/officeDocument/2006/relationships/slideLayout" Target="../slideLayouts/slideLayout5.xml"/><Relationship Id="rId6" Type="http://schemas.microsoft.com/office/2007/relationships/hdphoto" Target="../media/hdphoto11.wdp"/><Relationship Id="rId11" Type="http://schemas.openxmlformats.org/officeDocument/2006/relationships/image" Target="../media/image283.png"/><Relationship Id="rId24" Type="http://schemas.openxmlformats.org/officeDocument/2006/relationships/image" Target="../media/image294.png"/><Relationship Id="rId5" Type="http://schemas.openxmlformats.org/officeDocument/2006/relationships/image" Target="../media/image280.png"/><Relationship Id="rId15" Type="http://schemas.openxmlformats.org/officeDocument/2006/relationships/image" Target="../media/image286.png"/><Relationship Id="rId23" Type="http://schemas.openxmlformats.org/officeDocument/2006/relationships/image" Target="../media/image293.svg"/><Relationship Id="rId28" Type="http://schemas.openxmlformats.org/officeDocument/2006/relationships/image" Target="../media/image215.png"/><Relationship Id="rId10" Type="http://schemas.microsoft.com/office/2007/relationships/hdphoto" Target="../media/hdphoto13.wdp"/><Relationship Id="rId19" Type="http://schemas.openxmlformats.org/officeDocument/2006/relationships/image" Target="../media/image289.png"/><Relationship Id="rId4" Type="http://schemas.microsoft.com/office/2007/relationships/hdphoto" Target="../media/hdphoto10.wdp"/><Relationship Id="rId9" Type="http://schemas.openxmlformats.org/officeDocument/2006/relationships/image" Target="../media/image282.png"/><Relationship Id="rId14" Type="http://schemas.openxmlformats.org/officeDocument/2006/relationships/image" Target="../media/image285.svg"/><Relationship Id="rId22" Type="http://schemas.openxmlformats.org/officeDocument/2006/relationships/image" Target="../media/image292.png"/><Relationship Id="rId27" Type="http://schemas.openxmlformats.org/officeDocument/2006/relationships/image" Target="../media/image297.svg"/></Relationships>
</file>

<file path=ppt/slides/_rels/slide31.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271.png"/><Relationship Id="rId1" Type="http://schemas.openxmlformats.org/officeDocument/2006/relationships/slideLayout" Target="../slideLayouts/slideLayout15.xml"/><Relationship Id="rId4" Type="http://schemas.openxmlformats.org/officeDocument/2006/relationships/image" Target="../media/image215.png"/></Relationships>
</file>

<file path=ppt/slides/_rels/slide32.xml.rels><?xml version="1.0" encoding="UTF-8" standalone="yes"?>
<Relationships xmlns="http://schemas.openxmlformats.org/package/2006/relationships"><Relationship Id="rId2" Type="http://schemas.openxmlformats.org/officeDocument/2006/relationships/image" Target="../media/image29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image" Target="../media/image299.png"/><Relationship Id="rId1" Type="http://schemas.openxmlformats.org/officeDocument/2006/relationships/slideLayout" Target="../slideLayouts/slideLayout2.xml"/><Relationship Id="rId5" Type="http://schemas.openxmlformats.org/officeDocument/2006/relationships/image" Target="../media/image298.png"/><Relationship Id="rId4" Type="http://schemas.openxmlformats.org/officeDocument/2006/relationships/image" Target="../media/image278.png"/></Relationships>
</file>

<file path=ppt/slides/_rels/slide34.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2.png"/><Relationship Id="rId1" Type="http://schemas.openxmlformats.org/officeDocument/2006/relationships/slideLayout" Target="../slideLayouts/slideLayout15.xml"/><Relationship Id="rId5" Type="http://schemas.openxmlformats.org/officeDocument/2006/relationships/image" Target="../media/image277.png"/><Relationship Id="rId4" Type="http://schemas.openxmlformats.org/officeDocument/2006/relationships/image" Target="../media/image276.png"/></Relationships>
</file>

<file path=ppt/slides/_rels/slide35.xml.rels><?xml version="1.0" encoding="UTF-8" standalone="yes"?>
<Relationships xmlns="http://schemas.openxmlformats.org/package/2006/relationships"><Relationship Id="rId8" Type="http://schemas.openxmlformats.org/officeDocument/2006/relationships/image" Target="../media/image305.svg"/><Relationship Id="rId13" Type="http://schemas.openxmlformats.org/officeDocument/2006/relationships/image" Target="../media/image310.png"/><Relationship Id="rId18" Type="http://schemas.openxmlformats.org/officeDocument/2006/relationships/image" Target="../media/image315.svg"/><Relationship Id="rId3" Type="http://schemas.openxmlformats.org/officeDocument/2006/relationships/image" Target="../media/image300.png"/><Relationship Id="rId7" Type="http://schemas.openxmlformats.org/officeDocument/2006/relationships/image" Target="../media/image304.png"/><Relationship Id="rId12" Type="http://schemas.openxmlformats.org/officeDocument/2006/relationships/image" Target="../media/image309.svg"/><Relationship Id="rId17" Type="http://schemas.openxmlformats.org/officeDocument/2006/relationships/image" Target="../media/image314.png"/><Relationship Id="rId2" Type="http://schemas.openxmlformats.org/officeDocument/2006/relationships/notesSlide" Target="../notesSlides/notesSlide11.xml"/><Relationship Id="rId16" Type="http://schemas.openxmlformats.org/officeDocument/2006/relationships/image" Target="../media/image313.svg"/><Relationship Id="rId20" Type="http://schemas.openxmlformats.org/officeDocument/2006/relationships/image" Target="../media/image215.png"/><Relationship Id="rId1" Type="http://schemas.openxmlformats.org/officeDocument/2006/relationships/slideLayout" Target="../slideLayouts/slideLayout5.xml"/><Relationship Id="rId6" Type="http://schemas.openxmlformats.org/officeDocument/2006/relationships/image" Target="../media/image303.svg"/><Relationship Id="rId11" Type="http://schemas.openxmlformats.org/officeDocument/2006/relationships/image" Target="../media/image308.png"/><Relationship Id="rId5" Type="http://schemas.openxmlformats.org/officeDocument/2006/relationships/image" Target="../media/image302.png"/><Relationship Id="rId15" Type="http://schemas.openxmlformats.org/officeDocument/2006/relationships/image" Target="../media/image312.png"/><Relationship Id="rId10" Type="http://schemas.openxmlformats.org/officeDocument/2006/relationships/image" Target="../media/image307.svg"/><Relationship Id="rId19" Type="http://schemas.openxmlformats.org/officeDocument/2006/relationships/image" Target="../media/image316.png"/><Relationship Id="rId4" Type="http://schemas.openxmlformats.org/officeDocument/2006/relationships/image" Target="../media/image301.svg"/><Relationship Id="rId9" Type="http://schemas.openxmlformats.org/officeDocument/2006/relationships/image" Target="../media/image306.png"/><Relationship Id="rId14" Type="http://schemas.openxmlformats.org/officeDocument/2006/relationships/image" Target="../media/image311.jpeg"/></Relationships>
</file>

<file path=ppt/slides/_rels/slide36.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hyperlink" Target="https://sensirion.com/media/documents/6791EFA0/62A1F68F/Sensirion_Datasheet_Environmental_Node_SEN5x.pdf" TargetMode="External"/><Relationship Id="rId13" Type="http://schemas.openxmlformats.org/officeDocument/2006/relationships/image" Target="../media/image323.png"/><Relationship Id="rId18" Type="http://schemas.openxmlformats.org/officeDocument/2006/relationships/image" Target="../media/image325.jpeg"/><Relationship Id="rId3" Type="http://schemas.openxmlformats.org/officeDocument/2006/relationships/image" Target="../media/image318.png"/><Relationship Id="rId21" Type="http://schemas.openxmlformats.org/officeDocument/2006/relationships/hyperlink" Target="https://github.com/Sensirion/raspberry-pi-i2c-sen5x" TargetMode="External"/><Relationship Id="rId7" Type="http://schemas.openxmlformats.org/officeDocument/2006/relationships/image" Target="../media/image322.png"/><Relationship Id="rId12" Type="http://schemas.openxmlformats.org/officeDocument/2006/relationships/hyperlink" Target="https://sensirion.com/media/documents/84C158CE/61E956F2/Sensirion_Handling_Instructions_SEN5x.pdf" TargetMode="External"/><Relationship Id="rId17" Type="http://schemas.openxmlformats.org/officeDocument/2006/relationships/hyperlink" Target="https://www.youtube.com/watch?v=ZWgm5ve_lsY" TargetMode="External"/><Relationship Id="rId2" Type="http://schemas.openxmlformats.org/officeDocument/2006/relationships/image" Target="../media/image317.png"/><Relationship Id="rId16" Type="http://schemas.openxmlformats.org/officeDocument/2006/relationships/hyperlink" Target="https://sensirion.com/products/catalog/SEK-SensorBridge/" TargetMode="External"/><Relationship Id="rId20" Type="http://schemas.openxmlformats.org/officeDocument/2006/relationships/hyperlink" Target="https://github.com/Sensirion/embedded-i2c-sen5x" TargetMode="External"/><Relationship Id="rId1" Type="http://schemas.openxmlformats.org/officeDocument/2006/relationships/slideLayout" Target="../slideLayouts/slideLayout2.xml"/><Relationship Id="rId6" Type="http://schemas.openxmlformats.org/officeDocument/2006/relationships/image" Target="../media/image321.png"/><Relationship Id="rId11" Type="http://schemas.openxmlformats.org/officeDocument/2006/relationships/hyperlink" Target="https://sensirion.com/media/documents/546FBC5B/61E9586E/Sensirion_Mechanical_Design_and_Assembly_Guidelines_SEN5x.pdf" TargetMode="External"/><Relationship Id="rId5" Type="http://schemas.openxmlformats.org/officeDocument/2006/relationships/image" Target="../media/image320.png"/><Relationship Id="rId15" Type="http://schemas.openxmlformats.org/officeDocument/2006/relationships/hyperlink" Target="https://sensirion.com/products/catalog/SEK-SEN5x/" TargetMode="External"/><Relationship Id="rId10" Type="http://schemas.openxmlformats.org/officeDocument/2006/relationships/hyperlink" Target="https://sensirion.com/media/documents/25AB572C/62B463AA/Sensirion_Engineering_Guidelines_SEN5x.pdf" TargetMode="External"/><Relationship Id="rId19" Type="http://schemas.openxmlformats.org/officeDocument/2006/relationships/hyperlink" Target="https://github.com/Sensirion/arduino-i2c-sen5x" TargetMode="External"/><Relationship Id="rId4" Type="http://schemas.openxmlformats.org/officeDocument/2006/relationships/image" Target="../media/image319.png"/><Relationship Id="rId9" Type="http://schemas.openxmlformats.org/officeDocument/2006/relationships/hyperlink" Target="https://sensirion.com/media/documents/8600FF88/616542B5/Sensirion_PM_Sensors_Datasheet_SPS30.pdf" TargetMode="External"/><Relationship Id="rId14" Type="http://schemas.openxmlformats.org/officeDocument/2006/relationships/image" Target="../media/image324.png"/><Relationship Id="rId22" Type="http://schemas.openxmlformats.org/officeDocument/2006/relationships/hyperlink" Target="https://sensirion.com/media/documents/9B9DE2A7/61E957EB/Sensirion_Temperature_Acceleration_and_Compensation_Instructions_SEN.pdf"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328.png"/></Relationships>
</file>

<file path=ppt/slides/_rels/slide4.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37.jpeg"/><Relationship Id="rId7"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chart" Target="../charts/chart2.xml"/><Relationship Id="rId5" Type="http://schemas.openxmlformats.org/officeDocument/2006/relationships/chart" Target="../charts/chart1.xml"/><Relationship Id="rId10" Type="http://schemas.openxmlformats.org/officeDocument/2006/relationships/chart" Target="../charts/chart6.xml"/><Relationship Id="rId4" Type="http://schemas.openxmlformats.org/officeDocument/2006/relationships/image" Target="../media/image38.png"/><Relationship Id="rId9" Type="http://schemas.openxmlformats.org/officeDocument/2006/relationships/chart" Target="../charts/chart5.xml"/></Relationships>
</file>

<file path=ppt/slides/_rels/slide40.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8" Type="http://schemas.openxmlformats.org/officeDocument/2006/relationships/hyperlink" Target="https://github.com/sensirion?q=sgp4" TargetMode="External"/><Relationship Id="rId13" Type="http://schemas.openxmlformats.org/officeDocument/2006/relationships/hyperlink" Target="https://github.com/Sensirion/svm41-hardware" TargetMode="External"/><Relationship Id="rId18" Type="http://schemas.openxmlformats.org/officeDocument/2006/relationships/hyperlink" Target="https://youtu.be/_TheVaJ8sg8" TargetMode="External"/><Relationship Id="rId26" Type="http://schemas.openxmlformats.org/officeDocument/2006/relationships/image" Target="../media/image337.png"/><Relationship Id="rId3" Type="http://schemas.openxmlformats.org/officeDocument/2006/relationships/hyperlink" Target="https://sensirion.com/media/documents/5FE8673C/61E96F50/Sensirion_Gas_Sensors_Datasheet_SGP41.pdf" TargetMode="External"/><Relationship Id="rId21" Type="http://schemas.openxmlformats.org/officeDocument/2006/relationships/hyperlink" Target="https://sensirion.com/products/catalog/SEK-SVM4x/" TargetMode="External"/><Relationship Id="rId7" Type="http://schemas.openxmlformats.org/officeDocument/2006/relationships/hyperlink" Target="https://sensirion.com/media/documents/1EF1B5BE/618CF369/GAS_AN_SGP41_QuickTestingGuide_D1.pdf" TargetMode="External"/><Relationship Id="rId12" Type="http://schemas.openxmlformats.org/officeDocument/2006/relationships/hyperlink" Target="https://sensirion.com/media/documents/FB63B346/61B8BAA1/Sensirion_Gas_Sensors_SEK-SVM41_UART_Interface_Description.pdf" TargetMode="External"/><Relationship Id="rId17" Type="http://schemas.openxmlformats.org/officeDocument/2006/relationships/image" Target="../media/image333.png"/><Relationship Id="rId25" Type="http://schemas.openxmlformats.org/officeDocument/2006/relationships/image" Target="../media/image336.png"/><Relationship Id="rId2" Type="http://schemas.openxmlformats.org/officeDocument/2006/relationships/hyperlink" Target="https://sensirion.com/media/documents/296373BB/6203C5DF/Sensirion_Gas_Sensors_Datasheet_SGP40.pdf" TargetMode="External"/><Relationship Id="rId16" Type="http://schemas.openxmlformats.org/officeDocument/2006/relationships/image" Target="../media/image332.png"/><Relationship Id="rId20" Type="http://schemas.openxmlformats.org/officeDocument/2006/relationships/image" Target="../media/image325.jpeg"/><Relationship Id="rId1" Type="http://schemas.openxmlformats.org/officeDocument/2006/relationships/slideLayout" Target="../slideLayouts/slideLayout2.xml"/><Relationship Id="rId6" Type="http://schemas.openxmlformats.org/officeDocument/2006/relationships/hyperlink" Target="https://sensirion.com/media/documents/69323F20/618CF28B/Sensirion_Gas_Sensors_SGP40_Quick_Testing_Guide_D1.pdf" TargetMode="External"/><Relationship Id="rId11" Type="http://schemas.openxmlformats.org/officeDocument/2006/relationships/hyperlink" Target="https://sensirion.com/media/documents/EBF2BA04/61B8BA7C/Sensirion_Gas_Sensors_SEK-SVM4x_I2C_Interface_Description.pdf" TargetMode="External"/><Relationship Id="rId24" Type="http://schemas.openxmlformats.org/officeDocument/2006/relationships/hyperlink" Target="https://sensirion.com/my-sgp-ek" TargetMode="External"/><Relationship Id="rId5" Type="http://schemas.openxmlformats.org/officeDocument/2006/relationships/hyperlink" Target="https://sensirion.com/media/documents/C87B1A6C/616452A3/Sensirion_Gas_Sensors_Datasheet_GAS_SGP4x_Design-In_Guide_D1.pdf" TargetMode="External"/><Relationship Id="rId15" Type="http://schemas.openxmlformats.org/officeDocument/2006/relationships/image" Target="../media/image331.png"/><Relationship Id="rId23" Type="http://schemas.openxmlformats.org/officeDocument/2006/relationships/image" Target="../media/image335.png"/><Relationship Id="rId10" Type="http://schemas.openxmlformats.org/officeDocument/2006/relationships/hyperlink" Target="https://sensirion.com/media/documents/FBD0A26B/61EA8BFA/Sensirion_Gas_Sensors_SEK-SVM4x_Technical_Description.pdf" TargetMode="External"/><Relationship Id="rId19" Type="http://schemas.openxmlformats.org/officeDocument/2006/relationships/hyperlink" Target="https://youtu.be/MCTtPizKhzw" TargetMode="External"/><Relationship Id="rId4" Type="http://schemas.openxmlformats.org/officeDocument/2006/relationships/hyperlink" Target="https://sensirion.com/media/documents/D9292B2F/6164519A/Sensirion_Gas_Sensors_SGPxx_Handling_and_Assembly_Instructions_1.pdf" TargetMode="External"/><Relationship Id="rId9" Type="http://schemas.openxmlformats.org/officeDocument/2006/relationships/hyperlink" Target="https://github.com/sensirion?q=svm41" TargetMode="External"/><Relationship Id="rId14" Type="http://schemas.openxmlformats.org/officeDocument/2006/relationships/image" Target="../media/image330.png"/><Relationship Id="rId22" Type="http://schemas.openxmlformats.org/officeDocument/2006/relationships/image" Target="../media/image334.png"/></Relationships>
</file>

<file path=ppt/slides/_rels/slide42.xml.rels><?xml version="1.0" encoding="UTF-8" standalone="yes"?>
<Relationships xmlns="http://schemas.openxmlformats.org/package/2006/relationships"><Relationship Id="rId8" Type="http://schemas.openxmlformats.org/officeDocument/2006/relationships/hyperlink" Target="https://github.com/Sensirion/raspberry-pi-uart-sfa3x" TargetMode="External"/><Relationship Id="rId13" Type="http://schemas.openxmlformats.org/officeDocument/2006/relationships/image" Target="../media/image325.jpeg"/><Relationship Id="rId3" Type="http://schemas.openxmlformats.org/officeDocument/2006/relationships/hyperlink" Target="https://sensirion.com/media/documents/DEB1C6D6/61654718/Sensirion_Formaldehyde_Sensors_SFA30_Datasheet.pdf" TargetMode="External"/><Relationship Id="rId7" Type="http://schemas.openxmlformats.org/officeDocument/2006/relationships/hyperlink" Target="https://github.com/Sensirion/raspberry-pi-i2c-sfa3x" TargetMode="External"/><Relationship Id="rId12" Type="http://schemas.openxmlformats.org/officeDocument/2006/relationships/image" Target="../media/image338.png"/><Relationship Id="rId2" Type="http://schemas.openxmlformats.org/officeDocument/2006/relationships/hyperlink" Target="https://sensirion.com/media/documents/3E98EA96/618132C0/SE_SFA30_Flyer_EN_Web_210518.pdf" TargetMode="External"/><Relationship Id="rId1" Type="http://schemas.openxmlformats.org/officeDocument/2006/relationships/slideLayout" Target="../slideLayouts/slideLayout2.xml"/><Relationship Id="rId6" Type="http://schemas.openxmlformats.org/officeDocument/2006/relationships/hyperlink" Target="https://github.com/Sensirion/arduino-uart-sfa3x" TargetMode="External"/><Relationship Id="rId11" Type="http://schemas.openxmlformats.org/officeDocument/2006/relationships/hyperlink" Target="https://sensirion.com/products/catalog/SEK-SFA30/" TargetMode="External"/><Relationship Id="rId5" Type="http://schemas.openxmlformats.org/officeDocument/2006/relationships/hyperlink" Target="https://github.com/Sensirion/arduino-i2c-sfa3x" TargetMode="External"/><Relationship Id="rId15" Type="http://schemas.openxmlformats.org/officeDocument/2006/relationships/image" Target="../media/image339.png"/><Relationship Id="rId10" Type="http://schemas.openxmlformats.org/officeDocument/2006/relationships/image" Target="../media/image336.png"/><Relationship Id="rId4" Type="http://schemas.openxmlformats.org/officeDocument/2006/relationships/hyperlink" Target="https://sensirion.com/media/documents/B79A58F4/61654545/Sensirion_Formaldehyde_Sensors_AN_SFA30_Handling_Instructions.pdf" TargetMode="External"/><Relationship Id="rId9" Type="http://schemas.openxmlformats.org/officeDocument/2006/relationships/hyperlink" Target="https://github.com/sensirion/embedded-sfa3x" TargetMode="External"/><Relationship Id="rId14" Type="http://schemas.openxmlformats.org/officeDocument/2006/relationships/hyperlink" Target="https://youtu.be/EoDM76lq9d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343.jpeg"/><Relationship Id="rId3" Type="http://schemas.openxmlformats.org/officeDocument/2006/relationships/image" Target="../media/image340.png"/><Relationship Id="rId7" Type="http://schemas.microsoft.com/office/2007/relationships/hdphoto" Target="../media/hdphoto17.wdp"/><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42.png"/><Relationship Id="rId5" Type="http://schemas.openxmlformats.org/officeDocument/2006/relationships/image" Target="../media/image341.png"/><Relationship Id="rId4" Type="http://schemas.microsoft.com/office/2007/relationships/hdphoto" Target="../media/hdphoto16.wdp"/></Relationships>
</file>

<file path=ppt/slides/_rels/slide44.xml.rels><?xml version="1.0" encoding="UTF-8" standalone="yes"?>
<Relationships xmlns="http://schemas.openxmlformats.org/package/2006/relationships"><Relationship Id="rId8" Type="http://schemas.openxmlformats.org/officeDocument/2006/relationships/image" Target="../media/image346.svg"/><Relationship Id="rId13" Type="http://schemas.openxmlformats.org/officeDocument/2006/relationships/image" Target="../media/image308.png"/><Relationship Id="rId18" Type="http://schemas.openxmlformats.org/officeDocument/2006/relationships/image" Target="../media/image353.png"/><Relationship Id="rId26" Type="http://schemas.openxmlformats.org/officeDocument/2006/relationships/image" Target="../media/image358.png"/><Relationship Id="rId3" Type="http://schemas.openxmlformats.org/officeDocument/2006/relationships/image" Target="../media/image215.png"/><Relationship Id="rId21" Type="http://schemas.microsoft.com/office/2007/relationships/hdphoto" Target="../media/hdphoto18.wdp"/><Relationship Id="rId7" Type="http://schemas.openxmlformats.org/officeDocument/2006/relationships/image" Target="../media/image302.png"/><Relationship Id="rId12" Type="http://schemas.openxmlformats.org/officeDocument/2006/relationships/image" Target="../media/image348.svg"/><Relationship Id="rId17" Type="http://schemas.openxmlformats.org/officeDocument/2006/relationships/image" Target="../media/image352.png"/><Relationship Id="rId25" Type="http://schemas.openxmlformats.org/officeDocument/2006/relationships/image" Target="../media/image357.png"/><Relationship Id="rId2" Type="http://schemas.openxmlformats.org/officeDocument/2006/relationships/notesSlide" Target="../notesSlides/notesSlide16.xml"/><Relationship Id="rId16" Type="http://schemas.openxmlformats.org/officeDocument/2006/relationships/image" Target="../media/image351.png"/><Relationship Id="rId20" Type="http://schemas.openxmlformats.org/officeDocument/2006/relationships/image" Target="../media/image355.png"/><Relationship Id="rId29" Type="http://schemas.openxmlformats.org/officeDocument/2006/relationships/image" Target="../media/image361.jpeg"/><Relationship Id="rId1" Type="http://schemas.openxmlformats.org/officeDocument/2006/relationships/slideLayout" Target="../slideLayouts/slideLayout5.xml"/><Relationship Id="rId6" Type="http://schemas.openxmlformats.org/officeDocument/2006/relationships/image" Target="../media/image345.svg"/><Relationship Id="rId11" Type="http://schemas.openxmlformats.org/officeDocument/2006/relationships/image" Target="../media/image306.png"/><Relationship Id="rId24" Type="http://schemas.microsoft.com/office/2007/relationships/hdphoto" Target="../media/hdphoto19.wdp"/><Relationship Id="rId5" Type="http://schemas.openxmlformats.org/officeDocument/2006/relationships/image" Target="../media/image300.png"/><Relationship Id="rId15" Type="http://schemas.openxmlformats.org/officeDocument/2006/relationships/image" Target="../media/image350.png"/><Relationship Id="rId23" Type="http://schemas.openxmlformats.org/officeDocument/2006/relationships/image" Target="../media/image356.png"/><Relationship Id="rId28" Type="http://schemas.openxmlformats.org/officeDocument/2006/relationships/image" Target="../media/image360.jpeg"/><Relationship Id="rId10" Type="http://schemas.openxmlformats.org/officeDocument/2006/relationships/image" Target="../media/image347.svg"/><Relationship Id="rId19" Type="http://schemas.openxmlformats.org/officeDocument/2006/relationships/image" Target="../media/image354.png"/><Relationship Id="rId4" Type="http://schemas.openxmlformats.org/officeDocument/2006/relationships/image" Target="../media/image344.png"/><Relationship Id="rId9" Type="http://schemas.openxmlformats.org/officeDocument/2006/relationships/image" Target="../media/image304.png"/><Relationship Id="rId14" Type="http://schemas.openxmlformats.org/officeDocument/2006/relationships/image" Target="../media/image349.svg"/><Relationship Id="rId22" Type="http://schemas.openxmlformats.org/officeDocument/2006/relationships/image" Target="cid:17E69AF6-37DE-461F-A631-F58A5B360685" TargetMode="External"/><Relationship Id="rId27" Type="http://schemas.openxmlformats.org/officeDocument/2006/relationships/image" Target="../media/image359.jpeg"/></Relationships>
</file>

<file path=ppt/slides/_rels/slide45.xml.rels><?xml version="1.0" encoding="UTF-8" standalone="yes"?>
<Relationships xmlns="http://schemas.openxmlformats.org/package/2006/relationships"><Relationship Id="rId3" Type="http://schemas.openxmlformats.org/officeDocument/2006/relationships/image" Target="../media/image363.png"/><Relationship Id="rId2" Type="http://schemas.openxmlformats.org/officeDocument/2006/relationships/image" Target="../media/image362.png"/><Relationship Id="rId1" Type="http://schemas.openxmlformats.org/officeDocument/2006/relationships/slideLayout" Target="../slideLayouts/slideLayout15.xml"/><Relationship Id="rId4" Type="http://schemas.openxmlformats.org/officeDocument/2006/relationships/image" Target="../media/image364.png"/></Relationships>
</file>

<file path=ppt/slides/_rels/slide46.xml.rels><?xml version="1.0" encoding="UTF-8" standalone="yes"?>
<Relationships xmlns="http://schemas.openxmlformats.org/package/2006/relationships"><Relationship Id="rId8" Type="http://schemas.openxmlformats.org/officeDocument/2006/relationships/image" Target="../media/image368.jpeg"/><Relationship Id="rId13" Type="http://schemas.openxmlformats.org/officeDocument/2006/relationships/image" Target="../media/image373.jpeg"/><Relationship Id="rId18" Type="http://schemas.openxmlformats.org/officeDocument/2006/relationships/image" Target="../media/image378.jpeg"/><Relationship Id="rId26" Type="http://schemas.openxmlformats.org/officeDocument/2006/relationships/image" Target="../media/image386.jpeg"/><Relationship Id="rId39" Type="http://schemas.openxmlformats.org/officeDocument/2006/relationships/image" Target="../media/image397.png"/><Relationship Id="rId3" Type="http://schemas.openxmlformats.org/officeDocument/2006/relationships/image" Target="../media/image220.png"/><Relationship Id="rId21" Type="http://schemas.openxmlformats.org/officeDocument/2006/relationships/image" Target="../media/image381.jpeg"/><Relationship Id="rId34" Type="http://schemas.openxmlformats.org/officeDocument/2006/relationships/image" Target="../media/image393.jpeg"/><Relationship Id="rId7" Type="http://schemas.openxmlformats.org/officeDocument/2006/relationships/image" Target="../media/image367.jpeg"/><Relationship Id="rId12" Type="http://schemas.openxmlformats.org/officeDocument/2006/relationships/image" Target="../media/image372.jpeg"/><Relationship Id="rId17" Type="http://schemas.openxmlformats.org/officeDocument/2006/relationships/image" Target="../media/image377.jpeg"/><Relationship Id="rId25" Type="http://schemas.openxmlformats.org/officeDocument/2006/relationships/image" Target="../media/image385.jpeg"/><Relationship Id="rId33" Type="http://schemas.microsoft.com/office/2007/relationships/hdphoto" Target="../media/hdphoto21.wdp"/><Relationship Id="rId38" Type="http://schemas.microsoft.com/office/2007/relationships/hdphoto" Target="../media/hdphoto22.wdp"/><Relationship Id="rId2" Type="http://schemas.openxmlformats.org/officeDocument/2006/relationships/notesSlide" Target="../notesSlides/notesSlide17.xml"/><Relationship Id="rId16" Type="http://schemas.openxmlformats.org/officeDocument/2006/relationships/image" Target="../media/image376.jpeg"/><Relationship Id="rId20" Type="http://schemas.openxmlformats.org/officeDocument/2006/relationships/image" Target="../media/image380.jpeg"/><Relationship Id="rId29" Type="http://schemas.openxmlformats.org/officeDocument/2006/relationships/image" Target="../media/image389.jpeg"/><Relationship Id="rId1" Type="http://schemas.openxmlformats.org/officeDocument/2006/relationships/slideLayout" Target="../slideLayouts/slideLayout2.xml"/><Relationship Id="rId6" Type="http://schemas.microsoft.com/office/2007/relationships/hdphoto" Target="../media/hdphoto20.wdp"/><Relationship Id="rId11" Type="http://schemas.openxmlformats.org/officeDocument/2006/relationships/image" Target="../media/image371.jpeg"/><Relationship Id="rId24" Type="http://schemas.openxmlformats.org/officeDocument/2006/relationships/image" Target="../media/image384.jpeg"/><Relationship Id="rId32" Type="http://schemas.openxmlformats.org/officeDocument/2006/relationships/image" Target="../media/image392.png"/><Relationship Id="rId37" Type="http://schemas.openxmlformats.org/officeDocument/2006/relationships/image" Target="../media/image396.png"/><Relationship Id="rId5" Type="http://schemas.openxmlformats.org/officeDocument/2006/relationships/image" Target="../media/image366.png"/><Relationship Id="rId15" Type="http://schemas.openxmlformats.org/officeDocument/2006/relationships/image" Target="../media/image375.jpeg"/><Relationship Id="rId23" Type="http://schemas.openxmlformats.org/officeDocument/2006/relationships/image" Target="../media/image383.jpeg"/><Relationship Id="rId28" Type="http://schemas.openxmlformats.org/officeDocument/2006/relationships/image" Target="../media/image388.jpeg"/><Relationship Id="rId36" Type="http://schemas.openxmlformats.org/officeDocument/2006/relationships/image" Target="../media/image395.jpeg"/><Relationship Id="rId10" Type="http://schemas.openxmlformats.org/officeDocument/2006/relationships/image" Target="../media/image370.jpeg"/><Relationship Id="rId19" Type="http://schemas.openxmlformats.org/officeDocument/2006/relationships/image" Target="../media/image379.jpeg"/><Relationship Id="rId31" Type="http://schemas.openxmlformats.org/officeDocument/2006/relationships/image" Target="../media/image391.jpeg"/><Relationship Id="rId4" Type="http://schemas.openxmlformats.org/officeDocument/2006/relationships/image" Target="../media/image365.png"/><Relationship Id="rId9" Type="http://schemas.openxmlformats.org/officeDocument/2006/relationships/image" Target="../media/image369.jpeg"/><Relationship Id="rId14" Type="http://schemas.openxmlformats.org/officeDocument/2006/relationships/image" Target="../media/image374.jpeg"/><Relationship Id="rId22" Type="http://schemas.openxmlformats.org/officeDocument/2006/relationships/image" Target="../media/image382.jpeg"/><Relationship Id="rId27" Type="http://schemas.openxmlformats.org/officeDocument/2006/relationships/image" Target="../media/image387.jpeg"/><Relationship Id="rId30" Type="http://schemas.openxmlformats.org/officeDocument/2006/relationships/image" Target="../media/image390.jpeg"/><Relationship Id="rId35" Type="http://schemas.openxmlformats.org/officeDocument/2006/relationships/image" Target="../media/image394.jpeg"/></Relationships>
</file>

<file path=ppt/slides/_rels/slide47.xml.rels><?xml version="1.0" encoding="UTF-8" standalone="yes"?>
<Relationships xmlns="http://schemas.openxmlformats.org/package/2006/relationships"><Relationship Id="rId3" Type="http://schemas.openxmlformats.org/officeDocument/2006/relationships/image" Target="../media/image398.png"/><Relationship Id="rId7" Type="http://schemas.openxmlformats.org/officeDocument/2006/relationships/image" Target="../media/image401.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400.png"/><Relationship Id="rId5" Type="http://schemas.openxmlformats.org/officeDocument/2006/relationships/image" Target="../media/image399.png"/><Relationship Id="rId4" Type="http://schemas.openxmlformats.org/officeDocument/2006/relationships/image" Target="../media/image337.png"/></Relationships>
</file>

<file path=ppt/slides/_rels/slide48.xml.rels><?xml version="1.0" encoding="UTF-8" standalone="yes"?>
<Relationships xmlns="http://schemas.openxmlformats.org/package/2006/relationships"><Relationship Id="rId8" Type="http://schemas.openxmlformats.org/officeDocument/2006/relationships/image" Target="../media/image405.png"/><Relationship Id="rId3" Type="http://schemas.openxmlformats.org/officeDocument/2006/relationships/hyperlink" Target="https://sensirion.com/de/produkte/anwendungen/hlk/vav-controller/" TargetMode="External"/><Relationship Id="rId7" Type="http://schemas.openxmlformats.org/officeDocument/2006/relationships/image" Target="../media/image404.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403.jpeg"/><Relationship Id="rId11" Type="http://schemas.openxmlformats.org/officeDocument/2006/relationships/image" Target="../media/image406.jpeg"/><Relationship Id="rId5" Type="http://schemas.openxmlformats.org/officeDocument/2006/relationships/image" Target="../media/image402.png"/><Relationship Id="rId10" Type="http://schemas.openxmlformats.org/officeDocument/2006/relationships/image" Target="../media/image399.png"/><Relationship Id="rId4" Type="http://schemas.openxmlformats.org/officeDocument/2006/relationships/hyperlink" Target="https://sensirion.com/products/applications/hvac/demand-controlled-ventilation/" TargetMode="External"/><Relationship Id="rId9" Type="http://schemas.openxmlformats.org/officeDocument/2006/relationships/image" Target="../media/image400.png"/></Relationships>
</file>

<file path=ppt/slides/_rels/slide49.xml.rels><?xml version="1.0" encoding="UTF-8" standalone="yes"?>
<Relationships xmlns="http://schemas.openxmlformats.org/package/2006/relationships"><Relationship Id="rId8" Type="http://schemas.openxmlformats.org/officeDocument/2006/relationships/image" Target="../media/image337.png"/><Relationship Id="rId3" Type="http://schemas.openxmlformats.org/officeDocument/2006/relationships/hyperlink" Target="https://sensirion.com/products/applications/appliances/air-purifiers/" TargetMode="External"/><Relationship Id="rId7" Type="http://schemas.openxmlformats.org/officeDocument/2006/relationships/image" Target="../media/image407.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336.png"/><Relationship Id="rId5" Type="http://schemas.openxmlformats.org/officeDocument/2006/relationships/image" Target="../media/image398.png"/><Relationship Id="rId4" Type="http://schemas.openxmlformats.org/officeDocument/2006/relationships/hyperlink" Target="https://sensirion.com/media/media/file/D34457A7/618A93E3/Sensirion_Indoor-Air-Quality_Brochure.pdf" TargetMode="External"/><Relationship Id="rId9" Type="http://schemas.openxmlformats.org/officeDocument/2006/relationships/image" Target="../media/image408.png"/></Relationships>
</file>

<file path=ppt/slides/_rels/slide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5.xml"/><Relationship Id="rId5" Type="http://schemas.openxmlformats.org/officeDocument/2006/relationships/image" Target="../media/image42.jpeg"/><Relationship Id="rId4" Type="http://schemas.openxmlformats.org/officeDocument/2006/relationships/image" Target="../media/image41.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8" Type="http://schemas.openxmlformats.org/officeDocument/2006/relationships/image" Target="../media/image415.png"/><Relationship Id="rId13" Type="http://schemas.openxmlformats.org/officeDocument/2006/relationships/image" Target="../media/image420.png"/><Relationship Id="rId3" Type="http://schemas.openxmlformats.org/officeDocument/2006/relationships/image" Target="../media/image410.png"/><Relationship Id="rId7" Type="http://schemas.openxmlformats.org/officeDocument/2006/relationships/image" Target="../media/image414.png"/><Relationship Id="rId12" Type="http://schemas.openxmlformats.org/officeDocument/2006/relationships/image" Target="../media/image419.jpeg"/><Relationship Id="rId2" Type="http://schemas.openxmlformats.org/officeDocument/2006/relationships/image" Target="../media/image409.png"/><Relationship Id="rId1" Type="http://schemas.openxmlformats.org/officeDocument/2006/relationships/slideLayout" Target="../slideLayouts/slideLayout5.xml"/><Relationship Id="rId6" Type="http://schemas.openxmlformats.org/officeDocument/2006/relationships/image" Target="../media/image413.png"/><Relationship Id="rId11" Type="http://schemas.openxmlformats.org/officeDocument/2006/relationships/image" Target="../media/image418.png"/><Relationship Id="rId5" Type="http://schemas.openxmlformats.org/officeDocument/2006/relationships/image" Target="../media/image412.png"/><Relationship Id="rId10" Type="http://schemas.openxmlformats.org/officeDocument/2006/relationships/image" Target="../media/image417.png"/><Relationship Id="rId4" Type="http://schemas.openxmlformats.org/officeDocument/2006/relationships/image" Target="../media/image411.png"/><Relationship Id="rId9" Type="http://schemas.openxmlformats.org/officeDocument/2006/relationships/image" Target="../media/image416.png"/><Relationship Id="rId14" Type="http://schemas.openxmlformats.org/officeDocument/2006/relationships/image" Target="../media/image421.png"/></Relationships>
</file>

<file path=ppt/slides/_rels/slide52.xml.rels><?xml version="1.0" encoding="UTF-8" standalone="yes"?>
<Relationships xmlns="http://schemas.openxmlformats.org/package/2006/relationships"><Relationship Id="rId8" Type="http://schemas.openxmlformats.org/officeDocument/2006/relationships/image" Target="../media/image428.png"/><Relationship Id="rId3" Type="http://schemas.openxmlformats.org/officeDocument/2006/relationships/image" Target="../media/image423.png"/><Relationship Id="rId7" Type="http://schemas.openxmlformats.org/officeDocument/2006/relationships/image" Target="../media/image427.png"/><Relationship Id="rId2" Type="http://schemas.openxmlformats.org/officeDocument/2006/relationships/image" Target="../media/image422.png"/><Relationship Id="rId1" Type="http://schemas.openxmlformats.org/officeDocument/2006/relationships/slideLayout" Target="../slideLayouts/slideLayout2.xml"/><Relationship Id="rId6" Type="http://schemas.openxmlformats.org/officeDocument/2006/relationships/image" Target="../media/image426.png"/><Relationship Id="rId5" Type="http://schemas.openxmlformats.org/officeDocument/2006/relationships/image" Target="../media/image425.png"/><Relationship Id="rId4" Type="http://schemas.openxmlformats.org/officeDocument/2006/relationships/image" Target="../media/image424.png"/></Relationships>
</file>

<file path=ppt/slides/_rels/slide53.xml.rels><?xml version="1.0" encoding="UTF-8" standalone="yes"?>
<Relationships xmlns="http://schemas.openxmlformats.org/package/2006/relationships"><Relationship Id="rId3" Type="http://schemas.openxmlformats.org/officeDocument/2006/relationships/image" Target="../media/image429.gif"/><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430.png"/></Relationships>
</file>

<file path=ppt/slides/_rels/slide54.xml.rels><?xml version="1.0" encoding="UTF-8" standalone="yes"?>
<Relationships xmlns="http://schemas.openxmlformats.org/package/2006/relationships"><Relationship Id="rId8" Type="http://schemas.openxmlformats.org/officeDocument/2006/relationships/image" Target="../media/image437.png"/><Relationship Id="rId3" Type="http://schemas.openxmlformats.org/officeDocument/2006/relationships/image" Target="../media/image432.png"/><Relationship Id="rId7" Type="http://schemas.openxmlformats.org/officeDocument/2006/relationships/image" Target="../media/image436.png"/><Relationship Id="rId2" Type="http://schemas.openxmlformats.org/officeDocument/2006/relationships/image" Target="../media/image431.png"/><Relationship Id="rId1" Type="http://schemas.openxmlformats.org/officeDocument/2006/relationships/slideLayout" Target="../slideLayouts/slideLayout2.xml"/><Relationship Id="rId6" Type="http://schemas.openxmlformats.org/officeDocument/2006/relationships/image" Target="../media/image435.jpeg"/><Relationship Id="rId5" Type="http://schemas.openxmlformats.org/officeDocument/2006/relationships/image" Target="../media/image434.png"/><Relationship Id="rId4" Type="http://schemas.openxmlformats.org/officeDocument/2006/relationships/image" Target="../media/image433.png"/></Relationships>
</file>

<file path=ppt/slides/_rels/slide55.xml.rels><?xml version="1.0" encoding="UTF-8" standalone="yes"?>
<Relationships xmlns="http://schemas.openxmlformats.org/package/2006/relationships"><Relationship Id="rId8" Type="http://schemas.openxmlformats.org/officeDocument/2006/relationships/image" Target="../media/image443.jpeg"/><Relationship Id="rId13" Type="http://schemas.openxmlformats.org/officeDocument/2006/relationships/image" Target="../media/image448.png"/><Relationship Id="rId3" Type="http://schemas.openxmlformats.org/officeDocument/2006/relationships/image" Target="../media/image438.png"/><Relationship Id="rId7" Type="http://schemas.openxmlformats.org/officeDocument/2006/relationships/image" Target="../media/image442.jpeg"/><Relationship Id="rId12" Type="http://schemas.openxmlformats.org/officeDocument/2006/relationships/image" Target="../media/image447.png"/><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image" Target="../media/image441.png"/><Relationship Id="rId11" Type="http://schemas.openxmlformats.org/officeDocument/2006/relationships/image" Target="../media/image446.png"/><Relationship Id="rId5" Type="http://schemas.openxmlformats.org/officeDocument/2006/relationships/image" Target="../media/image440.jpeg"/><Relationship Id="rId10" Type="http://schemas.openxmlformats.org/officeDocument/2006/relationships/image" Target="../media/image445.png"/><Relationship Id="rId4" Type="http://schemas.openxmlformats.org/officeDocument/2006/relationships/image" Target="../media/image439.jpeg"/><Relationship Id="rId9" Type="http://schemas.openxmlformats.org/officeDocument/2006/relationships/image" Target="../media/image444.jpeg"/></Relationships>
</file>

<file path=ppt/slides/_rels/slide56.xml.rels><?xml version="1.0" encoding="UTF-8" standalone="yes"?>
<Relationships xmlns="http://schemas.openxmlformats.org/package/2006/relationships"><Relationship Id="rId3" Type="http://schemas.openxmlformats.org/officeDocument/2006/relationships/image" Target="../media/image450.png"/><Relationship Id="rId2" Type="http://schemas.openxmlformats.org/officeDocument/2006/relationships/image" Target="../media/image449.png"/><Relationship Id="rId1" Type="http://schemas.openxmlformats.org/officeDocument/2006/relationships/slideLayout" Target="../slideLayouts/slideLayout16.xml"/><Relationship Id="rId5" Type="http://schemas.openxmlformats.org/officeDocument/2006/relationships/image" Target="../media/image452.jpeg"/><Relationship Id="rId4" Type="http://schemas.openxmlformats.org/officeDocument/2006/relationships/image" Target="../media/image451.jpeg"/></Relationships>
</file>

<file path=ppt/slides/_rels/slide57.xml.rels><?xml version="1.0" encoding="UTF-8" standalone="yes"?>
<Relationships xmlns="http://schemas.openxmlformats.org/package/2006/relationships"><Relationship Id="rId3" Type="http://schemas.openxmlformats.org/officeDocument/2006/relationships/image" Target="../media/image454.png"/><Relationship Id="rId2" Type="http://schemas.openxmlformats.org/officeDocument/2006/relationships/image" Target="../media/image453.png"/><Relationship Id="rId1" Type="http://schemas.openxmlformats.org/officeDocument/2006/relationships/slideLayout" Target="../slideLayouts/slideLayout16.xml"/><Relationship Id="rId4" Type="http://schemas.openxmlformats.org/officeDocument/2006/relationships/image" Target="../media/image455.png"/></Relationships>
</file>

<file path=ppt/slides/_rels/slide58.xml.rels><?xml version="1.0" encoding="UTF-8" standalone="yes"?>
<Relationships xmlns="http://schemas.openxmlformats.org/package/2006/relationships"><Relationship Id="rId3" Type="http://schemas.openxmlformats.org/officeDocument/2006/relationships/image" Target="../media/image457.png"/><Relationship Id="rId2" Type="http://schemas.openxmlformats.org/officeDocument/2006/relationships/image" Target="../media/image456.png"/><Relationship Id="rId1" Type="http://schemas.openxmlformats.org/officeDocument/2006/relationships/slideLayout" Target="../slideLayouts/slideLayout16.xml"/><Relationship Id="rId4" Type="http://schemas.openxmlformats.org/officeDocument/2006/relationships/image" Target="../media/image458.svg"/></Relationships>
</file>

<file path=ppt/slides/_rels/slide59.xml.rels><?xml version="1.0" encoding="UTF-8" standalone="yes"?>
<Relationships xmlns="http://schemas.openxmlformats.org/package/2006/relationships"><Relationship Id="rId3" Type="http://schemas.openxmlformats.org/officeDocument/2006/relationships/image" Target="../media/image460.png"/><Relationship Id="rId2" Type="http://schemas.openxmlformats.org/officeDocument/2006/relationships/image" Target="../media/image459.png"/><Relationship Id="rId1" Type="http://schemas.openxmlformats.org/officeDocument/2006/relationships/slideLayout" Target="../slideLayouts/slideLayout16.xml"/><Relationship Id="rId5" Type="http://schemas.microsoft.com/office/2007/relationships/hdphoto" Target="../media/hdphoto23.wdp"/><Relationship Id="rId4" Type="http://schemas.openxmlformats.org/officeDocument/2006/relationships/image" Target="../media/image461.png"/></Relationships>
</file>

<file path=ppt/slides/_rels/slide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tags" Target="../tags/tag3.xml"/><Relationship Id="rId7" Type="http://schemas.openxmlformats.org/officeDocument/2006/relationships/image" Target="../media/image43.png"/><Relationship Id="rId12" Type="http://schemas.openxmlformats.org/officeDocument/2006/relationships/image" Target="../media/image48.jpeg"/><Relationship Id="rId17" Type="http://schemas.openxmlformats.org/officeDocument/2006/relationships/image" Target="../media/image53.png"/><Relationship Id="rId2" Type="http://schemas.openxmlformats.org/officeDocument/2006/relationships/tags" Target="../tags/tag2.xml"/><Relationship Id="rId16" Type="http://schemas.openxmlformats.org/officeDocument/2006/relationships/image" Target="../media/image52.png"/><Relationship Id="rId1" Type="http://schemas.openxmlformats.org/officeDocument/2006/relationships/tags" Target="../tags/tag1.xml"/><Relationship Id="rId6" Type="http://schemas.openxmlformats.org/officeDocument/2006/relationships/notesSlide" Target="../notesSlides/notesSlide3.xml"/><Relationship Id="rId11" Type="http://schemas.openxmlformats.org/officeDocument/2006/relationships/image" Target="../media/image47.jpeg"/><Relationship Id="rId5" Type="http://schemas.openxmlformats.org/officeDocument/2006/relationships/slideLayout" Target="../slideLayouts/slideLayout5.xml"/><Relationship Id="rId15" Type="http://schemas.openxmlformats.org/officeDocument/2006/relationships/image" Target="../media/image51.jpeg"/><Relationship Id="rId10" Type="http://schemas.openxmlformats.org/officeDocument/2006/relationships/image" Target="../media/image46.jpeg"/><Relationship Id="rId4" Type="http://schemas.openxmlformats.org/officeDocument/2006/relationships/tags" Target="../tags/tag4.xml"/><Relationship Id="rId9" Type="http://schemas.openxmlformats.org/officeDocument/2006/relationships/image" Target="../media/image45.jpeg"/><Relationship Id="rId14" Type="http://schemas.openxmlformats.org/officeDocument/2006/relationships/image" Target="../media/image50.jpeg"/></Relationships>
</file>

<file path=ppt/slides/_rels/slide60.xml.rels><?xml version="1.0" encoding="UTF-8" standalone="yes"?>
<Relationships xmlns="http://schemas.openxmlformats.org/package/2006/relationships"><Relationship Id="rId8" Type="http://schemas.openxmlformats.org/officeDocument/2006/relationships/image" Target="../media/image467.png"/><Relationship Id="rId3" Type="http://schemas.openxmlformats.org/officeDocument/2006/relationships/image" Target="../media/image462.png"/><Relationship Id="rId7" Type="http://schemas.openxmlformats.org/officeDocument/2006/relationships/image" Target="../media/image466.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image" Target="../media/image465.png"/><Relationship Id="rId5" Type="http://schemas.openxmlformats.org/officeDocument/2006/relationships/image" Target="../media/image464.svg"/><Relationship Id="rId4" Type="http://schemas.openxmlformats.org/officeDocument/2006/relationships/image" Target="../media/image463.png"/></Relationships>
</file>

<file path=ppt/slides/_rels/slide61.xml.rels><?xml version="1.0" encoding="UTF-8" standalone="yes"?>
<Relationships xmlns="http://schemas.openxmlformats.org/package/2006/relationships"><Relationship Id="rId8" Type="http://schemas.openxmlformats.org/officeDocument/2006/relationships/image" Target="../media/image472.png"/><Relationship Id="rId3" Type="http://schemas.openxmlformats.org/officeDocument/2006/relationships/image" Target="../media/image462.png"/><Relationship Id="rId7" Type="http://schemas.openxmlformats.org/officeDocument/2006/relationships/image" Target="../media/image471.sv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image" Target="../media/image470.png"/><Relationship Id="rId11" Type="http://schemas.openxmlformats.org/officeDocument/2006/relationships/image" Target="../media/image475.svg"/><Relationship Id="rId5" Type="http://schemas.openxmlformats.org/officeDocument/2006/relationships/image" Target="../media/image469.svg"/><Relationship Id="rId10" Type="http://schemas.openxmlformats.org/officeDocument/2006/relationships/image" Target="../media/image474.png"/><Relationship Id="rId4" Type="http://schemas.openxmlformats.org/officeDocument/2006/relationships/image" Target="../media/image468.png"/><Relationship Id="rId9" Type="http://schemas.openxmlformats.org/officeDocument/2006/relationships/image" Target="../media/image473.svg"/></Relationships>
</file>

<file path=ppt/slides/_rels/slide62.xml.rels><?xml version="1.0" encoding="UTF-8" standalone="yes"?>
<Relationships xmlns="http://schemas.openxmlformats.org/package/2006/relationships"><Relationship Id="rId3" Type="http://schemas.openxmlformats.org/officeDocument/2006/relationships/image" Target="../media/image476.png"/><Relationship Id="rId7" Type="http://schemas.openxmlformats.org/officeDocument/2006/relationships/image" Target="../media/image462.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479.svg"/><Relationship Id="rId5" Type="http://schemas.openxmlformats.org/officeDocument/2006/relationships/image" Target="../media/image478.png"/><Relationship Id="rId4" Type="http://schemas.openxmlformats.org/officeDocument/2006/relationships/image" Target="../media/image477.svg"/></Relationships>
</file>

<file path=ppt/slides/_rels/slide63.xml.rels><?xml version="1.0" encoding="UTF-8" standalone="yes"?>
<Relationships xmlns="http://schemas.openxmlformats.org/package/2006/relationships"><Relationship Id="rId8" Type="http://schemas.openxmlformats.org/officeDocument/2006/relationships/image" Target="../media/image486.svg"/><Relationship Id="rId3" Type="http://schemas.openxmlformats.org/officeDocument/2006/relationships/image" Target="../media/image481.png"/><Relationship Id="rId7" Type="http://schemas.openxmlformats.org/officeDocument/2006/relationships/image" Target="../media/image485.png"/><Relationship Id="rId2" Type="http://schemas.openxmlformats.org/officeDocument/2006/relationships/image" Target="../media/image480.png"/><Relationship Id="rId1" Type="http://schemas.openxmlformats.org/officeDocument/2006/relationships/slideLayout" Target="../slideLayouts/slideLayout2.xml"/><Relationship Id="rId6" Type="http://schemas.openxmlformats.org/officeDocument/2006/relationships/image" Target="../media/image484.svg"/><Relationship Id="rId11" Type="http://schemas.openxmlformats.org/officeDocument/2006/relationships/image" Target="../media/image489.png"/><Relationship Id="rId5" Type="http://schemas.openxmlformats.org/officeDocument/2006/relationships/image" Target="../media/image483.png"/><Relationship Id="rId10" Type="http://schemas.openxmlformats.org/officeDocument/2006/relationships/image" Target="../media/image488.svg"/><Relationship Id="rId4" Type="http://schemas.openxmlformats.org/officeDocument/2006/relationships/image" Target="../media/image482.png"/><Relationship Id="rId9" Type="http://schemas.openxmlformats.org/officeDocument/2006/relationships/image" Target="../media/image487.png"/></Relationships>
</file>

<file path=ppt/slides/_rels/slide64.xml.rels><?xml version="1.0" encoding="UTF-8" standalone="yes"?>
<Relationships xmlns="http://schemas.openxmlformats.org/package/2006/relationships"><Relationship Id="rId3" Type="http://schemas.openxmlformats.org/officeDocument/2006/relationships/image" Target="../media/image480.png"/><Relationship Id="rId2" Type="http://schemas.openxmlformats.org/officeDocument/2006/relationships/notesSlide" Target="../notesSlides/notesSlide26.xml"/><Relationship Id="rId1" Type="http://schemas.openxmlformats.org/officeDocument/2006/relationships/slideLayout" Target="../slideLayouts/slideLayout15.xml"/><Relationship Id="rId4" Type="http://schemas.openxmlformats.org/officeDocument/2006/relationships/image" Target="../media/image490.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492.png"/><Relationship Id="rId2" Type="http://schemas.openxmlformats.org/officeDocument/2006/relationships/image" Target="../media/image491.jpe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jpeg"/><Relationship Id="rId7"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494.png"/><Relationship Id="rId2" Type="http://schemas.openxmlformats.org/officeDocument/2006/relationships/image" Target="../media/image493.png"/><Relationship Id="rId1" Type="http://schemas.openxmlformats.org/officeDocument/2006/relationships/slideLayout" Target="../slideLayouts/slideLayout18.xml"/><Relationship Id="rId6" Type="http://schemas.openxmlformats.org/officeDocument/2006/relationships/image" Target="../media/image497.jpeg"/><Relationship Id="rId5" Type="http://schemas.openxmlformats.org/officeDocument/2006/relationships/image" Target="../media/image496.jpeg"/><Relationship Id="rId4" Type="http://schemas.openxmlformats.org/officeDocument/2006/relationships/image" Target="../media/image495.png"/></Relationships>
</file>

<file path=ppt/slides/_rels/slide73.xml.rels><?xml version="1.0" encoding="UTF-8" standalone="yes"?>
<Relationships xmlns="http://schemas.openxmlformats.org/package/2006/relationships"><Relationship Id="rId8" Type="http://schemas.openxmlformats.org/officeDocument/2006/relationships/image" Target="../media/image504.png"/><Relationship Id="rId13" Type="http://schemas.openxmlformats.org/officeDocument/2006/relationships/image" Target="../media/image508.png"/><Relationship Id="rId18" Type="http://schemas.openxmlformats.org/officeDocument/2006/relationships/image" Target="../media/image513.png"/><Relationship Id="rId3" Type="http://schemas.openxmlformats.org/officeDocument/2006/relationships/image" Target="../media/image499.jpeg"/><Relationship Id="rId21" Type="http://schemas.openxmlformats.org/officeDocument/2006/relationships/image" Target="../media/image516.png"/><Relationship Id="rId7" Type="http://schemas.openxmlformats.org/officeDocument/2006/relationships/image" Target="../media/image503.png"/><Relationship Id="rId12" Type="http://schemas.openxmlformats.org/officeDocument/2006/relationships/image" Target="../media/image507.png"/><Relationship Id="rId17" Type="http://schemas.openxmlformats.org/officeDocument/2006/relationships/image" Target="../media/image512.png"/><Relationship Id="rId2" Type="http://schemas.openxmlformats.org/officeDocument/2006/relationships/image" Target="../media/image498.png"/><Relationship Id="rId16" Type="http://schemas.openxmlformats.org/officeDocument/2006/relationships/image" Target="../media/image511.jpeg"/><Relationship Id="rId20" Type="http://schemas.openxmlformats.org/officeDocument/2006/relationships/image" Target="../media/image515.jpeg"/><Relationship Id="rId1" Type="http://schemas.openxmlformats.org/officeDocument/2006/relationships/slideLayout" Target="../slideLayouts/slideLayout15.xml"/><Relationship Id="rId6" Type="http://schemas.openxmlformats.org/officeDocument/2006/relationships/image" Target="../media/image502.png"/><Relationship Id="rId11" Type="http://schemas.openxmlformats.org/officeDocument/2006/relationships/image" Target="../media/image506.jpeg"/><Relationship Id="rId5" Type="http://schemas.openxmlformats.org/officeDocument/2006/relationships/image" Target="../media/image501.png"/><Relationship Id="rId15" Type="http://schemas.openxmlformats.org/officeDocument/2006/relationships/image" Target="../media/image510.png"/><Relationship Id="rId10" Type="http://schemas.openxmlformats.org/officeDocument/2006/relationships/image" Target="../media/image505.png"/><Relationship Id="rId19" Type="http://schemas.openxmlformats.org/officeDocument/2006/relationships/image" Target="../media/image514.png"/><Relationship Id="rId4" Type="http://schemas.openxmlformats.org/officeDocument/2006/relationships/image" Target="../media/image500.jpeg"/><Relationship Id="rId9" Type="http://schemas.microsoft.com/office/2007/relationships/hdphoto" Target="../media/hdphoto24.wdp"/><Relationship Id="rId14" Type="http://schemas.openxmlformats.org/officeDocument/2006/relationships/image" Target="../media/image509.jpeg"/></Relationships>
</file>

<file path=ppt/slides/_rels/slide74.xml.rels><?xml version="1.0" encoding="UTF-8" standalone="yes"?>
<Relationships xmlns="http://schemas.openxmlformats.org/package/2006/relationships"><Relationship Id="rId3" Type="http://schemas.openxmlformats.org/officeDocument/2006/relationships/image" Target="../media/image517.png"/><Relationship Id="rId7" Type="http://schemas.openxmlformats.org/officeDocument/2006/relationships/image" Target="../media/image521.png"/><Relationship Id="rId2" Type="http://schemas.openxmlformats.org/officeDocument/2006/relationships/hyperlink" Target="http://www.sensirion.com/my-scd-ek" TargetMode="External"/><Relationship Id="rId1" Type="http://schemas.openxmlformats.org/officeDocument/2006/relationships/slideLayout" Target="../slideLayouts/slideLayout16.xml"/><Relationship Id="rId6" Type="http://schemas.openxmlformats.org/officeDocument/2006/relationships/image" Target="../media/image520.svg"/><Relationship Id="rId5" Type="http://schemas.openxmlformats.org/officeDocument/2006/relationships/image" Target="../media/image519.png"/><Relationship Id="rId4" Type="http://schemas.openxmlformats.org/officeDocument/2006/relationships/image" Target="../media/image518.svg"/></Relationships>
</file>

<file path=ppt/slides/_rels/slide75.xml.rels><?xml version="1.0" encoding="UTF-8" standalone="yes"?>
<Relationships xmlns="http://schemas.openxmlformats.org/package/2006/relationships"><Relationship Id="rId8" Type="http://schemas.openxmlformats.org/officeDocument/2006/relationships/hyperlink" Target="https://github.com/Sensirion/arduino-i2c-scd4x" TargetMode="External"/><Relationship Id="rId13" Type="http://schemas.openxmlformats.org/officeDocument/2006/relationships/image" Target="../media/image523.png"/><Relationship Id="rId18" Type="http://schemas.openxmlformats.org/officeDocument/2006/relationships/image" Target="../media/image525.png"/><Relationship Id="rId26" Type="http://schemas.openxmlformats.org/officeDocument/2006/relationships/image" Target="../media/image493.png"/><Relationship Id="rId3" Type="http://schemas.openxmlformats.org/officeDocument/2006/relationships/hyperlink" Target="https://sensirion.com/media/documents/BD775C74/623DE486/CD_DS_SCD42_Datasheet_D1.pdf" TargetMode="External"/><Relationship Id="rId21" Type="http://schemas.openxmlformats.org/officeDocument/2006/relationships/hyperlink" Target="https://www.youtube.com/watch?v=siraFIX7JHk&amp;list=PLxp38R6sUBkzb5I6MSiGVhXhUg2KOE-95&amp;index=2" TargetMode="External"/><Relationship Id="rId7" Type="http://schemas.openxmlformats.org/officeDocument/2006/relationships/hyperlink" Target="https://sensirion.com/media/documents/D7CEEF4A/6165372F/Sensirion_CO2_Sensors_SCD30_Interface_Description.pdf" TargetMode="External"/><Relationship Id="rId12" Type="http://schemas.openxmlformats.org/officeDocument/2006/relationships/image" Target="../media/image522.jpeg"/><Relationship Id="rId17" Type="http://schemas.openxmlformats.org/officeDocument/2006/relationships/hyperlink" Target="https://sensirion.com/products/catalog/SEK-SCD30/" TargetMode="External"/><Relationship Id="rId25" Type="http://schemas.openxmlformats.org/officeDocument/2006/relationships/image" Target="../media/image529.jpeg"/><Relationship Id="rId2" Type="http://schemas.openxmlformats.org/officeDocument/2006/relationships/hyperlink" Target="https://sensirion.com/media/documents/C4B87CE6/627C2DCD/CD_DS_SCD40_SCD41_Datasheet_D1.pdf" TargetMode="External"/><Relationship Id="rId16" Type="http://schemas.openxmlformats.org/officeDocument/2006/relationships/image" Target="../media/image524.png"/><Relationship Id="rId20" Type="http://schemas.openxmlformats.org/officeDocument/2006/relationships/hyperlink" Target="https://www.youtube.com/watch?v=E-wtyDLzXHY" TargetMode="External"/><Relationship Id="rId1" Type="http://schemas.openxmlformats.org/officeDocument/2006/relationships/slideLayout" Target="../slideLayouts/slideLayout2.xml"/><Relationship Id="rId6" Type="http://schemas.openxmlformats.org/officeDocument/2006/relationships/hyperlink" Target="https://sensirion.com/media/documents/4EAF6AF8/61652C3C/Sensirion_CO2_Sensors_SCD30_Datasheet.pdf" TargetMode="External"/><Relationship Id="rId11" Type="http://schemas.openxmlformats.org/officeDocument/2006/relationships/hyperlink" Target="https://github.com/Sensirion/embedded-scd/releases/tag/2.1.1" TargetMode="External"/><Relationship Id="rId24" Type="http://schemas.openxmlformats.org/officeDocument/2006/relationships/image" Target="../media/image494.png"/><Relationship Id="rId5" Type="http://schemas.openxmlformats.org/officeDocument/2006/relationships/hyperlink" Target="https://sensirion.com/media/documents/170361AA/61653798/Sensirion_CO2_Sensors_SCD4x_handling_instructions.pdf" TargetMode="External"/><Relationship Id="rId15" Type="http://schemas.openxmlformats.org/officeDocument/2006/relationships/hyperlink" Target="https://sensirion.com/products/catalog/SEK-SensorBridge/" TargetMode="External"/><Relationship Id="rId23" Type="http://schemas.openxmlformats.org/officeDocument/2006/relationships/image" Target="../media/image528.jpeg"/><Relationship Id="rId10" Type="http://schemas.openxmlformats.org/officeDocument/2006/relationships/hyperlink" Target="https://github.com/Sensirion/raspberry-pi-i2c-scd4x" TargetMode="External"/><Relationship Id="rId19" Type="http://schemas.openxmlformats.org/officeDocument/2006/relationships/image" Target="../media/image526.jpeg"/><Relationship Id="rId4" Type="http://schemas.openxmlformats.org/officeDocument/2006/relationships/hyperlink" Target="https://sensirion.com/media/documents/0D0C9129/623B1183/Sensirion_CO2_Sensors_SCD4x_design-in_guide.pdf" TargetMode="External"/><Relationship Id="rId9" Type="http://schemas.openxmlformats.org/officeDocument/2006/relationships/hyperlink" Target="https://github.com/Sensirion/embedded-i2c-scd4x" TargetMode="External"/><Relationship Id="rId14" Type="http://schemas.openxmlformats.org/officeDocument/2006/relationships/hyperlink" Target="https://sensirion.com/products/catalog/SEK-SCD41/" TargetMode="External"/><Relationship Id="rId22" Type="http://schemas.openxmlformats.org/officeDocument/2006/relationships/image" Target="../media/image527.png"/><Relationship Id="rId27" Type="http://schemas.openxmlformats.org/officeDocument/2006/relationships/image" Target="../media/image530.png"/></Relationships>
</file>

<file path=ppt/slides/_rels/slide76.xml.rels><?xml version="1.0" encoding="UTF-8" standalone="yes"?>
<Relationships xmlns="http://schemas.openxmlformats.org/package/2006/relationships"><Relationship Id="rId3" Type="http://schemas.openxmlformats.org/officeDocument/2006/relationships/image" Target="../media/image364.png"/><Relationship Id="rId2" Type="http://schemas.openxmlformats.org/officeDocument/2006/relationships/image" Target="../media/image531.png"/><Relationship Id="rId1" Type="http://schemas.openxmlformats.org/officeDocument/2006/relationships/slideLayout" Target="../slideLayouts/slideLayout15.xml"/><Relationship Id="rId4" Type="http://schemas.openxmlformats.org/officeDocument/2006/relationships/image" Target="../media/image532.png"/></Relationships>
</file>

<file path=ppt/slides/_rels/slide77.xml.rels><?xml version="1.0" encoding="UTF-8" standalone="yes"?>
<Relationships xmlns="http://schemas.openxmlformats.org/package/2006/relationships"><Relationship Id="rId8" Type="http://schemas.openxmlformats.org/officeDocument/2006/relationships/image" Target="../media/image174.svg"/><Relationship Id="rId13" Type="http://schemas.openxmlformats.org/officeDocument/2006/relationships/image" Target="../media/image539.png"/><Relationship Id="rId3" Type="http://schemas.openxmlformats.org/officeDocument/2006/relationships/image" Target="../media/image534.svg"/><Relationship Id="rId7" Type="http://schemas.openxmlformats.org/officeDocument/2006/relationships/image" Target="../media/image173.png"/><Relationship Id="rId12" Type="http://schemas.openxmlformats.org/officeDocument/2006/relationships/image" Target="../media/image538.png"/><Relationship Id="rId2" Type="http://schemas.openxmlformats.org/officeDocument/2006/relationships/image" Target="../media/image533.png"/><Relationship Id="rId1" Type="http://schemas.openxmlformats.org/officeDocument/2006/relationships/slideLayout" Target="../slideLayouts/slideLayout16.xml"/><Relationship Id="rId6" Type="http://schemas.openxmlformats.org/officeDocument/2006/relationships/image" Target="../media/image248.svg"/><Relationship Id="rId11" Type="http://schemas.openxmlformats.org/officeDocument/2006/relationships/hyperlink" Target="http://www.sensirion.com/my-scd-ek" TargetMode="External"/><Relationship Id="rId5" Type="http://schemas.openxmlformats.org/officeDocument/2006/relationships/image" Target="../media/image247.png"/><Relationship Id="rId15" Type="http://schemas.openxmlformats.org/officeDocument/2006/relationships/image" Target="../media/image541.png"/><Relationship Id="rId10" Type="http://schemas.openxmlformats.org/officeDocument/2006/relationships/image" Target="../media/image537.svg"/><Relationship Id="rId4" Type="http://schemas.openxmlformats.org/officeDocument/2006/relationships/image" Target="../media/image535.png"/><Relationship Id="rId9" Type="http://schemas.openxmlformats.org/officeDocument/2006/relationships/image" Target="../media/image536.png"/><Relationship Id="rId14" Type="http://schemas.openxmlformats.org/officeDocument/2006/relationships/image" Target="../media/image540.png"/></Relationships>
</file>

<file path=ppt/slides/_rels/slide78.xml.rels><?xml version="1.0" encoding="UTF-8" standalone="yes"?>
<Relationships xmlns="http://schemas.openxmlformats.org/package/2006/relationships"><Relationship Id="rId8" Type="http://schemas.openxmlformats.org/officeDocument/2006/relationships/image" Target="../media/image546.png"/><Relationship Id="rId3" Type="http://schemas.openxmlformats.org/officeDocument/2006/relationships/image" Target="../media/image542.png"/><Relationship Id="rId7" Type="http://schemas.openxmlformats.org/officeDocument/2006/relationships/image" Target="../media/image545.png"/><Relationship Id="rId2" Type="http://schemas.openxmlformats.org/officeDocument/2006/relationships/notesSlide" Target="../notesSlides/notesSlide28.xml"/><Relationship Id="rId1" Type="http://schemas.openxmlformats.org/officeDocument/2006/relationships/slideLayout" Target="../slideLayouts/slideLayout16.xml"/><Relationship Id="rId6" Type="http://schemas.openxmlformats.org/officeDocument/2006/relationships/image" Target="../media/image437.png"/><Relationship Id="rId5" Type="http://schemas.openxmlformats.org/officeDocument/2006/relationships/image" Target="../media/image544.png"/><Relationship Id="rId4" Type="http://schemas.openxmlformats.org/officeDocument/2006/relationships/image" Target="../media/image543.jpeg"/></Relationships>
</file>

<file path=ppt/slides/_rels/slide7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image" Target="../media/image547.jpeg"/><Relationship Id="rId7" Type="http://schemas.openxmlformats.org/officeDocument/2006/relationships/image" Target="../media/image551.png"/><Relationship Id="rId2" Type="http://schemas.openxmlformats.org/officeDocument/2006/relationships/notesSlide" Target="../notesSlides/notesSlide29.xml"/><Relationship Id="rId1" Type="http://schemas.openxmlformats.org/officeDocument/2006/relationships/slideLayout" Target="../slideLayouts/slideLayout16.xml"/><Relationship Id="rId6" Type="http://schemas.openxmlformats.org/officeDocument/2006/relationships/image" Target="../media/image550.png"/><Relationship Id="rId11" Type="http://schemas.openxmlformats.org/officeDocument/2006/relationships/image" Target="../media/image553.jpeg"/><Relationship Id="rId5" Type="http://schemas.openxmlformats.org/officeDocument/2006/relationships/image" Target="../media/image549.png"/><Relationship Id="rId10" Type="http://schemas.microsoft.com/office/2007/relationships/hdphoto" Target="../media/hdphoto26.wdp"/><Relationship Id="rId4" Type="http://schemas.openxmlformats.org/officeDocument/2006/relationships/image" Target="../media/image548.png"/><Relationship Id="rId9" Type="http://schemas.openxmlformats.org/officeDocument/2006/relationships/image" Target="../media/image552.png"/></Relationships>
</file>

<file path=ppt/slides/_rels/slide8.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image" Target="../media/image64.jpeg"/><Relationship Id="rId7" Type="http://schemas.openxmlformats.org/officeDocument/2006/relationships/image" Target="../media/image68.jpe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8" Type="http://schemas.openxmlformats.org/officeDocument/2006/relationships/image" Target="../media/image559.png"/><Relationship Id="rId3" Type="http://schemas.openxmlformats.org/officeDocument/2006/relationships/image" Target="../media/image554.jpeg"/><Relationship Id="rId7" Type="http://schemas.openxmlformats.org/officeDocument/2006/relationships/image" Target="../media/image558.png"/><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image" Target="../media/image557.png"/><Relationship Id="rId11" Type="http://schemas.openxmlformats.org/officeDocument/2006/relationships/image" Target="../media/image562.png"/><Relationship Id="rId5" Type="http://schemas.openxmlformats.org/officeDocument/2006/relationships/image" Target="../media/image556.png"/><Relationship Id="rId10" Type="http://schemas.openxmlformats.org/officeDocument/2006/relationships/image" Target="../media/image561.png"/><Relationship Id="rId4" Type="http://schemas.openxmlformats.org/officeDocument/2006/relationships/image" Target="../media/image555.png"/><Relationship Id="rId9" Type="http://schemas.openxmlformats.org/officeDocument/2006/relationships/image" Target="../media/image560.png"/></Relationships>
</file>

<file path=ppt/slides/_rels/slide82.xml.rels><?xml version="1.0" encoding="UTF-8" standalone="yes"?>
<Relationships xmlns="http://schemas.openxmlformats.org/package/2006/relationships"><Relationship Id="rId3" Type="http://schemas.openxmlformats.org/officeDocument/2006/relationships/image" Target="../media/image563.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564.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84.xml.rels><?xml version="1.0" encoding="UTF-8" standalone="yes"?>
<Relationships xmlns="http://schemas.openxmlformats.org/package/2006/relationships"><Relationship Id="rId3" Type="http://schemas.openxmlformats.org/officeDocument/2006/relationships/image" Target="../media/image566.jpeg"/><Relationship Id="rId2" Type="http://schemas.openxmlformats.org/officeDocument/2006/relationships/image" Target="../media/image565.jpeg"/><Relationship Id="rId1" Type="http://schemas.openxmlformats.org/officeDocument/2006/relationships/slideLayout" Target="../slideLayouts/slideLayout180.xml"/><Relationship Id="rId4" Type="http://schemas.openxmlformats.org/officeDocument/2006/relationships/image" Target="../media/image567.jpeg"/></Relationships>
</file>

<file path=ppt/slides/_rels/slide85.xml.rels><?xml version="1.0" encoding="UTF-8" standalone="yes"?>
<Relationships xmlns="http://schemas.openxmlformats.org/package/2006/relationships"><Relationship Id="rId8" Type="http://schemas.openxmlformats.org/officeDocument/2006/relationships/image" Target="../media/image568.png"/><Relationship Id="rId13" Type="http://schemas.openxmlformats.org/officeDocument/2006/relationships/image" Target="../media/image571.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hdphoto" Target="../media/hdphoto28.wdp"/><Relationship Id="rId2" Type="http://schemas.openxmlformats.org/officeDocument/2006/relationships/notesSlide" Target="../notesSlides/notesSlide32.xml"/><Relationship Id="rId1" Type="http://schemas.openxmlformats.org/officeDocument/2006/relationships/slideLayout" Target="../slideLayouts/slideLayout156.xml"/><Relationship Id="rId6" Type="http://schemas.openxmlformats.org/officeDocument/2006/relationships/diagramColors" Target="../diagrams/colors1.xml"/><Relationship Id="rId11" Type="http://schemas.openxmlformats.org/officeDocument/2006/relationships/image" Target="../media/image570.png"/><Relationship Id="rId5" Type="http://schemas.openxmlformats.org/officeDocument/2006/relationships/diagramQuickStyle" Target="../diagrams/quickStyle1.xml"/><Relationship Id="rId10" Type="http://schemas.openxmlformats.org/officeDocument/2006/relationships/image" Target="../media/image569.png"/><Relationship Id="rId4" Type="http://schemas.openxmlformats.org/officeDocument/2006/relationships/diagramLayout" Target="../diagrams/layout1.xml"/><Relationship Id="rId9" Type="http://schemas.microsoft.com/office/2007/relationships/hdphoto" Target="../media/hdphoto27.wdp"/><Relationship Id="rId14" Type="http://schemas.microsoft.com/office/2007/relationships/hdphoto" Target="../media/hdphoto29.wdp"/></Relationships>
</file>

<file path=ppt/slides/_rels/slide86.xml.rels><?xml version="1.0" encoding="UTF-8" standalone="yes"?>
<Relationships xmlns="http://schemas.openxmlformats.org/package/2006/relationships"><Relationship Id="rId8" Type="http://schemas.openxmlformats.org/officeDocument/2006/relationships/image" Target="../media/image573.png"/><Relationship Id="rId13" Type="http://schemas.openxmlformats.org/officeDocument/2006/relationships/diagramData" Target="../diagrams/data3.xml"/><Relationship Id="rId18" Type="http://schemas.openxmlformats.org/officeDocument/2006/relationships/image" Target="../media/image222.png"/><Relationship Id="rId3" Type="http://schemas.openxmlformats.org/officeDocument/2006/relationships/diagramLayout" Target="../diagrams/layout2.xml"/><Relationship Id="rId7" Type="http://schemas.openxmlformats.org/officeDocument/2006/relationships/image" Target="../media/image572.png"/><Relationship Id="rId12" Type="http://schemas.microsoft.com/office/2007/relationships/hdphoto" Target="../media/hdphoto31.wdp"/><Relationship Id="rId17" Type="http://schemas.microsoft.com/office/2007/relationships/diagramDrawing" Target="../diagrams/drawing3.xml"/><Relationship Id="rId2" Type="http://schemas.openxmlformats.org/officeDocument/2006/relationships/diagramData" Target="../diagrams/data2.xml"/><Relationship Id="rId16" Type="http://schemas.openxmlformats.org/officeDocument/2006/relationships/diagramColors" Target="../diagrams/colors3.xml"/><Relationship Id="rId1" Type="http://schemas.openxmlformats.org/officeDocument/2006/relationships/slideLayout" Target="../slideLayouts/slideLayout158.xml"/><Relationship Id="rId6" Type="http://schemas.microsoft.com/office/2007/relationships/diagramDrawing" Target="../diagrams/drawing2.xml"/><Relationship Id="rId11" Type="http://schemas.openxmlformats.org/officeDocument/2006/relationships/image" Target="../media/image575.png"/><Relationship Id="rId5" Type="http://schemas.openxmlformats.org/officeDocument/2006/relationships/diagramColors" Target="../diagrams/colors2.xml"/><Relationship Id="rId15" Type="http://schemas.openxmlformats.org/officeDocument/2006/relationships/diagramQuickStyle" Target="../diagrams/quickStyle3.xml"/><Relationship Id="rId10" Type="http://schemas.openxmlformats.org/officeDocument/2006/relationships/image" Target="../media/image574.png"/><Relationship Id="rId19" Type="http://schemas.openxmlformats.org/officeDocument/2006/relationships/image" Target="../media/image576.jpeg"/><Relationship Id="rId4" Type="http://schemas.openxmlformats.org/officeDocument/2006/relationships/diagramQuickStyle" Target="../diagrams/quickStyle2.xml"/><Relationship Id="rId9" Type="http://schemas.microsoft.com/office/2007/relationships/hdphoto" Target="../media/hdphoto30.wdp"/><Relationship Id="rId14" Type="http://schemas.openxmlformats.org/officeDocument/2006/relationships/diagramLayout" Target="../diagrams/layout3.xml"/></Relationships>
</file>

<file path=ppt/slides/_rels/slide87.xml.rels><?xml version="1.0" encoding="UTF-8" standalone="yes"?>
<Relationships xmlns="http://schemas.openxmlformats.org/package/2006/relationships"><Relationship Id="rId8" Type="http://schemas.microsoft.com/office/2007/relationships/hdphoto" Target="../media/hdphoto34.wdp"/><Relationship Id="rId3" Type="http://schemas.openxmlformats.org/officeDocument/2006/relationships/image" Target="../media/image577.png"/><Relationship Id="rId7" Type="http://schemas.openxmlformats.org/officeDocument/2006/relationships/image" Target="../media/image579.png"/><Relationship Id="rId2" Type="http://schemas.openxmlformats.org/officeDocument/2006/relationships/notesSlide" Target="../notesSlides/notesSlide33.xml"/><Relationship Id="rId1" Type="http://schemas.openxmlformats.org/officeDocument/2006/relationships/slideLayout" Target="../slideLayouts/slideLayout156.xml"/><Relationship Id="rId6" Type="http://schemas.microsoft.com/office/2007/relationships/hdphoto" Target="../media/hdphoto33.wdp"/><Relationship Id="rId11" Type="http://schemas.openxmlformats.org/officeDocument/2006/relationships/image" Target="../media/image576.jpeg"/><Relationship Id="rId5" Type="http://schemas.openxmlformats.org/officeDocument/2006/relationships/image" Target="../media/image578.png"/><Relationship Id="rId10" Type="http://schemas.openxmlformats.org/officeDocument/2006/relationships/chart" Target="../charts/chart9.xml"/><Relationship Id="rId4" Type="http://schemas.microsoft.com/office/2007/relationships/hdphoto" Target="../media/hdphoto32.wdp"/><Relationship Id="rId9" Type="http://schemas.openxmlformats.org/officeDocument/2006/relationships/image" Target="../media/image580.png"/></Relationships>
</file>

<file path=ppt/slides/_rels/slide88.xml.rels><?xml version="1.0" encoding="UTF-8" standalone="yes"?>
<Relationships xmlns="http://schemas.openxmlformats.org/package/2006/relationships"><Relationship Id="rId3" Type="http://schemas.openxmlformats.org/officeDocument/2006/relationships/image" Target="../media/image582.jpeg"/><Relationship Id="rId2" Type="http://schemas.openxmlformats.org/officeDocument/2006/relationships/image" Target="../media/image581.png"/><Relationship Id="rId1" Type="http://schemas.openxmlformats.org/officeDocument/2006/relationships/slideLayout" Target="../slideLayouts/slideLayout2.xml"/><Relationship Id="rId6" Type="http://schemas.openxmlformats.org/officeDocument/2006/relationships/image" Target="../media/image584.jpeg"/><Relationship Id="rId5" Type="http://schemas.openxmlformats.org/officeDocument/2006/relationships/hyperlink" Target="https://sensirion.com/products/applications/dataloggers/transport-of-pharmaceutical-goods/" TargetMode="External"/><Relationship Id="rId4" Type="http://schemas.openxmlformats.org/officeDocument/2006/relationships/image" Target="../media/image583.jpeg"/></Relationships>
</file>

<file path=ppt/slides/_rels/slide89.xml.rels><?xml version="1.0" encoding="UTF-8" standalone="yes"?>
<Relationships xmlns="http://schemas.openxmlformats.org/package/2006/relationships"><Relationship Id="rId3" Type="http://schemas.openxmlformats.org/officeDocument/2006/relationships/image" Target="../media/image585.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588.png"/><Relationship Id="rId5" Type="http://schemas.openxmlformats.org/officeDocument/2006/relationships/image" Target="../media/image587.png"/><Relationship Id="rId4" Type="http://schemas.openxmlformats.org/officeDocument/2006/relationships/image" Target="../media/image586.png"/></Relationships>
</file>

<file path=ppt/slides/_rels/slide9.xml.rels><?xml version="1.0" encoding="UTF-8" standalone="yes"?>
<Relationships xmlns="http://schemas.openxmlformats.org/package/2006/relationships"><Relationship Id="rId13" Type="http://schemas.openxmlformats.org/officeDocument/2006/relationships/image" Target="../media/image80.png"/><Relationship Id="rId18" Type="http://schemas.openxmlformats.org/officeDocument/2006/relationships/image" Target="../media/image85.jpeg"/><Relationship Id="rId26" Type="http://schemas.openxmlformats.org/officeDocument/2006/relationships/image" Target="../media/image93.png"/><Relationship Id="rId39" Type="http://schemas.openxmlformats.org/officeDocument/2006/relationships/image" Target="../media/image106.png"/><Relationship Id="rId3" Type="http://schemas.openxmlformats.org/officeDocument/2006/relationships/image" Target="../media/image70.png"/><Relationship Id="rId21" Type="http://schemas.openxmlformats.org/officeDocument/2006/relationships/image" Target="../media/image88.png"/><Relationship Id="rId34" Type="http://schemas.openxmlformats.org/officeDocument/2006/relationships/image" Target="../media/image101.png"/><Relationship Id="rId42" Type="http://schemas.openxmlformats.org/officeDocument/2006/relationships/image" Target="../media/image109.svg"/><Relationship Id="rId47" Type="http://schemas.openxmlformats.org/officeDocument/2006/relationships/image" Target="../media/image114.jpeg"/><Relationship Id="rId50" Type="http://schemas.openxmlformats.org/officeDocument/2006/relationships/image" Target="../media/image117.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5" Type="http://schemas.openxmlformats.org/officeDocument/2006/relationships/image" Target="../media/image92.png"/><Relationship Id="rId33" Type="http://schemas.openxmlformats.org/officeDocument/2006/relationships/image" Target="../media/image100.png"/><Relationship Id="rId38" Type="http://schemas.openxmlformats.org/officeDocument/2006/relationships/image" Target="../media/image105.svg"/><Relationship Id="rId46" Type="http://schemas.openxmlformats.org/officeDocument/2006/relationships/image" Target="../media/image113.jpeg"/><Relationship Id="rId2" Type="http://schemas.openxmlformats.org/officeDocument/2006/relationships/notesSlide" Target="../notesSlides/notesSlide6.xml"/><Relationship Id="rId16" Type="http://schemas.openxmlformats.org/officeDocument/2006/relationships/image" Target="../media/image83.jpeg"/><Relationship Id="rId20" Type="http://schemas.openxmlformats.org/officeDocument/2006/relationships/image" Target="../media/image87.png"/><Relationship Id="rId29" Type="http://schemas.openxmlformats.org/officeDocument/2006/relationships/image" Target="../media/image96.jpeg"/><Relationship Id="rId41" Type="http://schemas.openxmlformats.org/officeDocument/2006/relationships/image" Target="../media/image108.png"/><Relationship Id="rId54" Type="http://schemas.openxmlformats.org/officeDocument/2006/relationships/image" Target="../media/image121.png"/><Relationship Id="rId1" Type="http://schemas.openxmlformats.org/officeDocument/2006/relationships/slideLayout" Target="../slideLayouts/slideLayout14.xml"/><Relationship Id="rId6" Type="http://schemas.openxmlformats.org/officeDocument/2006/relationships/image" Target="../media/image73.jpeg"/><Relationship Id="rId11" Type="http://schemas.openxmlformats.org/officeDocument/2006/relationships/image" Target="../media/image78.png"/><Relationship Id="rId24" Type="http://schemas.openxmlformats.org/officeDocument/2006/relationships/image" Target="../media/image91.png"/><Relationship Id="rId32" Type="http://schemas.openxmlformats.org/officeDocument/2006/relationships/image" Target="../media/image99.jpeg"/><Relationship Id="rId37" Type="http://schemas.openxmlformats.org/officeDocument/2006/relationships/image" Target="../media/image104.png"/><Relationship Id="rId40" Type="http://schemas.openxmlformats.org/officeDocument/2006/relationships/image" Target="../media/image107.svg"/><Relationship Id="rId45" Type="http://schemas.openxmlformats.org/officeDocument/2006/relationships/image" Target="../media/image112.svg"/><Relationship Id="rId53" Type="http://schemas.openxmlformats.org/officeDocument/2006/relationships/image" Target="../media/image120.png"/><Relationship Id="rId5" Type="http://schemas.openxmlformats.org/officeDocument/2006/relationships/image" Target="../media/image72.png"/><Relationship Id="rId15" Type="http://schemas.openxmlformats.org/officeDocument/2006/relationships/image" Target="../media/image82.jpeg"/><Relationship Id="rId23" Type="http://schemas.openxmlformats.org/officeDocument/2006/relationships/image" Target="../media/image90.png"/><Relationship Id="rId28" Type="http://schemas.openxmlformats.org/officeDocument/2006/relationships/image" Target="../media/image95.png"/><Relationship Id="rId36" Type="http://schemas.openxmlformats.org/officeDocument/2006/relationships/image" Target="../media/image103.svg"/><Relationship Id="rId49" Type="http://schemas.openxmlformats.org/officeDocument/2006/relationships/image" Target="../media/image116.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8.png"/><Relationship Id="rId44" Type="http://schemas.openxmlformats.org/officeDocument/2006/relationships/image" Target="../media/image111.png"/><Relationship Id="rId52" Type="http://schemas.openxmlformats.org/officeDocument/2006/relationships/image" Target="../media/image119.png"/><Relationship Id="rId4" Type="http://schemas.openxmlformats.org/officeDocument/2006/relationships/image" Target="../media/image71.png"/><Relationship Id="rId9" Type="http://schemas.openxmlformats.org/officeDocument/2006/relationships/image" Target="../media/image76.jpeg"/><Relationship Id="rId14" Type="http://schemas.openxmlformats.org/officeDocument/2006/relationships/image" Target="../media/image81.png"/><Relationship Id="rId22" Type="http://schemas.openxmlformats.org/officeDocument/2006/relationships/image" Target="../media/image89.jpeg"/><Relationship Id="rId27" Type="http://schemas.openxmlformats.org/officeDocument/2006/relationships/image" Target="../media/image94.png"/><Relationship Id="rId30" Type="http://schemas.openxmlformats.org/officeDocument/2006/relationships/image" Target="../media/image97.jpeg"/><Relationship Id="rId35" Type="http://schemas.openxmlformats.org/officeDocument/2006/relationships/image" Target="../media/image102.png"/><Relationship Id="rId43" Type="http://schemas.openxmlformats.org/officeDocument/2006/relationships/image" Target="../media/image110.png"/><Relationship Id="rId48" Type="http://schemas.openxmlformats.org/officeDocument/2006/relationships/image" Target="../media/image115.jpeg"/><Relationship Id="rId8" Type="http://schemas.openxmlformats.org/officeDocument/2006/relationships/image" Target="../media/image75.png"/><Relationship Id="rId51" Type="http://schemas.openxmlformats.org/officeDocument/2006/relationships/image" Target="../media/image118.png"/></Relationships>
</file>

<file path=ppt/slides/_rels/slide90.xml.rels><?xml version="1.0" encoding="UTF-8" standalone="yes"?>
<Relationships xmlns="http://schemas.openxmlformats.org/package/2006/relationships"><Relationship Id="rId2" Type="http://schemas.openxmlformats.org/officeDocument/2006/relationships/image" Target="../media/image589.jpeg"/><Relationship Id="rId1" Type="http://schemas.openxmlformats.org/officeDocument/2006/relationships/slideLayout" Target="../slideLayouts/slideLayout17.xml"/></Relationships>
</file>

<file path=ppt/slides/_rels/slide91.xml.rels><?xml version="1.0" encoding="UTF-8" standalone="yes"?>
<Relationships xmlns="http://schemas.openxmlformats.org/package/2006/relationships"><Relationship Id="rId8" Type="http://schemas.openxmlformats.org/officeDocument/2006/relationships/hyperlink" Target="https://github.com/Sensirion/embedded-sht" TargetMode="External"/><Relationship Id="rId13" Type="http://schemas.openxmlformats.org/officeDocument/2006/relationships/hyperlink" Target="https://sensirion.com/de/produkte/katalog/SEK-SHT40/" TargetMode="External"/><Relationship Id="rId18" Type="http://schemas.openxmlformats.org/officeDocument/2006/relationships/image" Target="../media/image595.png"/><Relationship Id="rId3" Type="http://schemas.openxmlformats.org/officeDocument/2006/relationships/image" Target="../media/image319.png"/><Relationship Id="rId21" Type="http://schemas.openxmlformats.org/officeDocument/2006/relationships/hyperlink" Target="https://sensirion.com/de/produkte/katalog/SEK-SHT40I/" TargetMode="External"/><Relationship Id="rId7" Type="http://schemas.openxmlformats.org/officeDocument/2006/relationships/hyperlink" Target="https://sensirion.com/media/documents/FC5BED84/61644655/Sensirion_Temperature_Sensors_Design_Guide_V1.pdf" TargetMode="External"/><Relationship Id="rId12" Type="http://schemas.openxmlformats.org/officeDocument/2006/relationships/image" Target="../media/image592.png"/><Relationship Id="rId17" Type="http://schemas.openxmlformats.org/officeDocument/2006/relationships/image" Target="../media/image594.jpeg"/><Relationship Id="rId2" Type="http://schemas.openxmlformats.org/officeDocument/2006/relationships/notesSlide" Target="../notesSlides/notesSlide35.xml"/><Relationship Id="rId16" Type="http://schemas.openxmlformats.org/officeDocument/2006/relationships/hyperlink" Target="https://www.mikroe.com/temphum-15-click" TargetMode="External"/><Relationship Id="rId20" Type="http://schemas.openxmlformats.org/officeDocument/2006/relationships/hyperlink" Target="https://sensirion.com/de/produkte/katalog/SEK-SensorBridge/" TargetMode="External"/><Relationship Id="rId1" Type="http://schemas.openxmlformats.org/officeDocument/2006/relationships/slideLayout" Target="../slideLayouts/slideLayout2.xml"/><Relationship Id="rId6" Type="http://schemas.openxmlformats.org/officeDocument/2006/relationships/hyperlink" Target="https://sensirion.com/media/documents/6D95AA80/616446E3/Sensirion_AppNotes_Humidity_Sensors_Handling_Instructions.pdf" TargetMode="External"/><Relationship Id="rId11" Type="http://schemas.openxmlformats.org/officeDocument/2006/relationships/image" Target="../media/image591.png"/><Relationship Id="rId5" Type="http://schemas.openxmlformats.org/officeDocument/2006/relationships/hyperlink" Target="https://sensirion.com/media/documents/1D662E57/61950DE5/Sensirion_Humidity_Sensors_SHT4xI_Datasheet.pdf" TargetMode="External"/><Relationship Id="rId15" Type="http://schemas.openxmlformats.org/officeDocument/2006/relationships/hyperlink" Target="https://www.adafruit.com/product/4885" TargetMode="External"/><Relationship Id="rId10" Type="http://schemas.openxmlformats.org/officeDocument/2006/relationships/image" Target="../media/image590.png"/><Relationship Id="rId19" Type="http://schemas.openxmlformats.org/officeDocument/2006/relationships/image" Target="../media/image596.png"/><Relationship Id="rId4" Type="http://schemas.openxmlformats.org/officeDocument/2006/relationships/hyperlink" Target="https://developer.sensirion.com/fileadmin/user_upload/customers/sensirion/Dokumente/2_Humidity_Sensors/Datasheets/Sensirion_Humidity_Sensors_SHT4x_Datasheet.pdf" TargetMode="External"/><Relationship Id="rId9" Type="http://schemas.openxmlformats.org/officeDocument/2006/relationships/hyperlink" Target="https://sensirion.com/products/sensor-evaluation/control-center/" TargetMode="External"/><Relationship Id="rId14" Type="http://schemas.openxmlformats.org/officeDocument/2006/relationships/image" Target="../media/image593.jpe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8" Type="http://schemas.openxmlformats.org/officeDocument/2006/relationships/image" Target="../media/image603.png"/><Relationship Id="rId3" Type="http://schemas.openxmlformats.org/officeDocument/2006/relationships/image" Target="../media/image598.png"/><Relationship Id="rId7" Type="http://schemas.openxmlformats.org/officeDocument/2006/relationships/image" Target="../media/image602.png"/><Relationship Id="rId12" Type="http://schemas.openxmlformats.org/officeDocument/2006/relationships/image" Target="../media/image607.png"/><Relationship Id="rId2" Type="http://schemas.openxmlformats.org/officeDocument/2006/relationships/image" Target="../media/image597.png"/><Relationship Id="rId1" Type="http://schemas.openxmlformats.org/officeDocument/2006/relationships/slideLayout" Target="../slideLayouts/slideLayout14.xml"/><Relationship Id="rId6" Type="http://schemas.openxmlformats.org/officeDocument/2006/relationships/image" Target="../media/image601.png"/><Relationship Id="rId11" Type="http://schemas.openxmlformats.org/officeDocument/2006/relationships/image" Target="../media/image606.png"/><Relationship Id="rId5" Type="http://schemas.openxmlformats.org/officeDocument/2006/relationships/image" Target="../media/image600.png"/><Relationship Id="rId10" Type="http://schemas.openxmlformats.org/officeDocument/2006/relationships/image" Target="../media/image605.png"/><Relationship Id="rId4" Type="http://schemas.openxmlformats.org/officeDocument/2006/relationships/image" Target="../media/image599.png"/><Relationship Id="rId9" Type="http://schemas.openxmlformats.org/officeDocument/2006/relationships/image" Target="../media/image604.png"/></Relationships>
</file>

<file path=ppt/slides/_rels/slide94.xml.rels><?xml version="1.0" encoding="UTF-8" standalone="yes"?>
<Relationships xmlns="http://schemas.openxmlformats.org/package/2006/relationships"><Relationship Id="rId8" Type="http://schemas.openxmlformats.org/officeDocument/2006/relationships/image" Target="../media/image612.jpeg"/><Relationship Id="rId13" Type="http://schemas.microsoft.com/office/2007/relationships/hdphoto" Target="../media/hdphoto38.wdp"/><Relationship Id="rId3" Type="http://schemas.microsoft.com/office/2007/relationships/hdphoto" Target="../media/hdphoto35.wdp"/><Relationship Id="rId7" Type="http://schemas.microsoft.com/office/2007/relationships/hdphoto" Target="../media/hdphoto36.wdp"/><Relationship Id="rId12" Type="http://schemas.openxmlformats.org/officeDocument/2006/relationships/image" Target="../media/image615.png"/><Relationship Id="rId2" Type="http://schemas.openxmlformats.org/officeDocument/2006/relationships/image" Target="../media/image608.png"/><Relationship Id="rId1" Type="http://schemas.openxmlformats.org/officeDocument/2006/relationships/slideLayout" Target="../slideLayouts/slideLayout14.xml"/><Relationship Id="rId6" Type="http://schemas.openxmlformats.org/officeDocument/2006/relationships/image" Target="../media/image611.png"/><Relationship Id="rId11" Type="http://schemas.openxmlformats.org/officeDocument/2006/relationships/image" Target="../media/image614.jpeg"/><Relationship Id="rId5" Type="http://schemas.openxmlformats.org/officeDocument/2006/relationships/image" Target="../media/image610.png"/><Relationship Id="rId10" Type="http://schemas.microsoft.com/office/2007/relationships/hdphoto" Target="../media/hdphoto37.wdp"/><Relationship Id="rId4" Type="http://schemas.openxmlformats.org/officeDocument/2006/relationships/image" Target="../media/image609.png"/><Relationship Id="rId9" Type="http://schemas.openxmlformats.org/officeDocument/2006/relationships/image" Target="../media/image613.png"/></Relationships>
</file>

<file path=ppt/slides/_rels/slide95.xml.rels><?xml version="1.0" encoding="UTF-8" standalone="yes"?>
<Relationships xmlns="http://schemas.openxmlformats.org/package/2006/relationships"><Relationship Id="rId3" Type="http://schemas.openxmlformats.org/officeDocument/2006/relationships/image" Target="../media/image617.jpeg"/><Relationship Id="rId2" Type="http://schemas.openxmlformats.org/officeDocument/2006/relationships/image" Target="../media/image616.jpeg"/><Relationship Id="rId1" Type="http://schemas.openxmlformats.org/officeDocument/2006/relationships/slideLayout" Target="../slideLayouts/slideLayout4.xml"/><Relationship Id="rId5" Type="http://schemas.openxmlformats.org/officeDocument/2006/relationships/image" Target="../media/image619.jpeg"/><Relationship Id="rId4" Type="http://schemas.openxmlformats.org/officeDocument/2006/relationships/image" Target="../media/image618.jpeg"/></Relationships>
</file>

<file path=ppt/slides/_rels/slide96.xml.rels><?xml version="1.0" encoding="UTF-8" standalone="yes"?>
<Relationships xmlns="http://schemas.openxmlformats.org/package/2006/relationships"><Relationship Id="rId3" Type="http://schemas.openxmlformats.org/officeDocument/2006/relationships/image" Target="../media/image620.jpeg"/><Relationship Id="rId2" Type="http://schemas.openxmlformats.org/officeDocument/2006/relationships/notesSlide" Target="../notesSlides/notesSlide36.xml"/><Relationship Id="rId1" Type="http://schemas.openxmlformats.org/officeDocument/2006/relationships/slideLayout" Target="../slideLayouts/slideLayout5.xml"/><Relationship Id="rId5" Type="http://schemas.openxmlformats.org/officeDocument/2006/relationships/image" Target="../media/image622.jpeg"/><Relationship Id="rId4" Type="http://schemas.openxmlformats.org/officeDocument/2006/relationships/image" Target="../media/image621.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8" Type="http://schemas.openxmlformats.org/officeDocument/2006/relationships/image" Target="../media/image629.png"/><Relationship Id="rId3" Type="http://schemas.openxmlformats.org/officeDocument/2006/relationships/image" Target="../media/image624.png"/><Relationship Id="rId7" Type="http://schemas.openxmlformats.org/officeDocument/2006/relationships/image" Target="../media/image628.png"/><Relationship Id="rId2" Type="http://schemas.openxmlformats.org/officeDocument/2006/relationships/image" Target="../media/image623.png"/><Relationship Id="rId1" Type="http://schemas.openxmlformats.org/officeDocument/2006/relationships/slideLayout" Target="../slideLayouts/slideLayout2.xml"/><Relationship Id="rId6" Type="http://schemas.openxmlformats.org/officeDocument/2006/relationships/image" Target="../media/image627.png"/><Relationship Id="rId5" Type="http://schemas.openxmlformats.org/officeDocument/2006/relationships/image" Target="../media/image626.png"/><Relationship Id="rId4" Type="http://schemas.openxmlformats.org/officeDocument/2006/relationships/image" Target="../media/image625.png"/><Relationship Id="rId9" Type="http://schemas.openxmlformats.org/officeDocument/2006/relationships/image" Target="../media/image630.png"/></Relationships>
</file>

<file path=ppt/slides/_rels/slide99.xml.rels><?xml version="1.0" encoding="UTF-8" standalone="yes"?>
<Relationships xmlns="http://schemas.openxmlformats.org/package/2006/relationships"><Relationship Id="rId2" Type="http://schemas.openxmlformats.org/officeDocument/2006/relationships/image" Target="../media/image631.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Arial Narrow"/>
              </a:rPr>
              <a:t>Arrow ACT  - </a:t>
            </a:r>
            <a:r>
              <a:rPr lang="en-US" err="1">
                <a:latin typeface="Arial Narrow"/>
              </a:rPr>
              <a:t>Sensirion</a:t>
            </a:r>
            <a:r>
              <a:rPr lang="en-US">
                <a:latin typeface="Arial Narrow"/>
              </a:rPr>
              <a:t> - 2023 </a:t>
            </a:r>
            <a:endParaRPr lang="en-US"/>
          </a:p>
        </p:txBody>
      </p:sp>
      <p:sp>
        <p:nvSpPr>
          <p:cNvPr id="5" name="Rectangle 1"/>
          <p:cNvSpPr>
            <a:spLocks noGrp="1" noChangeArrowheads="1"/>
          </p:cNvSpPr>
          <p:nvPr>
            <p:ph type="body" sz="quarter" idx="10"/>
          </p:nvPr>
        </p:nvSpPr>
        <p:spPr bwMode="auto">
          <a:xfrm>
            <a:off x="959847" y="719384"/>
            <a:ext cx="9889405"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a:spcBef>
                <a:spcPct val="0"/>
              </a:spcBef>
              <a:spcAft>
                <a:spcPct val="0"/>
              </a:spcAft>
            </a:pPr>
            <a:r>
              <a:rPr lang="en-US" sz="1400" b="1">
                <a:latin typeface="Arial Narrow"/>
              </a:rPr>
              <a:t>Gary McNelly, Regional Sales Manager</a:t>
            </a:r>
            <a:endParaRPr lang="en-US" sz="1400" b="1"/>
          </a:p>
          <a:p>
            <a:pPr defTabSz="914400">
              <a:spcBef>
                <a:spcPct val="0"/>
              </a:spcBef>
              <a:spcAft>
                <a:spcPct val="0"/>
              </a:spcAft>
              <a:buSzTx/>
            </a:pPr>
            <a:r>
              <a:rPr lang="en-US" sz="1400" b="1">
                <a:latin typeface="Arial Narrow"/>
              </a:rPr>
              <a:t>Rick Zanardo, Regional Sales Manager</a:t>
            </a:r>
            <a:endParaRPr lang="en-US"/>
          </a:p>
          <a:p>
            <a:pPr defTabSz="914400">
              <a:spcBef>
                <a:spcPct val="0"/>
              </a:spcBef>
              <a:spcAft>
                <a:spcPct val="0"/>
              </a:spcAft>
              <a:buSzTx/>
            </a:pPr>
            <a:r>
              <a:rPr lang="en-US" sz="1400" b="1">
                <a:latin typeface="Arial Narrow"/>
              </a:rPr>
              <a:t>Gina Greco, Director Global Channel Sales</a:t>
            </a:r>
            <a:endParaRPr lang="en-US"/>
          </a:p>
          <a:p>
            <a:pPr defTabSz="914400">
              <a:spcBef>
                <a:spcPct val="0"/>
              </a:spcBef>
              <a:spcAft>
                <a:spcPct val="0"/>
              </a:spcAft>
              <a:buSzTx/>
            </a:pPr>
            <a:r>
              <a:rPr lang="en-US" sz="1400" b="1">
                <a:latin typeface="Arial Narrow"/>
              </a:rPr>
              <a:t>Diane Haynes, Channel Manager – Americas</a:t>
            </a:r>
            <a:endParaRPr lang="en-US"/>
          </a:p>
          <a:p>
            <a:pPr defTabSz="914400"/>
            <a:endParaRPr lang="en-US" sz="1400" b="1"/>
          </a:p>
          <a:p>
            <a:pPr defTabSz="914400">
              <a:spcBef>
                <a:spcPct val="0"/>
              </a:spcBef>
              <a:spcAft>
                <a:spcPct val="0"/>
              </a:spcAft>
              <a:buSzTx/>
            </a:pPr>
            <a:endParaRPr lang="en-US" sz="1400" b="1"/>
          </a:p>
          <a:p>
            <a:pPr defTabSz="914400"/>
            <a:r>
              <a:rPr lang="en-US" sz="1400">
                <a:latin typeface="Arial Narrow"/>
              </a:rPr>
              <a:t>"Global trends in sensing, learn how </a:t>
            </a:r>
            <a:r>
              <a:rPr lang="en-US" sz="1400" err="1">
                <a:latin typeface="Arial Narrow"/>
              </a:rPr>
              <a:t>Sensirion's</a:t>
            </a:r>
            <a:r>
              <a:rPr lang="en-US" sz="1400">
                <a:latin typeface="Arial Narrow"/>
              </a:rPr>
              <a:t> products are crucial for key IoT and Air quality applications"</a:t>
            </a:r>
            <a:endParaRPr lang="en-US"/>
          </a:p>
        </p:txBody>
      </p:sp>
    </p:spTree>
    <p:extLst>
      <p:ext uri="{BB962C8B-B14F-4D97-AF65-F5344CB8AC3E}">
        <p14:creationId xmlns:p14="http://schemas.microsoft.com/office/powerpoint/2010/main" val="25197980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BA068-E2A2-4C9C-BE55-40F46C8B18E9}"/>
              </a:ext>
            </a:extLst>
          </p:cNvPr>
          <p:cNvSpPr>
            <a:spLocks noGrp="1"/>
          </p:cNvSpPr>
          <p:nvPr>
            <p:ph type="title"/>
          </p:nvPr>
        </p:nvSpPr>
        <p:spPr/>
        <p:txBody>
          <a:bodyPr/>
          <a:lstStyle/>
          <a:p>
            <a:r>
              <a:rPr lang="de-CH"/>
              <a:t>NPI Status and </a:t>
            </a:r>
            <a:r>
              <a:rPr lang="de-CH" err="1"/>
              <a:t>more</a:t>
            </a:r>
            <a:r>
              <a:rPr lang="de-CH"/>
              <a:t> </a:t>
            </a:r>
            <a:r>
              <a:rPr lang="de-CH" err="1"/>
              <a:t>than</a:t>
            </a:r>
            <a:r>
              <a:rPr lang="de-CH"/>
              <a:t> 15% </a:t>
            </a:r>
            <a:r>
              <a:rPr lang="de-CH" err="1"/>
              <a:t>revenue</a:t>
            </a:r>
            <a:r>
              <a:rPr lang="de-CH"/>
              <a:t> </a:t>
            </a:r>
            <a:r>
              <a:rPr lang="de-CH" err="1"/>
              <a:t>YoY</a:t>
            </a:r>
            <a:r>
              <a:rPr lang="de-CH"/>
              <a:t> </a:t>
            </a:r>
            <a:r>
              <a:rPr lang="de-CH" err="1"/>
              <a:t>into</a:t>
            </a:r>
            <a:r>
              <a:rPr lang="de-CH"/>
              <a:t> R&amp;D </a:t>
            </a:r>
            <a:r>
              <a:rPr lang="de-CH" err="1"/>
              <a:t>projects</a:t>
            </a:r>
            <a:endParaRPr lang="de-CH">
              <a:solidFill>
                <a:srgbClr val="FF0000"/>
              </a:solidFill>
            </a:endParaRPr>
          </a:p>
        </p:txBody>
      </p:sp>
      <p:sp>
        <p:nvSpPr>
          <p:cNvPr id="3" name="Content Placeholder 2">
            <a:extLst>
              <a:ext uri="{FF2B5EF4-FFF2-40B4-BE49-F238E27FC236}">
                <a16:creationId xmlns:a16="http://schemas.microsoft.com/office/drawing/2014/main" id="{55B3B7D0-8B39-456A-888B-CEAC5B86C814}"/>
              </a:ext>
            </a:extLst>
          </p:cNvPr>
          <p:cNvSpPr>
            <a:spLocks noGrp="1"/>
          </p:cNvSpPr>
          <p:nvPr>
            <p:ph idx="1"/>
          </p:nvPr>
        </p:nvSpPr>
        <p:spPr>
          <a:xfrm>
            <a:off x="867990" y="839738"/>
            <a:ext cx="9378805" cy="5734798"/>
          </a:xfrm>
        </p:spPr>
        <p:txBody>
          <a:bodyPr/>
          <a:lstStyle/>
          <a:p>
            <a:r>
              <a:rPr lang="de-CH" sz="1800" b="1" dirty="0">
                <a:solidFill>
                  <a:srgbClr val="92D050"/>
                </a:solidFill>
              </a:rPr>
              <a:t>2022:</a:t>
            </a:r>
            <a:r>
              <a:rPr lang="de-CH" sz="1600" dirty="0"/>
              <a:t>	 </a:t>
            </a:r>
            <a:r>
              <a:rPr lang="de-CH" sz="1600" b="1" dirty="0"/>
              <a:t>16 NPIs</a:t>
            </a:r>
            <a:endParaRPr lang="de-CH" sz="1600" dirty="0">
              <a:sym typeface="Wingdings" panose="05000000000000000000" pitchFamily="2" charset="2"/>
            </a:endParaRPr>
          </a:p>
          <a:p>
            <a:r>
              <a:rPr lang="de-CH" sz="1650" dirty="0"/>
              <a:t>2023 NPIs and </a:t>
            </a:r>
            <a:r>
              <a:rPr lang="de-CH" sz="1650" dirty="0" err="1"/>
              <a:t>technology</a:t>
            </a:r>
            <a:r>
              <a:rPr lang="de-CH" sz="1650" dirty="0"/>
              <a:t> </a:t>
            </a:r>
            <a:r>
              <a:rPr lang="de-CH" sz="1650" dirty="0" err="1"/>
              <a:t>trends</a:t>
            </a:r>
            <a:r>
              <a:rPr lang="de-CH" sz="1650" dirty="0"/>
              <a:t>, </a:t>
            </a:r>
            <a:r>
              <a:rPr lang="de-CH" sz="1650" dirty="0" err="1"/>
              <a:t>next</a:t>
            </a:r>
            <a:r>
              <a:rPr lang="de-CH" sz="1650" dirty="0"/>
              <a:t> </a:t>
            </a:r>
            <a:r>
              <a:rPr lang="de-CH" sz="1650" b="1" dirty="0"/>
              <a:t>12 </a:t>
            </a:r>
            <a:r>
              <a:rPr lang="de-CH" sz="1650" b="1" dirty="0" err="1"/>
              <a:t>months</a:t>
            </a:r>
            <a:r>
              <a:rPr lang="de-CH" sz="1650" b="1" dirty="0"/>
              <a:t>:</a:t>
            </a:r>
          </a:p>
          <a:p>
            <a:r>
              <a:rPr lang="de-CH" sz="1650" b="1" dirty="0"/>
              <a:t>Q1:</a:t>
            </a:r>
          </a:p>
          <a:p>
            <a:pPr lvl="2"/>
            <a:r>
              <a:rPr lang="de-CH" sz="1650" b="1" dirty="0"/>
              <a:t>SFC6000D Mass Flow Controller &amp; SFM6000D Mass Flow Meter: </a:t>
            </a:r>
            <a:r>
              <a:rPr lang="de-CH" sz="1650" dirty="0"/>
              <a:t>Compact MFC with </a:t>
            </a:r>
            <a:r>
              <a:rPr lang="de-CH" sz="1650" dirty="0" err="1"/>
              <a:t>unbeatable</a:t>
            </a:r>
            <a:r>
              <a:rPr lang="de-CH" sz="1650" dirty="0"/>
              <a:t> </a:t>
            </a:r>
            <a:r>
              <a:rPr lang="de-CH" sz="1650" dirty="0" err="1"/>
              <a:t>price</a:t>
            </a:r>
            <a:r>
              <a:rPr lang="de-CH" sz="1650" dirty="0"/>
              <a:t>-performance </a:t>
            </a:r>
            <a:r>
              <a:rPr lang="de-CH" sz="1650" dirty="0" err="1"/>
              <a:t>ratio</a:t>
            </a:r>
            <a:r>
              <a:rPr lang="de-CH" sz="1650" dirty="0"/>
              <a:t>, </a:t>
            </a:r>
            <a:r>
              <a:rPr lang="de-CH" sz="1650" dirty="0" err="1"/>
              <a:t>lightweight</a:t>
            </a:r>
            <a:r>
              <a:rPr lang="de-CH" sz="1650" dirty="0"/>
              <a:t>, </a:t>
            </a:r>
            <a:r>
              <a:rPr lang="de-CH" sz="1650" dirty="0" err="1"/>
              <a:t>choice</a:t>
            </a:r>
            <a:r>
              <a:rPr lang="de-CH" sz="1650" dirty="0"/>
              <a:t> of interface, </a:t>
            </a:r>
            <a:r>
              <a:rPr lang="de-CH" sz="1650" dirty="0" err="1"/>
              <a:t>fittings</a:t>
            </a:r>
            <a:r>
              <a:rPr lang="de-CH" sz="1650" dirty="0"/>
              <a:t> 500 </a:t>
            </a:r>
            <a:r>
              <a:rPr lang="de-CH" sz="1650" dirty="0" err="1"/>
              <a:t>sccm</a:t>
            </a:r>
            <a:r>
              <a:rPr lang="de-CH" sz="1650" dirty="0"/>
              <a:t> - 50 </a:t>
            </a:r>
            <a:r>
              <a:rPr lang="de-CH" sz="1650" dirty="0" err="1"/>
              <a:t>slm</a:t>
            </a:r>
            <a:endParaRPr lang="de-CH" sz="1650" dirty="0"/>
          </a:p>
          <a:p>
            <a:pPr lvl="2"/>
            <a:r>
              <a:rPr lang="de-CH" sz="1650" b="1" dirty="0"/>
              <a:t>SHT43 </a:t>
            </a:r>
            <a:r>
              <a:rPr lang="de-CH" sz="1650" b="1" dirty="0" err="1"/>
              <a:t>Humidity</a:t>
            </a:r>
            <a:r>
              <a:rPr lang="de-CH" sz="1650" b="1" dirty="0"/>
              <a:t> and </a:t>
            </a:r>
            <a:r>
              <a:rPr lang="de-CH" sz="1650" b="1" dirty="0" err="1"/>
              <a:t>Temperature</a:t>
            </a:r>
            <a:r>
              <a:rPr lang="de-CH" sz="1650" b="1" dirty="0"/>
              <a:t> Sensor: </a:t>
            </a:r>
            <a:r>
              <a:rPr lang="de-CH" sz="1650" dirty="0"/>
              <a:t>Market </a:t>
            </a:r>
            <a:r>
              <a:rPr lang="de-CH" sz="1650" dirty="0" err="1"/>
              <a:t>leading</a:t>
            </a:r>
            <a:r>
              <a:rPr lang="de-CH" sz="1650" dirty="0"/>
              <a:t> </a:t>
            </a:r>
            <a:r>
              <a:rPr lang="de-CH" sz="1650" dirty="0" err="1"/>
              <a:t>electrical</a:t>
            </a:r>
            <a:r>
              <a:rPr lang="de-CH" sz="1650" dirty="0"/>
              <a:t> and </a:t>
            </a:r>
            <a:r>
              <a:rPr lang="de-CH" sz="1650" dirty="0" err="1"/>
              <a:t>physical</a:t>
            </a:r>
            <a:r>
              <a:rPr lang="de-CH" sz="1650" dirty="0"/>
              <a:t> </a:t>
            </a:r>
            <a:r>
              <a:rPr lang="de-CH" sz="1650" dirty="0" err="1"/>
              <a:t>performance</a:t>
            </a:r>
            <a:r>
              <a:rPr lang="de-CH" sz="1650" dirty="0"/>
              <a:t>, digital 3-point </a:t>
            </a:r>
            <a:r>
              <a:rPr lang="de-CH" sz="1650" dirty="0" err="1"/>
              <a:t>temperature</a:t>
            </a:r>
            <a:r>
              <a:rPr lang="de-CH" sz="1650" dirty="0"/>
              <a:t> </a:t>
            </a:r>
            <a:r>
              <a:rPr lang="de-CH" sz="1650" dirty="0" err="1"/>
              <a:t>calibration</a:t>
            </a:r>
            <a:r>
              <a:rPr lang="de-CH" sz="1650" dirty="0"/>
              <a:t> </a:t>
            </a:r>
            <a:r>
              <a:rPr lang="de-CH" sz="1650" dirty="0" err="1"/>
              <a:t>certificate</a:t>
            </a:r>
            <a:r>
              <a:rPr lang="de-CH" sz="1650" dirty="0"/>
              <a:t> </a:t>
            </a:r>
            <a:r>
              <a:rPr lang="de-CH" sz="1650" dirty="0" err="1"/>
              <a:t>which</a:t>
            </a:r>
            <a:r>
              <a:rPr lang="de-CH" sz="1650" dirty="0"/>
              <a:t> </a:t>
            </a:r>
            <a:r>
              <a:rPr lang="de-CH" sz="1650" dirty="0" err="1"/>
              <a:t>enables</a:t>
            </a:r>
            <a:r>
              <a:rPr lang="de-CH" sz="1650" dirty="0"/>
              <a:t> </a:t>
            </a:r>
            <a:r>
              <a:rPr lang="de-CH" sz="1650" dirty="0" err="1"/>
              <a:t>cost-efficient</a:t>
            </a:r>
            <a:r>
              <a:rPr lang="de-CH" sz="1650" dirty="0"/>
              <a:t> </a:t>
            </a:r>
            <a:r>
              <a:rPr lang="de-CH" sz="1650" dirty="0" err="1"/>
              <a:t>manufacturing</a:t>
            </a:r>
            <a:r>
              <a:rPr lang="de-CH" sz="1650" dirty="0"/>
              <a:t> of high </a:t>
            </a:r>
            <a:r>
              <a:rPr lang="de-CH" sz="1650" dirty="0" err="1"/>
              <a:t>volume</a:t>
            </a:r>
            <a:r>
              <a:rPr lang="de-CH" sz="1650" dirty="0"/>
              <a:t> </a:t>
            </a:r>
            <a:r>
              <a:rPr lang="de-CH" sz="1650" dirty="0" err="1"/>
              <a:t>dataloggers</a:t>
            </a:r>
            <a:r>
              <a:rPr lang="de-CH" sz="1650" dirty="0"/>
              <a:t>.</a:t>
            </a:r>
          </a:p>
          <a:p>
            <a:pPr lvl="2"/>
            <a:r>
              <a:rPr lang="de-CH" sz="1650" b="1" dirty="0"/>
              <a:t>SHT40 ST Evaluation Board </a:t>
            </a:r>
            <a:r>
              <a:rPr lang="de-CH" sz="1650" dirty="0" err="1"/>
              <a:t>to</a:t>
            </a:r>
            <a:r>
              <a:rPr lang="de-CH" sz="1650" dirty="0"/>
              <a:t> </a:t>
            </a:r>
            <a:r>
              <a:rPr lang="de-CH" sz="1650" dirty="0" err="1"/>
              <a:t>easily</a:t>
            </a:r>
            <a:r>
              <a:rPr lang="de-CH" sz="1650" dirty="0"/>
              <a:t> and </a:t>
            </a:r>
            <a:r>
              <a:rPr lang="de-CH" sz="1650" dirty="0" err="1"/>
              <a:t>quickly</a:t>
            </a:r>
            <a:r>
              <a:rPr lang="de-CH" sz="1650" dirty="0"/>
              <a:t> </a:t>
            </a:r>
            <a:r>
              <a:rPr lang="de-CH" sz="1650" dirty="0" err="1"/>
              <a:t>test</a:t>
            </a:r>
            <a:r>
              <a:rPr lang="de-CH" sz="1650" dirty="0"/>
              <a:t> </a:t>
            </a:r>
            <a:r>
              <a:rPr lang="de-CH" sz="1650" dirty="0" err="1"/>
              <a:t>our</a:t>
            </a:r>
            <a:r>
              <a:rPr lang="de-CH" sz="1650" dirty="0"/>
              <a:t> </a:t>
            </a:r>
            <a:r>
              <a:rPr lang="de-CH" sz="1650" dirty="0" err="1"/>
              <a:t>sensor</a:t>
            </a:r>
            <a:r>
              <a:rPr lang="de-CH" sz="1650" dirty="0"/>
              <a:t> in ST </a:t>
            </a:r>
            <a:r>
              <a:rPr lang="de-CH" sz="1650" dirty="0" err="1"/>
              <a:t>compatible</a:t>
            </a:r>
            <a:r>
              <a:rPr lang="de-CH" sz="1650" dirty="0"/>
              <a:t> </a:t>
            </a:r>
            <a:r>
              <a:rPr lang="de-CH" sz="1650" dirty="0" err="1"/>
              <a:t>systems</a:t>
            </a:r>
            <a:r>
              <a:rPr lang="de-CH" sz="1650" dirty="0"/>
              <a:t>, </a:t>
            </a:r>
            <a:r>
              <a:rPr lang="en-US" sz="1650" dirty="0"/>
              <a:t>1.08 V to 3.6 V supply voltage and ultra-low power consumption </a:t>
            </a:r>
            <a:endParaRPr lang="de-CH" sz="1650" dirty="0"/>
          </a:p>
          <a:p>
            <a:pPr lvl="2"/>
            <a:r>
              <a:rPr lang="de-CH" sz="1650" b="1" dirty="0"/>
              <a:t>SCC1 Connectivity Kit + LPG10 Connector Cap </a:t>
            </a:r>
            <a:r>
              <a:rPr lang="de-CH" sz="1650" dirty="0" err="1"/>
              <a:t>for</a:t>
            </a:r>
            <a:r>
              <a:rPr lang="de-CH" sz="1650" dirty="0"/>
              <a:t> </a:t>
            </a:r>
            <a:r>
              <a:rPr lang="de-CH" sz="1650" dirty="0" err="1"/>
              <a:t>easier</a:t>
            </a:r>
            <a:r>
              <a:rPr lang="de-CH" sz="1650" dirty="0"/>
              <a:t> </a:t>
            </a:r>
            <a:r>
              <a:rPr lang="de-CH" sz="1650" dirty="0" err="1"/>
              <a:t>use</a:t>
            </a:r>
            <a:r>
              <a:rPr lang="de-CH" sz="1650" dirty="0"/>
              <a:t> </a:t>
            </a:r>
            <a:r>
              <a:rPr lang="de-CH" sz="1650" dirty="0" err="1"/>
              <a:t>of</a:t>
            </a:r>
            <a:r>
              <a:rPr lang="de-CH" sz="1650" dirty="0"/>
              <a:t> </a:t>
            </a:r>
            <a:r>
              <a:rPr lang="de-CH" sz="1650" dirty="0" err="1"/>
              <a:t>the</a:t>
            </a:r>
            <a:r>
              <a:rPr lang="de-CH" sz="1650" dirty="0"/>
              <a:t> LPG10 after </a:t>
            </a:r>
            <a:r>
              <a:rPr lang="de-CH" sz="1650" dirty="0" err="1"/>
              <a:t>testing</a:t>
            </a:r>
            <a:r>
              <a:rPr lang="de-CH" sz="1650" dirty="0"/>
              <a:t> </a:t>
            </a:r>
            <a:r>
              <a:rPr lang="de-CH" sz="1650" dirty="0" err="1"/>
              <a:t>it</a:t>
            </a:r>
            <a:r>
              <a:rPr lang="de-CH" sz="1650" dirty="0"/>
              <a:t> with </a:t>
            </a:r>
            <a:r>
              <a:rPr lang="de-CH" sz="1650" dirty="0" err="1"/>
              <a:t>the</a:t>
            </a:r>
            <a:r>
              <a:rPr lang="de-CH" sz="1650" dirty="0"/>
              <a:t> </a:t>
            </a:r>
            <a:r>
              <a:rPr lang="de-CH" sz="1650" dirty="0" err="1"/>
              <a:t>evaluation</a:t>
            </a:r>
            <a:r>
              <a:rPr lang="de-CH" sz="1650" dirty="0"/>
              <a:t> kit</a:t>
            </a:r>
            <a:r>
              <a:rPr lang="de-CH" sz="1650" b="1" dirty="0"/>
              <a:t> </a:t>
            </a:r>
          </a:p>
          <a:p>
            <a:r>
              <a:rPr lang="de-CH" sz="1650" b="1" dirty="0"/>
              <a:t>Q2: </a:t>
            </a:r>
            <a:r>
              <a:rPr lang="de-CH" sz="1650" dirty="0"/>
              <a:t>	</a:t>
            </a:r>
          </a:p>
          <a:p>
            <a:pPr marL="1062900" lvl="2" indent="-342900"/>
            <a:r>
              <a:rPr lang="de-CH" sz="1650" b="1" dirty="0"/>
              <a:t>SHT4x </a:t>
            </a:r>
            <a:r>
              <a:rPr lang="de-CH" sz="1650" b="1" dirty="0" err="1"/>
              <a:t>variants</a:t>
            </a:r>
            <a:endParaRPr lang="de-CH" sz="1650" b="1" dirty="0"/>
          </a:p>
          <a:p>
            <a:pPr marL="1062900" lvl="2" indent="-342900"/>
            <a:r>
              <a:rPr lang="de-CH" sz="1650" b="1" dirty="0"/>
              <a:t>SHT4x Gadget</a:t>
            </a:r>
          </a:p>
          <a:p>
            <a:pPr marL="1062900" lvl="2" indent="-342900"/>
            <a:r>
              <a:rPr lang="de-CH" sz="1650" b="1" dirty="0"/>
              <a:t>SHT4xx </a:t>
            </a:r>
            <a:r>
              <a:rPr lang="de-CH" sz="1650" b="1" dirty="0" err="1"/>
              <a:t>Humidity</a:t>
            </a:r>
            <a:r>
              <a:rPr lang="de-CH" sz="1650" b="1" dirty="0"/>
              <a:t> and </a:t>
            </a:r>
            <a:r>
              <a:rPr lang="de-CH" sz="1650" b="1" dirty="0" err="1"/>
              <a:t>Temperature</a:t>
            </a:r>
            <a:r>
              <a:rPr lang="de-CH" sz="1650" b="1" dirty="0"/>
              <a:t> Sensor with </a:t>
            </a:r>
            <a:r>
              <a:rPr lang="de-CH" sz="1650" b="1" dirty="0" err="1"/>
              <a:t>Protective</a:t>
            </a:r>
            <a:r>
              <a:rPr lang="de-CH" sz="1650" b="1" dirty="0"/>
              <a:t> Cover</a:t>
            </a:r>
            <a:endParaRPr lang="de-CH" sz="1650" dirty="0"/>
          </a:p>
          <a:p>
            <a:r>
              <a:rPr lang="de-CH" sz="1650" b="1" dirty="0"/>
              <a:t>Q3/Q4: </a:t>
            </a:r>
          </a:p>
          <a:p>
            <a:pPr marL="1062900" lvl="2" indent="-342900"/>
            <a:r>
              <a:rPr lang="de-CH" sz="1650" b="1" dirty="0"/>
              <a:t>Further </a:t>
            </a:r>
            <a:r>
              <a:rPr lang="de-CH" sz="1650" b="1" dirty="0">
                <a:solidFill>
                  <a:srgbClr val="92D050"/>
                </a:solidFill>
              </a:rPr>
              <a:t>Market Solutions </a:t>
            </a:r>
            <a:r>
              <a:rPr lang="de-CH" sz="1650" b="1" dirty="0"/>
              <a:t>(Industrial) </a:t>
            </a:r>
            <a:r>
              <a:rPr lang="de-CH" sz="1650" b="1" dirty="0" err="1"/>
              <a:t>Under</a:t>
            </a:r>
            <a:r>
              <a:rPr lang="de-CH" sz="1650" b="1" dirty="0"/>
              <a:t> </a:t>
            </a:r>
            <a:r>
              <a:rPr lang="de-CH" sz="1650" b="1" dirty="0" err="1"/>
              <a:t>expansion</a:t>
            </a:r>
            <a:endParaRPr lang="de-CH" sz="1650" dirty="0"/>
          </a:p>
          <a:p>
            <a:pPr marL="457200" indent="-457200">
              <a:buAutoNum type="arabicPeriod"/>
            </a:pPr>
            <a:endParaRPr lang="de-CH" sz="1800" dirty="0"/>
          </a:p>
        </p:txBody>
      </p:sp>
      <p:pic>
        <p:nvPicPr>
          <p:cNvPr id="6" name="Picture 5">
            <a:extLst>
              <a:ext uri="{FF2B5EF4-FFF2-40B4-BE49-F238E27FC236}">
                <a16:creationId xmlns:a16="http://schemas.microsoft.com/office/drawing/2014/main" id="{991CDFFD-494D-B737-97BD-CC9C30826C36}"/>
              </a:ext>
            </a:extLst>
          </p:cNvPr>
          <p:cNvPicPr>
            <a:picLocks noChangeAspect="1"/>
          </p:cNvPicPr>
          <p:nvPr/>
        </p:nvPicPr>
        <p:blipFill rotWithShape="1">
          <a:blip r:embed="rId3"/>
          <a:srcRect l="6290" r="7123" b="19035"/>
          <a:stretch/>
        </p:blipFill>
        <p:spPr>
          <a:xfrm>
            <a:off x="10329929" y="1436001"/>
            <a:ext cx="1135914" cy="781145"/>
          </a:xfrm>
          <a:prstGeom prst="rect">
            <a:avLst/>
          </a:prstGeom>
        </p:spPr>
      </p:pic>
      <p:pic>
        <p:nvPicPr>
          <p:cNvPr id="7" name="Picture 6">
            <a:extLst>
              <a:ext uri="{FF2B5EF4-FFF2-40B4-BE49-F238E27FC236}">
                <a16:creationId xmlns:a16="http://schemas.microsoft.com/office/drawing/2014/main" id="{D87331C5-89DA-3B6D-546E-8E2D381A065A}"/>
              </a:ext>
            </a:extLst>
          </p:cNvPr>
          <p:cNvPicPr>
            <a:picLocks noChangeAspect="1"/>
          </p:cNvPicPr>
          <p:nvPr/>
        </p:nvPicPr>
        <p:blipFill rotWithShape="1">
          <a:blip r:embed="rId4"/>
          <a:srcRect l="28631" t="23798" r="13559" b="20395"/>
          <a:stretch/>
        </p:blipFill>
        <p:spPr>
          <a:xfrm>
            <a:off x="10575522" y="5247488"/>
            <a:ext cx="657400" cy="533730"/>
          </a:xfrm>
          <a:prstGeom prst="rect">
            <a:avLst/>
          </a:prstGeom>
        </p:spPr>
      </p:pic>
      <p:pic>
        <p:nvPicPr>
          <p:cNvPr id="18" name="Picture 17">
            <a:extLst>
              <a:ext uri="{FF2B5EF4-FFF2-40B4-BE49-F238E27FC236}">
                <a16:creationId xmlns:a16="http://schemas.microsoft.com/office/drawing/2014/main" id="{98952789-3C9B-EDAC-21AB-BBF8D7E72206}"/>
              </a:ext>
            </a:extLst>
          </p:cNvPr>
          <p:cNvPicPr>
            <a:picLocks noChangeAspect="1"/>
          </p:cNvPicPr>
          <p:nvPr/>
        </p:nvPicPr>
        <p:blipFill rotWithShape="1">
          <a:blip r:embed="rId5"/>
          <a:srcRect l="7334" t="8076" r="7628" b="9186"/>
          <a:stretch/>
        </p:blipFill>
        <p:spPr>
          <a:xfrm>
            <a:off x="10575522" y="2217146"/>
            <a:ext cx="644726" cy="500334"/>
          </a:xfrm>
          <a:prstGeom prst="rect">
            <a:avLst/>
          </a:prstGeom>
        </p:spPr>
      </p:pic>
      <p:pic>
        <p:nvPicPr>
          <p:cNvPr id="1032" name="Picture 8" descr="SENSEVAL-SHT4XV1 Rendering">
            <a:extLst>
              <a:ext uri="{FF2B5EF4-FFF2-40B4-BE49-F238E27FC236}">
                <a16:creationId xmlns:a16="http://schemas.microsoft.com/office/drawing/2014/main" id="{38C68594-6050-672D-2C3A-06E27DA2EBE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295322" y="2751035"/>
            <a:ext cx="1085427" cy="108542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CC1 Connectivity Kit shadow">
            <a:extLst>
              <a:ext uri="{FF2B5EF4-FFF2-40B4-BE49-F238E27FC236}">
                <a16:creationId xmlns:a16="http://schemas.microsoft.com/office/drawing/2014/main" id="{DBB897E5-FF9D-19AA-3FBD-9198E6D648D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82784" y="3628172"/>
            <a:ext cx="1941226" cy="121326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LPG10 Connector Cap">
            <a:extLst>
              <a:ext uri="{FF2B5EF4-FFF2-40B4-BE49-F238E27FC236}">
                <a16:creationId xmlns:a16="http://schemas.microsoft.com/office/drawing/2014/main" id="{1D964312-1F09-25E6-99CF-60ADB320406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10953182" y="3797363"/>
            <a:ext cx="1410798" cy="88174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novation icon, idea icon, creative icon, development icon, technology icon,  progress icon, engineering icon">
            <a:extLst>
              <a:ext uri="{FF2B5EF4-FFF2-40B4-BE49-F238E27FC236}">
                <a16:creationId xmlns:a16="http://schemas.microsoft.com/office/drawing/2014/main" id="{E30AB83A-2260-1B2C-41D6-DFFC9687542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9169" y="5781218"/>
            <a:ext cx="585687" cy="585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0188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12" end="12"/>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3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3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39788" y="908049"/>
            <a:ext cx="10512426" cy="2892478"/>
          </a:xfrm>
        </p:spPr>
        <p:txBody>
          <a:bodyPr/>
          <a:lstStyle/>
          <a:p>
            <a:pPr marL="0" lvl="1" indent="1588">
              <a:buNone/>
              <a:defRPr/>
            </a:pPr>
            <a:r>
              <a:rPr lang="en-US" b="1"/>
              <a:t>Unique Sensitivity at Lowest Flow Rates</a:t>
            </a:r>
          </a:p>
          <a:p>
            <a:pPr lvl="1">
              <a:defRPr/>
            </a:pPr>
            <a:r>
              <a:rPr lang="en-US"/>
              <a:t>Microthermal measurement principle similar to </a:t>
            </a:r>
            <a:r>
              <a:rPr lang="en-US" err="1"/>
              <a:t>Sensirion’s</a:t>
            </a:r>
            <a:r>
              <a:rPr lang="en-US"/>
              <a:t> gas flow sensors</a:t>
            </a:r>
          </a:p>
          <a:p>
            <a:pPr lvl="1">
              <a:defRPr/>
            </a:pPr>
            <a:r>
              <a:rPr lang="en-US"/>
              <a:t>Unobstructed flow path, no moving parts </a:t>
            </a:r>
          </a:p>
          <a:p>
            <a:pPr lvl="1">
              <a:defRPr/>
            </a:pPr>
            <a:r>
              <a:rPr lang="en-US"/>
              <a:t>Inert wetted materials for optimal chemical and biological compatibility, sensor chip does not contact the liquid.</a:t>
            </a:r>
          </a:p>
          <a:p>
            <a:pPr lvl="1">
              <a:defRPr/>
            </a:pPr>
            <a:r>
              <a:rPr lang="en-US"/>
              <a:t>Driving innovation at ultra-low flow rates, from nanoliters to milliliters per minute</a:t>
            </a:r>
          </a:p>
          <a:p>
            <a:pPr lvl="1">
              <a:defRPr/>
            </a:pPr>
            <a:r>
              <a:rPr lang="en-US"/>
              <a:t>Fast response time (&lt;50 </a:t>
            </a:r>
            <a:r>
              <a:rPr lang="en-US" err="1"/>
              <a:t>ms</a:t>
            </a:r>
            <a:r>
              <a:rPr lang="en-US"/>
              <a:t>)</a:t>
            </a:r>
          </a:p>
          <a:p>
            <a:pPr lvl="1" fontAlgn="auto">
              <a:spcAft>
                <a:spcPts val="0"/>
              </a:spcAft>
              <a:defRPr/>
            </a:pPr>
            <a:r>
              <a:rPr lang="en-US"/>
              <a:t>Successful in biomedical applications, semiconductor manufacturing, and industrial automation</a:t>
            </a:r>
          </a:p>
          <a:p>
            <a:endParaRPr lang="en-US"/>
          </a:p>
        </p:txBody>
      </p:sp>
      <p:sp>
        <p:nvSpPr>
          <p:cNvPr id="2" name="Titel 1"/>
          <p:cNvSpPr>
            <a:spLocks noGrp="1"/>
          </p:cNvSpPr>
          <p:nvPr>
            <p:ph type="title"/>
          </p:nvPr>
        </p:nvSpPr>
        <p:spPr/>
        <p:txBody>
          <a:bodyPr/>
          <a:lstStyle/>
          <a:p>
            <a:r>
              <a:rPr lang="en-US"/>
              <a:t>Liquid Flow Sensors</a:t>
            </a:r>
          </a:p>
        </p:txBody>
      </p:sp>
      <p:grpSp>
        <p:nvGrpSpPr>
          <p:cNvPr id="24" name="Group 23"/>
          <p:cNvGrpSpPr>
            <a:grpSpLocks/>
          </p:cNvGrpSpPr>
          <p:nvPr/>
        </p:nvGrpSpPr>
        <p:grpSpPr bwMode="auto">
          <a:xfrm flipV="1">
            <a:off x="-182880" y="4519085"/>
            <a:ext cx="12762411" cy="45720"/>
            <a:chOff x="0" y="560376"/>
            <a:chExt cx="4757" cy="4"/>
          </a:xfrm>
        </p:grpSpPr>
        <p:sp>
          <p:nvSpPr>
            <p:cNvPr id="29" name="Line 46"/>
            <p:cNvSpPr>
              <a:spLocks noChangeShapeType="1"/>
            </p:cNvSpPr>
            <p:nvPr/>
          </p:nvSpPr>
          <p:spPr bwMode="auto">
            <a:xfrm flipV="1">
              <a:off x="614" y="560376"/>
              <a:ext cx="3402" cy="4"/>
            </a:xfrm>
            <a:prstGeom prst="line">
              <a:avLst/>
            </a:prstGeom>
            <a:noFill/>
            <a:ln w="57150" cap="rnd">
              <a:solidFill>
                <a:srgbClr val="66CC33"/>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0" name="Line 47"/>
            <p:cNvSpPr>
              <a:spLocks noChangeShapeType="1"/>
            </p:cNvSpPr>
            <p:nvPr/>
          </p:nvSpPr>
          <p:spPr bwMode="auto">
            <a:xfrm>
              <a:off x="0" y="560380"/>
              <a:ext cx="614" cy="0"/>
            </a:xfrm>
            <a:prstGeom prst="line">
              <a:avLst/>
            </a:prstGeom>
            <a:noFill/>
            <a:ln w="12700" cap="rnd">
              <a:solidFill>
                <a:srgbClr val="66CC33"/>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31" name="Line 48"/>
            <p:cNvSpPr>
              <a:spLocks noChangeShapeType="1"/>
            </p:cNvSpPr>
            <p:nvPr/>
          </p:nvSpPr>
          <p:spPr bwMode="auto">
            <a:xfrm>
              <a:off x="4016" y="560376"/>
              <a:ext cx="741" cy="4"/>
            </a:xfrm>
            <a:prstGeom prst="line">
              <a:avLst/>
            </a:prstGeom>
            <a:noFill/>
            <a:ln w="12700" cap="rnd">
              <a:solidFill>
                <a:srgbClr val="66CC33"/>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25" name="Group 24"/>
          <p:cNvGrpSpPr>
            <a:grpSpLocks/>
          </p:cNvGrpSpPr>
          <p:nvPr/>
        </p:nvGrpSpPr>
        <p:grpSpPr bwMode="auto">
          <a:xfrm>
            <a:off x="1464427" y="3984612"/>
            <a:ext cx="9096434" cy="350387"/>
            <a:chOff x="512763" y="0"/>
            <a:chExt cx="3868" cy="235"/>
          </a:xfrm>
        </p:grpSpPr>
        <p:sp>
          <p:nvSpPr>
            <p:cNvPr id="26" name="Rectangle 25"/>
            <p:cNvSpPr>
              <a:spLocks noChangeArrowheads="1"/>
            </p:cNvSpPr>
            <p:nvPr/>
          </p:nvSpPr>
          <p:spPr bwMode="auto">
            <a:xfrm>
              <a:off x="512763" y="8"/>
              <a:ext cx="50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Aft>
                  <a:spcPts val="0"/>
                </a:spcAft>
              </a:pPr>
              <a:r>
                <a:rPr lang="en-US" sz="1600" kern="1200">
                  <a:solidFill>
                    <a:srgbClr val="66CC33"/>
                  </a:solidFill>
                  <a:effectLst/>
                  <a:ea typeface="Times New Roman" panose="02020603050405020304" pitchFamily="18" charset="0"/>
                  <a:cs typeface="Arial" panose="020B0604020202020204" pitchFamily="34" charset="0"/>
                </a:rPr>
                <a:t>50 </a:t>
              </a:r>
              <a:r>
                <a:rPr lang="en-US" sz="1600" kern="1200" err="1">
                  <a:solidFill>
                    <a:srgbClr val="66CC33"/>
                  </a:solidFill>
                  <a:effectLst/>
                  <a:ea typeface="Times New Roman" panose="02020603050405020304" pitchFamily="18" charset="0"/>
                  <a:cs typeface="Arial" panose="020B0604020202020204" pitchFamily="34" charset="0"/>
                </a:rPr>
                <a:t>nl</a:t>
              </a:r>
              <a:r>
                <a:rPr lang="en-US" sz="1600" kern="1200">
                  <a:solidFill>
                    <a:srgbClr val="66CC33"/>
                  </a:solidFill>
                  <a:effectLst/>
                  <a:ea typeface="Times New Roman" panose="02020603050405020304" pitchFamily="18" charset="0"/>
                  <a:cs typeface="Arial" panose="020B0604020202020204" pitchFamily="34" charset="0"/>
                </a:rPr>
                <a:t>/min</a:t>
              </a:r>
              <a:endParaRPr lang="en-US" sz="1200">
                <a:effectLst/>
                <a:latin typeface="Times New Roman" panose="02020603050405020304" pitchFamily="18" charset="0"/>
                <a:ea typeface="Times New Roman" panose="02020603050405020304" pitchFamily="18" charset="0"/>
              </a:endParaRPr>
            </a:p>
          </p:txBody>
        </p:sp>
        <p:sp>
          <p:nvSpPr>
            <p:cNvPr id="27" name="Rectangle 26"/>
            <p:cNvSpPr>
              <a:spLocks noChangeArrowheads="1"/>
            </p:cNvSpPr>
            <p:nvPr/>
          </p:nvSpPr>
          <p:spPr bwMode="auto">
            <a:xfrm>
              <a:off x="516165" y="0"/>
              <a:ext cx="46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Aft>
                  <a:spcPts val="0"/>
                </a:spcAft>
              </a:pPr>
              <a:r>
                <a:rPr lang="en-US" sz="1600" kern="1200">
                  <a:solidFill>
                    <a:srgbClr val="66CC33"/>
                  </a:solidFill>
                  <a:effectLst/>
                  <a:ea typeface="Times New Roman" panose="02020603050405020304" pitchFamily="18" charset="0"/>
                  <a:cs typeface="Arial" panose="020B0604020202020204" pitchFamily="34" charset="0"/>
                </a:rPr>
                <a:t>1000 ml/min</a:t>
              </a:r>
            </a:p>
          </p:txBody>
        </p:sp>
        <p:sp>
          <p:nvSpPr>
            <p:cNvPr id="28" name="Text Box 52"/>
            <p:cNvSpPr txBox="1">
              <a:spLocks noChangeArrowheads="1"/>
            </p:cNvSpPr>
            <p:nvPr/>
          </p:nvSpPr>
          <p:spPr bwMode="auto">
            <a:xfrm>
              <a:off x="513915" y="0"/>
              <a:ext cx="1815"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a:spAutoFit/>
            </a:bodyPr>
            <a:lstStyle/>
            <a:p>
              <a:pPr algn="ctr" fontAlgn="base">
                <a:spcBef>
                  <a:spcPts val="960"/>
                </a:spcBef>
                <a:spcAft>
                  <a:spcPts val="0"/>
                </a:spcAft>
              </a:pPr>
              <a:r>
                <a:rPr lang="en-US" sz="1600" kern="1200">
                  <a:solidFill>
                    <a:srgbClr val="66CC33"/>
                  </a:solidFill>
                  <a:effectLst/>
                  <a:ea typeface="Times New Roman" panose="02020603050405020304" pitchFamily="18" charset="0"/>
                  <a:cs typeface="Arial" panose="020B0604020202020204" pitchFamily="34" charset="0"/>
                </a:rPr>
                <a:t>Sensirion Liquid Flow Rates</a:t>
              </a:r>
              <a:endParaRPr lang="en-US" sz="1200">
                <a:effectLst/>
                <a:latin typeface="Times New Roman" panose="02020603050405020304" pitchFamily="18" charset="0"/>
                <a:ea typeface="Times New Roman" panose="02020603050405020304" pitchFamily="18" charset="0"/>
              </a:endParaRPr>
            </a:p>
          </p:txBody>
        </p:sp>
      </p:grpSp>
      <p:grpSp>
        <p:nvGrpSpPr>
          <p:cNvPr id="3" name="Group 2">
            <a:extLst>
              <a:ext uri="{FF2B5EF4-FFF2-40B4-BE49-F238E27FC236}">
                <a16:creationId xmlns:a16="http://schemas.microsoft.com/office/drawing/2014/main" id="{6D2207FC-DCE4-4ADA-BE40-7BE4086F548C}"/>
              </a:ext>
            </a:extLst>
          </p:cNvPr>
          <p:cNvGrpSpPr/>
          <p:nvPr/>
        </p:nvGrpSpPr>
        <p:grpSpPr>
          <a:xfrm>
            <a:off x="1464402" y="4530215"/>
            <a:ext cx="9396930" cy="1522927"/>
            <a:chOff x="1717960" y="4533752"/>
            <a:chExt cx="9396930" cy="1522927"/>
          </a:xfrm>
        </p:grpSpPr>
        <p:pic>
          <p:nvPicPr>
            <p:cNvPr id="32" name="Picture 31" descr="anophel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8629" y="4918441"/>
              <a:ext cx="928272" cy="49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 Box 21"/>
            <p:cNvSpPr txBox="1">
              <a:spLocks noChangeArrowheads="1"/>
            </p:cNvSpPr>
            <p:nvPr/>
          </p:nvSpPr>
          <p:spPr bwMode="auto">
            <a:xfrm>
              <a:off x="1717960" y="5533336"/>
              <a:ext cx="1832742" cy="523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a:spAutoFit/>
            </a:bodyPr>
            <a:lstStyle/>
            <a:p>
              <a:pPr algn="ctr" fontAlgn="base">
                <a:spcBef>
                  <a:spcPts val="960"/>
                </a:spcBef>
                <a:spcAft>
                  <a:spcPts val="0"/>
                </a:spcAft>
              </a:pPr>
              <a:r>
                <a:rPr lang="en-US" sz="1600" kern="1200">
                  <a:solidFill>
                    <a:srgbClr val="66CC33"/>
                  </a:solidFill>
                  <a:effectLst/>
                  <a:ea typeface="Times New Roman" panose="02020603050405020304" pitchFamily="18" charset="0"/>
                  <a:cs typeface="Arial" panose="020B0604020202020204" pitchFamily="34" charset="0"/>
                </a:rPr>
                <a:t>Drinking Mosquito</a:t>
              </a:r>
              <a:br>
                <a:rPr lang="en-US" sz="1600" kern="1200">
                  <a:solidFill>
                    <a:srgbClr val="66CC33"/>
                  </a:solidFill>
                  <a:effectLst/>
                  <a:ea typeface="Times New Roman" panose="02020603050405020304" pitchFamily="18" charset="0"/>
                  <a:cs typeface="Arial" panose="020B0604020202020204" pitchFamily="34" charset="0"/>
                </a:rPr>
              </a:br>
              <a:r>
                <a:rPr lang="en-US" sz="1200" kern="1200">
                  <a:solidFill>
                    <a:srgbClr val="000000"/>
                  </a:solidFill>
                  <a:effectLst/>
                  <a:ea typeface="Times New Roman" panose="02020603050405020304" pitchFamily="18" charset="0"/>
                  <a:cs typeface="Arial" panose="020B0604020202020204" pitchFamily="34" charset="0"/>
                </a:rPr>
                <a:t>ca. 10 </a:t>
              </a:r>
              <a:r>
                <a:rPr lang="en-US" sz="1200" kern="1200" err="1">
                  <a:solidFill>
                    <a:srgbClr val="000000"/>
                  </a:solidFill>
                  <a:effectLst/>
                  <a:ea typeface="Times New Roman" panose="02020603050405020304" pitchFamily="18" charset="0"/>
                  <a:cs typeface="Arial" panose="020B0604020202020204" pitchFamily="34" charset="0"/>
                </a:rPr>
                <a:t>μl</a:t>
              </a:r>
              <a:r>
                <a:rPr lang="en-US" sz="1200" kern="1200">
                  <a:solidFill>
                    <a:srgbClr val="000000"/>
                  </a:solidFill>
                  <a:effectLst/>
                  <a:ea typeface="Times New Roman" panose="02020603050405020304" pitchFamily="18" charset="0"/>
                  <a:cs typeface="Arial" panose="020B0604020202020204" pitchFamily="34" charset="0"/>
                </a:rPr>
                <a:t>/min</a:t>
              </a:r>
              <a:endParaRPr lang="en-US" sz="1200">
                <a:effectLst/>
                <a:latin typeface="Times New Roman" panose="02020603050405020304" pitchFamily="18" charset="0"/>
                <a:ea typeface="Times New Roman" panose="02020603050405020304" pitchFamily="18" charset="0"/>
              </a:endParaRPr>
            </a:p>
          </p:txBody>
        </p:sp>
        <p:pic>
          <p:nvPicPr>
            <p:cNvPr id="34"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1138" y="4533752"/>
              <a:ext cx="1266598" cy="1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pic>
        <p:sp>
          <p:nvSpPr>
            <p:cNvPr id="35" name="Text Box 25"/>
            <p:cNvSpPr txBox="1">
              <a:spLocks noChangeArrowheads="1"/>
            </p:cNvSpPr>
            <p:nvPr/>
          </p:nvSpPr>
          <p:spPr bwMode="auto">
            <a:xfrm>
              <a:off x="6740864" y="5570611"/>
              <a:ext cx="1887146" cy="486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a:spAutoFit/>
            </a:bodyPr>
            <a:lstStyle/>
            <a:p>
              <a:pPr algn="ctr" fontAlgn="base">
                <a:spcBef>
                  <a:spcPts val="960"/>
                </a:spcBef>
                <a:spcAft>
                  <a:spcPts val="0"/>
                </a:spcAft>
              </a:pPr>
              <a:r>
                <a:rPr lang="en-US" sz="1600" kern="1200">
                  <a:solidFill>
                    <a:srgbClr val="66CC33"/>
                  </a:solidFill>
                  <a:effectLst/>
                  <a:ea typeface="Times New Roman" panose="02020603050405020304" pitchFamily="18" charset="0"/>
                  <a:cs typeface="Arial" panose="020B0604020202020204" pitchFamily="34" charset="0"/>
                </a:rPr>
                <a:t>Espresso Machine</a:t>
              </a:r>
              <a:endParaRPr lang="en-US" sz="1200">
                <a:effectLst/>
                <a:latin typeface="Times New Roman" panose="02020603050405020304" pitchFamily="18" charset="0"/>
                <a:ea typeface="Times New Roman" panose="02020603050405020304" pitchFamily="18" charset="0"/>
              </a:endParaRPr>
            </a:p>
            <a:p>
              <a:pPr algn="ctr" fontAlgn="base">
                <a:lnSpc>
                  <a:spcPct val="80000"/>
                </a:lnSpc>
                <a:spcAft>
                  <a:spcPts val="0"/>
                </a:spcAft>
              </a:pPr>
              <a:r>
                <a:rPr lang="en-US" sz="1200" kern="1200">
                  <a:solidFill>
                    <a:srgbClr val="000000"/>
                  </a:solidFill>
                  <a:effectLst/>
                  <a:ea typeface="Times New Roman" panose="02020603050405020304" pitchFamily="18" charset="0"/>
                  <a:cs typeface="Arial" panose="020B0604020202020204" pitchFamily="34" charset="0"/>
                </a:rPr>
                <a:t>ca. 500 ml/min</a:t>
              </a:r>
              <a:endParaRPr lang="en-US" sz="1200">
                <a:effectLst/>
                <a:latin typeface="Times New Roman" panose="02020603050405020304" pitchFamily="18" charset="0"/>
                <a:ea typeface="Times New Roman" panose="02020603050405020304" pitchFamily="18" charset="0"/>
              </a:endParaRPr>
            </a:p>
          </p:txBody>
        </p:sp>
        <p:pic>
          <p:nvPicPr>
            <p:cNvPr id="36" name="Picture 35" descr="Siring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6985" y="4602582"/>
              <a:ext cx="984376" cy="86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 Box 29"/>
            <p:cNvSpPr txBox="1">
              <a:spLocks noChangeArrowheads="1"/>
            </p:cNvSpPr>
            <p:nvPr/>
          </p:nvSpPr>
          <p:spPr bwMode="auto">
            <a:xfrm>
              <a:off x="4229412" y="5552000"/>
              <a:ext cx="1832742" cy="486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a:spAutoFit/>
            </a:bodyPr>
            <a:lstStyle/>
            <a:p>
              <a:pPr algn="ctr" fontAlgn="base">
                <a:spcBef>
                  <a:spcPts val="960"/>
                </a:spcBef>
                <a:spcAft>
                  <a:spcPts val="0"/>
                </a:spcAft>
              </a:pPr>
              <a:r>
                <a:rPr lang="en-US" sz="1600" kern="1200">
                  <a:solidFill>
                    <a:srgbClr val="66CC33"/>
                  </a:solidFill>
                  <a:effectLst/>
                  <a:ea typeface="Times New Roman" panose="02020603050405020304" pitchFamily="18" charset="0"/>
                  <a:cs typeface="Arial" panose="020B0604020202020204" pitchFamily="34" charset="0"/>
                </a:rPr>
                <a:t>Drug Injection</a:t>
              </a:r>
              <a:endParaRPr lang="en-US" sz="1200">
                <a:effectLst/>
                <a:latin typeface="Times New Roman" panose="02020603050405020304" pitchFamily="18" charset="0"/>
                <a:ea typeface="Times New Roman" panose="02020603050405020304" pitchFamily="18" charset="0"/>
              </a:endParaRPr>
            </a:p>
            <a:p>
              <a:pPr algn="ctr" fontAlgn="base">
                <a:lnSpc>
                  <a:spcPct val="80000"/>
                </a:lnSpc>
                <a:spcAft>
                  <a:spcPts val="0"/>
                </a:spcAft>
              </a:pPr>
              <a:r>
                <a:rPr lang="en-US" sz="1200" kern="1200">
                  <a:solidFill>
                    <a:srgbClr val="000000"/>
                  </a:solidFill>
                  <a:effectLst/>
                  <a:ea typeface="Times New Roman" panose="02020603050405020304" pitchFamily="18" charset="0"/>
                  <a:cs typeface="Arial" panose="020B0604020202020204" pitchFamily="34" charset="0"/>
                </a:rPr>
                <a:t>    ca. 5 ml/min</a:t>
              </a:r>
              <a:endParaRPr lang="en-US" sz="1200">
                <a:effectLst/>
                <a:latin typeface="Times New Roman" panose="02020603050405020304" pitchFamily="18" charset="0"/>
                <a:ea typeface="Times New Roman" panose="02020603050405020304" pitchFamily="18" charset="0"/>
              </a:endParaRPr>
            </a:p>
          </p:txBody>
        </p:sp>
        <p:sp>
          <p:nvSpPr>
            <p:cNvPr id="19" name="Text Box 25">
              <a:extLst>
                <a:ext uri="{FF2B5EF4-FFF2-40B4-BE49-F238E27FC236}">
                  <a16:creationId xmlns:a16="http://schemas.microsoft.com/office/drawing/2014/main" id="{B3EC97C2-6547-433F-A3BF-30A07DF3DA02}"/>
                </a:ext>
              </a:extLst>
            </p:cNvPr>
            <p:cNvSpPr txBox="1">
              <a:spLocks noChangeArrowheads="1"/>
            </p:cNvSpPr>
            <p:nvPr/>
          </p:nvSpPr>
          <p:spPr bwMode="auto">
            <a:xfrm>
              <a:off x="9227744" y="5570611"/>
              <a:ext cx="1887146" cy="486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a:spAutoFit/>
            </a:bodyPr>
            <a:lstStyle/>
            <a:p>
              <a:pPr algn="ctr" fontAlgn="base">
                <a:spcBef>
                  <a:spcPts val="960"/>
                </a:spcBef>
                <a:spcAft>
                  <a:spcPts val="0"/>
                </a:spcAft>
              </a:pPr>
              <a:r>
                <a:rPr lang="en-US" sz="1600" kern="1200">
                  <a:solidFill>
                    <a:srgbClr val="66CC33"/>
                  </a:solidFill>
                  <a:effectLst/>
                  <a:ea typeface="Times New Roman" panose="02020603050405020304" pitchFamily="18" charset="0"/>
                  <a:cs typeface="Arial" panose="020B0604020202020204" pitchFamily="34" charset="0"/>
                </a:rPr>
                <a:t>Faucet Water Filter</a:t>
              </a:r>
              <a:endParaRPr lang="en-US" sz="1200">
                <a:effectLst/>
                <a:latin typeface="Times New Roman" panose="02020603050405020304" pitchFamily="18" charset="0"/>
                <a:ea typeface="Times New Roman" panose="02020603050405020304" pitchFamily="18" charset="0"/>
              </a:endParaRPr>
            </a:p>
            <a:p>
              <a:pPr algn="ctr" fontAlgn="base">
                <a:lnSpc>
                  <a:spcPct val="80000"/>
                </a:lnSpc>
                <a:spcAft>
                  <a:spcPts val="0"/>
                </a:spcAft>
              </a:pPr>
              <a:r>
                <a:rPr lang="en-US" sz="1200" kern="1200">
                  <a:solidFill>
                    <a:srgbClr val="000000"/>
                  </a:solidFill>
                  <a:effectLst/>
                  <a:ea typeface="Times New Roman" panose="02020603050405020304" pitchFamily="18" charset="0"/>
                  <a:cs typeface="Arial" panose="020B0604020202020204" pitchFamily="34" charset="0"/>
                </a:rPr>
                <a:t>ca. </a:t>
              </a:r>
              <a:r>
                <a:rPr lang="en-US" sz="1200">
                  <a:solidFill>
                    <a:srgbClr val="000000"/>
                  </a:solidFill>
                  <a:ea typeface="Times New Roman" panose="02020603050405020304" pitchFamily="18" charset="0"/>
                  <a:cs typeface="Arial" panose="020B0604020202020204" pitchFamily="34" charset="0"/>
                </a:rPr>
                <a:t>1800</a:t>
              </a:r>
              <a:r>
                <a:rPr lang="en-US" sz="1200" kern="1200">
                  <a:solidFill>
                    <a:srgbClr val="000000"/>
                  </a:solidFill>
                  <a:effectLst/>
                  <a:ea typeface="Times New Roman" panose="02020603050405020304" pitchFamily="18" charset="0"/>
                  <a:cs typeface="Arial" panose="020B0604020202020204" pitchFamily="34" charset="0"/>
                </a:rPr>
                <a:t> ml/min</a:t>
              </a:r>
              <a:endParaRPr lang="en-US" sz="1200">
                <a:effectLst/>
                <a:latin typeface="Times New Roman" panose="02020603050405020304" pitchFamily="18" charset="0"/>
                <a:ea typeface="Times New Roman" panose="02020603050405020304" pitchFamily="18" charset="0"/>
              </a:endParaRPr>
            </a:p>
          </p:txBody>
        </p:sp>
        <p:pic>
          <p:nvPicPr>
            <p:cNvPr id="2050" name="Picture 2" descr="Amazon.com: Faucet Water Filter Stainless-Steel Reduce Chlorine High Water  Flow, Water Purifier with Ultra Adsorptive Material, Water Filters for  Faucets-Fits Standard Faucets : Tools &amp;amp; Home Improvement">
              <a:extLst>
                <a:ext uri="{FF2B5EF4-FFF2-40B4-BE49-F238E27FC236}">
                  <a16:creationId xmlns:a16="http://schemas.microsoft.com/office/drawing/2014/main" id="{A37F7BF7-1099-407A-8EF2-28124FB7D35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43014" y="4682873"/>
              <a:ext cx="856607" cy="9616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3368597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416" t="5629" r="2" b="6177"/>
          <a:stretch/>
        </p:blipFill>
        <p:spPr>
          <a:xfrm>
            <a:off x="4390149" y="2676526"/>
            <a:ext cx="3362400" cy="2232807"/>
          </a:xfrm>
          <a:prstGeom prst="rect">
            <a:avLst/>
          </a:prstGeom>
        </p:spPr>
      </p:pic>
      <p:sp>
        <p:nvSpPr>
          <p:cNvPr id="3" name="Title 2"/>
          <p:cNvSpPr>
            <a:spLocks noGrp="1"/>
          </p:cNvSpPr>
          <p:nvPr>
            <p:ph type="title"/>
          </p:nvPr>
        </p:nvSpPr>
        <p:spPr/>
        <p:txBody>
          <a:bodyPr/>
          <a:lstStyle/>
          <a:p>
            <a:r>
              <a:rPr lang="en-US"/>
              <a:t>Liquid Flow Applications</a:t>
            </a:r>
            <a:endParaRPr lang="de-CH"/>
          </a:p>
        </p:txBody>
      </p:sp>
      <p:sp>
        <p:nvSpPr>
          <p:cNvPr id="8" name="Rechteck 33"/>
          <p:cNvSpPr/>
          <p:nvPr/>
        </p:nvSpPr>
        <p:spPr>
          <a:xfrm>
            <a:off x="839787" y="921698"/>
            <a:ext cx="3384000" cy="3997747"/>
          </a:xfrm>
          <a:prstGeom prst="rect">
            <a:avLst/>
          </a:prstGeom>
          <a:noFill/>
          <a:ln w="22225">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tangle 20">
            <a:extLst>
              <a:ext uri="{FF2B5EF4-FFF2-40B4-BE49-F238E27FC236}">
                <a16:creationId xmlns:a16="http://schemas.microsoft.com/office/drawing/2014/main" id="{5051A3FE-D01C-4B89-8C03-9CB8F797A837}"/>
              </a:ext>
            </a:extLst>
          </p:cNvPr>
          <p:cNvSpPr>
            <a:spLocks/>
          </p:cNvSpPr>
          <p:nvPr/>
        </p:nvSpPr>
        <p:spPr>
          <a:xfrm>
            <a:off x="1197864" y="1231611"/>
            <a:ext cx="2979225" cy="967434"/>
          </a:xfrm>
          <a:prstGeom prst="rect">
            <a:avLst/>
          </a:prstGeom>
          <a:noFill/>
          <a:ln w="9525" cap="flat" cmpd="sng" algn="ctr">
            <a:noFill/>
            <a:prstDash val="solid"/>
          </a:ln>
          <a:effectLst/>
        </p:spPr>
        <p:txBody>
          <a:bodyPr rtlCol="0" anchor="t"/>
          <a:lstStyle/>
          <a:p>
            <a:pPr marL="285750" lvl="2" indent="-285750">
              <a:spcBef>
                <a:spcPts val="600"/>
              </a:spcBef>
              <a:buClr>
                <a:srgbClr val="66CC33"/>
              </a:buClr>
              <a:buSzPct val="110000"/>
              <a:buFont typeface="Wingdings" panose="05000000000000000000" pitchFamily="2" charset="2"/>
              <a:buChar char="§"/>
            </a:pPr>
            <a:r>
              <a:rPr lang="en-US" sz="1400" err="1"/>
              <a:t>Semicon</a:t>
            </a:r>
            <a:endParaRPr lang="en-US" sz="1600"/>
          </a:p>
          <a:p>
            <a:pPr marL="285750" lvl="2" indent="-285750">
              <a:spcBef>
                <a:spcPts val="600"/>
              </a:spcBef>
              <a:buClr>
                <a:srgbClr val="66CC33"/>
              </a:buClr>
              <a:buSzPct val="110000"/>
              <a:buFont typeface="Wingdings" panose="05000000000000000000" pitchFamily="2" charset="2"/>
              <a:buChar char="§"/>
            </a:pPr>
            <a:r>
              <a:rPr lang="en-US" sz="1400"/>
              <a:t>Automation</a:t>
            </a:r>
          </a:p>
          <a:p>
            <a:pPr marL="285750" lvl="2" indent="-285750">
              <a:spcBef>
                <a:spcPts val="600"/>
              </a:spcBef>
              <a:buClr>
                <a:srgbClr val="66CC33"/>
              </a:buClr>
              <a:buSzPct val="110000"/>
              <a:buFont typeface="Wingdings" panose="05000000000000000000" pitchFamily="2" charset="2"/>
              <a:buChar char="§"/>
            </a:pPr>
            <a:r>
              <a:rPr lang="en-US" sz="1400"/>
              <a:t>Dispense Verification</a:t>
            </a:r>
          </a:p>
        </p:txBody>
      </p:sp>
      <p:sp>
        <p:nvSpPr>
          <p:cNvPr id="14" name="Rectangle 84">
            <a:extLst>
              <a:ext uri="{FF2B5EF4-FFF2-40B4-BE49-F238E27FC236}">
                <a16:creationId xmlns:a16="http://schemas.microsoft.com/office/drawing/2014/main" id="{8F86F42A-8C9E-4306-A9FC-90EFFA1D1D22}"/>
              </a:ext>
            </a:extLst>
          </p:cNvPr>
          <p:cNvSpPr>
            <a:spLocks/>
          </p:cNvSpPr>
          <p:nvPr/>
        </p:nvSpPr>
        <p:spPr>
          <a:xfrm rot="5400000">
            <a:off x="2220323" y="4229976"/>
            <a:ext cx="637858" cy="3369070"/>
          </a:xfrm>
          <a:prstGeom prst="rect">
            <a:avLst/>
          </a:prstGeom>
          <a:solidFill>
            <a:srgbClr val="66CC3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rIns="36000" rtlCol="0" anchor="ctr">
            <a:noAutofit/>
          </a:bodyPr>
          <a:lstStyle/>
          <a:p>
            <a:pPr algn="ctr"/>
            <a:r>
              <a:rPr lang="en-GB" sz="1600" b="1" err="1">
                <a:latin typeface="Arial Narrow" panose="020B0606020202030204" pitchFamily="34" charset="0"/>
                <a:cs typeface="Arial" panose="020B0604020202020204" pitchFamily="34" charset="0"/>
              </a:rPr>
              <a:t>Semicon</a:t>
            </a:r>
            <a:r>
              <a:rPr lang="en-GB" sz="1600" b="1">
                <a:latin typeface="Arial Narrow" panose="020B0606020202030204" pitchFamily="34" charset="0"/>
                <a:cs typeface="Arial" panose="020B0604020202020204" pitchFamily="34" charset="0"/>
              </a:rPr>
              <a:t> &amp; Industrial Applications</a:t>
            </a:r>
          </a:p>
        </p:txBody>
      </p:sp>
      <p:sp>
        <p:nvSpPr>
          <p:cNvPr id="19" name="Pfeil: nach unten 1">
            <a:extLst>
              <a:ext uri="{FF2B5EF4-FFF2-40B4-BE49-F238E27FC236}">
                <a16:creationId xmlns:a16="http://schemas.microsoft.com/office/drawing/2014/main" id="{2D0E9674-60DD-436E-B0F3-5F20AFC2BC24}"/>
              </a:ext>
            </a:extLst>
          </p:cNvPr>
          <p:cNvSpPr/>
          <p:nvPr/>
        </p:nvSpPr>
        <p:spPr>
          <a:xfrm>
            <a:off x="2144622" y="5137867"/>
            <a:ext cx="720000" cy="284042"/>
          </a:xfrm>
          <a:prstGeom prst="downArrow">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err="1">
              <a:latin typeface="Arial Narrow" panose="020B0606020202030204" pitchFamily="34" charset="0"/>
            </a:endParaRPr>
          </a:p>
        </p:txBody>
      </p:sp>
      <p:sp>
        <p:nvSpPr>
          <p:cNvPr id="20" name="Pfeil: nach unten 77">
            <a:extLst>
              <a:ext uri="{FF2B5EF4-FFF2-40B4-BE49-F238E27FC236}">
                <a16:creationId xmlns:a16="http://schemas.microsoft.com/office/drawing/2014/main" id="{FC917645-3FB1-4785-81FF-8A69D50F9D98}"/>
              </a:ext>
            </a:extLst>
          </p:cNvPr>
          <p:cNvSpPr/>
          <p:nvPr/>
        </p:nvSpPr>
        <p:spPr>
          <a:xfrm>
            <a:off x="5748273" y="5134837"/>
            <a:ext cx="720000" cy="284400"/>
          </a:xfrm>
          <a:prstGeom prst="downArrow">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err="1">
              <a:latin typeface="Arial Narrow" panose="020B0606020202030204" pitchFamily="34" charset="0"/>
            </a:endParaRPr>
          </a:p>
        </p:txBody>
      </p:sp>
      <p:sp>
        <p:nvSpPr>
          <p:cNvPr id="21" name="Pfeil: nach unten 78">
            <a:extLst>
              <a:ext uri="{FF2B5EF4-FFF2-40B4-BE49-F238E27FC236}">
                <a16:creationId xmlns:a16="http://schemas.microsoft.com/office/drawing/2014/main" id="{B3F34627-9582-4EAD-9FA6-BBED428D61B2}"/>
              </a:ext>
            </a:extLst>
          </p:cNvPr>
          <p:cNvSpPr/>
          <p:nvPr/>
        </p:nvSpPr>
        <p:spPr>
          <a:xfrm>
            <a:off x="9292046" y="5134402"/>
            <a:ext cx="720000" cy="284400"/>
          </a:xfrm>
          <a:prstGeom prst="downArrow">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err="1">
              <a:latin typeface="Arial Narrow" panose="020B0606020202030204" pitchFamily="34" charset="0"/>
            </a:endParaRPr>
          </a:p>
        </p:txBody>
      </p:sp>
      <p:sp>
        <p:nvSpPr>
          <p:cNvPr id="22" name="Rechteck 33"/>
          <p:cNvSpPr/>
          <p:nvPr/>
        </p:nvSpPr>
        <p:spPr>
          <a:xfrm>
            <a:off x="4379061" y="921698"/>
            <a:ext cx="3384000" cy="3997748"/>
          </a:xfrm>
          <a:prstGeom prst="rect">
            <a:avLst/>
          </a:prstGeom>
          <a:noFill/>
          <a:ln w="22225">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tangle 20">
            <a:extLst>
              <a:ext uri="{FF2B5EF4-FFF2-40B4-BE49-F238E27FC236}">
                <a16:creationId xmlns:a16="http://schemas.microsoft.com/office/drawing/2014/main" id="{5051A3FE-D01C-4B89-8C03-9CB8F797A837}"/>
              </a:ext>
            </a:extLst>
          </p:cNvPr>
          <p:cNvSpPr>
            <a:spLocks/>
          </p:cNvSpPr>
          <p:nvPr/>
        </p:nvSpPr>
        <p:spPr>
          <a:xfrm>
            <a:off x="4725530" y="1227824"/>
            <a:ext cx="3008862" cy="971221"/>
          </a:xfrm>
          <a:prstGeom prst="rect">
            <a:avLst/>
          </a:prstGeom>
          <a:noFill/>
          <a:ln w="9525" cap="flat" cmpd="sng" algn="ctr">
            <a:noFill/>
            <a:prstDash val="solid"/>
          </a:ln>
          <a:effectLst/>
        </p:spPr>
        <p:txBody>
          <a:bodyPr rtlCol="0" anchor="t"/>
          <a:lstStyle/>
          <a:p>
            <a:pPr marL="285750" lvl="2" indent="-285750">
              <a:spcBef>
                <a:spcPts val="600"/>
              </a:spcBef>
              <a:buClr>
                <a:srgbClr val="66CC33"/>
              </a:buClr>
              <a:buSzPct val="110000"/>
              <a:buFont typeface="Wingdings" panose="05000000000000000000" pitchFamily="2" charset="2"/>
              <a:buChar char="§"/>
            </a:pPr>
            <a:r>
              <a:rPr lang="en-US" sz="1400"/>
              <a:t>(U)HPLC</a:t>
            </a:r>
          </a:p>
          <a:p>
            <a:pPr marL="285750" lvl="2" indent="-285750">
              <a:spcBef>
                <a:spcPts val="600"/>
              </a:spcBef>
              <a:buClr>
                <a:srgbClr val="66CC33"/>
              </a:buClr>
              <a:buSzPct val="110000"/>
              <a:buFont typeface="Wingdings" panose="05000000000000000000" pitchFamily="2" charset="2"/>
              <a:buChar char="§"/>
            </a:pPr>
            <a:r>
              <a:rPr lang="en-US" sz="1400"/>
              <a:t>Blood Analysis / DNA Sequencing</a:t>
            </a:r>
          </a:p>
          <a:p>
            <a:pPr marL="285750" lvl="2" indent="-285750">
              <a:spcBef>
                <a:spcPts val="600"/>
              </a:spcBef>
              <a:buClr>
                <a:srgbClr val="66CC33"/>
              </a:buClr>
              <a:buSzPct val="110000"/>
              <a:buFont typeface="Wingdings" panose="05000000000000000000" pitchFamily="2" charset="2"/>
              <a:buChar char="§"/>
            </a:pPr>
            <a:r>
              <a:rPr lang="en-US" sz="1400"/>
              <a:t>Flow Cytometry / Cell Therapy</a:t>
            </a:r>
          </a:p>
          <a:p>
            <a:pPr marL="285750" lvl="2" indent="-285750">
              <a:spcBef>
                <a:spcPts val="600"/>
              </a:spcBef>
              <a:buClr>
                <a:schemeClr val="bg1"/>
              </a:buClr>
              <a:buSzPct val="110000"/>
              <a:buFont typeface="Wingdings" panose="05000000000000000000" pitchFamily="2" charset="2"/>
              <a:buChar char="§"/>
            </a:pPr>
            <a:endParaRPr lang="en-US" sz="1600"/>
          </a:p>
        </p:txBody>
      </p:sp>
      <p:sp>
        <p:nvSpPr>
          <p:cNvPr id="25" name="Rechteck 33"/>
          <p:cNvSpPr/>
          <p:nvPr/>
        </p:nvSpPr>
        <p:spPr>
          <a:xfrm>
            <a:off x="7977636" y="926327"/>
            <a:ext cx="3384000" cy="3992570"/>
          </a:xfrm>
          <a:prstGeom prst="rect">
            <a:avLst/>
          </a:prstGeom>
          <a:noFill/>
          <a:ln w="22225">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0">
            <a:extLst>
              <a:ext uri="{FF2B5EF4-FFF2-40B4-BE49-F238E27FC236}">
                <a16:creationId xmlns:a16="http://schemas.microsoft.com/office/drawing/2014/main" id="{5051A3FE-D01C-4B89-8C03-9CB8F797A837}"/>
              </a:ext>
            </a:extLst>
          </p:cNvPr>
          <p:cNvSpPr>
            <a:spLocks/>
          </p:cNvSpPr>
          <p:nvPr/>
        </p:nvSpPr>
        <p:spPr>
          <a:xfrm>
            <a:off x="8292961" y="1227824"/>
            <a:ext cx="3000831" cy="971221"/>
          </a:xfrm>
          <a:prstGeom prst="rect">
            <a:avLst/>
          </a:prstGeom>
          <a:noFill/>
          <a:ln w="9525" cap="flat" cmpd="sng" algn="ctr">
            <a:noFill/>
            <a:prstDash val="solid"/>
          </a:ln>
          <a:effectLst/>
        </p:spPr>
        <p:txBody>
          <a:bodyPr rtlCol="0" anchor="t"/>
          <a:lstStyle/>
          <a:p>
            <a:pPr marL="285750" lvl="2" indent="-285750">
              <a:spcBef>
                <a:spcPts val="600"/>
              </a:spcBef>
              <a:buClr>
                <a:srgbClr val="66CC33"/>
              </a:buClr>
              <a:buSzPct val="110000"/>
              <a:buFont typeface="Wingdings" panose="05000000000000000000" pitchFamily="2" charset="2"/>
              <a:buChar char="§"/>
            </a:pPr>
            <a:r>
              <a:rPr lang="en-US" sz="1400"/>
              <a:t>Advanced or Portable Drug Delivery</a:t>
            </a:r>
          </a:p>
          <a:p>
            <a:pPr marL="285750" lvl="2" indent="-285750">
              <a:spcBef>
                <a:spcPts val="600"/>
              </a:spcBef>
              <a:buClr>
                <a:srgbClr val="66CC33"/>
              </a:buClr>
              <a:buSzPct val="110000"/>
              <a:buFont typeface="Wingdings" panose="05000000000000000000" pitchFamily="2" charset="2"/>
              <a:buChar char="§"/>
            </a:pPr>
            <a:r>
              <a:rPr lang="en-US" sz="1400"/>
              <a:t>Biopharmaceutical Processes</a:t>
            </a:r>
          </a:p>
          <a:p>
            <a:pPr marL="285750" lvl="2" indent="-285750">
              <a:spcBef>
                <a:spcPts val="600"/>
              </a:spcBef>
              <a:buClr>
                <a:srgbClr val="66CC33"/>
              </a:buClr>
              <a:buSzPct val="110000"/>
              <a:buFont typeface="Wingdings" panose="05000000000000000000" pitchFamily="2" charset="2"/>
              <a:buChar char="§"/>
            </a:pPr>
            <a:r>
              <a:rPr lang="en-US" sz="1400"/>
              <a:t>Surgical instruments</a:t>
            </a:r>
          </a:p>
          <a:p>
            <a:pPr marL="0" lvl="2">
              <a:spcBef>
                <a:spcPts val="600"/>
              </a:spcBef>
              <a:buClr>
                <a:srgbClr val="66CC33"/>
              </a:buClr>
              <a:buSzPct val="110000"/>
            </a:pPr>
            <a:endParaRPr lang="en-US" sz="1600"/>
          </a:p>
        </p:txBody>
      </p:sp>
      <p:sp>
        <p:nvSpPr>
          <p:cNvPr id="29" name="Rectangle 86">
            <a:extLst>
              <a:ext uri="{FF2B5EF4-FFF2-40B4-BE49-F238E27FC236}">
                <a16:creationId xmlns:a16="http://schemas.microsoft.com/office/drawing/2014/main" id="{543A8872-9643-4A23-890F-60D58824F7EC}"/>
              </a:ext>
            </a:extLst>
          </p:cNvPr>
          <p:cNvSpPr>
            <a:spLocks/>
          </p:cNvSpPr>
          <p:nvPr/>
        </p:nvSpPr>
        <p:spPr>
          <a:xfrm rot="5400000">
            <a:off x="5761159" y="4223876"/>
            <a:ext cx="630195" cy="3373608"/>
          </a:xfrm>
          <a:prstGeom prst="rect">
            <a:avLst/>
          </a:prstGeom>
          <a:solidFill>
            <a:srgbClr val="66CC3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rIns="36000" rtlCol="0" anchor="ctr">
            <a:noAutofit/>
          </a:bodyPr>
          <a:lstStyle/>
          <a:p>
            <a:pPr algn="ctr"/>
            <a:r>
              <a:rPr lang="en-GB" sz="1600" b="1">
                <a:latin typeface="Arial Narrow" panose="020B0606020202030204" pitchFamily="34" charset="0"/>
                <a:cs typeface="Arial" panose="020B0604020202020204" pitchFamily="34" charset="0"/>
              </a:rPr>
              <a:t>Analytical &amp; Diagnostics</a:t>
            </a:r>
          </a:p>
        </p:txBody>
      </p:sp>
      <p:sp>
        <p:nvSpPr>
          <p:cNvPr id="32" name="Rectangle 87">
            <a:extLst>
              <a:ext uri="{FF2B5EF4-FFF2-40B4-BE49-F238E27FC236}">
                <a16:creationId xmlns:a16="http://schemas.microsoft.com/office/drawing/2014/main" id="{97C80F19-F3A2-4925-8BD3-E707EAE19215}"/>
              </a:ext>
            </a:extLst>
          </p:cNvPr>
          <p:cNvSpPr>
            <a:spLocks/>
          </p:cNvSpPr>
          <p:nvPr/>
        </p:nvSpPr>
        <p:spPr>
          <a:xfrm rot="5400000">
            <a:off x="9350707" y="4222511"/>
            <a:ext cx="637858" cy="3384000"/>
          </a:xfrm>
          <a:prstGeom prst="rect">
            <a:avLst/>
          </a:prstGeom>
          <a:solidFill>
            <a:srgbClr val="66CC3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rIns="36000" rtlCol="0" anchor="ctr">
            <a:noAutofit/>
          </a:bodyPr>
          <a:lstStyle/>
          <a:p>
            <a:pPr algn="ctr"/>
            <a:r>
              <a:rPr lang="en-GB" sz="1600" b="1">
                <a:latin typeface="Arial Narrow" panose="020B0606020202030204" pitchFamily="34" charset="0"/>
                <a:cs typeface="Arial" panose="020B0604020202020204" pitchFamily="34" charset="0"/>
              </a:rPr>
              <a:t>Medical Applications</a:t>
            </a:r>
            <a:endParaRPr lang="en-GB" sz="1600" b="1" baseline="30000">
              <a:latin typeface="Arial Narrow" panose="020B0606020202030204" pitchFamily="34" charset="0"/>
              <a:cs typeface="Arial" panose="020B0604020202020204" pitchFamily="34" charset="0"/>
            </a:endParaRPr>
          </a:p>
        </p:txBody>
      </p:sp>
      <p:pic>
        <p:nvPicPr>
          <p:cNvPr id="30" name="Picture 6"/>
          <p:cNvPicPr>
            <a:picLocks noChangeAspect="1" noChangeArrowheads="1"/>
          </p:cNvPicPr>
          <p:nvPr/>
        </p:nvPicPr>
        <p:blipFill rotWithShape="1">
          <a:blip r:embed="rId4">
            <a:extLst>
              <a:ext uri="{28A0092B-C50C-407E-A947-70E740481C1C}">
                <a14:useLocalDpi xmlns:a14="http://schemas.microsoft.com/office/drawing/2010/main" val="0"/>
              </a:ext>
            </a:extLst>
          </a:blip>
          <a:srcRect t="7326" b="45544"/>
          <a:stretch/>
        </p:blipFill>
        <p:spPr bwMode="auto">
          <a:xfrm>
            <a:off x="850240" y="2690199"/>
            <a:ext cx="3362400" cy="2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90236" y="2672524"/>
            <a:ext cx="3362400" cy="2242197"/>
          </a:xfrm>
          <a:prstGeom prst="rect">
            <a:avLst/>
          </a:prstGeom>
        </p:spPr>
      </p:pic>
      <p:sp>
        <p:nvSpPr>
          <p:cNvPr id="23" name="Pfeil: nach unten 1">
            <a:extLst>
              <a:ext uri="{FF2B5EF4-FFF2-40B4-BE49-F238E27FC236}">
                <a16:creationId xmlns:a16="http://schemas.microsoft.com/office/drawing/2014/main" id="{2D0E9674-60DD-436E-B0F3-5F20AFC2BC24}"/>
              </a:ext>
            </a:extLst>
          </p:cNvPr>
          <p:cNvSpPr/>
          <p:nvPr/>
        </p:nvSpPr>
        <p:spPr>
          <a:xfrm>
            <a:off x="2144784" y="5137432"/>
            <a:ext cx="720000" cy="284042"/>
          </a:xfrm>
          <a:prstGeom prst="downArrow">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err="1">
              <a:latin typeface="Arial Narrow" panose="020B0606020202030204" pitchFamily="34" charset="0"/>
            </a:endParaRPr>
          </a:p>
        </p:txBody>
      </p:sp>
      <p:sp>
        <p:nvSpPr>
          <p:cNvPr id="26" name="Pfeil: nach unten 77">
            <a:extLst>
              <a:ext uri="{FF2B5EF4-FFF2-40B4-BE49-F238E27FC236}">
                <a16:creationId xmlns:a16="http://schemas.microsoft.com/office/drawing/2014/main" id="{FC917645-3FB1-4785-81FF-8A69D50F9D98}"/>
              </a:ext>
            </a:extLst>
          </p:cNvPr>
          <p:cNvSpPr/>
          <p:nvPr/>
        </p:nvSpPr>
        <p:spPr>
          <a:xfrm>
            <a:off x="5748435" y="5134402"/>
            <a:ext cx="720000" cy="284400"/>
          </a:xfrm>
          <a:prstGeom prst="downArrow">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err="1">
              <a:latin typeface="Arial Narrow" panose="020B0606020202030204" pitchFamily="34" charset="0"/>
            </a:endParaRPr>
          </a:p>
        </p:txBody>
      </p:sp>
    </p:spTree>
    <p:extLst>
      <p:ext uri="{BB962C8B-B14F-4D97-AF65-F5344CB8AC3E}">
        <p14:creationId xmlns:p14="http://schemas.microsoft.com/office/powerpoint/2010/main" val="132311867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Evaluation Kits</a:t>
            </a:r>
          </a:p>
        </p:txBody>
      </p:sp>
    </p:spTree>
    <p:extLst>
      <p:ext uri="{BB962C8B-B14F-4D97-AF65-F5344CB8AC3E}">
        <p14:creationId xmlns:p14="http://schemas.microsoft.com/office/powerpoint/2010/main" val="28673367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6A5DBD5-93CE-40C3-8430-D2D81304DDEF}"/>
              </a:ext>
            </a:extLst>
          </p:cNvPr>
          <p:cNvPicPr>
            <a:picLocks noChangeAspect="1"/>
          </p:cNvPicPr>
          <p:nvPr/>
        </p:nvPicPr>
        <p:blipFill>
          <a:blip r:embed="rId2"/>
          <a:stretch>
            <a:fillRect/>
          </a:stretch>
        </p:blipFill>
        <p:spPr>
          <a:xfrm>
            <a:off x="878820" y="3311954"/>
            <a:ext cx="4484916" cy="2874217"/>
          </a:xfrm>
          <a:prstGeom prst="rect">
            <a:avLst/>
          </a:prstGeom>
        </p:spPr>
      </p:pic>
      <p:sp>
        <p:nvSpPr>
          <p:cNvPr id="6" name="Title 5"/>
          <p:cNvSpPr>
            <a:spLocks noGrp="1"/>
          </p:cNvSpPr>
          <p:nvPr>
            <p:ph type="title"/>
          </p:nvPr>
        </p:nvSpPr>
        <p:spPr/>
        <p:txBody>
          <a:bodyPr/>
          <a:lstStyle/>
          <a:p>
            <a:r>
              <a:rPr lang="en-US" err="1"/>
              <a:t>SmartGadget</a:t>
            </a:r>
            <a:r>
              <a:rPr lang="en-US"/>
              <a:t> – How to use in a customer meeting</a:t>
            </a:r>
          </a:p>
        </p:txBody>
      </p:sp>
      <p:sp>
        <p:nvSpPr>
          <p:cNvPr id="9" name="Content Placeholder 8"/>
          <p:cNvSpPr>
            <a:spLocks noGrp="1"/>
          </p:cNvSpPr>
          <p:nvPr>
            <p:ph idx="1"/>
          </p:nvPr>
        </p:nvSpPr>
        <p:spPr/>
        <p:txBody>
          <a:bodyPr/>
          <a:lstStyle/>
          <a:p>
            <a:pPr marL="342900" indent="-342900">
              <a:buFont typeface="Wingdings" panose="05000000000000000000" pitchFamily="2" charset="2"/>
              <a:buChar char="§"/>
            </a:pPr>
            <a:r>
              <a:rPr lang="en-US"/>
              <a:t>The </a:t>
            </a:r>
            <a:r>
              <a:rPr lang="en-US" err="1"/>
              <a:t>SmartGadget</a:t>
            </a:r>
            <a:r>
              <a:rPr lang="en-US"/>
              <a:t> is a great way to demonstrate Sensirion’s RH/T and CO2 products:</a:t>
            </a:r>
          </a:p>
          <a:p>
            <a:pPr marL="1062900" lvl="2" indent="-342900"/>
            <a:r>
              <a:rPr lang="en-US"/>
              <a:t>Small form factor, fast response time, low power</a:t>
            </a:r>
          </a:p>
          <a:p>
            <a:pPr marL="1062900" lvl="2" indent="-342900"/>
            <a:r>
              <a:rPr lang="en-US"/>
              <a:t>Opens discussions around design-in challenges and best-practices</a:t>
            </a:r>
          </a:p>
          <a:p>
            <a:pPr marL="1062900" lvl="2" indent="-342900"/>
            <a:r>
              <a:rPr lang="en-US"/>
              <a:t>Has Bluetooth to communicate with Smart Phones</a:t>
            </a:r>
          </a:p>
          <a:p>
            <a:pPr marL="342900" indent="-342900">
              <a:buFont typeface="Wingdings" panose="05000000000000000000" pitchFamily="2" charset="2"/>
              <a:buChar char="§"/>
            </a:pPr>
            <a:r>
              <a:rPr lang="en-US"/>
              <a:t>The </a:t>
            </a:r>
            <a:r>
              <a:rPr lang="en-US" err="1"/>
              <a:t>SmartGadget</a:t>
            </a:r>
            <a:r>
              <a:rPr lang="en-US"/>
              <a:t> is a great Marketing tool:</a:t>
            </a:r>
          </a:p>
          <a:p>
            <a:pPr marL="1062900" lvl="2" indent="-342900"/>
            <a:r>
              <a:rPr lang="en-US"/>
              <a:t>People love to keep them on their desks; Co-workers will ask about them, helping us gain visibility</a:t>
            </a:r>
          </a:p>
          <a:p>
            <a:endParaRPr lang="en-US"/>
          </a:p>
        </p:txBody>
      </p:sp>
      <p:sp>
        <p:nvSpPr>
          <p:cNvPr id="11" name="Parallelogram 10">
            <a:extLst>
              <a:ext uri="{FF2B5EF4-FFF2-40B4-BE49-F238E27FC236}">
                <a16:creationId xmlns:a16="http://schemas.microsoft.com/office/drawing/2014/main" id="{AD2D0C2B-95FC-41B1-B427-623A0865F428}"/>
              </a:ext>
            </a:extLst>
          </p:cNvPr>
          <p:cNvSpPr/>
          <p:nvPr/>
        </p:nvSpPr>
        <p:spPr>
          <a:xfrm rot="20940397" flipH="1">
            <a:off x="1696357" y="4347449"/>
            <a:ext cx="865835" cy="628761"/>
          </a:xfrm>
          <a:prstGeom prst="parallelogram">
            <a:avLst>
              <a:gd name="adj" fmla="val 33041"/>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01B457EB-FACE-467D-BE70-6FB6D385D9A3}"/>
              </a:ext>
            </a:extLst>
          </p:cNvPr>
          <p:cNvPicPr>
            <a:picLocks noChangeAspect="1"/>
          </p:cNvPicPr>
          <p:nvPr/>
        </p:nvPicPr>
        <p:blipFill>
          <a:blip r:embed="rId3"/>
          <a:stretch>
            <a:fillRect/>
          </a:stretch>
        </p:blipFill>
        <p:spPr>
          <a:xfrm>
            <a:off x="5970129" y="3298844"/>
            <a:ext cx="3679357" cy="2874217"/>
          </a:xfrm>
          <a:prstGeom prst="rect">
            <a:avLst/>
          </a:prstGeom>
        </p:spPr>
      </p:pic>
    </p:spTree>
    <p:extLst>
      <p:ext uri="{BB962C8B-B14F-4D97-AF65-F5344CB8AC3E}">
        <p14:creationId xmlns:p14="http://schemas.microsoft.com/office/powerpoint/2010/main" val="428039351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nsor evaluation – Sensor Bridge (Hardware)</a:t>
            </a:r>
          </a:p>
        </p:txBody>
      </p:sp>
      <p:sp>
        <p:nvSpPr>
          <p:cNvPr id="3" name="Content Placeholder 2"/>
          <p:cNvSpPr>
            <a:spLocks noGrp="1"/>
          </p:cNvSpPr>
          <p:nvPr>
            <p:ph idx="1"/>
          </p:nvPr>
        </p:nvSpPr>
        <p:spPr>
          <a:xfrm>
            <a:off x="839788" y="908049"/>
            <a:ext cx="6459083" cy="5328000"/>
          </a:xfrm>
        </p:spPr>
        <p:txBody>
          <a:bodyPr/>
          <a:lstStyle/>
          <a:p>
            <a:pPr marL="342900" indent="-342900">
              <a:buFont typeface="Wingdings" panose="05000000000000000000" pitchFamily="2" charset="2"/>
              <a:buChar char="§"/>
            </a:pPr>
            <a:r>
              <a:rPr lang="en-US"/>
              <a:t>Sensirion offers a modular evaluation kit, called “</a:t>
            </a:r>
            <a:r>
              <a:rPr lang="en-US" err="1"/>
              <a:t>SensorBridge</a:t>
            </a:r>
            <a:r>
              <a:rPr lang="en-US"/>
              <a:t>”</a:t>
            </a:r>
          </a:p>
          <a:p>
            <a:pPr marL="558900" lvl="1" indent="-342900"/>
            <a:r>
              <a:rPr lang="en-US"/>
              <a:t>Use-case: valuating component level performance without the need for additional programming </a:t>
            </a:r>
          </a:p>
          <a:p>
            <a:pPr marL="1062900" lvl="2" indent="-342900"/>
            <a:r>
              <a:rPr lang="en-US"/>
              <a:t>Simply connect via USB to a computer</a:t>
            </a:r>
          </a:p>
          <a:p>
            <a:pPr marL="1062900" lvl="2" indent="-342900"/>
            <a:r>
              <a:rPr lang="en-US"/>
              <a:t>Start measuring, plotting, and logging data with </a:t>
            </a:r>
            <a:r>
              <a:rPr lang="en-US" err="1"/>
              <a:t>ControlCenter</a:t>
            </a:r>
            <a:r>
              <a:rPr lang="en-US"/>
              <a:t>, our free eval SW</a:t>
            </a:r>
          </a:p>
          <a:p>
            <a:pPr marL="558900" lvl="1" indent="-342900"/>
            <a:r>
              <a:rPr lang="en-US"/>
              <a:t>Features two sensor ports, allowing the users to mix and match sensors, based on their needs</a:t>
            </a:r>
          </a:p>
          <a:p>
            <a:pPr marL="558900" lvl="1" indent="-342900"/>
            <a:r>
              <a:rPr lang="en-US"/>
              <a:t>Sensor sets are sold separately so end customers can create their ideal kit</a:t>
            </a:r>
          </a:p>
          <a:p>
            <a:pPr marL="558900" lvl="1" indent="-342900"/>
            <a:r>
              <a:rPr lang="en-US"/>
              <a:t>Available through distribution</a:t>
            </a:r>
          </a:p>
          <a:p>
            <a:pPr marL="558900" lvl="1" indent="-342900"/>
            <a:endParaRPr lang="en-US"/>
          </a:p>
          <a:p>
            <a:pPr marL="558900" lvl="1" indent="-342900"/>
            <a:endParaRPr lang="en-US"/>
          </a:p>
        </p:txBody>
      </p:sp>
      <p:pic>
        <p:nvPicPr>
          <p:cNvPr id="3076" name="Picture 4" descr="Image result for sensirion sensor brid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82383" y="189086"/>
            <a:ext cx="3726930" cy="372693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s://www.soselectronic.com/novinky/obr/obr2282_p8d966c026fe0.jpg">
            <a:extLst>
              <a:ext uri="{FF2B5EF4-FFF2-40B4-BE49-F238E27FC236}">
                <a16:creationId xmlns:a16="http://schemas.microsoft.com/office/drawing/2014/main" id="{8DD923FD-307C-47E8-A4A4-0BE29C1F5B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7201" y="3812918"/>
            <a:ext cx="4692112" cy="2538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8120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D8EE828-1C51-CC5A-8C89-22F61E4D765E}"/>
              </a:ext>
            </a:extLst>
          </p:cNvPr>
          <p:cNvSpPr>
            <a:spLocks noGrp="1"/>
          </p:cNvSpPr>
          <p:nvPr>
            <p:ph type="body" sz="quarter" idx="10"/>
          </p:nvPr>
        </p:nvSpPr>
        <p:spPr>
          <a:xfrm>
            <a:off x="848932" y="914398"/>
            <a:ext cx="6551994" cy="5328000"/>
          </a:xfrm>
        </p:spPr>
        <p:txBody>
          <a:bodyPr>
            <a:normAutofit/>
          </a:bodyPr>
          <a:lstStyle/>
          <a:p>
            <a:pPr marL="342900" indent="-342900">
              <a:lnSpc>
                <a:spcPct val="90000"/>
              </a:lnSpc>
              <a:buFont typeface="Wingdings" panose="05000000000000000000" pitchFamily="2" charset="2"/>
              <a:buChar char="§"/>
            </a:pPr>
            <a:endParaRPr lang="en-US" sz="1900"/>
          </a:p>
          <a:p>
            <a:pPr marL="342900" indent="-342900">
              <a:lnSpc>
                <a:spcPct val="90000"/>
              </a:lnSpc>
              <a:buFont typeface="Wingdings" panose="05000000000000000000" pitchFamily="2" charset="2"/>
              <a:buChar char="§"/>
            </a:pPr>
            <a:endParaRPr lang="en-US" sz="1900"/>
          </a:p>
          <a:p>
            <a:pPr marL="342900" indent="-342900">
              <a:lnSpc>
                <a:spcPct val="90000"/>
              </a:lnSpc>
              <a:buFont typeface="Wingdings" panose="05000000000000000000" pitchFamily="2" charset="2"/>
              <a:buChar char="§"/>
            </a:pPr>
            <a:r>
              <a:rPr lang="en-US" sz="1900" b="1"/>
              <a:t>Definition</a:t>
            </a:r>
            <a:r>
              <a:rPr lang="en-US" sz="1900"/>
              <a:t>: The experience – positive or negative - an engineer has during the product development journey</a:t>
            </a:r>
          </a:p>
          <a:p>
            <a:pPr marL="342900" indent="-342900">
              <a:lnSpc>
                <a:spcPct val="90000"/>
              </a:lnSpc>
              <a:buFont typeface="Wingdings" panose="05000000000000000000" pitchFamily="2" charset="2"/>
              <a:buChar char="§"/>
            </a:pPr>
            <a:endParaRPr lang="en-US" sz="1900"/>
          </a:p>
          <a:p>
            <a:pPr marL="342900" indent="-342900">
              <a:lnSpc>
                <a:spcPct val="90000"/>
              </a:lnSpc>
              <a:buFont typeface="Wingdings" panose="05000000000000000000" pitchFamily="2" charset="2"/>
              <a:buChar char="§"/>
            </a:pPr>
            <a:endParaRPr lang="en-US" sz="1900"/>
          </a:p>
          <a:p>
            <a:pPr marL="342900" indent="-342900">
              <a:lnSpc>
                <a:spcPct val="90000"/>
              </a:lnSpc>
              <a:buFont typeface="Wingdings" panose="05000000000000000000" pitchFamily="2" charset="2"/>
              <a:buChar char="§"/>
            </a:pPr>
            <a:r>
              <a:rPr lang="en-US" sz="1900" b="1"/>
              <a:t>Thesis: </a:t>
            </a:r>
            <a:r>
              <a:rPr lang="en-US" sz="1900"/>
              <a:t>A positive developer experience leads to a more successful customer product, which leads to follow-up business</a:t>
            </a:r>
          </a:p>
          <a:p>
            <a:pPr marL="342900" indent="-342900">
              <a:lnSpc>
                <a:spcPct val="90000"/>
              </a:lnSpc>
              <a:buFont typeface="Wingdings" panose="05000000000000000000" pitchFamily="2" charset="2"/>
              <a:buChar char="§"/>
            </a:pPr>
            <a:endParaRPr lang="en-US" sz="1900"/>
          </a:p>
          <a:p>
            <a:pPr marL="342900" indent="-342900">
              <a:lnSpc>
                <a:spcPct val="90000"/>
              </a:lnSpc>
              <a:buFont typeface="Wingdings" panose="05000000000000000000" pitchFamily="2" charset="2"/>
              <a:buChar char="§"/>
            </a:pPr>
            <a:endParaRPr lang="en-US" sz="1900"/>
          </a:p>
          <a:p>
            <a:pPr marL="342900" indent="-342900">
              <a:lnSpc>
                <a:spcPct val="90000"/>
              </a:lnSpc>
              <a:buFont typeface="Wingdings" panose="05000000000000000000" pitchFamily="2" charset="2"/>
              <a:buChar char="§"/>
            </a:pPr>
            <a:r>
              <a:rPr lang="en-US" sz="1900" b="1"/>
              <a:t>Goal</a:t>
            </a:r>
            <a:r>
              <a:rPr lang="en-US" sz="1900"/>
              <a:t>: Along with being the technology leader, become the leader in Developer Experience</a:t>
            </a:r>
          </a:p>
        </p:txBody>
      </p:sp>
      <p:pic>
        <p:nvPicPr>
          <p:cNvPr id="2052" name="Picture 4" descr="Free vector graphics of Cars">
            <a:extLst>
              <a:ext uri="{FF2B5EF4-FFF2-40B4-BE49-F238E27FC236}">
                <a16:creationId xmlns:a16="http://schemas.microsoft.com/office/drawing/2014/main" id="{5AB6542A-F256-9E6B-BB4D-386C19027FCB}"/>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180665" y="1516788"/>
            <a:ext cx="3171122" cy="3171122"/>
          </a:xfrm>
          <a:prstGeom prst="rect">
            <a:avLst/>
          </a:prstGeom>
          <a:solidFill>
            <a:srgbClr val="FFFFFF"/>
          </a:solidFill>
        </p:spPr>
      </p:pic>
      <p:sp>
        <p:nvSpPr>
          <p:cNvPr id="2" name="Title 1">
            <a:extLst>
              <a:ext uri="{FF2B5EF4-FFF2-40B4-BE49-F238E27FC236}">
                <a16:creationId xmlns:a16="http://schemas.microsoft.com/office/drawing/2014/main" id="{8A72F410-6222-92EB-833A-F654D673458B}"/>
              </a:ext>
            </a:extLst>
          </p:cNvPr>
          <p:cNvSpPr>
            <a:spLocks noGrp="1"/>
          </p:cNvSpPr>
          <p:nvPr>
            <p:ph type="title"/>
          </p:nvPr>
        </p:nvSpPr>
        <p:spPr>
          <a:xfrm>
            <a:off x="839787" y="283464"/>
            <a:ext cx="10512000" cy="764101"/>
          </a:xfrm>
        </p:spPr>
        <p:txBody>
          <a:bodyPr wrap="none" anchor="b">
            <a:normAutofit fontScale="90000"/>
          </a:bodyPr>
          <a:lstStyle/>
          <a:p>
            <a:r>
              <a:rPr lang="en-US"/>
              <a:t>Developer Experience - </a:t>
            </a:r>
            <a:r>
              <a:rPr lang="en-US" sz="3200">
                <a:solidFill>
                  <a:schemeClr val="accent1"/>
                </a:solidFill>
                <a:hlinkClick r:id="rId5">
                  <a:extLst>
                    <a:ext uri="{A12FA001-AC4F-418D-AE19-62706E023703}">
                      <ahyp:hlinkClr xmlns:ahyp="http://schemas.microsoft.com/office/drawing/2018/hyperlinkcolor" val="tx"/>
                    </a:ext>
                  </a:extLst>
                </a:hlinkClick>
              </a:rPr>
              <a:t>https://developer.sensirion.com/home/</a:t>
            </a:r>
            <a:r>
              <a:rPr lang="en-US" sz="3200">
                <a:solidFill>
                  <a:schemeClr val="accent1"/>
                </a:solidFill>
              </a:rPr>
              <a:t> </a:t>
            </a:r>
            <a:br>
              <a:rPr lang="en-US" sz="3200"/>
            </a:br>
            <a:endParaRPr lang="en-US"/>
          </a:p>
        </p:txBody>
      </p:sp>
      <p:sp>
        <p:nvSpPr>
          <p:cNvPr id="4" name="Slide Number Placeholder 3">
            <a:extLst>
              <a:ext uri="{FF2B5EF4-FFF2-40B4-BE49-F238E27FC236}">
                <a16:creationId xmlns:a16="http://schemas.microsoft.com/office/drawing/2014/main" id="{A5C2E1E2-2387-9F32-C9BE-B7CB1F26DB67}"/>
              </a:ext>
            </a:extLst>
          </p:cNvPr>
          <p:cNvSpPr>
            <a:spLocks noGrp="1"/>
          </p:cNvSpPr>
          <p:nvPr>
            <p:ph type="sldNum" sz="quarter" idx="12"/>
          </p:nvPr>
        </p:nvSpPr>
        <p:spPr>
          <a:xfrm>
            <a:off x="11599863" y="6623293"/>
            <a:ext cx="466725" cy="234000"/>
          </a:xfrm>
          <a:prstGeom prst="rect">
            <a:avLst/>
          </a:prstGeom>
        </p:spPr>
        <p:txBody>
          <a:bodyPr vert="horz" lIns="0" tIns="0" rIns="0" bIns="0" rtlCol="0" anchor="t" anchorCtr="0">
            <a:normAutofit/>
          </a:bodyPr>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pPr>
              <a:spcAft>
                <a:spcPts val="600"/>
              </a:spcAft>
            </a:pPr>
            <a:fld id="{B82950B1-C7CF-425D-9A48-9AE722F4F236}" type="slidenum">
              <a:rPr lang="en-US" smtClean="0"/>
              <a:pPr>
                <a:spcAft>
                  <a:spcPts val="600"/>
                </a:spcAft>
              </a:pPr>
              <a:t>105</a:t>
            </a:fld>
            <a:endParaRPr lang="de-CH"/>
          </a:p>
        </p:txBody>
      </p:sp>
    </p:spTree>
    <p:custDataLst>
      <p:tags r:id="rId1"/>
    </p:custDataLst>
    <p:extLst>
      <p:ext uri="{BB962C8B-B14F-4D97-AF65-F5344CB8AC3E}">
        <p14:creationId xmlns:p14="http://schemas.microsoft.com/office/powerpoint/2010/main" val="1242227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4FCA7-6F5A-4269-856D-76147A1EF9AC}"/>
              </a:ext>
            </a:extLst>
          </p:cNvPr>
          <p:cNvSpPr>
            <a:spLocks noGrp="1"/>
          </p:cNvSpPr>
          <p:nvPr>
            <p:ph type="title"/>
          </p:nvPr>
        </p:nvSpPr>
        <p:spPr/>
        <p:txBody>
          <a:bodyPr/>
          <a:lstStyle/>
          <a:p>
            <a:r>
              <a:rPr lang="en-US"/>
              <a:t>Platform partners</a:t>
            </a:r>
          </a:p>
        </p:txBody>
      </p:sp>
      <p:sp>
        <p:nvSpPr>
          <p:cNvPr id="3" name="Content Placeholder 2">
            <a:extLst>
              <a:ext uri="{FF2B5EF4-FFF2-40B4-BE49-F238E27FC236}">
                <a16:creationId xmlns:a16="http://schemas.microsoft.com/office/drawing/2014/main" id="{F7CE2BD4-825A-BBE2-A805-7BD78D9A69EC}"/>
              </a:ext>
            </a:extLst>
          </p:cNvPr>
          <p:cNvSpPr>
            <a:spLocks noGrp="1"/>
          </p:cNvSpPr>
          <p:nvPr>
            <p:ph idx="1"/>
          </p:nvPr>
        </p:nvSpPr>
        <p:spPr>
          <a:xfrm>
            <a:off x="839788" y="908049"/>
            <a:ext cx="8986600" cy="5328000"/>
          </a:xfrm>
        </p:spPr>
        <p:txBody>
          <a:bodyPr/>
          <a:lstStyle/>
          <a:p>
            <a:r>
              <a:rPr lang="en-US"/>
              <a:t>Collaborations to ensure Sensirion Sensors work on partner platforms</a:t>
            </a:r>
          </a:p>
          <a:p>
            <a:endParaRPr lang="en-US" b="1"/>
          </a:p>
          <a:p>
            <a:r>
              <a:rPr lang="en-US" b="1"/>
              <a:t>Examples in this space (all work in progress!):</a:t>
            </a:r>
          </a:p>
          <a:p>
            <a:pPr marL="342900" indent="-342900">
              <a:buFont typeface="Wingdings" panose="05000000000000000000" pitchFamily="2" charset="2"/>
              <a:buChar char="§"/>
            </a:pPr>
            <a:r>
              <a:rPr lang="en-US"/>
              <a:t>Joint demonstrators</a:t>
            </a:r>
          </a:p>
          <a:p>
            <a:pPr marL="342900" indent="-342900">
              <a:buFont typeface="Wingdings" panose="05000000000000000000" pitchFamily="2" charset="2"/>
              <a:buChar char="§"/>
            </a:pPr>
            <a:r>
              <a:rPr lang="en-US"/>
              <a:t>Driver Support</a:t>
            </a:r>
          </a:p>
          <a:p>
            <a:pPr marL="342900" indent="-342900">
              <a:buFont typeface="Wingdings" panose="05000000000000000000" pitchFamily="2" charset="2"/>
              <a:buChar char="§"/>
            </a:pPr>
            <a:r>
              <a:rPr lang="en-US"/>
              <a:t>Product succession</a:t>
            </a:r>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p:txBody>
      </p:sp>
      <p:sp>
        <p:nvSpPr>
          <p:cNvPr id="4" name="Slide Number Placeholder 3">
            <a:extLst>
              <a:ext uri="{FF2B5EF4-FFF2-40B4-BE49-F238E27FC236}">
                <a16:creationId xmlns:a16="http://schemas.microsoft.com/office/drawing/2014/main" id="{F5060119-6246-F7A0-5CE0-D446CCBD0712}"/>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en-US" smtClean="0"/>
              <a:pPr/>
              <a:t>106</a:t>
            </a:fld>
            <a:endParaRPr lang="en-US"/>
          </a:p>
        </p:txBody>
      </p:sp>
      <p:sp>
        <p:nvSpPr>
          <p:cNvPr id="7" name="Rectangle 6">
            <a:extLst>
              <a:ext uri="{FF2B5EF4-FFF2-40B4-BE49-F238E27FC236}">
                <a16:creationId xmlns:a16="http://schemas.microsoft.com/office/drawing/2014/main" id="{B043A7E2-368E-AF4F-635F-C9DE3380E6EE}"/>
              </a:ext>
            </a:extLst>
          </p:cNvPr>
          <p:cNvSpPr/>
          <p:nvPr/>
        </p:nvSpPr>
        <p:spPr>
          <a:xfrm>
            <a:off x="527713" y="3611276"/>
            <a:ext cx="11136574" cy="19614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u-blox (@ublox) / Twitter">
            <a:extLst>
              <a:ext uri="{FF2B5EF4-FFF2-40B4-BE49-F238E27FC236}">
                <a16:creationId xmlns:a16="http://schemas.microsoft.com/office/drawing/2014/main" id="{AF74129F-6D68-D6EE-A95C-9BD8A8AD37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9124" y="3653030"/>
            <a:ext cx="1872019" cy="1872019"/>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Analog Devices Completes Acquisition of Maxim Integrated - Trinamic">
            <a:extLst>
              <a:ext uri="{FF2B5EF4-FFF2-40B4-BE49-F238E27FC236}">
                <a16:creationId xmlns:a16="http://schemas.microsoft.com/office/drawing/2014/main" id="{2C467772-A969-B465-38E4-BF239B2666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388" y="3611277"/>
            <a:ext cx="2451763" cy="19614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3A36A393-10A8-7568-76DB-D2DD19A2E73E}"/>
              </a:ext>
            </a:extLst>
          </p:cNvPr>
          <p:cNvPicPr>
            <a:picLocks noChangeAspect="1"/>
          </p:cNvPicPr>
          <p:nvPr/>
        </p:nvPicPr>
        <p:blipFill>
          <a:blip r:embed="rId5"/>
          <a:stretch>
            <a:fillRect/>
          </a:stretch>
        </p:blipFill>
        <p:spPr>
          <a:xfrm>
            <a:off x="8070107" y="4105641"/>
            <a:ext cx="2567006" cy="966795"/>
          </a:xfrm>
          <a:prstGeom prst="rect">
            <a:avLst/>
          </a:prstGeom>
        </p:spPr>
      </p:pic>
    </p:spTree>
    <p:extLst>
      <p:ext uri="{BB962C8B-B14F-4D97-AF65-F5344CB8AC3E}">
        <p14:creationId xmlns:p14="http://schemas.microsoft.com/office/powerpoint/2010/main" val="20602155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598C8-CB03-6275-30AA-0A7D66D69B74}"/>
              </a:ext>
            </a:extLst>
          </p:cNvPr>
          <p:cNvSpPr>
            <a:spLocks noGrp="1"/>
          </p:cNvSpPr>
          <p:nvPr>
            <p:ph type="title"/>
          </p:nvPr>
        </p:nvSpPr>
        <p:spPr/>
        <p:txBody>
          <a:bodyPr/>
          <a:lstStyle/>
          <a:p>
            <a:r>
              <a:rPr lang="en-US"/>
              <a:t>Ecosystem partners</a:t>
            </a:r>
          </a:p>
        </p:txBody>
      </p:sp>
      <p:sp>
        <p:nvSpPr>
          <p:cNvPr id="3" name="Content Placeholder 2">
            <a:extLst>
              <a:ext uri="{FF2B5EF4-FFF2-40B4-BE49-F238E27FC236}">
                <a16:creationId xmlns:a16="http://schemas.microsoft.com/office/drawing/2014/main" id="{99ABC869-C590-1049-BF98-EF9A37891241}"/>
              </a:ext>
            </a:extLst>
          </p:cNvPr>
          <p:cNvSpPr>
            <a:spLocks noGrp="1"/>
          </p:cNvSpPr>
          <p:nvPr>
            <p:ph idx="1"/>
          </p:nvPr>
        </p:nvSpPr>
        <p:spPr/>
        <p:txBody>
          <a:bodyPr/>
          <a:lstStyle/>
          <a:p>
            <a:r>
              <a:rPr lang="en-US"/>
              <a:t>Collaborations to create developer hardware with Sensirion Sensors</a:t>
            </a:r>
          </a:p>
          <a:p>
            <a:endParaRPr lang="en-US"/>
          </a:p>
        </p:txBody>
      </p:sp>
      <p:sp>
        <p:nvSpPr>
          <p:cNvPr id="4" name="Slide Number Placeholder 3">
            <a:extLst>
              <a:ext uri="{FF2B5EF4-FFF2-40B4-BE49-F238E27FC236}">
                <a16:creationId xmlns:a16="http://schemas.microsoft.com/office/drawing/2014/main" id="{249BEFB1-F8E8-76C3-0A00-D1FE32449A53}"/>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en-US" smtClean="0"/>
              <a:pPr/>
              <a:t>107</a:t>
            </a:fld>
            <a:endParaRPr lang="en-US"/>
          </a:p>
        </p:txBody>
      </p:sp>
      <p:grpSp>
        <p:nvGrpSpPr>
          <p:cNvPr id="11" name="Group 10">
            <a:extLst>
              <a:ext uri="{FF2B5EF4-FFF2-40B4-BE49-F238E27FC236}">
                <a16:creationId xmlns:a16="http://schemas.microsoft.com/office/drawing/2014/main" id="{F9DBCB65-2410-5B68-AB87-8C920711C994}"/>
              </a:ext>
            </a:extLst>
          </p:cNvPr>
          <p:cNvGrpSpPr/>
          <p:nvPr/>
        </p:nvGrpSpPr>
        <p:grpSpPr>
          <a:xfrm>
            <a:off x="527713" y="2055637"/>
            <a:ext cx="11136574" cy="3770980"/>
            <a:chOff x="655093" y="2055637"/>
            <a:chExt cx="11136574" cy="3770980"/>
          </a:xfrm>
        </p:grpSpPr>
        <p:sp>
          <p:nvSpPr>
            <p:cNvPr id="6" name="Rectangle 5">
              <a:extLst>
                <a:ext uri="{FF2B5EF4-FFF2-40B4-BE49-F238E27FC236}">
                  <a16:creationId xmlns:a16="http://schemas.microsoft.com/office/drawing/2014/main" id="{13C90C72-93B6-61DE-6BFC-ABEF9947720A}"/>
                </a:ext>
              </a:extLst>
            </p:cNvPr>
            <p:cNvSpPr/>
            <p:nvPr/>
          </p:nvSpPr>
          <p:spPr>
            <a:xfrm>
              <a:off x="655093" y="2055637"/>
              <a:ext cx="11136574" cy="37709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18" name="Picture 2" descr="Graphics Downloads - SparkFun Electronics">
              <a:extLst>
                <a:ext uri="{FF2B5EF4-FFF2-40B4-BE49-F238E27FC236}">
                  <a16:creationId xmlns:a16="http://schemas.microsoft.com/office/drawing/2014/main" id="{1DC9D06B-A3D3-C243-1DE6-7C686DC5E4A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613" t="19005" r="10468" b="24080"/>
            <a:stretch/>
          </p:blipFill>
          <p:spPr bwMode="auto">
            <a:xfrm>
              <a:off x="875896" y="4229977"/>
              <a:ext cx="2781418" cy="125372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27AED5AE-2482-59B3-0FEB-ABAE0E5124C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94478" y="4596017"/>
              <a:ext cx="1931098" cy="659289"/>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a:extLst>
                <a:ext uri="{FF2B5EF4-FFF2-40B4-BE49-F238E27FC236}">
                  <a16:creationId xmlns:a16="http://schemas.microsoft.com/office/drawing/2014/main" id="{35BC76A7-95C8-E7D0-F409-19F3B350A9A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57314" y="4856837"/>
              <a:ext cx="2695206" cy="596314"/>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SEEED STUDIO | Electronic components. Distributor, online shop – Transfer  Multisort Elektronik">
              <a:extLst>
                <a:ext uri="{FF2B5EF4-FFF2-40B4-BE49-F238E27FC236}">
                  <a16:creationId xmlns:a16="http://schemas.microsoft.com/office/drawing/2014/main" id="{8523670A-D9ED-1239-3CC7-62D13A63F06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65029" y="4792567"/>
              <a:ext cx="2111010" cy="520331"/>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Grove CO2 &amp; Temperature &amp; Humidity Sensor SCD4 - Seeed Wiki">
              <a:extLst>
                <a:ext uri="{FF2B5EF4-FFF2-40B4-BE49-F238E27FC236}">
                  <a16:creationId xmlns:a16="http://schemas.microsoft.com/office/drawing/2014/main" id="{C1FE53CF-11CC-771D-2C9F-3FCE7D921A6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61547" y="2174282"/>
              <a:ext cx="2338316" cy="1753737"/>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CO₂ Humidity and Temperature Sensor - SCD40 (Qwiic) - SPX-18365 - SparkFun  Electronics">
              <a:extLst>
                <a:ext uri="{FF2B5EF4-FFF2-40B4-BE49-F238E27FC236}">
                  <a16:creationId xmlns:a16="http://schemas.microsoft.com/office/drawing/2014/main" id="{C3153852-4239-4E1E-3AB7-933ABD574B6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8979" y="2243974"/>
              <a:ext cx="1926680" cy="1926680"/>
            </a:xfrm>
            <a:prstGeom prst="rect">
              <a:avLst/>
            </a:prstGeom>
            <a:noFill/>
            <a:extLst>
              <a:ext uri="{909E8E84-426E-40DD-AFC4-6F175D3DCCD1}">
                <a14:hiddenFill xmlns:a14="http://schemas.microsoft.com/office/drawing/2010/main">
                  <a:solidFill>
                    <a:srgbClr val="FFFFFF"/>
                  </a:solidFill>
                </a14:hiddenFill>
              </a:ext>
            </a:extLst>
          </p:spPr>
        </p:pic>
        <p:pic>
          <p:nvPicPr>
            <p:cNvPr id="9230" name="Picture 14" descr="HVAC Click | Blog">
              <a:extLst>
                <a:ext uri="{FF2B5EF4-FFF2-40B4-BE49-F238E27FC236}">
                  <a16:creationId xmlns:a16="http://schemas.microsoft.com/office/drawing/2014/main" id="{63867338-B1E7-0063-4246-1A137802C24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7743" t="26716" r="27931" b="5224"/>
            <a:stretch/>
          </p:blipFill>
          <p:spPr bwMode="auto">
            <a:xfrm>
              <a:off x="4236065" y="2217941"/>
              <a:ext cx="1537704" cy="2361064"/>
            </a:xfrm>
            <a:prstGeom prst="rect">
              <a:avLst/>
            </a:prstGeom>
            <a:noFill/>
            <a:extLst>
              <a:ext uri="{909E8E84-426E-40DD-AFC4-6F175D3DCCD1}">
                <a14:hiddenFill xmlns:a14="http://schemas.microsoft.com/office/drawing/2010/main">
                  <a:solidFill>
                    <a:srgbClr val="FFFFFF"/>
                  </a:solidFill>
                </a14:hiddenFill>
              </a:ext>
            </a:extLst>
          </p:spPr>
        </p:pic>
        <p:pic>
          <p:nvPicPr>
            <p:cNvPr id="9232" name="Picture 16" descr="5187">
              <a:extLst>
                <a:ext uri="{FF2B5EF4-FFF2-40B4-BE49-F238E27FC236}">
                  <a16:creationId xmlns:a16="http://schemas.microsoft.com/office/drawing/2014/main" id="{B7ACDB8D-9499-95F3-C11F-0A4078DA0D0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17140" y="2429318"/>
              <a:ext cx="1762836" cy="176283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5432774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0BDEB-8210-4F8F-1733-320B2899CDB9}"/>
              </a:ext>
            </a:extLst>
          </p:cNvPr>
          <p:cNvSpPr>
            <a:spLocks noGrp="1"/>
          </p:cNvSpPr>
          <p:nvPr>
            <p:ph type="title"/>
          </p:nvPr>
        </p:nvSpPr>
        <p:spPr/>
        <p:txBody>
          <a:bodyPr/>
          <a:lstStyle/>
          <a:p>
            <a:r>
              <a:rPr lang="en-US"/>
              <a:t>Standard platform support</a:t>
            </a:r>
          </a:p>
        </p:txBody>
      </p:sp>
      <p:sp>
        <p:nvSpPr>
          <p:cNvPr id="3" name="Content Placeholder 2">
            <a:extLst>
              <a:ext uri="{FF2B5EF4-FFF2-40B4-BE49-F238E27FC236}">
                <a16:creationId xmlns:a16="http://schemas.microsoft.com/office/drawing/2014/main" id="{030D1417-CB33-6185-DE0A-B0F0625EE9AB}"/>
              </a:ext>
            </a:extLst>
          </p:cNvPr>
          <p:cNvSpPr>
            <a:spLocks noGrp="1"/>
          </p:cNvSpPr>
          <p:nvPr>
            <p:ph idx="1"/>
          </p:nvPr>
        </p:nvSpPr>
        <p:spPr/>
        <p:txBody>
          <a:bodyPr/>
          <a:lstStyle/>
          <a:p>
            <a:r>
              <a:rPr lang="en-US"/>
              <a:t>Beyond the partnerships, we are also providing free, open-source drivers for the common embedded architectures and popular programming languages, along with easy-to-port generic drivers that allow engineers to enable new hardware in a few hours</a:t>
            </a:r>
          </a:p>
        </p:txBody>
      </p:sp>
      <p:sp>
        <p:nvSpPr>
          <p:cNvPr id="4" name="Slide Number Placeholder 3">
            <a:extLst>
              <a:ext uri="{FF2B5EF4-FFF2-40B4-BE49-F238E27FC236}">
                <a16:creationId xmlns:a16="http://schemas.microsoft.com/office/drawing/2014/main" id="{5B8C15C1-014A-D90B-2F21-F2FDF5095315}"/>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en-US" smtClean="0"/>
              <a:pPr/>
              <a:t>108</a:t>
            </a:fld>
            <a:endParaRPr lang="en-US"/>
          </a:p>
        </p:txBody>
      </p:sp>
      <p:grpSp>
        <p:nvGrpSpPr>
          <p:cNvPr id="13" name="Group 12">
            <a:extLst>
              <a:ext uri="{FF2B5EF4-FFF2-40B4-BE49-F238E27FC236}">
                <a16:creationId xmlns:a16="http://schemas.microsoft.com/office/drawing/2014/main" id="{2F4EAE76-8D5C-DC9B-D6A4-C680E04945B3}"/>
              </a:ext>
            </a:extLst>
          </p:cNvPr>
          <p:cNvGrpSpPr/>
          <p:nvPr/>
        </p:nvGrpSpPr>
        <p:grpSpPr>
          <a:xfrm>
            <a:off x="510441" y="3611276"/>
            <a:ext cx="11411495" cy="1961411"/>
            <a:chOff x="655093" y="3611276"/>
            <a:chExt cx="11411495" cy="1961411"/>
          </a:xfrm>
        </p:grpSpPr>
        <p:sp>
          <p:nvSpPr>
            <p:cNvPr id="6" name="Rectangle 5">
              <a:extLst>
                <a:ext uri="{FF2B5EF4-FFF2-40B4-BE49-F238E27FC236}">
                  <a16:creationId xmlns:a16="http://schemas.microsoft.com/office/drawing/2014/main" id="{EC36BD04-EDEA-FF32-6C15-28119C15F480}"/>
                </a:ext>
              </a:extLst>
            </p:cNvPr>
            <p:cNvSpPr/>
            <p:nvPr/>
          </p:nvSpPr>
          <p:spPr>
            <a:xfrm>
              <a:off x="655093" y="3611276"/>
              <a:ext cx="11136574" cy="19614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42" name="Picture 2" descr="upload.wikimedia.org/wikipedia/commons/thumb/8/...">
              <a:extLst>
                <a:ext uri="{FF2B5EF4-FFF2-40B4-BE49-F238E27FC236}">
                  <a16:creationId xmlns:a16="http://schemas.microsoft.com/office/drawing/2014/main" id="{4AC6A530-D381-CAA9-93FC-5D08B1B315C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62502" y="4162923"/>
              <a:ext cx="1530824" cy="1041977"/>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ESA - Raspberry Pi logo">
              <a:extLst>
                <a:ext uri="{FF2B5EF4-FFF2-40B4-BE49-F238E27FC236}">
                  <a16:creationId xmlns:a16="http://schemas.microsoft.com/office/drawing/2014/main" id="{F28F7F00-C92F-7713-550F-4EC7B8886F6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76282" y="3960509"/>
              <a:ext cx="1166315" cy="129590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98AFA01-D1D9-2388-F460-B45F26C9072E}"/>
                </a:ext>
              </a:extLst>
            </p:cNvPr>
            <p:cNvPicPr>
              <a:picLocks noChangeAspect="1"/>
            </p:cNvPicPr>
            <p:nvPr/>
          </p:nvPicPr>
          <p:blipFill>
            <a:blip r:embed="rId5"/>
            <a:stretch>
              <a:fillRect/>
            </a:stretch>
          </p:blipFill>
          <p:spPr>
            <a:xfrm>
              <a:off x="5781541" y="4933950"/>
              <a:ext cx="1033470" cy="623892"/>
            </a:xfrm>
            <a:prstGeom prst="rect">
              <a:avLst/>
            </a:prstGeom>
          </p:spPr>
        </p:pic>
        <p:pic>
          <p:nvPicPr>
            <p:cNvPr id="10246" name="Picture 6" descr="Linux - Wikipedia">
              <a:extLst>
                <a:ext uri="{FF2B5EF4-FFF2-40B4-BE49-F238E27FC236}">
                  <a16:creationId xmlns:a16="http://schemas.microsoft.com/office/drawing/2014/main" id="{8C2D3F76-AF72-634E-B8AA-7C10CDC82AA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56053" y="3747631"/>
              <a:ext cx="1052135" cy="1246218"/>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C++ - Wikipedia">
              <a:extLst>
                <a:ext uri="{FF2B5EF4-FFF2-40B4-BE49-F238E27FC236}">
                  <a16:creationId xmlns:a16="http://schemas.microsoft.com/office/drawing/2014/main" id="{A70CFB1A-7BDE-2146-0D79-F59BF5AC60D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52046" y="3747631"/>
              <a:ext cx="1424743" cy="1601585"/>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Why We Chose Python Programming - Prgramly">
              <a:extLst>
                <a:ext uri="{FF2B5EF4-FFF2-40B4-BE49-F238E27FC236}">
                  <a16:creationId xmlns:a16="http://schemas.microsoft.com/office/drawing/2014/main" id="{6B8FAA55-253B-A387-E227-9536A375931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196008" y="3801111"/>
              <a:ext cx="2870580" cy="16147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1728366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188A35-FD82-C5B8-6D78-A7971BE02095}"/>
              </a:ext>
            </a:extLst>
          </p:cNvPr>
          <p:cNvSpPr>
            <a:spLocks noGrp="1"/>
          </p:cNvSpPr>
          <p:nvPr>
            <p:ph type="body" sz="quarter" idx="10"/>
          </p:nvPr>
        </p:nvSpPr>
        <p:spPr/>
        <p:txBody>
          <a:bodyPr/>
          <a:lstStyle/>
          <a:p>
            <a:r>
              <a:rPr lang="en-US">
                <a:effectLst/>
                <a:latin typeface="Arial" panose="020B0604020202020204" pitchFamily="34" charset="0"/>
                <a:ea typeface="DengXian" panose="02010600030101010101" pitchFamily="2" charset="-122"/>
              </a:rPr>
              <a:t>ST HTS221 has been set to NRND and Sensirion SHT4x is listed as </a:t>
            </a:r>
            <a:r>
              <a:rPr lang="en-US">
                <a:latin typeface="Arial" panose="020B0604020202020204" pitchFamily="34" charset="0"/>
                <a:ea typeface="DengXian" panose="02010600030101010101" pitchFamily="2" charset="-122"/>
              </a:rPr>
              <a:t>recommended replacement</a:t>
            </a:r>
          </a:p>
          <a:p>
            <a:pPr marL="285750" indent="-285750">
              <a:buFont typeface="Arial" panose="020B0604020202020204" pitchFamily="34" charset="0"/>
              <a:buChar char="•"/>
            </a:pPr>
            <a:endParaRPr lang="en-US" sz="1800" u="none" strike="noStrike">
              <a:solidFill>
                <a:srgbClr val="0563C1"/>
              </a:solidFill>
              <a:effectLst/>
              <a:latin typeface="Arial" panose="020B0604020202020204" pitchFamily="34" charset="0"/>
              <a:ea typeface="DengXian" panose="02010600030101010101" pitchFamily="2" charset="-122"/>
              <a:hlinkClick r:id="" action="ppaction://noaction"/>
            </a:endParaRPr>
          </a:p>
          <a:p>
            <a:pPr marL="285750" indent="-285750">
              <a:buFont typeface="Arial" panose="020B0604020202020204" pitchFamily="34" charset="0"/>
              <a:buChar char="•"/>
            </a:pPr>
            <a:r>
              <a:rPr lang="en-US" sz="1800" u="none" strike="noStrike">
                <a:solidFill>
                  <a:srgbClr val="0563C1"/>
                </a:solidFill>
                <a:effectLst/>
                <a:latin typeface="Arial" panose="020B0604020202020204" pitchFamily="34" charset="0"/>
                <a:ea typeface="DengXian" panose="02010600030101010101" pitchFamily="2" charset="-122"/>
                <a:hlinkClick r:id="" action="ppaction://noaction"/>
              </a:rPr>
              <a:t>Transition guide is posted up on their website</a:t>
            </a:r>
            <a:r>
              <a:rPr lang="en-US" sz="1800">
                <a:effectLst/>
                <a:latin typeface="Arial" panose="020B0604020202020204" pitchFamily="34" charset="0"/>
                <a:ea typeface="DengXian" panose="02010600030101010101" pitchFamily="2" charset="-122"/>
              </a:rPr>
              <a:t> </a:t>
            </a:r>
            <a:r>
              <a:rPr lang="en-US" sz="1800" u="none" strike="noStrike">
                <a:solidFill>
                  <a:srgbClr val="0563C1"/>
                </a:solidFill>
                <a:effectLst/>
                <a:latin typeface="Arial" panose="020B0604020202020204" pitchFamily="34" charset="0"/>
                <a:ea typeface="DengXian" panose="02010600030101010101" pitchFamily="2" charset="-122"/>
                <a:hlinkClick r:id="rId2"/>
              </a:rPr>
              <a:t>TN1426 Transition guide for HTS221 to SHT4x</a:t>
            </a:r>
            <a:r>
              <a:rPr lang="en-US" sz="1800">
                <a:effectLst/>
                <a:latin typeface="Arial" panose="020B0604020202020204" pitchFamily="34" charset="0"/>
                <a:ea typeface="DengXian" panose="02010600030101010101" pitchFamily="2" charset="-122"/>
              </a:rPr>
              <a:t>.  </a:t>
            </a:r>
          </a:p>
          <a:p>
            <a:pPr marL="285750" indent="-285750">
              <a:buFont typeface="Arial" panose="020B0604020202020204" pitchFamily="34" charset="0"/>
              <a:buChar char="•"/>
            </a:pPr>
            <a:r>
              <a:rPr lang="en-US" sz="1800">
                <a:latin typeface="Arial" panose="020B0604020202020204" pitchFamily="34" charset="0"/>
                <a:ea typeface="DengXian" panose="02010600030101010101" pitchFamily="2" charset="-122"/>
              </a:rPr>
              <a:t>Distribution has been notified : Please work</a:t>
            </a:r>
            <a:r>
              <a:rPr lang="en-US" sz="1800">
                <a:effectLst/>
                <a:latin typeface="Arial" panose="020B0604020202020204" pitchFamily="34" charset="0"/>
                <a:ea typeface="DengXian" panose="02010600030101010101" pitchFamily="2" charset="-122"/>
              </a:rPr>
              <a:t> with your  </a:t>
            </a:r>
            <a:r>
              <a:rPr lang="en-US" sz="1800" err="1">
                <a:effectLst/>
                <a:latin typeface="Arial" panose="020B0604020202020204" pitchFamily="34" charset="0"/>
                <a:ea typeface="DengXian" panose="02010600030101010101" pitchFamily="2" charset="-122"/>
              </a:rPr>
              <a:t>disti</a:t>
            </a:r>
            <a:r>
              <a:rPr lang="en-US" sz="1800">
                <a:effectLst/>
                <a:latin typeface="Arial" panose="020B0604020202020204" pitchFamily="34" charset="0"/>
                <a:ea typeface="DengXian" panose="02010600030101010101" pitchFamily="2" charset="-122"/>
              </a:rPr>
              <a:t> contacts to collaborate on potential opportunities</a:t>
            </a:r>
          </a:p>
          <a:p>
            <a:pPr marL="285750" indent="-285750">
              <a:buFont typeface="Arial" panose="020B0604020202020204" pitchFamily="34" charset="0"/>
              <a:buChar char="•"/>
            </a:pPr>
            <a:r>
              <a:rPr lang="en-US" sz="1800">
                <a:effectLst/>
                <a:latin typeface="Arial" panose="020B0604020202020204" pitchFamily="34" charset="0"/>
                <a:ea typeface="DengXian" panose="02010600030101010101" pitchFamily="2" charset="-122"/>
              </a:rPr>
              <a:t>Sensirion is working with ST on a registration program to identify projects that can be worked together across product lines (details coming soon) </a:t>
            </a:r>
          </a:p>
          <a:p>
            <a:pPr marL="285750" indent="-285750">
              <a:buFont typeface="Arial" panose="020B0604020202020204" pitchFamily="34" charset="0"/>
              <a:buChar char="•"/>
            </a:pPr>
            <a:r>
              <a:rPr lang="en-US" sz="1800">
                <a:latin typeface="Arial" panose="020B0604020202020204" pitchFamily="34" charset="0"/>
                <a:ea typeface="DengXian" panose="02010600030101010101" pitchFamily="2" charset="-122"/>
              </a:rPr>
              <a:t>Sensirion </a:t>
            </a:r>
            <a:r>
              <a:rPr lang="en-US" sz="1800">
                <a:effectLst/>
                <a:latin typeface="Arial" panose="020B0604020202020204" pitchFamily="34" charset="0"/>
                <a:ea typeface="DengXian" panose="02010600030101010101" pitchFamily="2" charset="-122"/>
              </a:rPr>
              <a:t>will provide the official press release when it is issued.  </a:t>
            </a:r>
          </a:p>
          <a:p>
            <a:pPr marL="285750" indent="-285750">
              <a:buFont typeface="Arial" panose="020B0604020202020204" pitchFamily="34" charset="0"/>
              <a:buChar char="•"/>
            </a:pPr>
            <a:endParaRPr lang="en-US" sz="1800">
              <a:latin typeface="Arial" panose="020B0604020202020204" pitchFamily="34" charset="0"/>
              <a:ea typeface="DengXian" panose="02010600030101010101" pitchFamily="2" charset="-122"/>
            </a:endParaRPr>
          </a:p>
          <a:p>
            <a:pPr marL="285750" indent="-285750">
              <a:buFont typeface="Arial" panose="020B0604020202020204" pitchFamily="34" charset="0"/>
              <a:buChar char="•"/>
            </a:pPr>
            <a:endParaRPr lang="en-US" sz="1800">
              <a:effectLst/>
              <a:latin typeface="Calibri" panose="020F0502020204030204" pitchFamily="34" charset="0"/>
              <a:ea typeface="DengXian" panose="02010600030101010101" pitchFamily="2" charset="-122"/>
            </a:endParaRPr>
          </a:p>
          <a:p>
            <a:endParaRPr lang="en-US"/>
          </a:p>
        </p:txBody>
      </p:sp>
      <p:sp>
        <p:nvSpPr>
          <p:cNvPr id="3" name="Picture Placeholder 2">
            <a:extLst>
              <a:ext uri="{FF2B5EF4-FFF2-40B4-BE49-F238E27FC236}">
                <a16:creationId xmlns:a16="http://schemas.microsoft.com/office/drawing/2014/main" id="{B5E26716-A70E-CF7E-44F2-5E074365BD3D}"/>
              </a:ext>
            </a:extLst>
          </p:cNvPr>
          <p:cNvSpPr>
            <a:spLocks noGrp="1"/>
          </p:cNvSpPr>
          <p:nvPr>
            <p:ph type="pic" sz="quarter" idx="11"/>
          </p:nvPr>
        </p:nvSpPr>
        <p:spPr/>
      </p:sp>
      <p:sp>
        <p:nvSpPr>
          <p:cNvPr id="4" name="Title 3">
            <a:extLst>
              <a:ext uri="{FF2B5EF4-FFF2-40B4-BE49-F238E27FC236}">
                <a16:creationId xmlns:a16="http://schemas.microsoft.com/office/drawing/2014/main" id="{B72048FB-313F-FEE9-011C-37D49A4F596D}"/>
              </a:ext>
            </a:extLst>
          </p:cNvPr>
          <p:cNvSpPr>
            <a:spLocks noGrp="1"/>
          </p:cNvSpPr>
          <p:nvPr>
            <p:ph type="title"/>
          </p:nvPr>
        </p:nvSpPr>
        <p:spPr/>
        <p:txBody>
          <a:bodyPr/>
          <a:lstStyle/>
          <a:p>
            <a:r>
              <a:rPr lang="en-US">
                <a:latin typeface="Arial Narrow"/>
              </a:rPr>
              <a:t>ST Micro Partnership</a:t>
            </a:r>
            <a:endParaRPr lang="en-US"/>
          </a:p>
        </p:txBody>
      </p:sp>
      <p:sp>
        <p:nvSpPr>
          <p:cNvPr id="5" name="Slide Number Placeholder 4">
            <a:extLst>
              <a:ext uri="{FF2B5EF4-FFF2-40B4-BE49-F238E27FC236}">
                <a16:creationId xmlns:a16="http://schemas.microsoft.com/office/drawing/2014/main" id="{0809E01F-E7CB-6E27-8F1A-B352471EB7E5}"/>
              </a:ext>
            </a:extLst>
          </p:cNvPr>
          <p:cNvSpPr>
            <a:spLocks noGrp="1"/>
          </p:cNvSpPr>
          <p:nvPr>
            <p:ph type="sldNum" sz="quarter" idx="12"/>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09</a:t>
            </a:fld>
            <a:endParaRPr lang="de-CH"/>
          </a:p>
        </p:txBody>
      </p:sp>
      <p:pic>
        <p:nvPicPr>
          <p:cNvPr id="9" name="Picture 8">
            <a:extLst>
              <a:ext uri="{FF2B5EF4-FFF2-40B4-BE49-F238E27FC236}">
                <a16:creationId xmlns:a16="http://schemas.microsoft.com/office/drawing/2014/main" id="{C89811C9-9705-D425-20E3-FB43BE7CBB05}"/>
              </a:ext>
            </a:extLst>
          </p:cNvPr>
          <p:cNvPicPr>
            <a:picLocks noChangeAspect="1"/>
          </p:cNvPicPr>
          <p:nvPr/>
        </p:nvPicPr>
        <p:blipFill>
          <a:blip r:embed="rId3"/>
          <a:stretch>
            <a:fillRect/>
          </a:stretch>
        </p:blipFill>
        <p:spPr>
          <a:xfrm>
            <a:off x="6226588" y="3572050"/>
            <a:ext cx="5323338" cy="2821858"/>
          </a:xfrm>
          <a:prstGeom prst="rect">
            <a:avLst/>
          </a:prstGeom>
        </p:spPr>
      </p:pic>
      <p:pic>
        <p:nvPicPr>
          <p:cNvPr id="11" name="Picture 10">
            <a:extLst>
              <a:ext uri="{FF2B5EF4-FFF2-40B4-BE49-F238E27FC236}">
                <a16:creationId xmlns:a16="http://schemas.microsoft.com/office/drawing/2014/main" id="{42EF41DD-CDBA-94B1-1AA8-9DEDCE802738}"/>
              </a:ext>
            </a:extLst>
          </p:cNvPr>
          <p:cNvPicPr>
            <a:picLocks noChangeAspect="1"/>
          </p:cNvPicPr>
          <p:nvPr/>
        </p:nvPicPr>
        <p:blipFill>
          <a:blip r:embed="rId4"/>
          <a:stretch>
            <a:fillRect/>
          </a:stretch>
        </p:blipFill>
        <p:spPr>
          <a:xfrm>
            <a:off x="6320902" y="487658"/>
            <a:ext cx="5229024" cy="3147787"/>
          </a:xfrm>
          <a:prstGeom prst="rect">
            <a:avLst/>
          </a:prstGeom>
        </p:spPr>
      </p:pic>
    </p:spTree>
    <p:extLst>
      <p:ext uri="{BB962C8B-B14F-4D97-AF65-F5344CB8AC3E}">
        <p14:creationId xmlns:p14="http://schemas.microsoft.com/office/powerpoint/2010/main" val="4226275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Product Updates</a:t>
            </a:r>
          </a:p>
        </p:txBody>
      </p:sp>
    </p:spTree>
    <p:extLst>
      <p:ext uri="{BB962C8B-B14F-4D97-AF65-F5344CB8AC3E}">
        <p14:creationId xmlns:p14="http://schemas.microsoft.com/office/powerpoint/2010/main" val="99978969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Success Stories</a:t>
            </a:r>
          </a:p>
        </p:txBody>
      </p:sp>
    </p:spTree>
    <p:extLst>
      <p:ext uri="{BB962C8B-B14F-4D97-AF65-F5344CB8AC3E}">
        <p14:creationId xmlns:p14="http://schemas.microsoft.com/office/powerpoint/2010/main" val="35318357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39787" y="789403"/>
            <a:ext cx="5364089" cy="5322889"/>
          </a:xfrm>
        </p:spPr>
        <p:txBody>
          <a:bodyPr/>
          <a:lstStyle/>
          <a:p>
            <a:pPr marL="342900" indent="-342900">
              <a:buFont typeface="Wingdings" panose="05000000000000000000" pitchFamily="2" charset="2"/>
              <a:buChar char="§"/>
            </a:pPr>
            <a:r>
              <a:rPr lang="en-US" sz="1800"/>
              <a:t>Who: </a:t>
            </a:r>
            <a:r>
              <a:rPr lang="en-US" sz="1800">
                <a:solidFill>
                  <a:srgbClr val="EB871E"/>
                </a:solidFill>
              </a:rPr>
              <a:t>Arrow</a:t>
            </a:r>
          </a:p>
          <a:p>
            <a:r>
              <a:rPr lang="en-US" sz="1800">
                <a:solidFill>
                  <a:srgbClr val="EB871E"/>
                </a:solidFill>
              </a:rPr>
              <a:t>	FAE: Adam Kiburz</a:t>
            </a:r>
          </a:p>
          <a:p>
            <a:r>
              <a:rPr lang="en-US" sz="1800">
                <a:solidFill>
                  <a:srgbClr val="EB871E"/>
                </a:solidFill>
              </a:rPr>
              <a:t>	ADR / Sales Person: Courtney Slattery</a:t>
            </a:r>
          </a:p>
          <a:p>
            <a:r>
              <a:rPr lang="en-US" sz="1800">
                <a:solidFill>
                  <a:srgbClr val="EB871E"/>
                </a:solidFill>
              </a:rPr>
              <a:t>	Ben Heisel: Mel Foster Company</a:t>
            </a:r>
          </a:p>
          <a:p>
            <a:pPr marL="342900" indent="-342900">
              <a:buFont typeface="Wingdings" panose="05000000000000000000" pitchFamily="2" charset="2"/>
              <a:buChar char="§"/>
            </a:pPr>
            <a:r>
              <a:rPr lang="en-US" sz="1800" err="1"/>
              <a:t>Sensirion</a:t>
            </a:r>
            <a:r>
              <a:rPr lang="en-US" sz="1800"/>
              <a:t> Product of Interest: SDP36-500PA-TR</a:t>
            </a:r>
            <a:endParaRPr lang="en-US" sz="1800">
              <a:solidFill>
                <a:srgbClr val="EB871E"/>
              </a:solidFill>
            </a:endParaRPr>
          </a:p>
          <a:p>
            <a:pPr marL="342900" indent="-342900">
              <a:buFont typeface="Wingdings" panose="05000000000000000000" pitchFamily="2" charset="2"/>
              <a:buChar char="§"/>
            </a:pPr>
            <a:r>
              <a:rPr lang="en-US" sz="1800"/>
              <a:t>Use case: LI6800 – Portable Photosynthesis System</a:t>
            </a:r>
            <a:endParaRPr lang="en-US" sz="1800">
              <a:solidFill>
                <a:srgbClr val="EB871E"/>
              </a:solidFill>
            </a:endParaRPr>
          </a:p>
          <a:p>
            <a:pPr marL="342900" indent="-342900">
              <a:buFont typeface="Wingdings" panose="05000000000000000000" pitchFamily="2" charset="2"/>
              <a:buChar char="§"/>
            </a:pPr>
            <a:r>
              <a:rPr lang="en-US" sz="1800"/>
              <a:t>Competition: NXP – MPXV7025D</a:t>
            </a:r>
            <a:r>
              <a:rPr lang="en-US" sz="1800">
                <a:solidFill>
                  <a:srgbClr val="EB871E"/>
                </a:solidFill>
              </a:rPr>
              <a:t> </a:t>
            </a:r>
            <a:endParaRPr lang="en-US" sz="1800"/>
          </a:p>
          <a:p>
            <a:r>
              <a:rPr lang="en-US"/>
              <a:t>Situation (overview of project):</a:t>
            </a:r>
          </a:p>
          <a:p>
            <a:r>
              <a:rPr lang="en-US" sz="1200"/>
              <a:t>This is a portable mass flow sensor. T</a:t>
            </a:r>
            <a:r>
              <a:rPr lang="en-US" sz="1200" b="0" i="0">
                <a:solidFill>
                  <a:srgbClr val="293C44"/>
                </a:solidFill>
                <a:effectLst/>
                <a:latin typeface="Roboto" panose="02000000000000000000" pitchFamily="2" charset="0"/>
              </a:rPr>
              <a:t>he LI-6800 Portable Photosynthesis System simultaneously measures photosynthetic gas exchange and chlorophyll </a:t>
            </a:r>
            <a:r>
              <a:rPr lang="en-US" sz="1200" b="0" i="1">
                <a:solidFill>
                  <a:srgbClr val="293C44"/>
                </a:solidFill>
                <a:effectLst/>
                <a:latin typeface="Roboto" panose="02000000000000000000" pitchFamily="2" charset="0"/>
              </a:rPr>
              <a:t>a</a:t>
            </a:r>
            <a:r>
              <a:rPr lang="en-US" sz="1200" b="0" i="0">
                <a:solidFill>
                  <a:srgbClr val="293C44"/>
                </a:solidFill>
                <a:effectLst/>
                <a:latin typeface="Roboto" panose="02000000000000000000" pitchFamily="2" charset="0"/>
              </a:rPr>
              <a:t> fluorescence over the same area in plants and aquatic samples.  It is the global standard for photosynthetic gas exchange and chlorophyll </a:t>
            </a:r>
            <a:r>
              <a:rPr lang="en-US" sz="1200" b="0" i="1">
                <a:solidFill>
                  <a:srgbClr val="293C44"/>
                </a:solidFill>
                <a:effectLst/>
                <a:latin typeface="Roboto" panose="02000000000000000000" pitchFamily="2" charset="0"/>
              </a:rPr>
              <a:t>a</a:t>
            </a:r>
            <a:r>
              <a:rPr lang="en-US" sz="1200" b="0" i="0">
                <a:solidFill>
                  <a:srgbClr val="293C44"/>
                </a:solidFill>
                <a:effectLst/>
                <a:latin typeface="Roboto" panose="02000000000000000000" pitchFamily="2" charset="0"/>
              </a:rPr>
              <a:t> fluorescence measurements.</a:t>
            </a:r>
            <a:r>
              <a:rPr lang="en-US" sz="1200"/>
              <a:t> </a:t>
            </a:r>
          </a:p>
          <a:p>
            <a:r>
              <a:rPr lang="en-US"/>
              <a:t>Solution (why we won?):</a:t>
            </a:r>
          </a:p>
          <a:p>
            <a:r>
              <a:rPr lang="en-US" sz="1200">
                <a:latin typeface="Calibri" panose="020F0502020204030204" pitchFamily="34" charset="0"/>
                <a:ea typeface="Calibri" panose="020F0502020204030204" pitchFamily="34" charset="0"/>
              </a:rPr>
              <a:t>Lead design engineer David Franzen chose Sensirion because he was familiar with our products, our price was in range, and our lead time better than NXP. </a:t>
            </a:r>
            <a:r>
              <a:rPr lang="en-US" sz="1200"/>
              <a:t>they needed immediate parts for proto testing and were able to find at Digikey. The SDP36 was approved, and a volume order was placed with Arrow who we approved a registration for.  Local support was also a factor. </a:t>
            </a:r>
            <a:r>
              <a:rPr lang="en-US" sz="1200">
                <a:effectLst/>
                <a:latin typeface="Calibri" panose="020F0502020204030204" pitchFamily="34" charset="0"/>
                <a:ea typeface="Calibri" panose="020F0502020204030204" pitchFamily="34" charset="0"/>
              </a:rPr>
              <a:t> EAU 2500. Project lif</a:t>
            </a:r>
            <a:r>
              <a:rPr lang="en-US" sz="1200">
                <a:latin typeface="Calibri" panose="020F0502020204030204" pitchFamily="34" charset="0"/>
                <a:ea typeface="Calibri" panose="020F0502020204030204" pitchFamily="34" charset="0"/>
              </a:rPr>
              <a:t>e is 10+years.</a:t>
            </a:r>
            <a:endParaRPr lang="en-US" sz="1200">
              <a:effectLst/>
              <a:latin typeface="Calibri" panose="020F0502020204030204" pitchFamily="34" charset="0"/>
              <a:ea typeface="Calibri" panose="020F0502020204030204" pitchFamily="34" charset="0"/>
            </a:endParaRPr>
          </a:p>
          <a:p>
            <a:pPr marL="342900" indent="-342900">
              <a:buFont typeface="Wingdings" panose="05000000000000000000" pitchFamily="2" charset="2"/>
              <a:buChar char="§"/>
            </a:pPr>
            <a:endParaRPr lang="en-US"/>
          </a:p>
        </p:txBody>
      </p:sp>
      <p:sp>
        <p:nvSpPr>
          <p:cNvPr id="4" name="Title 3"/>
          <p:cNvSpPr>
            <a:spLocks noGrp="1"/>
          </p:cNvSpPr>
          <p:nvPr>
            <p:ph type="title"/>
          </p:nvPr>
        </p:nvSpPr>
        <p:spPr/>
        <p:txBody>
          <a:bodyPr/>
          <a:lstStyle/>
          <a:p>
            <a:r>
              <a:rPr lang="en-US"/>
              <a:t>LI-COR Biosciences Inc:  Lincoln, Nebraska</a:t>
            </a:r>
          </a:p>
        </p:txBody>
      </p:sp>
      <p:sp>
        <p:nvSpPr>
          <p:cNvPr id="3" name="TextBox 2"/>
          <p:cNvSpPr txBox="1"/>
          <p:nvPr/>
        </p:nvSpPr>
        <p:spPr>
          <a:xfrm>
            <a:off x="6887312" y="1150380"/>
            <a:ext cx="3576368" cy="400110"/>
          </a:xfrm>
          <a:prstGeom prst="rect">
            <a:avLst/>
          </a:prstGeom>
          <a:noFill/>
        </p:spPr>
        <p:txBody>
          <a:bodyPr wrap="square" rtlCol="0">
            <a:spAutoFit/>
          </a:bodyPr>
          <a:lstStyle/>
          <a:p>
            <a:pPr algn="ctr"/>
            <a:r>
              <a:rPr lang="en-US" b="1"/>
              <a:t>Customer Logo </a:t>
            </a:r>
          </a:p>
        </p:txBody>
      </p:sp>
      <p:sp>
        <p:nvSpPr>
          <p:cNvPr id="7" name="TextBox 6"/>
          <p:cNvSpPr txBox="1"/>
          <p:nvPr/>
        </p:nvSpPr>
        <p:spPr>
          <a:xfrm>
            <a:off x="7002296" y="4563142"/>
            <a:ext cx="3576368" cy="400110"/>
          </a:xfrm>
          <a:prstGeom prst="rect">
            <a:avLst/>
          </a:prstGeom>
          <a:noFill/>
        </p:spPr>
        <p:txBody>
          <a:bodyPr wrap="square" rtlCol="0">
            <a:spAutoFit/>
          </a:bodyPr>
          <a:lstStyle/>
          <a:p>
            <a:pPr algn="ctr"/>
            <a:r>
              <a:rPr lang="en-US" b="1"/>
              <a:t>Customer product </a:t>
            </a:r>
          </a:p>
        </p:txBody>
      </p:sp>
      <p:pic>
        <p:nvPicPr>
          <p:cNvPr id="5" name="Picture 4">
            <a:extLst>
              <a:ext uri="{FF2B5EF4-FFF2-40B4-BE49-F238E27FC236}">
                <a16:creationId xmlns:a16="http://schemas.microsoft.com/office/drawing/2014/main" id="{AC425DB8-8A28-705A-7EF1-29DF0D653846}"/>
              </a:ext>
            </a:extLst>
          </p:cNvPr>
          <p:cNvPicPr>
            <a:picLocks noChangeAspect="1"/>
          </p:cNvPicPr>
          <p:nvPr/>
        </p:nvPicPr>
        <p:blipFill>
          <a:blip r:embed="rId2"/>
          <a:stretch>
            <a:fillRect/>
          </a:stretch>
        </p:blipFill>
        <p:spPr>
          <a:xfrm>
            <a:off x="6750121" y="2478423"/>
            <a:ext cx="4726113" cy="3300345"/>
          </a:xfrm>
          <a:prstGeom prst="rect">
            <a:avLst/>
          </a:prstGeom>
        </p:spPr>
      </p:pic>
      <p:pic>
        <p:nvPicPr>
          <p:cNvPr id="6" name="Picture 5">
            <a:extLst>
              <a:ext uri="{FF2B5EF4-FFF2-40B4-BE49-F238E27FC236}">
                <a16:creationId xmlns:a16="http://schemas.microsoft.com/office/drawing/2014/main" id="{A600BABD-C35E-24A7-668F-2DAB87AADE2F}"/>
              </a:ext>
            </a:extLst>
          </p:cNvPr>
          <p:cNvPicPr>
            <a:picLocks noChangeAspect="1"/>
          </p:cNvPicPr>
          <p:nvPr/>
        </p:nvPicPr>
        <p:blipFill>
          <a:blip r:embed="rId3"/>
          <a:stretch>
            <a:fillRect/>
          </a:stretch>
        </p:blipFill>
        <p:spPr>
          <a:xfrm>
            <a:off x="7002296" y="789403"/>
            <a:ext cx="3810000" cy="752475"/>
          </a:xfrm>
          <a:prstGeom prst="rect">
            <a:avLst/>
          </a:prstGeom>
        </p:spPr>
      </p:pic>
    </p:spTree>
    <p:extLst>
      <p:ext uri="{BB962C8B-B14F-4D97-AF65-F5344CB8AC3E}">
        <p14:creationId xmlns:p14="http://schemas.microsoft.com/office/powerpoint/2010/main" val="282453637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39787" y="789403"/>
            <a:ext cx="5364089" cy="5322889"/>
          </a:xfrm>
        </p:spPr>
        <p:txBody>
          <a:bodyPr/>
          <a:lstStyle/>
          <a:p>
            <a:pPr marL="342900" indent="-342900">
              <a:buFont typeface="Wingdings" panose="05000000000000000000" pitchFamily="2" charset="2"/>
              <a:buChar char="§"/>
            </a:pPr>
            <a:r>
              <a:rPr lang="en-US" sz="1800"/>
              <a:t>Who:   </a:t>
            </a:r>
            <a:r>
              <a:rPr lang="en-US" sz="1800">
                <a:solidFill>
                  <a:srgbClr val="EB871E"/>
                </a:solidFill>
              </a:rPr>
              <a:t>Arrow</a:t>
            </a:r>
          </a:p>
          <a:p>
            <a:r>
              <a:rPr lang="en-US" sz="1800">
                <a:solidFill>
                  <a:srgbClr val="EB871E"/>
                </a:solidFill>
              </a:rPr>
              <a:t>	L2, Kris Bugbee</a:t>
            </a:r>
          </a:p>
          <a:p>
            <a:r>
              <a:rPr lang="en-US" sz="1800">
                <a:solidFill>
                  <a:srgbClr val="EB871E"/>
                </a:solidFill>
              </a:rPr>
              <a:t>	Sensirion Sales and FAE team</a:t>
            </a:r>
          </a:p>
          <a:p>
            <a:pPr marL="285750" indent="-285750">
              <a:buFont typeface="Wingdings" panose="05000000000000000000" pitchFamily="2" charset="2"/>
              <a:buChar char="§"/>
            </a:pPr>
            <a:r>
              <a:rPr lang="en-US" sz="1800"/>
              <a:t>Parts: SFA30, SCD42, SEN54, SHT41</a:t>
            </a:r>
            <a:endParaRPr lang="en-US" sz="1800">
              <a:solidFill>
                <a:srgbClr val="EB871E"/>
              </a:solidFill>
            </a:endParaRPr>
          </a:p>
          <a:p>
            <a:pPr marL="342900" indent="-342900">
              <a:buFont typeface="Wingdings" panose="05000000000000000000" pitchFamily="2" charset="2"/>
              <a:buChar char="§"/>
            </a:pPr>
            <a:r>
              <a:rPr lang="en-US" sz="1800"/>
              <a:t>Air Quality Monitor</a:t>
            </a:r>
            <a:endParaRPr lang="en-US" sz="1800">
              <a:solidFill>
                <a:srgbClr val="EB871E"/>
              </a:solidFill>
            </a:endParaRPr>
          </a:p>
          <a:p>
            <a:pPr marL="342900" indent="-342900">
              <a:buFont typeface="Wingdings" panose="05000000000000000000" pitchFamily="2" charset="2"/>
              <a:buChar char="§"/>
            </a:pPr>
            <a:r>
              <a:rPr lang="en-US" sz="1800"/>
              <a:t>Competition: </a:t>
            </a:r>
            <a:r>
              <a:rPr lang="en-US" sz="1800">
                <a:solidFill>
                  <a:srgbClr val="EF9F4B"/>
                </a:solidFill>
              </a:rPr>
              <a:t>Non</a:t>
            </a:r>
            <a:r>
              <a:rPr lang="en-US" sz="1800">
                <a:solidFill>
                  <a:srgbClr val="EB871E"/>
                </a:solidFill>
              </a:rPr>
              <a:t>e</a:t>
            </a:r>
            <a:endParaRPr lang="en-US" sz="1800"/>
          </a:p>
          <a:p>
            <a:r>
              <a:rPr lang="en-US"/>
              <a:t>They originally came in September of 2021 to design a low cost, average and high end AQM.  We now have Zephyr L, Zephyr M and Zephyr H with production start in May 2022.  Between the three products they are using all of the parts noted.</a:t>
            </a:r>
          </a:p>
          <a:p>
            <a:endParaRPr lang="en-US"/>
          </a:p>
          <a:p>
            <a:r>
              <a:rPr lang="en-US"/>
              <a:t>Design support, the right products and pricing within their budget won this family of 3 designs.</a:t>
            </a:r>
          </a:p>
          <a:p>
            <a:pPr marL="342900" indent="-342900">
              <a:buFont typeface="Wingdings" panose="05000000000000000000" pitchFamily="2" charset="2"/>
              <a:buChar char="§"/>
            </a:pPr>
            <a:endParaRPr lang="en-US"/>
          </a:p>
        </p:txBody>
      </p:sp>
      <p:sp>
        <p:nvSpPr>
          <p:cNvPr id="4" name="Title 3"/>
          <p:cNvSpPr>
            <a:spLocks noGrp="1"/>
          </p:cNvSpPr>
          <p:nvPr>
            <p:ph type="title"/>
          </p:nvPr>
        </p:nvSpPr>
        <p:spPr/>
        <p:txBody>
          <a:bodyPr/>
          <a:lstStyle/>
          <a:p>
            <a:r>
              <a:rPr lang="en-US" err="1"/>
              <a:t>Verkada</a:t>
            </a:r>
            <a:r>
              <a:rPr lang="en-US"/>
              <a:t>-San Mateo, CA</a:t>
            </a:r>
          </a:p>
        </p:txBody>
      </p:sp>
      <p:pic>
        <p:nvPicPr>
          <p:cNvPr id="6" name="Picture 5">
            <a:extLst>
              <a:ext uri="{FF2B5EF4-FFF2-40B4-BE49-F238E27FC236}">
                <a16:creationId xmlns:a16="http://schemas.microsoft.com/office/drawing/2014/main" id="{E73B4E3C-432E-19DF-6810-96CE6BB89324}"/>
              </a:ext>
            </a:extLst>
          </p:cNvPr>
          <p:cNvPicPr>
            <a:picLocks noChangeAspect="1"/>
          </p:cNvPicPr>
          <p:nvPr/>
        </p:nvPicPr>
        <p:blipFill>
          <a:blip r:embed="rId2"/>
          <a:stretch>
            <a:fillRect/>
          </a:stretch>
        </p:blipFill>
        <p:spPr>
          <a:xfrm>
            <a:off x="8023406" y="875734"/>
            <a:ext cx="2272610" cy="809271"/>
          </a:xfrm>
          <a:prstGeom prst="rect">
            <a:avLst/>
          </a:prstGeom>
        </p:spPr>
      </p:pic>
      <p:pic>
        <p:nvPicPr>
          <p:cNvPr id="9" name="Picture 8">
            <a:extLst>
              <a:ext uri="{FF2B5EF4-FFF2-40B4-BE49-F238E27FC236}">
                <a16:creationId xmlns:a16="http://schemas.microsoft.com/office/drawing/2014/main" id="{90D0CE2B-1832-575B-6574-93E6601585BC}"/>
              </a:ext>
            </a:extLst>
          </p:cNvPr>
          <p:cNvPicPr>
            <a:picLocks noChangeAspect="1"/>
          </p:cNvPicPr>
          <p:nvPr/>
        </p:nvPicPr>
        <p:blipFill>
          <a:blip r:embed="rId3"/>
          <a:stretch>
            <a:fillRect/>
          </a:stretch>
        </p:blipFill>
        <p:spPr>
          <a:xfrm>
            <a:off x="7327642" y="2145461"/>
            <a:ext cx="3664138" cy="3321221"/>
          </a:xfrm>
          <a:prstGeom prst="rect">
            <a:avLst/>
          </a:prstGeom>
        </p:spPr>
      </p:pic>
    </p:spTree>
    <p:extLst>
      <p:ext uri="{BB962C8B-B14F-4D97-AF65-F5344CB8AC3E}">
        <p14:creationId xmlns:p14="http://schemas.microsoft.com/office/powerpoint/2010/main" val="247340361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39788" y="789403"/>
            <a:ext cx="6699700" cy="5322889"/>
          </a:xfrm>
        </p:spPr>
        <p:txBody>
          <a:bodyPr/>
          <a:lstStyle/>
          <a:p>
            <a:pPr marL="342900" indent="-342900">
              <a:buFont typeface="Wingdings" panose="05000000000000000000" pitchFamily="2" charset="2"/>
              <a:buChar char="§"/>
            </a:pPr>
            <a:r>
              <a:rPr lang="en-US" sz="1800"/>
              <a:t>Who:  </a:t>
            </a:r>
            <a:r>
              <a:rPr lang="en-US" sz="1800">
                <a:solidFill>
                  <a:srgbClr val="EB871E"/>
                </a:solidFill>
              </a:rPr>
              <a:t>Arrow </a:t>
            </a:r>
          </a:p>
          <a:p>
            <a:r>
              <a:rPr lang="en-US" sz="1800">
                <a:solidFill>
                  <a:srgbClr val="EB871E"/>
                </a:solidFill>
              </a:rPr>
              <a:t>	FAE: Al Duarte</a:t>
            </a:r>
          </a:p>
          <a:p>
            <a:r>
              <a:rPr lang="en-US" sz="1800">
                <a:solidFill>
                  <a:srgbClr val="EB871E"/>
                </a:solidFill>
              </a:rPr>
              <a:t>	ADR / Sales Person: Jason Schouten</a:t>
            </a:r>
          </a:p>
          <a:p>
            <a:r>
              <a:rPr lang="en-US" sz="1800">
                <a:solidFill>
                  <a:srgbClr val="EB871E"/>
                </a:solidFill>
              </a:rPr>
              <a:t>	Your Rep Firm: Spectrum Marketing</a:t>
            </a:r>
          </a:p>
          <a:p>
            <a:pPr marL="342900" indent="-342900">
              <a:buFont typeface="Wingdings" panose="05000000000000000000" pitchFamily="2" charset="2"/>
              <a:buChar char="§"/>
            </a:pPr>
            <a:r>
              <a:rPr lang="en-US" sz="1800"/>
              <a:t>Sensirion Product of Interest: SPS30, SCD30, SGP40-D-R4, SHT40-AD1B-R2</a:t>
            </a:r>
            <a:endParaRPr lang="en-US" sz="1800">
              <a:solidFill>
                <a:srgbClr val="EB871E"/>
              </a:solidFill>
            </a:endParaRPr>
          </a:p>
          <a:p>
            <a:pPr marL="342900" indent="-342900">
              <a:buFont typeface="Wingdings" panose="05000000000000000000" pitchFamily="2" charset="2"/>
              <a:buChar char="§"/>
            </a:pPr>
            <a:r>
              <a:rPr lang="en-US" sz="1800"/>
              <a:t>Use case: </a:t>
            </a:r>
            <a:r>
              <a:rPr lang="en-US" sz="1800">
                <a:solidFill>
                  <a:srgbClr val="EB871E"/>
                </a:solidFill>
              </a:rPr>
              <a:t>Air Quality Sensor Module</a:t>
            </a:r>
          </a:p>
          <a:p>
            <a:pPr marL="342900" indent="-342900">
              <a:buFont typeface="Wingdings" panose="05000000000000000000" pitchFamily="2" charset="2"/>
              <a:buChar char="§"/>
            </a:pPr>
            <a:r>
              <a:rPr lang="en-US" sz="1800"/>
              <a:t>Competition: </a:t>
            </a:r>
            <a:r>
              <a:rPr lang="en-US" sz="1800">
                <a:solidFill>
                  <a:srgbClr val="EB871E"/>
                </a:solidFill>
              </a:rPr>
              <a:t>None</a:t>
            </a:r>
            <a:endParaRPr lang="en-US" sz="1800"/>
          </a:p>
          <a:p>
            <a:r>
              <a:rPr lang="en-US"/>
              <a:t>Situation (overview of project): </a:t>
            </a:r>
            <a:r>
              <a:rPr lang="en-US" b="1"/>
              <a:t>$250K Initial Annual Value / 200K EAU</a:t>
            </a:r>
          </a:p>
          <a:p>
            <a:pPr marL="342900" indent="-342900">
              <a:buFontTx/>
              <a:buChar char="-"/>
            </a:pPr>
            <a:r>
              <a:rPr lang="en-US">
                <a:solidFill>
                  <a:srgbClr val="EB871E"/>
                </a:solidFill>
              </a:rPr>
              <a:t>End customer is Microsoft</a:t>
            </a:r>
          </a:p>
          <a:p>
            <a:pPr marL="342900" indent="-342900">
              <a:buFontTx/>
              <a:buChar char="-"/>
            </a:pPr>
            <a:r>
              <a:rPr lang="en-US">
                <a:solidFill>
                  <a:srgbClr val="EB871E"/>
                </a:solidFill>
              </a:rPr>
              <a:t>Customer currently continuing to collect test data</a:t>
            </a:r>
          </a:p>
          <a:p>
            <a:pPr marL="342900" indent="-342900">
              <a:buFontTx/>
              <a:buChar char="-"/>
            </a:pPr>
            <a:r>
              <a:rPr lang="en-US">
                <a:solidFill>
                  <a:srgbClr val="EB871E"/>
                </a:solidFill>
              </a:rPr>
              <a:t>PO’s are pending full approval</a:t>
            </a:r>
            <a:endParaRPr lang="en-US"/>
          </a:p>
          <a:p>
            <a:r>
              <a:rPr lang="en-US"/>
              <a:t>Solution (why we won?):</a:t>
            </a:r>
          </a:p>
          <a:p>
            <a:pPr marL="342900" indent="-342900">
              <a:buFontTx/>
              <a:buChar char="-"/>
            </a:pPr>
            <a:r>
              <a:rPr lang="en-US"/>
              <a:t>Product provided the essential features required by end-customer</a:t>
            </a:r>
          </a:p>
          <a:p>
            <a:pPr marL="342900" indent="-342900">
              <a:buFontTx/>
              <a:buChar char="-"/>
            </a:pPr>
            <a:r>
              <a:rPr lang="en-US"/>
              <a:t>Technical support provided during design phase</a:t>
            </a:r>
          </a:p>
          <a:p>
            <a:pPr marL="342900" indent="-342900">
              <a:buFont typeface="Wingdings" panose="05000000000000000000" pitchFamily="2" charset="2"/>
              <a:buChar char="§"/>
            </a:pPr>
            <a:endParaRPr lang="en-US"/>
          </a:p>
        </p:txBody>
      </p:sp>
      <p:sp>
        <p:nvSpPr>
          <p:cNvPr id="4" name="Title 3"/>
          <p:cNvSpPr>
            <a:spLocks noGrp="1"/>
          </p:cNvSpPr>
          <p:nvPr>
            <p:ph type="title"/>
          </p:nvPr>
        </p:nvSpPr>
        <p:spPr/>
        <p:txBody>
          <a:bodyPr/>
          <a:lstStyle/>
          <a:p>
            <a:r>
              <a:rPr lang="en-US"/>
              <a:t>NED Group – Newton Engineering : Arizona</a:t>
            </a:r>
          </a:p>
        </p:txBody>
      </p:sp>
      <p:sp>
        <p:nvSpPr>
          <p:cNvPr id="7" name="TextBox 6"/>
          <p:cNvSpPr txBox="1"/>
          <p:nvPr/>
        </p:nvSpPr>
        <p:spPr>
          <a:xfrm>
            <a:off x="7002296" y="4510734"/>
            <a:ext cx="4349917" cy="615553"/>
          </a:xfrm>
          <a:prstGeom prst="rect">
            <a:avLst/>
          </a:prstGeom>
          <a:noFill/>
        </p:spPr>
        <p:txBody>
          <a:bodyPr wrap="square" rtlCol="0">
            <a:spAutoFit/>
          </a:bodyPr>
          <a:lstStyle/>
          <a:p>
            <a:pPr algn="ctr"/>
            <a:r>
              <a:rPr lang="en-US" b="1"/>
              <a:t>Azure IoT Air Quality Monitoring Platform</a:t>
            </a:r>
          </a:p>
          <a:p>
            <a:pPr algn="ctr"/>
            <a:r>
              <a:rPr lang="en-US" sz="1400" b="1"/>
              <a:t>(No actual product photo available)</a:t>
            </a:r>
          </a:p>
        </p:txBody>
      </p:sp>
      <p:pic>
        <p:nvPicPr>
          <p:cNvPr id="5" name="Picture 2" descr="NED Engineering">
            <a:extLst>
              <a:ext uri="{FF2B5EF4-FFF2-40B4-BE49-F238E27FC236}">
                <a16:creationId xmlns:a16="http://schemas.microsoft.com/office/drawing/2014/main" id="{07F7F8B2-E800-E4D6-9EE4-D943D4F2A6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1108" y="902730"/>
            <a:ext cx="162877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icrosoft unveils its new logo, the first major change in 25 years - The  Verge">
            <a:extLst>
              <a:ext uri="{FF2B5EF4-FFF2-40B4-BE49-F238E27FC236}">
                <a16:creationId xmlns:a16="http://schemas.microsoft.com/office/drawing/2014/main" id="{B626A9F1-5E8E-E6C2-9AC9-D4B63B2146A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446" t="35723" r="7233" b="38113"/>
          <a:stretch/>
        </p:blipFill>
        <p:spPr bwMode="auto">
          <a:xfrm>
            <a:off x="8490010" y="1270154"/>
            <a:ext cx="1628776" cy="37025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esign a Azure IoT Indoor Air Quality monitoring platform from scratch -  Microsoft Tech Community">
            <a:extLst>
              <a:ext uri="{FF2B5EF4-FFF2-40B4-BE49-F238E27FC236}">
                <a16:creationId xmlns:a16="http://schemas.microsoft.com/office/drawing/2014/main" id="{CD0FD9E2-B34D-280A-05DC-2CF73C297B7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314" t="21384" r="20912" b="22013"/>
          <a:stretch/>
        </p:blipFill>
        <p:spPr bwMode="auto">
          <a:xfrm>
            <a:off x="7766835" y="2290524"/>
            <a:ext cx="2820838" cy="203752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isco - International Institute of New England">
            <a:extLst>
              <a:ext uri="{FF2B5EF4-FFF2-40B4-BE49-F238E27FC236}">
                <a16:creationId xmlns:a16="http://schemas.microsoft.com/office/drawing/2014/main" id="{7B239DCF-9629-D1AD-AECF-501412D4C79B}"/>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379" t="17321" r="9211" b="17321"/>
          <a:stretch/>
        </p:blipFill>
        <p:spPr bwMode="auto">
          <a:xfrm>
            <a:off x="9586723" y="1720973"/>
            <a:ext cx="1064126" cy="569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15044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39787" y="789403"/>
            <a:ext cx="5364089" cy="5322889"/>
          </a:xfrm>
        </p:spPr>
        <p:txBody>
          <a:bodyPr/>
          <a:lstStyle/>
          <a:p>
            <a:pPr marL="342900" indent="-342900">
              <a:buFont typeface="Wingdings" panose="05000000000000000000" pitchFamily="2" charset="2"/>
              <a:buChar char="§"/>
            </a:pPr>
            <a:r>
              <a:rPr lang="en-US" sz="1800"/>
              <a:t>Who: Arrow Electronics </a:t>
            </a:r>
            <a:r>
              <a:rPr lang="en-US" sz="1800">
                <a:solidFill>
                  <a:srgbClr val="EB871E"/>
                </a:solidFill>
              </a:rPr>
              <a:t> </a:t>
            </a:r>
          </a:p>
          <a:p>
            <a:r>
              <a:rPr lang="en-US" sz="1800">
                <a:solidFill>
                  <a:srgbClr val="EB871E"/>
                </a:solidFill>
              </a:rPr>
              <a:t>	FAE: Matt Kemp</a:t>
            </a:r>
          </a:p>
          <a:p>
            <a:r>
              <a:rPr lang="en-US" sz="1800">
                <a:solidFill>
                  <a:srgbClr val="EB871E"/>
                </a:solidFill>
              </a:rPr>
              <a:t>	ADR / Shawn Drinovsky </a:t>
            </a:r>
          </a:p>
          <a:p>
            <a:r>
              <a:rPr lang="en-US" sz="1800">
                <a:solidFill>
                  <a:srgbClr val="EB871E"/>
                </a:solidFill>
              </a:rPr>
              <a:t>	Rep Firm: Mel Foster Co.  Jake Hansen </a:t>
            </a:r>
          </a:p>
          <a:p>
            <a:pPr marL="342900" indent="-342900">
              <a:buFont typeface="Wingdings" panose="05000000000000000000" pitchFamily="2" charset="2"/>
              <a:buChar char="§"/>
            </a:pPr>
            <a:r>
              <a:rPr lang="en-US" sz="1800" err="1"/>
              <a:t>Sensirion</a:t>
            </a:r>
            <a:r>
              <a:rPr lang="en-US" sz="1800"/>
              <a:t> Product of Interest: SHT40-AD1B-R2</a:t>
            </a:r>
            <a:endParaRPr lang="en-US" sz="1800">
              <a:solidFill>
                <a:srgbClr val="EB871E"/>
              </a:solidFill>
            </a:endParaRPr>
          </a:p>
          <a:p>
            <a:pPr marL="342900" indent="-342900">
              <a:buFont typeface="Wingdings" panose="05000000000000000000" pitchFamily="2" charset="2"/>
              <a:buChar char="§"/>
            </a:pPr>
            <a:r>
              <a:rPr lang="en-US" sz="1800"/>
              <a:t>Use case: To collect &amp; aggregate environmental data within a recreational vehicle.  </a:t>
            </a:r>
            <a:endParaRPr lang="en-US" sz="1800">
              <a:solidFill>
                <a:srgbClr val="EB871E"/>
              </a:solidFill>
            </a:endParaRPr>
          </a:p>
          <a:p>
            <a:pPr marL="342900" indent="-342900">
              <a:buFont typeface="Wingdings" panose="05000000000000000000" pitchFamily="2" charset="2"/>
              <a:buChar char="§"/>
            </a:pPr>
            <a:r>
              <a:rPr lang="en-US" sz="1800"/>
              <a:t>Competition: TI  </a:t>
            </a:r>
            <a:r>
              <a:rPr lang="en-US" sz="1600"/>
              <a:t>HDC2010 Low-Power Humidity and Temperature Digital Sensor</a:t>
            </a:r>
            <a:r>
              <a:rPr lang="en-US" sz="1800">
                <a:solidFill>
                  <a:srgbClr val="EB871E"/>
                </a:solidFill>
              </a:rPr>
              <a:t> </a:t>
            </a:r>
            <a:endParaRPr lang="en-US" sz="1800"/>
          </a:p>
          <a:p>
            <a:r>
              <a:rPr lang="en-US"/>
              <a:t>Situation (overview of project): Smart sensor board consisting of various sensors to collect environmental data. </a:t>
            </a:r>
          </a:p>
          <a:p>
            <a:endParaRPr lang="en-US"/>
          </a:p>
          <a:p>
            <a:r>
              <a:rPr lang="en-US"/>
              <a:t>Solution (why we won?): Performance, Cost, Availability   </a:t>
            </a:r>
          </a:p>
        </p:txBody>
      </p:sp>
      <p:sp>
        <p:nvSpPr>
          <p:cNvPr id="4" name="Title 3"/>
          <p:cNvSpPr>
            <a:spLocks noGrp="1"/>
          </p:cNvSpPr>
          <p:nvPr>
            <p:ph type="title"/>
          </p:nvPr>
        </p:nvSpPr>
        <p:spPr/>
        <p:txBody>
          <a:bodyPr/>
          <a:lstStyle/>
          <a:p>
            <a:r>
              <a:rPr lang="en-US"/>
              <a:t>Customer Name : </a:t>
            </a:r>
            <a:r>
              <a:rPr lang="en-US" err="1"/>
              <a:t>Winegard</a:t>
            </a:r>
            <a:r>
              <a:rPr lang="en-US"/>
              <a:t> – Burlington Iowa</a:t>
            </a:r>
          </a:p>
        </p:txBody>
      </p:sp>
      <p:pic>
        <p:nvPicPr>
          <p:cNvPr id="5" name="Picture 2" descr="Winegard Company">
            <a:extLst>
              <a:ext uri="{FF2B5EF4-FFF2-40B4-BE49-F238E27FC236}">
                <a16:creationId xmlns:a16="http://schemas.microsoft.com/office/drawing/2014/main" id="{8E48C20D-419A-AA53-77AE-59446E72BD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9975" y="1253360"/>
            <a:ext cx="2669956" cy="756744"/>
          </a:xfrm>
          <a:prstGeom prst="rect">
            <a:avLst/>
          </a:prstGeom>
          <a:noFill/>
          <a:extLst>
            <a:ext uri="{909E8E84-426E-40DD-AFC4-6F175D3DCCD1}">
              <a14:hiddenFill xmlns:a14="http://schemas.microsoft.com/office/drawing/2010/main">
                <a:solidFill>
                  <a:srgbClr val="FFFFFF"/>
                </a:solidFill>
              </a14:hiddenFill>
            </a:ext>
          </a:extLst>
        </p:spPr>
      </p:pic>
      <p:sp>
        <p:nvSpPr>
          <p:cNvPr id="8" name="AutoShape 6" descr="WINEGARD KF 1001 RV Halo Motion Safety Switch">
            <a:extLst>
              <a:ext uri="{FF2B5EF4-FFF2-40B4-BE49-F238E27FC236}">
                <a16:creationId xmlns:a16="http://schemas.microsoft.com/office/drawing/2014/main" id="{D136D9D6-2839-232B-09D2-2F098E1DA48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8" descr="WINEGARD KF 1001 RV Halo Motion Safety Switch">
            <a:extLst>
              <a:ext uri="{FF2B5EF4-FFF2-40B4-BE49-F238E27FC236}">
                <a16:creationId xmlns:a16="http://schemas.microsoft.com/office/drawing/2014/main" id="{23F22D39-3B21-BE91-F09A-9B6CBA993535}"/>
              </a:ext>
            </a:extLst>
          </p:cNvPr>
          <p:cNvSpPr>
            <a:spLocks noChangeAspect="1" noChangeArrowheads="1"/>
          </p:cNvSpPr>
          <p:nvPr/>
        </p:nvSpPr>
        <p:spPr bwMode="auto">
          <a:xfrm>
            <a:off x="6095999" y="3428999"/>
            <a:ext cx="935421" cy="9354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12" descr="nest temperature sensor from store.google.com">
            <a:extLst>
              <a:ext uri="{FF2B5EF4-FFF2-40B4-BE49-F238E27FC236}">
                <a16:creationId xmlns:a16="http://schemas.microsoft.com/office/drawing/2014/main" id="{2E979FC6-4E87-D04D-5094-8D7A3C8D50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11359" y="2474061"/>
            <a:ext cx="1513489" cy="1367639"/>
          </a:xfrm>
          <a:prstGeom prst="rect">
            <a:avLst/>
          </a:prstGeom>
          <a:noFill/>
          <a:extLst>
            <a:ext uri="{909E8E84-426E-40DD-AFC4-6F175D3DCCD1}">
              <a14:hiddenFill xmlns:a14="http://schemas.microsoft.com/office/drawing/2010/main">
                <a:solidFill>
                  <a:srgbClr val="FFFFFF"/>
                </a:solidFill>
              </a14:hiddenFill>
            </a:ext>
          </a:extLst>
        </p:spPr>
      </p:pic>
      <p:sp>
        <p:nvSpPr>
          <p:cNvPr id="12" name="AutoShape 16" descr="Thumbnail of Nest Temperature Sensor. 1 of 2">
            <a:extLst>
              <a:ext uri="{FF2B5EF4-FFF2-40B4-BE49-F238E27FC236}">
                <a16:creationId xmlns:a16="http://schemas.microsoft.com/office/drawing/2014/main" id="{E6990645-C046-2A8C-761E-D0B8FBEB89B9}"/>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18" descr="Image 1 of Nest Temperature Sensor">
            <a:extLst>
              <a:ext uri="{FF2B5EF4-FFF2-40B4-BE49-F238E27FC236}">
                <a16:creationId xmlns:a16="http://schemas.microsoft.com/office/drawing/2014/main" id="{C7F5E556-95B8-87F6-700A-6933377C4602}"/>
              </a:ext>
            </a:extLst>
          </p:cNvPr>
          <p:cNvSpPr>
            <a:spLocks noChangeAspect="1" noChangeArrowheads="1"/>
          </p:cNvSpPr>
          <p:nvPr/>
        </p:nvSpPr>
        <p:spPr bwMode="auto">
          <a:xfrm>
            <a:off x="6248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44" name="Picture 20" descr="Zoom in on Alt View Zoom 12. Google - Nest Temperature Sensor (3-Pack) - White.">
            <a:extLst>
              <a:ext uri="{FF2B5EF4-FFF2-40B4-BE49-F238E27FC236}">
                <a16:creationId xmlns:a16="http://schemas.microsoft.com/office/drawing/2014/main" id="{C3E476D9-7112-818E-CCBD-07E9E9454FC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24193" y="4364420"/>
            <a:ext cx="1032641" cy="483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70971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Registrations/Support</a:t>
            </a:r>
            <a:br>
              <a:rPr lang="en-US" sz="7200"/>
            </a:br>
            <a:endParaRPr lang="en-US" sz="7200"/>
          </a:p>
        </p:txBody>
      </p:sp>
    </p:spTree>
    <p:extLst>
      <p:ext uri="{BB962C8B-B14F-4D97-AF65-F5344CB8AC3E}">
        <p14:creationId xmlns:p14="http://schemas.microsoft.com/office/powerpoint/2010/main" val="276717721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6" name="TextBox 265"/>
          <p:cNvSpPr txBox="1"/>
          <p:nvPr/>
        </p:nvSpPr>
        <p:spPr>
          <a:xfrm>
            <a:off x="8983023" y="3080185"/>
            <a:ext cx="1239442"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rPr>
              <a:t>Sensirion Japan</a:t>
            </a:r>
            <a:endParaRPr kumimoji="0" lang="en-US"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endParaRPr>
          </a:p>
        </p:txBody>
      </p:sp>
      <p:sp>
        <p:nvSpPr>
          <p:cNvPr id="2" name="Title 1"/>
          <p:cNvSpPr>
            <a:spLocks noGrp="1"/>
          </p:cNvSpPr>
          <p:nvPr>
            <p:ph type="title"/>
          </p:nvPr>
        </p:nvSpPr>
        <p:spPr/>
        <p:txBody>
          <a:bodyPr/>
          <a:lstStyle/>
          <a:p>
            <a:r>
              <a:rPr lang="en-US"/>
              <a:t>Our global sales network</a:t>
            </a:r>
          </a:p>
        </p:txBody>
      </p:sp>
      <p:sp>
        <p:nvSpPr>
          <p:cNvPr id="5" name="Freeform 449"/>
          <p:cNvSpPr>
            <a:spLocks/>
          </p:cNvSpPr>
          <p:nvPr>
            <p:custDataLst>
              <p:tags r:id="rId1"/>
            </p:custDataLst>
          </p:nvPr>
        </p:nvSpPr>
        <p:spPr bwMode="auto">
          <a:xfrm>
            <a:off x="2894637" y="2698463"/>
            <a:ext cx="126439" cy="75512"/>
          </a:xfrm>
          <a:custGeom>
            <a:avLst/>
            <a:gdLst>
              <a:gd name="T0" fmla="*/ 5443 w 42"/>
              <a:gd name="T1" fmla="*/ 2968 h 23"/>
              <a:gd name="T2" fmla="*/ 19050 w 42"/>
              <a:gd name="T3" fmla="*/ 2968 h 23"/>
              <a:gd name="T4" fmla="*/ 38100 w 42"/>
              <a:gd name="T5" fmla="*/ 14840 h 23"/>
              <a:gd name="T6" fmla="*/ 57150 w 42"/>
              <a:gd name="T7" fmla="*/ 23744 h 23"/>
              <a:gd name="T8" fmla="*/ 78921 w 42"/>
              <a:gd name="T9" fmla="*/ 38583 h 23"/>
              <a:gd name="T10" fmla="*/ 108857 w 42"/>
              <a:gd name="T11" fmla="*/ 56391 h 23"/>
              <a:gd name="T12" fmla="*/ 114300 w 42"/>
              <a:gd name="T13" fmla="*/ 68263 h 23"/>
              <a:gd name="T14" fmla="*/ 106136 w 42"/>
              <a:gd name="T15" fmla="*/ 68263 h 23"/>
              <a:gd name="T16" fmla="*/ 100693 w 42"/>
              <a:gd name="T17" fmla="*/ 68263 h 23"/>
              <a:gd name="T18" fmla="*/ 62593 w 42"/>
              <a:gd name="T19" fmla="*/ 59359 h 23"/>
              <a:gd name="T20" fmla="*/ 27214 w 42"/>
              <a:gd name="T21" fmla="*/ 29680 h 23"/>
              <a:gd name="T22" fmla="*/ 8164 w 42"/>
              <a:gd name="T23" fmla="*/ 11872 h 23"/>
              <a:gd name="T24" fmla="*/ 5443 w 42"/>
              <a:gd name="T25" fmla="*/ 2968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23">
                <a:moveTo>
                  <a:pt x="2" y="1"/>
                </a:moveTo>
                <a:cubicBezTo>
                  <a:pt x="4" y="0"/>
                  <a:pt x="6" y="0"/>
                  <a:pt x="7" y="1"/>
                </a:cubicBezTo>
                <a:cubicBezTo>
                  <a:pt x="8" y="2"/>
                  <a:pt x="12" y="5"/>
                  <a:pt x="14" y="5"/>
                </a:cubicBezTo>
                <a:cubicBezTo>
                  <a:pt x="16" y="6"/>
                  <a:pt x="19" y="7"/>
                  <a:pt x="21" y="8"/>
                </a:cubicBezTo>
                <a:cubicBezTo>
                  <a:pt x="24" y="9"/>
                  <a:pt x="26" y="11"/>
                  <a:pt x="29" y="13"/>
                </a:cubicBezTo>
                <a:cubicBezTo>
                  <a:pt x="31" y="16"/>
                  <a:pt x="38" y="18"/>
                  <a:pt x="40" y="19"/>
                </a:cubicBezTo>
                <a:cubicBezTo>
                  <a:pt x="42" y="20"/>
                  <a:pt x="42" y="23"/>
                  <a:pt x="42" y="23"/>
                </a:cubicBezTo>
                <a:cubicBezTo>
                  <a:pt x="41" y="23"/>
                  <a:pt x="40" y="23"/>
                  <a:pt x="39" y="23"/>
                </a:cubicBezTo>
                <a:cubicBezTo>
                  <a:pt x="38" y="23"/>
                  <a:pt x="37" y="23"/>
                  <a:pt x="37" y="23"/>
                </a:cubicBezTo>
                <a:cubicBezTo>
                  <a:pt x="35" y="23"/>
                  <a:pt x="26" y="21"/>
                  <a:pt x="23" y="20"/>
                </a:cubicBezTo>
                <a:cubicBezTo>
                  <a:pt x="20" y="19"/>
                  <a:pt x="12" y="12"/>
                  <a:pt x="10" y="10"/>
                </a:cubicBezTo>
                <a:cubicBezTo>
                  <a:pt x="9" y="8"/>
                  <a:pt x="4" y="6"/>
                  <a:pt x="3" y="4"/>
                </a:cubicBezTo>
                <a:cubicBezTo>
                  <a:pt x="2" y="2"/>
                  <a:pt x="0" y="2"/>
                  <a:pt x="2" y="1"/>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 name="Freeform 450"/>
          <p:cNvSpPr>
            <a:spLocks/>
          </p:cNvSpPr>
          <p:nvPr>
            <p:custDataLst>
              <p:tags r:id="rId2"/>
            </p:custDataLst>
          </p:nvPr>
        </p:nvSpPr>
        <p:spPr bwMode="auto">
          <a:xfrm>
            <a:off x="2789271" y="2593098"/>
            <a:ext cx="59707" cy="80780"/>
          </a:xfrm>
          <a:custGeom>
            <a:avLst/>
            <a:gdLst>
              <a:gd name="T0" fmla="*/ 26988 w 20"/>
              <a:gd name="T1" fmla="*/ 52578 h 25"/>
              <a:gd name="T2" fmla="*/ 2699 w 20"/>
              <a:gd name="T3" fmla="*/ 20447 h 25"/>
              <a:gd name="T4" fmla="*/ 0 w 20"/>
              <a:gd name="T5" fmla="*/ 5842 h 25"/>
              <a:gd name="T6" fmla="*/ 2699 w 20"/>
              <a:gd name="T7" fmla="*/ 0 h 25"/>
              <a:gd name="T8" fmla="*/ 29686 w 20"/>
              <a:gd name="T9" fmla="*/ 0 h 25"/>
              <a:gd name="T10" fmla="*/ 26988 w 20"/>
              <a:gd name="T11" fmla="*/ 14605 h 25"/>
              <a:gd name="T12" fmla="*/ 35084 w 20"/>
              <a:gd name="T13" fmla="*/ 35052 h 25"/>
              <a:gd name="T14" fmla="*/ 43180 w 20"/>
              <a:gd name="T15" fmla="*/ 49657 h 25"/>
              <a:gd name="T16" fmla="*/ 51276 w 20"/>
              <a:gd name="T17" fmla="*/ 64262 h 25"/>
              <a:gd name="T18" fmla="*/ 51276 w 20"/>
              <a:gd name="T19" fmla="*/ 70104 h 25"/>
              <a:gd name="T20" fmla="*/ 26988 w 20"/>
              <a:gd name="T21" fmla="*/ 5257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5">
                <a:moveTo>
                  <a:pt x="10" y="18"/>
                </a:moveTo>
                <a:cubicBezTo>
                  <a:pt x="7" y="16"/>
                  <a:pt x="1" y="9"/>
                  <a:pt x="1" y="7"/>
                </a:cubicBezTo>
                <a:cubicBezTo>
                  <a:pt x="0" y="6"/>
                  <a:pt x="0" y="4"/>
                  <a:pt x="0" y="2"/>
                </a:cubicBezTo>
                <a:cubicBezTo>
                  <a:pt x="0" y="1"/>
                  <a:pt x="0" y="0"/>
                  <a:pt x="1" y="0"/>
                </a:cubicBezTo>
                <a:cubicBezTo>
                  <a:pt x="1" y="0"/>
                  <a:pt x="10" y="0"/>
                  <a:pt x="11" y="0"/>
                </a:cubicBezTo>
                <a:cubicBezTo>
                  <a:pt x="11" y="1"/>
                  <a:pt x="10" y="3"/>
                  <a:pt x="10" y="5"/>
                </a:cubicBezTo>
                <a:cubicBezTo>
                  <a:pt x="10" y="8"/>
                  <a:pt x="12" y="11"/>
                  <a:pt x="13" y="12"/>
                </a:cubicBezTo>
                <a:cubicBezTo>
                  <a:pt x="14" y="14"/>
                  <a:pt x="15" y="16"/>
                  <a:pt x="16" y="17"/>
                </a:cubicBezTo>
                <a:cubicBezTo>
                  <a:pt x="17" y="18"/>
                  <a:pt x="19" y="22"/>
                  <a:pt x="19" y="22"/>
                </a:cubicBezTo>
                <a:cubicBezTo>
                  <a:pt x="20" y="23"/>
                  <a:pt x="19" y="24"/>
                  <a:pt x="19" y="24"/>
                </a:cubicBezTo>
                <a:cubicBezTo>
                  <a:pt x="18" y="25"/>
                  <a:pt x="12" y="21"/>
                  <a:pt x="10" y="18"/>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 name="Freeform 451"/>
          <p:cNvSpPr>
            <a:spLocks/>
          </p:cNvSpPr>
          <p:nvPr>
            <p:custDataLst>
              <p:tags r:id="rId3"/>
            </p:custDataLst>
          </p:nvPr>
        </p:nvSpPr>
        <p:spPr bwMode="auto">
          <a:xfrm>
            <a:off x="4485660" y="2673879"/>
            <a:ext cx="159805" cy="158049"/>
          </a:xfrm>
          <a:custGeom>
            <a:avLst/>
            <a:gdLst>
              <a:gd name="T0" fmla="*/ 5451 w 53"/>
              <a:gd name="T1" fmla="*/ 113717 h 49"/>
              <a:gd name="T2" fmla="*/ 2726 w 53"/>
              <a:gd name="T3" fmla="*/ 102054 h 49"/>
              <a:gd name="T4" fmla="*/ 24531 w 53"/>
              <a:gd name="T5" fmla="*/ 87474 h 49"/>
              <a:gd name="T6" fmla="*/ 16354 w 53"/>
              <a:gd name="T7" fmla="*/ 75811 h 49"/>
              <a:gd name="T8" fmla="*/ 38160 w 53"/>
              <a:gd name="T9" fmla="*/ 43737 h 49"/>
              <a:gd name="T10" fmla="*/ 57240 w 53"/>
              <a:gd name="T11" fmla="*/ 14579 h 49"/>
              <a:gd name="T12" fmla="*/ 81772 w 53"/>
              <a:gd name="T13" fmla="*/ 0 h 49"/>
              <a:gd name="T14" fmla="*/ 76320 w 53"/>
              <a:gd name="T15" fmla="*/ 17495 h 49"/>
              <a:gd name="T16" fmla="*/ 54514 w 53"/>
              <a:gd name="T17" fmla="*/ 49569 h 49"/>
              <a:gd name="T18" fmla="*/ 79046 w 53"/>
              <a:gd name="T19" fmla="*/ 46653 h 49"/>
              <a:gd name="T20" fmla="*/ 89949 w 53"/>
              <a:gd name="T21" fmla="*/ 58316 h 49"/>
              <a:gd name="T22" fmla="*/ 114480 w 53"/>
              <a:gd name="T23" fmla="*/ 52485 h 49"/>
              <a:gd name="T24" fmla="*/ 122657 w 53"/>
              <a:gd name="T25" fmla="*/ 64148 h 49"/>
              <a:gd name="T26" fmla="*/ 119932 w 53"/>
              <a:gd name="T27" fmla="*/ 81643 h 49"/>
              <a:gd name="T28" fmla="*/ 133560 w 53"/>
              <a:gd name="T29" fmla="*/ 84559 h 49"/>
              <a:gd name="T30" fmla="*/ 122657 w 53"/>
              <a:gd name="T31" fmla="*/ 107885 h 49"/>
              <a:gd name="T32" fmla="*/ 141737 w 53"/>
              <a:gd name="T33" fmla="*/ 104969 h 49"/>
              <a:gd name="T34" fmla="*/ 130834 w 53"/>
              <a:gd name="T35" fmla="*/ 142875 h 49"/>
              <a:gd name="T36" fmla="*/ 111754 w 53"/>
              <a:gd name="T37" fmla="*/ 137043 h 49"/>
              <a:gd name="T38" fmla="*/ 106303 w 53"/>
              <a:gd name="T39" fmla="*/ 119548 h 49"/>
              <a:gd name="T40" fmla="*/ 84497 w 53"/>
              <a:gd name="T41" fmla="*/ 134128 h 49"/>
              <a:gd name="T42" fmla="*/ 70869 w 53"/>
              <a:gd name="T43" fmla="*/ 134128 h 49"/>
              <a:gd name="T44" fmla="*/ 81772 w 53"/>
              <a:gd name="T45" fmla="*/ 113717 h 49"/>
              <a:gd name="T46" fmla="*/ 68143 w 53"/>
              <a:gd name="T47" fmla="*/ 110801 h 49"/>
              <a:gd name="T48" fmla="*/ 46337 w 53"/>
              <a:gd name="T49" fmla="*/ 116633 h 49"/>
              <a:gd name="T50" fmla="*/ 27257 w 53"/>
              <a:gd name="T51" fmla="*/ 110801 h 49"/>
              <a:gd name="T52" fmla="*/ 5451 w 53"/>
              <a:gd name="T53" fmla="*/ 113717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3" h="49">
                <a:moveTo>
                  <a:pt x="2" y="39"/>
                </a:moveTo>
                <a:cubicBezTo>
                  <a:pt x="0" y="39"/>
                  <a:pt x="0" y="36"/>
                  <a:pt x="1" y="35"/>
                </a:cubicBezTo>
                <a:cubicBezTo>
                  <a:pt x="1" y="34"/>
                  <a:pt x="9" y="31"/>
                  <a:pt x="9" y="30"/>
                </a:cubicBezTo>
                <a:cubicBezTo>
                  <a:pt x="9" y="29"/>
                  <a:pt x="5" y="28"/>
                  <a:pt x="6" y="26"/>
                </a:cubicBezTo>
                <a:cubicBezTo>
                  <a:pt x="6" y="25"/>
                  <a:pt x="13" y="17"/>
                  <a:pt x="14" y="15"/>
                </a:cubicBezTo>
                <a:cubicBezTo>
                  <a:pt x="14" y="13"/>
                  <a:pt x="18" y="6"/>
                  <a:pt x="21" y="5"/>
                </a:cubicBezTo>
                <a:cubicBezTo>
                  <a:pt x="23" y="4"/>
                  <a:pt x="28" y="0"/>
                  <a:pt x="30" y="0"/>
                </a:cubicBezTo>
                <a:cubicBezTo>
                  <a:pt x="31" y="0"/>
                  <a:pt x="29" y="4"/>
                  <a:pt x="28" y="6"/>
                </a:cubicBezTo>
                <a:cubicBezTo>
                  <a:pt x="27" y="9"/>
                  <a:pt x="20" y="16"/>
                  <a:pt x="20" y="17"/>
                </a:cubicBezTo>
                <a:cubicBezTo>
                  <a:pt x="22" y="19"/>
                  <a:pt x="27" y="15"/>
                  <a:pt x="29" y="16"/>
                </a:cubicBezTo>
                <a:cubicBezTo>
                  <a:pt x="31" y="17"/>
                  <a:pt x="31" y="20"/>
                  <a:pt x="33" y="20"/>
                </a:cubicBezTo>
                <a:cubicBezTo>
                  <a:pt x="35" y="20"/>
                  <a:pt x="39" y="17"/>
                  <a:pt x="42" y="18"/>
                </a:cubicBezTo>
                <a:cubicBezTo>
                  <a:pt x="44" y="19"/>
                  <a:pt x="45" y="20"/>
                  <a:pt x="45" y="22"/>
                </a:cubicBezTo>
                <a:cubicBezTo>
                  <a:pt x="46" y="23"/>
                  <a:pt x="42" y="27"/>
                  <a:pt x="44" y="28"/>
                </a:cubicBezTo>
                <a:cubicBezTo>
                  <a:pt x="45" y="30"/>
                  <a:pt x="48" y="28"/>
                  <a:pt x="49" y="29"/>
                </a:cubicBezTo>
                <a:cubicBezTo>
                  <a:pt x="50" y="29"/>
                  <a:pt x="43" y="36"/>
                  <a:pt x="45" y="37"/>
                </a:cubicBezTo>
                <a:cubicBezTo>
                  <a:pt x="47" y="39"/>
                  <a:pt x="51" y="36"/>
                  <a:pt x="52" y="36"/>
                </a:cubicBezTo>
                <a:cubicBezTo>
                  <a:pt x="53" y="37"/>
                  <a:pt x="49" y="49"/>
                  <a:pt x="48" y="49"/>
                </a:cubicBezTo>
                <a:cubicBezTo>
                  <a:pt x="46" y="49"/>
                  <a:pt x="41" y="49"/>
                  <a:pt x="41" y="47"/>
                </a:cubicBezTo>
                <a:cubicBezTo>
                  <a:pt x="41" y="45"/>
                  <a:pt x="42" y="42"/>
                  <a:pt x="39" y="41"/>
                </a:cubicBezTo>
                <a:cubicBezTo>
                  <a:pt x="37" y="41"/>
                  <a:pt x="34" y="46"/>
                  <a:pt x="31" y="46"/>
                </a:cubicBezTo>
                <a:cubicBezTo>
                  <a:pt x="28" y="46"/>
                  <a:pt x="26" y="47"/>
                  <a:pt x="26" y="46"/>
                </a:cubicBezTo>
                <a:cubicBezTo>
                  <a:pt x="25" y="44"/>
                  <a:pt x="31" y="40"/>
                  <a:pt x="30" y="39"/>
                </a:cubicBezTo>
                <a:cubicBezTo>
                  <a:pt x="30" y="37"/>
                  <a:pt x="27" y="38"/>
                  <a:pt x="25" y="38"/>
                </a:cubicBezTo>
                <a:cubicBezTo>
                  <a:pt x="23" y="38"/>
                  <a:pt x="20" y="41"/>
                  <a:pt x="17" y="40"/>
                </a:cubicBezTo>
                <a:cubicBezTo>
                  <a:pt x="14" y="40"/>
                  <a:pt x="12" y="39"/>
                  <a:pt x="10" y="38"/>
                </a:cubicBezTo>
                <a:cubicBezTo>
                  <a:pt x="8" y="38"/>
                  <a:pt x="4" y="39"/>
                  <a:pt x="2" y="39"/>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 name="Freeform 452"/>
          <p:cNvSpPr>
            <a:spLocks/>
          </p:cNvSpPr>
          <p:nvPr>
            <p:custDataLst>
              <p:tags r:id="rId4"/>
            </p:custDataLst>
          </p:nvPr>
        </p:nvSpPr>
        <p:spPr bwMode="auto">
          <a:xfrm>
            <a:off x="4378538" y="2728317"/>
            <a:ext cx="59707" cy="33366"/>
          </a:xfrm>
          <a:custGeom>
            <a:avLst/>
            <a:gdLst>
              <a:gd name="T0" fmla="*/ 2699 w 20"/>
              <a:gd name="T1" fmla="*/ 6033 h 10"/>
              <a:gd name="T2" fmla="*/ 8096 w 20"/>
              <a:gd name="T3" fmla="*/ 0 h 10"/>
              <a:gd name="T4" fmla="*/ 53975 w 20"/>
              <a:gd name="T5" fmla="*/ 18098 h 10"/>
              <a:gd name="T6" fmla="*/ 40481 w 20"/>
              <a:gd name="T7" fmla="*/ 30163 h 10"/>
              <a:gd name="T8" fmla="*/ 13494 w 20"/>
              <a:gd name="T9" fmla="*/ 18098 h 10"/>
              <a:gd name="T10" fmla="*/ 2699 w 20"/>
              <a:gd name="T11" fmla="*/ 6033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0">
                <a:moveTo>
                  <a:pt x="1" y="2"/>
                </a:moveTo>
                <a:cubicBezTo>
                  <a:pt x="0" y="1"/>
                  <a:pt x="2" y="0"/>
                  <a:pt x="3" y="0"/>
                </a:cubicBezTo>
                <a:cubicBezTo>
                  <a:pt x="4" y="0"/>
                  <a:pt x="20" y="5"/>
                  <a:pt x="20" y="6"/>
                </a:cubicBezTo>
                <a:cubicBezTo>
                  <a:pt x="20" y="8"/>
                  <a:pt x="18" y="10"/>
                  <a:pt x="15" y="10"/>
                </a:cubicBezTo>
                <a:cubicBezTo>
                  <a:pt x="13" y="9"/>
                  <a:pt x="7" y="7"/>
                  <a:pt x="5" y="6"/>
                </a:cubicBezTo>
                <a:cubicBezTo>
                  <a:pt x="4" y="4"/>
                  <a:pt x="2" y="2"/>
                  <a:pt x="1" y="2"/>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 name="Freeform 453"/>
          <p:cNvSpPr>
            <a:spLocks/>
          </p:cNvSpPr>
          <p:nvPr>
            <p:custDataLst>
              <p:tags r:id="rId5"/>
            </p:custDataLst>
          </p:nvPr>
        </p:nvSpPr>
        <p:spPr bwMode="auto">
          <a:xfrm>
            <a:off x="4074734" y="2052220"/>
            <a:ext cx="57951" cy="43902"/>
          </a:xfrm>
          <a:custGeom>
            <a:avLst/>
            <a:gdLst>
              <a:gd name="T0" fmla="*/ 8272 w 19"/>
              <a:gd name="T1" fmla="*/ 39688 h 14"/>
              <a:gd name="T2" fmla="*/ 2757 w 19"/>
              <a:gd name="T3" fmla="*/ 19844 h 14"/>
              <a:gd name="T4" fmla="*/ 22058 w 19"/>
              <a:gd name="T5" fmla="*/ 0 h 14"/>
              <a:gd name="T6" fmla="*/ 46873 w 19"/>
              <a:gd name="T7" fmla="*/ 2835 h 14"/>
              <a:gd name="T8" fmla="*/ 46873 w 19"/>
              <a:gd name="T9" fmla="*/ 25514 h 14"/>
              <a:gd name="T10" fmla="*/ 35844 w 19"/>
              <a:gd name="T11" fmla="*/ 36853 h 14"/>
              <a:gd name="T12" fmla="*/ 8272 w 19"/>
              <a:gd name="T13" fmla="*/ 39688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4">
                <a:moveTo>
                  <a:pt x="3" y="14"/>
                </a:moveTo>
                <a:cubicBezTo>
                  <a:pt x="0" y="14"/>
                  <a:pt x="0" y="9"/>
                  <a:pt x="1" y="7"/>
                </a:cubicBezTo>
                <a:cubicBezTo>
                  <a:pt x="2" y="5"/>
                  <a:pt x="6" y="0"/>
                  <a:pt x="8" y="0"/>
                </a:cubicBezTo>
                <a:cubicBezTo>
                  <a:pt x="8" y="0"/>
                  <a:pt x="16" y="0"/>
                  <a:pt x="17" y="1"/>
                </a:cubicBezTo>
                <a:cubicBezTo>
                  <a:pt x="19" y="1"/>
                  <a:pt x="17" y="7"/>
                  <a:pt x="17" y="9"/>
                </a:cubicBezTo>
                <a:cubicBezTo>
                  <a:pt x="17" y="11"/>
                  <a:pt x="15" y="13"/>
                  <a:pt x="13" y="13"/>
                </a:cubicBezTo>
                <a:cubicBezTo>
                  <a:pt x="11" y="14"/>
                  <a:pt x="5" y="14"/>
                  <a:pt x="3" y="14"/>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 name="Freeform 454"/>
          <p:cNvSpPr>
            <a:spLocks/>
          </p:cNvSpPr>
          <p:nvPr>
            <p:custDataLst>
              <p:tags r:id="rId6"/>
            </p:custDataLst>
          </p:nvPr>
        </p:nvSpPr>
        <p:spPr bwMode="auto">
          <a:xfrm>
            <a:off x="4006246" y="2284024"/>
            <a:ext cx="26341" cy="38634"/>
          </a:xfrm>
          <a:custGeom>
            <a:avLst/>
            <a:gdLst>
              <a:gd name="T0" fmla="*/ 0 w 9"/>
              <a:gd name="T1" fmla="*/ 20373 h 12"/>
              <a:gd name="T2" fmla="*/ 7938 w 9"/>
              <a:gd name="T3" fmla="*/ 2910 h 12"/>
              <a:gd name="T4" fmla="*/ 13229 w 9"/>
              <a:gd name="T5" fmla="*/ 0 h 12"/>
              <a:gd name="T6" fmla="*/ 23813 w 9"/>
              <a:gd name="T7" fmla="*/ 8731 h 12"/>
              <a:gd name="T8" fmla="*/ 23813 w 9"/>
              <a:gd name="T9" fmla="*/ 11642 h 12"/>
              <a:gd name="T10" fmla="*/ 21167 w 9"/>
              <a:gd name="T11" fmla="*/ 26194 h 12"/>
              <a:gd name="T12" fmla="*/ 13229 w 9"/>
              <a:gd name="T13" fmla="*/ 34925 h 12"/>
              <a:gd name="T14" fmla="*/ 0 w 9"/>
              <a:gd name="T15" fmla="*/ 20373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12">
                <a:moveTo>
                  <a:pt x="0" y="7"/>
                </a:moveTo>
                <a:cubicBezTo>
                  <a:pt x="0" y="5"/>
                  <a:pt x="1" y="2"/>
                  <a:pt x="3" y="1"/>
                </a:cubicBezTo>
                <a:cubicBezTo>
                  <a:pt x="3" y="0"/>
                  <a:pt x="4" y="0"/>
                  <a:pt x="5" y="0"/>
                </a:cubicBezTo>
                <a:cubicBezTo>
                  <a:pt x="7" y="0"/>
                  <a:pt x="9" y="1"/>
                  <a:pt x="9" y="3"/>
                </a:cubicBezTo>
                <a:cubicBezTo>
                  <a:pt x="9" y="3"/>
                  <a:pt x="9" y="4"/>
                  <a:pt x="9" y="4"/>
                </a:cubicBezTo>
                <a:cubicBezTo>
                  <a:pt x="9" y="6"/>
                  <a:pt x="8" y="8"/>
                  <a:pt x="8" y="9"/>
                </a:cubicBezTo>
                <a:cubicBezTo>
                  <a:pt x="7" y="10"/>
                  <a:pt x="5" y="12"/>
                  <a:pt x="5" y="12"/>
                </a:cubicBezTo>
                <a:cubicBezTo>
                  <a:pt x="4" y="12"/>
                  <a:pt x="0" y="10"/>
                  <a:pt x="0" y="7"/>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 name="Freeform 455"/>
          <p:cNvSpPr>
            <a:spLocks/>
          </p:cNvSpPr>
          <p:nvPr>
            <p:custDataLst>
              <p:tags r:id="rId7"/>
            </p:custDataLst>
          </p:nvPr>
        </p:nvSpPr>
        <p:spPr bwMode="auto">
          <a:xfrm>
            <a:off x="4008001" y="2493001"/>
            <a:ext cx="42146" cy="45659"/>
          </a:xfrm>
          <a:custGeom>
            <a:avLst/>
            <a:gdLst>
              <a:gd name="T0" fmla="*/ 5443 w 14"/>
              <a:gd name="T1" fmla="*/ 17689 h 14"/>
              <a:gd name="T2" fmla="*/ 19050 w 14"/>
              <a:gd name="T3" fmla="*/ 0 h 14"/>
              <a:gd name="T4" fmla="*/ 27214 w 14"/>
              <a:gd name="T5" fmla="*/ 8845 h 14"/>
              <a:gd name="T6" fmla="*/ 35379 w 14"/>
              <a:gd name="T7" fmla="*/ 14741 h 14"/>
              <a:gd name="T8" fmla="*/ 24493 w 14"/>
              <a:gd name="T9" fmla="*/ 38327 h 14"/>
              <a:gd name="T10" fmla="*/ 16329 w 14"/>
              <a:gd name="T11" fmla="*/ 29482 h 14"/>
              <a:gd name="T12" fmla="*/ 2721 w 14"/>
              <a:gd name="T13" fmla="*/ 29482 h 14"/>
              <a:gd name="T14" fmla="*/ 5443 w 14"/>
              <a:gd name="T15" fmla="*/ 17689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2" y="6"/>
                </a:moveTo>
                <a:cubicBezTo>
                  <a:pt x="2" y="5"/>
                  <a:pt x="7" y="0"/>
                  <a:pt x="7" y="0"/>
                </a:cubicBezTo>
                <a:cubicBezTo>
                  <a:pt x="8" y="0"/>
                  <a:pt x="9" y="1"/>
                  <a:pt x="10" y="3"/>
                </a:cubicBezTo>
                <a:cubicBezTo>
                  <a:pt x="11" y="4"/>
                  <a:pt x="14" y="3"/>
                  <a:pt x="13" y="5"/>
                </a:cubicBezTo>
                <a:cubicBezTo>
                  <a:pt x="12" y="6"/>
                  <a:pt x="11" y="12"/>
                  <a:pt x="9" y="13"/>
                </a:cubicBezTo>
                <a:cubicBezTo>
                  <a:pt x="7" y="14"/>
                  <a:pt x="7" y="11"/>
                  <a:pt x="6" y="10"/>
                </a:cubicBezTo>
                <a:cubicBezTo>
                  <a:pt x="5" y="9"/>
                  <a:pt x="3" y="11"/>
                  <a:pt x="1" y="10"/>
                </a:cubicBezTo>
                <a:cubicBezTo>
                  <a:pt x="0" y="9"/>
                  <a:pt x="1" y="6"/>
                  <a:pt x="2" y="6"/>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 name="Freeform 456"/>
          <p:cNvSpPr>
            <a:spLocks/>
          </p:cNvSpPr>
          <p:nvPr>
            <p:custDataLst>
              <p:tags r:id="rId8"/>
            </p:custDataLst>
          </p:nvPr>
        </p:nvSpPr>
        <p:spPr bwMode="auto">
          <a:xfrm>
            <a:off x="3999221" y="1801099"/>
            <a:ext cx="100098" cy="56195"/>
          </a:xfrm>
          <a:custGeom>
            <a:avLst/>
            <a:gdLst>
              <a:gd name="T0" fmla="*/ 13307 w 34"/>
              <a:gd name="T1" fmla="*/ 26894 h 17"/>
              <a:gd name="T2" fmla="*/ 2661 w 34"/>
              <a:gd name="T3" fmla="*/ 17929 h 17"/>
              <a:gd name="T4" fmla="*/ 0 w 34"/>
              <a:gd name="T5" fmla="*/ 5976 h 17"/>
              <a:gd name="T6" fmla="*/ 10646 w 34"/>
              <a:gd name="T7" fmla="*/ 5976 h 17"/>
              <a:gd name="T8" fmla="*/ 42583 w 34"/>
              <a:gd name="T9" fmla="*/ 8965 h 17"/>
              <a:gd name="T10" fmla="*/ 74520 w 34"/>
              <a:gd name="T11" fmla="*/ 20918 h 17"/>
              <a:gd name="T12" fmla="*/ 87827 w 34"/>
              <a:gd name="T13" fmla="*/ 35859 h 17"/>
              <a:gd name="T14" fmla="*/ 66535 w 34"/>
              <a:gd name="T15" fmla="*/ 35859 h 17"/>
              <a:gd name="T16" fmla="*/ 42583 w 34"/>
              <a:gd name="T17" fmla="*/ 41835 h 17"/>
              <a:gd name="T18" fmla="*/ 18630 w 34"/>
              <a:gd name="T19" fmla="*/ 38847 h 17"/>
              <a:gd name="T20" fmla="*/ 13307 w 34"/>
              <a:gd name="T21" fmla="*/ 26894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17">
                <a:moveTo>
                  <a:pt x="5" y="9"/>
                </a:moveTo>
                <a:cubicBezTo>
                  <a:pt x="4" y="7"/>
                  <a:pt x="1" y="6"/>
                  <a:pt x="1" y="6"/>
                </a:cubicBezTo>
                <a:cubicBezTo>
                  <a:pt x="1" y="6"/>
                  <a:pt x="0" y="3"/>
                  <a:pt x="0" y="2"/>
                </a:cubicBezTo>
                <a:cubicBezTo>
                  <a:pt x="0" y="0"/>
                  <a:pt x="4" y="2"/>
                  <a:pt x="4" y="2"/>
                </a:cubicBezTo>
                <a:cubicBezTo>
                  <a:pt x="7" y="2"/>
                  <a:pt x="14" y="2"/>
                  <a:pt x="16" y="3"/>
                </a:cubicBezTo>
                <a:cubicBezTo>
                  <a:pt x="19" y="3"/>
                  <a:pt x="26" y="5"/>
                  <a:pt x="28" y="7"/>
                </a:cubicBezTo>
                <a:cubicBezTo>
                  <a:pt x="29" y="8"/>
                  <a:pt x="34" y="11"/>
                  <a:pt x="33" y="12"/>
                </a:cubicBezTo>
                <a:cubicBezTo>
                  <a:pt x="32" y="12"/>
                  <a:pt x="28" y="12"/>
                  <a:pt x="25" y="12"/>
                </a:cubicBezTo>
                <a:cubicBezTo>
                  <a:pt x="21" y="12"/>
                  <a:pt x="19" y="14"/>
                  <a:pt x="16" y="14"/>
                </a:cubicBezTo>
                <a:cubicBezTo>
                  <a:pt x="12" y="14"/>
                  <a:pt x="9" y="17"/>
                  <a:pt x="7" y="13"/>
                </a:cubicBezTo>
                <a:cubicBezTo>
                  <a:pt x="5" y="9"/>
                  <a:pt x="6" y="11"/>
                  <a:pt x="5" y="9"/>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 name="Freeform 457"/>
          <p:cNvSpPr>
            <a:spLocks/>
          </p:cNvSpPr>
          <p:nvPr>
            <p:custDataLst>
              <p:tags r:id="rId9"/>
            </p:custDataLst>
          </p:nvPr>
        </p:nvSpPr>
        <p:spPr bwMode="auto">
          <a:xfrm>
            <a:off x="3920197" y="2268220"/>
            <a:ext cx="50927" cy="31610"/>
          </a:xfrm>
          <a:custGeom>
            <a:avLst/>
            <a:gdLst>
              <a:gd name="T0" fmla="*/ 5416 w 17"/>
              <a:gd name="T1" fmla="*/ 25718 h 10"/>
              <a:gd name="T2" fmla="*/ 8124 w 17"/>
              <a:gd name="T3" fmla="*/ 11430 h 10"/>
              <a:gd name="T4" fmla="*/ 32497 w 17"/>
              <a:gd name="T5" fmla="*/ 0 h 10"/>
              <a:gd name="T6" fmla="*/ 43330 w 17"/>
              <a:gd name="T7" fmla="*/ 2858 h 10"/>
              <a:gd name="T8" fmla="*/ 46038 w 17"/>
              <a:gd name="T9" fmla="*/ 2858 h 10"/>
              <a:gd name="T10" fmla="*/ 43330 w 17"/>
              <a:gd name="T11" fmla="*/ 14288 h 10"/>
              <a:gd name="T12" fmla="*/ 43330 w 17"/>
              <a:gd name="T13" fmla="*/ 17145 h 10"/>
              <a:gd name="T14" fmla="*/ 21665 w 17"/>
              <a:gd name="T15" fmla="*/ 25718 h 10"/>
              <a:gd name="T16" fmla="*/ 5416 w 17"/>
              <a:gd name="T17" fmla="*/ 25718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10">
                <a:moveTo>
                  <a:pt x="2" y="9"/>
                </a:moveTo>
                <a:cubicBezTo>
                  <a:pt x="0" y="9"/>
                  <a:pt x="1" y="5"/>
                  <a:pt x="3" y="4"/>
                </a:cubicBezTo>
                <a:cubicBezTo>
                  <a:pt x="6" y="2"/>
                  <a:pt x="8" y="0"/>
                  <a:pt x="12" y="0"/>
                </a:cubicBezTo>
                <a:cubicBezTo>
                  <a:pt x="16" y="1"/>
                  <a:pt x="16" y="1"/>
                  <a:pt x="16" y="1"/>
                </a:cubicBezTo>
                <a:cubicBezTo>
                  <a:pt x="17" y="1"/>
                  <a:pt x="17" y="1"/>
                  <a:pt x="17" y="1"/>
                </a:cubicBezTo>
                <a:cubicBezTo>
                  <a:pt x="17" y="1"/>
                  <a:pt x="17" y="3"/>
                  <a:pt x="16" y="5"/>
                </a:cubicBezTo>
                <a:cubicBezTo>
                  <a:pt x="16" y="6"/>
                  <a:pt x="16" y="6"/>
                  <a:pt x="16" y="6"/>
                </a:cubicBezTo>
                <a:cubicBezTo>
                  <a:pt x="14" y="8"/>
                  <a:pt x="9" y="9"/>
                  <a:pt x="8" y="9"/>
                </a:cubicBezTo>
                <a:cubicBezTo>
                  <a:pt x="6" y="9"/>
                  <a:pt x="4" y="10"/>
                  <a:pt x="2" y="9"/>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 name="Freeform 458"/>
          <p:cNvSpPr>
            <a:spLocks/>
          </p:cNvSpPr>
          <p:nvPr>
            <p:custDataLst>
              <p:tags r:id="rId10"/>
            </p:custDataLst>
          </p:nvPr>
        </p:nvSpPr>
        <p:spPr bwMode="auto">
          <a:xfrm>
            <a:off x="3844685" y="2157586"/>
            <a:ext cx="166829" cy="117659"/>
          </a:xfrm>
          <a:custGeom>
            <a:avLst/>
            <a:gdLst>
              <a:gd name="T0" fmla="*/ 5484 w 55"/>
              <a:gd name="T1" fmla="*/ 82727 h 36"/>
              <a:gd name="T2" fmla="*/ 24678 w 55"/>
              <a:gd name="T3" fmla="*/ 59091 h 36"/>
              <a:gd name="T4" fmla="*/ 24678 w 55"/>
              <a:gd name="T5" fmla="*/ 35454 h 36"/>
              <a:gd name="T6" fmla="*/ 27421 w 55"/>
              <a:gd name="T7" fmla="*/ 29545 h 36"/>
              <a:gd name="T8" fmla="*/ 32905 w 55"/>
              <a:gd name="T9" fmla="*/ 5909 h 36"/>
              <a:gd name="T10" fmla="*/ 43873 w 55"/>
              <a:gd name="T11" fmla="*/ 2955 h 36"/>
              <a:gd name="T12" fmla="*/ 54841 w 55"/>
              <a:gd name="T13" fmla="*/ 23636 h 36"/>
              <a:gd name="T14" fmla="*/ 68551 w 55"/>
              <a:gd name="T15" fmla="*/ 14773 h 36"/>
              <a:gd name="T16" fmla="*/ 87746 w 55"/>
              <a:gd name="T17" fmla="*/ 29545 h 36"/>
              <a:gd name="T18" fmla="*/ 109682 w 55"/>
              <a:gd name="T19" fmla="*/ 44318 h 36"/>
              <a:gd name="T20" fmla="*/ 126135 w 55"/>
              <a:gd name="T21" fmla="*/ 62045 h 36"/>
              <a:gd name="T22" fmla="*/ 150813 w 55"/>
              <a:gd name="T23" fmla="*/ 76818 h 36"/>
              <a:gd name="T24" fmla="*/ 134361 w 55"/>
              <a:gd name="T25" fmla="*/ 91590 h 36"/>
              <a:gd name="T26" fmla="*/ 115166 w 55"/>
              <a:gd name="T27" fmla="*/ 82727 h 36"/>
              <a:gd name="T28" fmla="*/ 104198 w 55"/>
              <a:gd name="T29" fmla="*/ 76818 h 36"/>
              <a:gd name="T30" fmla="*/ 90488 w 55"/>
              <a:gd name="T31" fmla="*/ 62045 h 36"/>
              <a:gd name="T32" fmla="*/ 79520 w 55"/>
              <a:gd name="T33" fmla="*/ 76818 h 36"/>
              <a:gd name="T34" fmla="*/ 54841 w 55"/>
              <a:gd name="T35" fmla="*/ 97499 h 36"/>
              <a:gd name="T36" fmla="*/ 41131 w 55"/>
              <a:gd name="T37" fmla="*/ 100454 h 36"/>
              <a:gd name="T38" fmla="*/ 38389 w 55"/>
              <a:gd name="T39" fmla="*/ 79772 h 36"/>
              <a:gd name="T40" fmla="*/ 5484 w 55"/>
              <a:gd name="T41" fmla="*/ 82727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5" h="36">
                <a:moveTo>
                  <a:pt x="2" y="28"/>
                </a:moveTo>
                <a:cubicBezTo>
                  <a:pt x="0" y="28"/>
                  <a:pt x="7" y="21"/>
                  <a:pt x="9" y="20"/>
                </a:cubicBezTo>
                <a:cubicBezTo>
                  <a:pt x="11" y="19"/>
                  <a:pt x="9" y="14"/>
                  <a:pt x="9" y="12"/>
                </a:cubicBezTo>
                <a:cubicBezTo>
                  <a:pt x="9" y="12"/>
                  <a:pt x="9" y="11"/>
                  <a:pt x="10" y="10"/>
                </a:cubicBezTo>
                <a:cubicBezTo>
                  <a:pt x="10" y="7"/>
                  <a:pt x="12" y="4"/>
                  <a:pt x="12" y="2"/>
                </a:cubicBezTo>
                <a:cubicBezTo>
                  <a:pt x="12" y="1"/>
                  <a:pt x="14" y="0"/>
                  <a:pt x="16" y="1"/>
                </a:cubicBezTo>
                <a:cubicBezTo>
                  <a:pt x="16" y="1"/>
                  <a:pt x="19" y="8"/>
                  <a:pt x="20" y="8"/>
                </a:cubicBezTo>
                <a:cubicBezTo>
                  <a:pt x="21" y="8"/>
                  <a:pt x="25" y="5"/>
                  <a:pt x="25" y="5"/>
                </a:cubicBezTo>
                <a:cubicBezTo>
                  <a:pt x="25" y="5"/>
                  <a:pt x="32" y="7"/>
                  <a:pt x="32" y="10"/>
                </a:cubicBezTo>
                <a:cubicBezTo>
                  <a:pt x="32" y="9"/>
                  <a:pt x="38" y="15"/>
                  <a:pt x="40" y="15"/>
                </a:cubicBezTo>
                <a:cubicBezTo>
                  <a:pt x="41" y="15"/>
                  <a:pt x="44" y="21"/>
                  <a:pt x="46" y="21"/>
                </a:cubicBezTo>
                <a:cubicBezTo>
                  <a:pt x="48" y="21"/>
                  <a:pt x="54" y="24"/>
                  <a:pt x="55" y="26"/>
                </a:cubicBezTo>
                <a:cubicBezTo>
                  <a:pt x="55" y="27"/>
                  <a:pt x="51" y="31"/>
                  <a:pt x="49" y="31"/>
                </a:cubicBezTo>
                <a:cubicBezTo>
                  <a:pt x="48" y="31"/>
                  <a:pt x="45" y="29"/>
                  <a:pt x="42" y="28"/>
                </a:cubicBezTo>
                <a:cubicBezTo>
                  <a:pt x="41" y="27"/>
                  <a:pt x="39" y="27"/>
                  <a:pt x="38" y="26"/>
                </a:cubicBezTo>
                <a:cubicBezTo>
                  <a:pt x="37" y="25"/>
                  <a:pt x="34" y="21"/>
                  <a:pt x="33" y="21"/>
                </a:cubicBezTo>
                <a:cubicBezTo>
                  <a:pt x="31" y="21"/>
                  <a:pt x="31" y="25"/>
                  <a:pt x="29" y="26"/>
                </a:cubicBezTo>
                <a:cubicBezTo>
                  <a:pt x="26" y="27"/>
                  <a:pt x="22" y="32"/>
                  <a:pt x="20" y="33"/>
                </a:cubicBezTo>
                <a:cubicBezTo>
                  <a:pt x="17" y="33"/>
                  <a:pt x="16" y="36"/>
                  <a:pt x="15" y="34"/>
                </a:cubicBezTo>
                <a:cubicBezTo>
                  <a:pt x="13" y="32"/>
                  <a:pt x="15" y="27"/>
                  <a:pt x="14" y="27"/>
                </a:cubicBezTo>
                <a:cubicBezTo>
                  <a:pt x="12" y="26"/>
                  <a:pt x="5" y="29"/>
                  <a:pt x="2" y="28"/>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 name="Freeform 459"/>
          <p:cNvSpPr>
            <a:spLocks/>
          </p:cNvSpPr>
          <p:nvPr>
            <p:custDataLst>
              <p:tags r:id="rId11"/>
            </p:custDataLst>
          </p:nvPr>
        </p:nvSpPr>
        <p:spPr bwMode="auto">
          <a:xfrm>
            <a:off x="3788489" y="1801099"/>
            <a:ext cx="658536" cy="514537"/>
          </a:xfrm>
          <a:custGeom>
            <a:avLst/>
            <a:gdLst>
              <a:gd name="T0" fmla="*/ 35338 w 219"/>
              <a:gd name="T1" fmla="*/ 11628 h 160"/>
              <a:gd name="T2" fmla="*/ 97860 w 219"/>
              <a:gd name="T3" fmla="*/ 5814 h 160"/>
              <a:gd name="T4" fmla="*/ 67958 w 219"/>
              <a:gd name="T5" fmla="*/ 61049 h 160"/>
              <a:gd name="T6" fmla="*/ 97860 w 219"/>
              <a:gd name="T7" fmla="*/ 101749 h 160"/>
              <a:gd name="T8" fmla="*/ 86986 w 219"/>
              <a:gd name="T9" fmla="*/ 78492 h 160"/>
              <a:gd name="T10" fmla="*/ 89705 w 219"/>
              <a:gd name="T11" fmla="*/ 52328 h 160"/>
              <a:gd name="T12" fmla="*/ 116888 w 219"/>
              <a:gd name="T13" fmla="*/ 17443 h 160"/>
              <a:gd name="T14" fmla="*/ 173973 w 219"/>
              <a:gd name="T15" fmla="*/ 14536 h 160"/>
              <a:gd name="T16" fmla="*/ 190283 w 219"/>
              <a:gd name="T17" fmla="*/ 49421 h 160"/>
              <a:gd name="T18" fmla="*/ 203874 w 219"/>
              <a:gd name="T19" fmla="*/ 69771 h 160"/>
              <a:gd name="T20" fmla="*/ 236494 w 219"/>
              <a:gd name="T21" fmla="*/ 72678 h 160"/>
              <a:gd name="T22" fmla="*/ 260959 w 219"/>
              <a:gd name="T23" fmla="*/ 49421 h 160"/>
              <a:gd name="T24" fmla="*/ 323481 w 219"/>
              <a:gd name="T25" fmla="*/ 72678 h 160"/>
              <a:gd name="T26" fmla="*/ 318044 w 219"/>
              <a:gd name="T27" fmla="*/ 95935 h 160"/>
              <a:gd name="T28" fmla="*/ 377847 w 219"/>
              <a:gd name="T29" fmla="*/ 98842 h 160"/>
              <a:gd name="T30" fmla="*/ 399594 w 219"/>
              <a:gd name="T31" fmla="*/ 130820 h 160"/>
              <a:gd name="T32" fmla="*/ 443087 w 219"/>
              <a:gd name="T33" fmla="*/ 133727 h 160"/>
              <a:gd name="T34" fmla="*/ 470270 w 219"/>
              <a:gd name="T35" fmla="*/ 159891 h 160"/>
              <a:gd name="T36" fmla="*/ 467552 w 219"/>
              <a:gd name="T37" fmla="*/ 180241 h 160"/>
              <a:gd name="T38" fmla="*/ 467552 w 219"/>
              <a:gd name="T39" fmla="*/ 191869 h 160"/>
              <a:gd name="T40" fmla="*/ 472988 w 219"/>
              <a:gd name="T41" fmla="*/ 220941 h 160"/>
              <a:gd name="T42" fmla="*/ 532792 w 219"/>
              <a:gd name="T43" fmla="*/ 252919 h 160"/>
              <a:gd name="T44" fmla="*/ 573566 w 219"/>
              <a:gd name="T45" fmla="*/ 273269 h 160"/>
              <a:gd name="T46" fmla="*/ 587158 w 219"/>
              <a:gd name="T47" fmla="*/ 302340 h 160"/>
              <a:gd name="T48" fmla="*/ 573566 w 219"/>
              <a:gd name="T49" fmla="*/ 322689 h 160"/>
              <a:gd name="T50" fmla="*/ 551820 w 219"/>
              <a:gd name="T51" fmla="*/ 325597 h 160"/>
              <a:gd name="T52" fmla="*/ 540947 w 219"/>
              <a:gd name="T53" fmla="*/ 348854 h 160"/>
              <a:gd name="T54" fmla="*/ 494735 w 219"/>
              <a:gd name="T55" fmla="*/ 308154 h 160"/>
              <a:gd name="T56" fmla="*/ 472988 w 219"/>
              <a:gd name="T57" fmla="*/ 311061 h 160"/>
              <a:gd name="T58" fmla="*/ 470270 w 219"/>
              <a:gd name="T59" fmla="*/ 337225 h 160"/>
              <a:gd name="T60" fmla="*/ 521918 w 219"/>
              <a:gd name="T61" fmla="*/ 380832 h 160"/>
              <a:gd name="T62" fmla="*/ 516482 w 219"/>
              <a:gd name="T63" fmla="*/ 415717 h 160"/>
              <a:gd name="T64" fmla="*/ 521918 w 219"/>
              <a:gd name="T65" fmla="*/ 444788 h 160"/>
              <a:gd name="T66" fmla="*/ 486580 w 219"/>
              <a:gd name="T67" fmla="*/ 409903 h 160"/>
              <a:gd name="T68" fmla="*/ 440369 w 219"/>
              <a:gd name="T69" fmla="*/ 398274 h 160"/>
              <a:gd name="T70" fmla="*/ 497453 w 219"/>
              <a:gd name="T71" fmla="*/ 447695 h 160"/>
              <a:gd name="T72" fmla="*/ 453960 w 219"/>
              <a:gd name="T73" fmla="*/ 447695 h 160"/>
              <a:gd name="T74" fmla="*/ 383284 w 219"/>
              <a:gd name="T75" fmla="*/ 418624 h 160"/>
              <a:gd name="T76" fmla="*/ 350664 w 219"/>
              <a:gd name="T77" fmla="*/ 377925 h 160"/>
              <a:gd name="T78" fmla="*/ 299016 w 219"/>
              <a:gd name="T79" fmla="*/ 369203 h 160"/>
              <a:gd name="T80" fmla="*/ 244649 w 219"/>
              <a:gd name="T81" fmla="*/ 360482 h 160"/>
              <a:gd name="T82" fmla="*/ 260959 w 219"/>
              <a:gd name="T83" fmla="*/ 334318 h 160"/>
              <a:gd name="T84" fmla="*/ 307171 w 219"/>
              <a:gd name="T85" fmla="*/ 340132 h 160"/>
              <a:gd name="T86" fmla="*/ 318044 w 219"/>
              <a:gd name="T87" fmla="*/ 308154 h 160"/>
              <a:gd name="T88" fmla="*/ 364255 w 219"/>
              <a:gd name="T89" fmla="*/ 267454 h 160"/>
              <a:gd name="T90" fmla="*/ 331636 w 219"/>
              <a:gd name="T91" fmla="*/ 223848 h 160"/>
              <a:gd name="T92" fmla="*/ 307171 w 219"/>
              <a:gd name="T93" fmla="*/ 212219 h 160"/>
              <a:gd name="T94" fmla="*/ 290861 w 219"/>
              <a:gd name="T95" fmla="*/ 197684 h 160"/>
              <a:gd name="T96" fmla="*/ 255522 w 219"/>
              <a:gd name="T97" fmla="*/ 171520 h 160"/>
              <a:gd name="T98" fmla="*/ 228339 w 219"/>
              <a:gd name="T99" fmla="*/ 136634 h 160"/>
              <a:gd name="T100" fmla="*/ 231058 w 219"/>
              <a:gd name="T101" fmla="*/ 162798 h 160"/>
              <a:gd name="T102" fmla="*/ 173973 w 219"/>
              <a:gd name="T103" fmla="*/ 159891 h 160"/>
              <a:gd name="T104" fmla="*/ 135916 w 219"/>
              <a:gd name="T105" fmla="*/ 156984 h 160"/>
              <a:gd name="T106" fmla="*/ 67958 w 219"/>
              <a:gd name="T107" fmla="*/ 145356 h 160"/>
              <a:gd name="T108" fmla="*/ 10873 w 219"/>
              <a:gd name="T109" fmla="*/ 125006 h 160"/>
              <a:gd name="T110" fmla="*/ 46212 w 219"/>
              <a:gd name="T111" fmla="*/ 110470 h 160"/>
              <a:gd name="T112" fmla="*/ 0 w 219"/>
              <a:gd name="T113" fmla="*/ 61049 h 1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19" h="160">
                <a:moveTo>
                  <a:pt x="0" y="21"/>
                </a:moveTo>
                <a:cubicBezTo>
                  <a:pt x="1" y="18"/>
                  <a:pt x="7" y="7"/>
                  <a:pt x="13" y="4"/>
                </a:cubicBezTo>
                <a:cubicBezTo>
                  <a:pt x="20" y="0"/>
                  <a:pt x="28" y="0"/>
                  <a:pt x="31" y="1"/>
                </a:cubicBezTo>
                <a:cubicBezTo>
                  <a:pt x="35" y="1"/>
                  <a:pt x="36" y="1"/>
                  <a:pt x="36" y="2"/>
                </a:cubicBezTo>
                <a:cubicBezTo>
                  <a:pt x="36" y="3"/>
                  <a:pt x="26" y="8"/>
                  <a:pt x="24" y="14"/>
                </a:cubicBezTo>
                <a:cubicBezTo>
                  <a:pt x="22" y="17"/>
                  <a:pt x="24" y="18"/>
                  <a:pt x="25" y="21"/>
                </a:cubicBezTo>
                <a:cubicBezTo>
                  <a:pt x="26" y="23"/>
                  <a:pt x="23" y="24"/>
                  <a:pt x="24" y="29"/>
                </a:cubicBezTo>
                <a:cubicBezTo>
                  <a:pt x="26" y="33"/>
                  <a:pt x="34" y="34"/>
                  <a:pt x="36" y="35"/>
                </a:cubicBezTo>
                <a:cubicBezTo>
                  <a:pt x="38" y="36"/>
                  <a:pt x="40" y="36"/>
                  <a:pt x="40" y="33"/>
                </a:cubicBezTo>
                <a:cubicBezTo>
                  <a:pt x="40" y="30"/>
                  <a:pt x="33" y="28"/>
                  <a:pt x="32" y="27"/>
                </a:cubicBezTo>
                <a:cubicBezTo>
                  <a:pt x="31" y="25"/>
                  <a:pt x="39" y="26"/>
                  <a:pt x="39" y="25"/>
                </a:cubicBezTo>
                <a:cubicBezTo>
                  <a:pt x="39" y="24"/>
                  <a:pt x="34" y="21"/>
                  <a:pt x="33" y="18"/>
                </a:cubicBezTo>
                <a:cubicBezTo>
                  <a:pt x="32" y="16"/>
                  <a:pt x="34" y="13"/>
                  <a:pt x="35" y="10"/>
                </a:cubicBezTo>
                <a:cubicBezTo>
                  <a:pt x="37" y="8"/>
                  <a:pt x="39" y="6"/>
                  <a:pt x="43" y="6"/>
                </a:cubicBezTo>
                <a:cubicBezTo>
                  <a:pt x="47" y="5"/>
                  <a:pt x="57" y="2"/>
                  <a:pt x="60" y="2"/>
                </a:cubicBezTo>
                <a:cubicBezTo>
                  <a:pt x="63" y="3"/>
                  <a:pt x="64" y="3"/>
                  <a:pt x="64" y="5"/>
                </a:cubicBezTo>
                <a:cubicBezTo>
                  <a:pt x="64" y="8"/>
                  <a:pt x="65" y="9"/>
                  <a:pt x="67" y="9"/>
                </a:cubicBezTo>
                <a:cubicBezTo>
                  <a:pt x="69" y="10"/>
                  <a:pt x="70" y="15"/>
                  <a:pt x="70" y="17"/>
                </a:cubicBezTo>
                <a:cubicBezTo>
                  <a:pt x="70" y="20"/>
                  <a:pt x="67" y="25"/>
                  <a:pt x="70" y="27"/>
                </a:cubicBezTo>
                <a:cubicBezTo>
                  <a:pt x="72" y="29"/>
                  <a:pt x="73" y="25"/>
                  <a:pt x="75" y="24"/>
                </a:cubicBezTo>
                <a:cubicBezTo>
                  <a:pt x="76" y="23"/>
                  <a:pt x="78" y="21"/>
                  <a:pt x="80" y="22"/>
                </a:cubicBezTo>
                <a:cubicBezTo>
                  <a:pt x="82" y="22"/>
                  <a:pt x="87" y="25"/>
                  <a:pt x="87" y="25"/>
                </a:cubicBezTo>
                <a:cubicBezTo>
                  <a:pt x="87" y="25"/>
                  <a:pt x="89" y="22"/>
                  <a:pt x="88" y="20"/>
                </a:cubicBezTo>
                <a:cubicBezTo>
                  <a:pt x="87" y="18"/>
                  <a:pt x="93" y="18"/>
                  <a:pt x="96" y="17"/>
                </a:cubicBezTo>
                <a:cubicBezTo>
                  <a:pt x="98" y="16"/>
                  <a:pt x="107" y="21"/>
                  <a:pt x="110" y="21"/>
                </a:cubicBezTo>
                <a:cubicBezTo>
                  <a:pt x="113" y="21"/>
                  <a:pt x="117" y="23"/>
                  <a:pt x="119" y="25"/>
                </a:cubicBezTo>
                <a:cubicBezTo>
                  <a:pt x="121" y="26"/>
                  <a:pt x="115" y="29"/>
                  <a:pt x="113" y="31"/>
                </a:cubicBezTo>
                <a:cubicBezTo>
                  <a:pt x="112" y="33"/>
                  <a:pt x="115" y="33"/>
                  <a:pt x="117" y="33"/>
                </a:cubicBezTo>
                <a:cubicBezTo>
                  <a:pt x="118" y="33"/>
                  <a:pt x="123" y="32"/>
                  <a:pt x="127" y="32"/>
                </a:cubicBezTo>
                <a:cubicBezTo>
                  <a:pt x="130" y="32"/>
                  <a:pt x="135" y="32"/>
                  <a:pt x="139" y="34"/>
                </a:cubicBezTo>
                <a:cubicBezTo>
                  <a:pt x="143" y="36"/>
                  <a:pt x="144" y="37"/>
                  <a:pt x="146" y="39"/>
                </a:cubicBezTo>
                <a:cubicBezTo>
                  <a:pt x="148" y="42"/>
                  <a:pt x="144" y="43"/>
                  <a:pt x="147" y="45"/>
                </a:cubicBezTo>
                <a:cubicBezTo>
                  <a:pt x="149" y="47"/>
                  <a:pt x="152" y="45"/>
                  <a:pt x="155" y="44"/>
                </a:cubicBezTo>
                <a:cubicBezTo>
                  <a:pt x="158" y="44"/>
                  <a:pt x="161" y="46"/>
                  <a:pt x="163" y="46"/>
                </a:cubicBezTo>
                <a:cubicBezTo>
                  <a:pt x="166" y="47"/>
                  <a:pt x="164" y="50"/>
                  <a:pt x="166" y="51"/>
                </a:cubicBezTo>
                <a:cubicBezTo>
                  <a:pt x="168" y="51"/>
                  <a:pt x="172" y="54"/>
                  <a:pt x="173" y="55"/>
                </a:cubicBezTo>
                <a:cubicBezTo>
                  <a:pt x="174" y="57"/>
                  <a:pt x="169" y="58"/>
                  <a:pt x="169" y="60"/>
                </a:cubicBezTo>
                <a:cubicBezTo>
                  <a:pt x="169" y="61"/>
                  <a:pt x="170" y="61"/>
                  <a:pt x="172" y="62"/>
                </a:cubicBezTo>
                <a:cubicBezTo>
                  <a:pt x="175" y="63"/>
                  <a:pt x="178" y="65"/>
                  <a:pt x="177" y="66"/>
                </a:cubicBezTo>
                <a:cubicBezTo>
                  <a:pt x="177" y="68"/>
                  <a:pt x="173" y="66"/>
                  <a:pt x="172" y="66"/>
                </a:cubicBezTo>
                <a:cubicBezTo>
                  <a:pt x="171" y="66"/>
                  <a:pt x="170" y="68"/>
                  <a:pt x="170" y="70"/>
                </a:cubicBezTo>
                <a:cubicBezTo>
                  <a:pt x="170" y="72"/>
                  <a:pt x="172" y="74"/>
                  <a:pt x="174" y="76"/>
                </a:cubicBezTo>
                <a:cubicBezTo>
                  <a:pt x="176" y="78"/>
                  <a:pt x="183" y="79"/>
                  <a:pt x="187" y="80"/>
                </a:cubicBezTo>
                <a:cubicBezTo>
                  <a:pt x="192" y="82"/>
                  <a:pt x="194" y="84"/>
                  <a:pt x="196" y="87"/>
                </a:cubicBezTo>
                <a:cubicBezTo>
                  <a:pt x="199" y="89"/>
                  <a:pt x="200" y="90"/>
                  <a:pt x="203" y="92"/>
                </a:cubicBezTo>
                <a:cubicBezTo>
                  <a:pt x="205" y="94"/>
                  <a:pt x="208" y="94"/>
                  <a:pt x="211" y="94"/>
                </a:cubicBezTo>
                <a:cubicBezTo>
                  <a:pt x="213" y="94"/>
                  <a:pt x="217" y="97"/>
                  <a:pt x="218" y="99"/>
                </a:cubicBezTo>
                <a:cubicBezTo>
                  <a:pt x="219" y="100"/>
                  <a:pt x="217" y="102"/>
                  <a:pt x="216" y="104"/>
                </a:cubicBezTo>
                <a:cubicBezTo>
                  <a:pt x="216" y="105"/>
                  <a:pt x="212" y="104"/>
                  <a:pt x="211" y="105"/>
                </a:cubicBezTo>
                <a:cubicBezTo>
                  <a:pt x="211" y="106"/>
                  <a:pt x="212" y="110"/>
                  <a:pt x="211" y="111"/>
                </a:cubicBezTo>
                <a:cubicBezTo>
                  <a:pt x="211" y="113"/>
                  <a:pt x="209" y="113"/>
                  <a:pt x="209" y="113"/>
                </a:cubicBezTo>
                <a:cubicBezTo>
                  <a:pt x="209" y="113"/>
                  <a:pt x="204" y="111"/>
                  <a:pt x="203" y="112"/>
                </a:cubicBezTo>
                <a:cubicBezTo>
                  <a:pt x="202" y="113"/>
                  <a:pt x="203" y="119"/>
                  <a:pt x="203" y="120"/>
                </a:cubicBezTo>
                <a:cubicBezTo>
                  <a:pt x="203" y="121"/>
                  <a:pt x="200" y="120"/>
                  <a:pt x="199" y="120"/>
                </a:cubicBezTo>
                <a:cubicBezTo>
                  <a:pt x="198" y="120"/>
                  <a:pt x="188" y="116"/>
                  <a:pt x="186" y="114"/>
                </a:cubicBezTo>
                <a:cubicBezTo>
                  <a:pt x="184" y="113"/>
                  <a:pt x="183" y="107"/>
                  <a:pt x="182" y="106"/>
                </a:cubicBezTo>
                <a:cubicBezTo>
                  <a:pt x="181" y="105"/>
                  <a:pt x="176" y="102"/>
                  <a:pt x="174" y="102"/>
                </a:cubicBezTo>
                <a:cubicBezTo>
                  <a:pt x="171" y="102"/>
                  <a:pt x="174" y="106"/>
                  <a:pt x="174" y="107"/>
                </a:cubicBezTo>
                <a:cubicBezTo>
                  <a:pt x="174" y="108"/>
                  <a:pt x="172" y="108"/>
                  <a:pt x="171" y="110"/>
                </a:cubicBezTo>
                <a:cubicBezTo>
                  <a:pt x="169" y="113"/>
                  <a:pt x="173" y="114"/>
                  <a:pt x="173" y="116"/>
                </a:cubicBezTo>
                <a:cubicBezTo>
                  <a:pt x="174" y="118"/>
                  <a:pt x="179" y="120"/>
                  <a:pt x="182" y="122"/>
                </a:cubicBezTo>
                <a:cubicBezTo>
                  <a:pt x="184" y="124"/>
                  <a:pt x="191" y="129"/>
                  <a:pt x="192" y="131"/>
                </a:cubicBezTo>
                <a:cubicBezTo>
                  <a:pt x="193" y="132"/>
                  <a:pt x="196" y="134"/>
                  <a:pt x="196" y="137"/>
                </a:cubicBezTo>
                <a:cubicBezTo>
                  <a:pt x="196" y="140"/>
                  <a:pt x="190" y="142"/>
                  <a:pt x="190" y="143"/>
                </a:cubicBezTo>
                <a:cubicBezTo>
                  <a:pt x="190" y="144"/>
                  <a:pt x="195" y="148"/>
                  <a:pt x="195" y="149"/>
                </a:cubicBezTo>
                <a:cubicBezTo>
                  <a:pt x="194" y="151"/>
                  <a:pt x="193" y="152"/>
                  <a:pt x="192" y="153"/>
                </a:cubicBezTo>
                <a:cubicBezTo>
                  <a:pt x="190" y="154"/>
                  <a:pt x="189" y="151"/>
                  <a:pt x="188" y="149"/>
                </a:cubicBezTo>
                <a:cubicBezTo>
                  <a:pt x="187" y="147"/>
                  <a:pt x="182" y="144"/>
                  <a:pt x="179" y="141"/>
                </a:cubicBezTo>
                <a:cubicBezTo>
                  <a:pt x="176" y="139"/>
                  <a:pt x="171" y="138"/>
                  <a:pt x="169" y="137"/>
                </a:cubicBezTo>
                <a:cubicBezTo>
                  <a:pt x="166" y="135"/>
                  <a:pt x="163" y="135"/>
                  <a:pt x="162" y="137"/>
                </a:cubicBezTo>
                <a:cubicBezTo>
                  <a:pt x="162" y="138"/>
                  <a:pt x="165" y="142"/>
                  <a:pt x="168" y="143"/>
                </a:cubicBezTo>
                <a:cubicBezTo>
                  <a:pt x="170" y="144"/>
                  <a:pt x="182" y="153"/>
                  <a:pt x="183" y="154"/>
                </a:cubicBezTo>
                <a:cubicBezTo>
                  <a:pt x="184" y="156"/>
                  <a:pt x="185" y="159"/>
                  <a:pt x="184" y="160"/>
                </a:cubicBezTo>
                <a:cubicBezTo>
                  <a:pt x="183" y="160"/>
                  <a:pt x="170" y="154"/>
                  <a:pt x="167" y="154"/>
                </a:cubicBezTo>
                <a:cubicBezTo>
                  <a:pt x="164" y="153"/>
                  <a:pt x="156" y="151"/>
                  <a:pt x="152" y="148"/>
                </a:cubicBezTo>
                <a:cubicBezTo>
                  <a:pt x="148" y="146"/>
                  <a:pt x="143" y="146"/>
                  <a:pt x="141" y="144"/>
                </a:cubicBezTo>
                <a:cubicBezTo>
                  <a:pt x="138" y="142"/>
                  <a:pt x="139" y="139"/>
                  <a:pt x="139" y="137"/>
                </a:cubicBezTo>
                <a:cubicBezTo>
                  <a:pt x="139" y="136"/>
                  <a:pt x="131" y="132"/>
                  <a:pt x="129" y="130"/>
                </a:cubicBezTo>
                <a:cubicBezTo>
                  <a:pt x="126" y="128"/>
                  <a:pt x="122" y="127"/>
                  <a:pt x="120" y="125"/>
                </a:cubicBezTo>
                <a:cubicBezTo>
                  <a:pt x="118" y="123"/>
                  <a:pt x="111" y="126"/>
                  <a:pt x="110" y="127"/>
                </a:cubicBezTo>
                <a:cubicBezTo>
                  <a:pt x="108" y="128"/>
                  <a:pt x="101" y="130"/>
                  <a:pt x="98" y="130"/>
                </a:cubicBezTo>
                <a:cubicBezTo>
                  <a:pt x="94" y="130"/>
                  <a:pt x="91" y="125"/>
                  <a:pt x="90" y="124"/>
                </a:cubicBezTo>
                <a:cubicBezTo>
                  <a:pt x="88" y="123"/>
                  <a:pt x="92" y="119"/>
                  <a:pt x="94" y="118"/>
                </a:cubicBezTo>
                <a:cubicBezTo>
                  <a:pt x="96" y="117"/>
                  <a:pt x="94" y="115"/>
                  <a:pt x="96" y="115"/>
                </a:cubicBezTo>
                <a:cubicBezTo>
                  <a:pt x="96" y="115"/>
                  <a:pt x="100" y="114"/>
                  <a:pt x="102" y="115"/>
                </a:cubicBezTo>
                <a:cubicBezTo>
                  <a:pt x="105" y="116"/>
                  <a:pt x="109" y="116"/>
                  <a:pt x="113" y="117"/>
                </a:cubicBezTo>
                <a:cubicBezTo>
                  <a:pt x="116" y="117"/>
                  <a:pt x="123" y="115"/>
                  <a:pt x="124" y="115"/>
                </a:cubicBezTo>
                <a:cubicBezTo>
                  <a:pt x="126" y="115"/>
                  <a:pt x="117" y="108"/>
                  <a:pt x="117" y="106"/>
                </a:cubicBezTo>
                <a:cubicBezTo>
                  <a:pt x="117" y="105"/>
                  <a:pt x="124" y="99"/>
                  <a:pt x="127" y="99"/>
                </a:cubicBezTo>
                <a:cubicBezTo>
                  <a:pt x="129" y="99"/>
                  <a:pt x="132" y="94"/>
                  <a:pt x="134" y="92"/>
                </a:cubicBezTo>
                <a:cubicBezTo>
                  <a:pt x="135" y="91"/>
                  <a:pt x="131" y="86"/>
                  <a:pt x="131" y="85"/>
                </a:cubicBezTo>
                <a:cubicBezTo>
                  <a:pt x="130" y="84"/>
                  <a:pt x="126" y="78"/>
                  <a:pt x="122" y="77"/>
                </a:cubicBezTo>
                <a:cubicBezTo>
                  <a:pt x="118" y="75"/>
                  <a:pt x="121" y="73"/>
                  <a:pt x="118" y="72"/>
                </a:cubicBezTo>
                <a:cubicBezTo>
                  <a:pt x="115" y="70"/>
                  <a:pt x="114" y="72"/>
                  <a:pt x="113" y="73"/>
                </a:cubicBezTo>
                <a:cubicBezTo>
                  <a:pt x="112" y="73"/>
                  <a:pt x="102" y="72"/>
                  <a:pt x="102" y="71"/>
                </a:cubicBezTo>
                <a:cubicBezTo>
                  <a:pt x="102" y="70"/>
                  <a:pt x="106" y="68"/>
                  <a:pt x="107" y="68"/>
                </a:cubicBezTo>
                <a:cubicBezTo>
                  <a:pt x="108" y="68"/>
                  <a:pt x="109" y="66"/>
                  <a:pt x="105" y="63"/>
                </a:cubicBezTo>
                <a:cubicBezTo>
                  <a:pt x="101" y="61"/>
                  <a:pt x="94" y="60"/>
                  <a:pt x="94" y="59"/>
                </a:cubicBezTo>
                <a:cubicBezTo>
                  <a:pt x="93" y="57"/>
                  <a:pt x="92" y="54"/>
                  <a:pt x="91" y="52"/>
                </a:cubicBezTo>
                <a:cubicBezTo>
                  <a:pt x="91" y="50"/>
                  <a:pt x="84" y="47"/>
                  <a:pt x="84" y="47"/>
                </a:cubicBezTo>
                <a:cubicBezTo>
                  <a:pt x="84" y="47"/>
                  <a:pt x="81" y="48"/>
                  <a:pt x="80" y="49"/>
                </a:cubicBezTo>
                <a:cubicBezTo>
                  <a:pt x="80" y="51"/>
                  <a:pt x="85" y="54"/>
                  <a:pt x="85" y="56"/>
                </a:cubicBezTo>
                <a:cubicBezTo>
                  <a:pt x="85" y="58"/>
                  <a:pt x="80" y="57"/>
                  <a:pt x="78" y="57"/>
                </a:cubicBezTo>
                <a:cubicBezTo>
                  <a:pt x="77" y="57"/>
                  <a:pt x="66" y="55"/>
                  <a:pt x="64" y="55"/>
                </a:cubicBezTo>
                <a:cubicBezTo>
                  <a:pt x="63" y="55"/>
                  <a:pt x="61" y="56"/>
                  <a:pt x="58" y="56"/>
                </a:cubicBezTo>
                <a:cubicBezTo>
                  <a:pt x="56" y="56"/>
                  <a:pt x="53" y="54"/>
                  <a:pt x="50" y="54"/>
                </a:cubicBezTo>
                <a:cubicBezTo>
                  <a:pt x="47" y="54"/>
                  <a:pt x="43" y="53"/>
                  <a:pt x="40" y="53"/>
                </a:cubicBezTo>
                <a:cubicBezTo>
                  <a:pt x="37" y="53"/>
                  <a:pt x="27" y="50"/>
                  <a:pt x="25" y="50"/>
                </a:cubicBezTo>
                <a:cubicBezTo>
                  <a:pt x="23" y="49"/>
                  <a:pt x="20" y="50"/>
                  <a:pt x="16" y="51"/>
                </a:cubicBezTo>
                <a:cubicBezTo>
                  <a:pt x="12" y="51"/>
                  <a:pt x="4" y="45"/>
                  <a:pt x="4" y="43"/>
                </a:cubicBezTo>
                <a:cubicBezTo>
                  <a:pt x="4" y="42"/>
                  <a:pt x="20" y="42"/>
                  <a:pt x="21" y="41"/>
                </a:cubicBezTo>
                <a:cubicBezTo>
                  <a:pt x="21" y="39"/>
                  <a:pt x="19" y="39"/>
                  <a:pt x="17" y="38"/>
                </a:cubicBezTo>
                <a:cubicBezTo>
                  <a:pt x="15" y="37"/>
                  <a:pt x="0" y="35"/>
                  <a:pt x="0" y="34"/>
                </a:cubicBezTo>
                <a:cubicBezTo>
                  <a:pt x="0" y="33"/>
                  <a:pt x="0" y="25"/>
                  <a:pt x="0" y="21"/>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 name="Freeform 460"/>
          <p:cNvSpPr>
            <a:spLocks/>
          </p:cNvSpPr>
          <p:nvPr>
            <p:custDataLst>
              <p:tags r:id="rId12"/>
            </p:custDataLst>
          </p:nvPr>
        </p:nvSpPr>
        <p:spPr bwMode="auto">
          <a:xfrm>
            <a:off x="3737563" y="1297099"/>
            <a:ext cx="712975" cy="386341"/>
          </a:xfrm>
          <a:custGeom>
            <a:avLst/>
            <a:gdLst>
              <a:gd name="T0" fmla="*/ 13598 w 237"/>
              <a:gd name="T1" fmla="*/ 90223 h 120"/>
              <a:gd name="T2" fmla="*/ 10878 w 237"/>
              <a:gd name="T3" fmla="*/ 75671 h 120"/>
              <a:gd name="T4" fmla="*/ 48951 w 237"/>
              <a:gd name="T5" fmla="*/ 69850 h 120"/>
              <a:gd name="T6" fmla="*/ 67988 w 237"/>
              <a:gd name="T7" fmla="*/ 58208 h 120"/>
              <a:gd name="T8" fmla="*/ 103342 w 237"/>
              <a:gd name="T9" fmla="*/ 61119 h 120"/>
              <a:gd name="T10" fmla="*/ 135976 w 237"/>
              <a:gd name="T11" fmla="*/ 49477 h 120"/>
              <a:gd name="T12" fmla="*/ 152293 w 237"/>
              <a:gd name="T13" fmla="*/ 34925 h 120"/>
              <a:gd name="T14" fmla="*/ 190366 w 237"/>
              <a:gd name="T15" fmla="*/ 52388 h 120"/>
              <a:gd name="T16" fmla="*/ 206683 w 237"/>
              <a:gd name="T17" fmla="*/ 46567 h 120"/>
              <a:gd name="T18" fmla="*/ 206683 w 237"/>
              <a:gd name="T19" fmla="*/ 26194 h 120"/>
              <a:gd name="T20" fmla="*/ 252915 w 237"/>
              <a:gd name="T21" fmla="*/ 26194 h 120"/>
              <a:gd name="T22" fmla="*/ 282830 w 237"/>
              <a:gd name="T23" fmla="*/ 11642 h 120"/>
              <a:gd name="T24" fmla="*/ 323622 w 237"/>
              <a:gd name="T25" fmla="*/ 29104 h 120"/>
              <a:gd name="T26" fmla="*/ 318183 w 237"/>
              <a:gd name="T27" fmla="*/ 5821 h 120"/>
              <a:gd name="T28" fmla="*/ 372574 w 237"/>
              <a:gd name="T29" fmla="*/ 8731 h 120"/>
              <a:gd name="T30" fmla="*/ 394330 w 237"/>
              <a:gd name="T31" fmla="*/ 2910 h 120"/>
              <a:gd name="T32" fmla="*/ 459598 w 237"/>
              <a:gd name="T33" fmla="*/ 2910 h 120"/>
              <a:gd name="T34" fmla="*/ 519427 w 237"/>
              <a:gd name="T35" fmla="*/ 17463 h 120"/>
              <a:gd name="T36" fmla="*/ 519427 w 237"/>
              <a:gd name="T37" fmla="*/ 34925 h 120"/>
              <a:gd name="T38" fmla="*/ 584696 w 237"/>
              <a:gd name="T39" fmla="*/ 17463 h 120"/>
              <a:gd name="T40" fmla="*/ 630927 w 237"/>
              <a:gd name="T41" fmla="*/ 34925 h 120"/>
              <a:gd name="T42" fmla="*/ 579257 w 237"/>
              <a:gd name="T43" fmla="*/ 69850 h 120"/>
              <a:gd name="T44" fmla="*/ 473196 w 237"/>
              <a:gd name="T45" fmla="*/ 93133 h 120"/>
              <a:gd name="T46" fmla="*/ 492232 w 237"/>
              <a:gd name="T47" fmla="*/ 104775 h 120"/>
              <a:gd name="T48" fmla="*/ 524866 w 237"/>
              <a:gd name="T49" fmla="*/ 116417 h 120"/>
              <a:gd name="T50" fmla="*/ 437842 w 237"/>
              <a:gd name="T51" fmla="*/ 174625 h 120"/>
              <a:gd name="T52" fmla="*/ 320903 w 237"/>
              <a:gd name="T53" fmla="*/ 192088 h 120"/>
              <a:gd name="T54" fmla="*/ 356256 w 237"/>
              <a:gd name="T55" fmla="*/ 209550 h 120"/>
              <a:gd name="T56" fmla="*/ 353537 w 237"/>
              <a:gd name="T57" fmla="*/ 247385 h 120"/>
              <a:gd name="T58" fmla="*/ 288269 w 237"/>
              <a:gd name="T59" fmla="*/ 264848 h 120"/>
              <a:gd name="T60" fmla="*/ 236598 w 237"/>
              <a:gd name="T61" fmla="*/ 293952 h 120"/>
              <a:gd name="T62" fmla="*/ 274671 w 237"/>
              <a:gd name="T63" fmla="*/ 311415 h 120"/>
              <a:gd name="T64" fmla="*/ 285549 w 237"/>
              <a:gd name="T65" fmla="*/ 334698 h 120"/>
              <a:gd name="T66" fmla="*/ 228439 w 237"/>
              <a:gd name="T67" fmla="*/ 331788 h 120"/>
              <a:gd name="T68" fmla="*/ 155012 w 237"/>
              <a:gd name="T69" fmla="*/ 331788 h 120"/>
              <a:gd name="T70" fmla="*/ 95183 w 237"/>
              <a:gd name="T71" fmla="*/ 334698 h 120"/>
              <a:gd name="T72" fmla="*/ 57110 w 237"/>
              <a:gd name="T73" fmla="*/ 317235 h 120"/>
              <a:gd name="T74" fmla="*/ 92464 w 237"/>
              <a:gd name="T75" fmla="*/ 293952 h 120"/>
              <a:gd name="T76" fmla="*/ 114220 w 237"/>
              <a:gd name="T77" fmla="*/ 276490 h 120"/>
              <a:gd name="T78" fmla="*/ 168610 w 237"/>
              <a:gd name="T79" fmla="*/ 299773 h 120"/>
              <a:gd name="T80" fmla="*/ 149573 w 237"/>
              <a:gd name="T81" fmla="*/ 282310 h 120"/>
              <a:gd name="T82" fmla="*/ 149573 w 237"/>
              <a:gd name="T83" fmla="*/ 250296 h 120"/>
              <a:gd name="T84" fmla="*/ 97903 w 237"/>
              <a:gd name="T85" fmla="*/ 253206 h 120"/>
              <a:gd name="T86" fmla="*/ 130537 w 237"/>
              <a:gd name="T87" fmla="*/ 227013 h 120"/>
              <a:gd name="T88" fmla="*/ 195805 w 237"/>
              <a:gd name="T89" fmla="*/ 224102 h 120"/>
              <a:gd name="T90" fmla="*/ 163171 w 237"/>
              <a:gd name="T91" fmla="*/ 206640 h 120"/>
              <a:gd name="T92" fmla="*/ 130537 w 237"/>
              <a:gd name="T93" fmla="*/ 174625 h 120"/>
              <a:gd name="T94" fmla="*/ 116939 w 237"/>
              <a:gd name="T95" fmla="*/ 154252 h 120"/>
              <a:gd name="T96" fmla="*/ 171329 w 237"/>
              <a:gd name="T97" fmla="*/ 157163 h 120"/>
              <a:gd name="T98" fmla="*/ 217561 w 237"/>
              <a:gd name="T99" fmla="*/ 186267 h 120"/>
              <a:gd name="T100" fmla="*/ 220281 w 237"/>
              <a:gd name="T101" fmla="*/ 168804 h 120"/>
              <a:gd name="T102" fmla="*/ 214842 w 237"/>
              <a:gd name="T103" fmla="*/ 148431 h 120"/>
              <a:gd name="T104" fmla="*/ 277391 w 237"/>
              <a:gd name="T105" fmla="*/ 128058 h 120"/>
              <a:gd name="T106" fmla="*/ 282830 w 237"/>
              <a:gd name="T107" fmla="*/ 104775 h 120"/>
              <a:gd name="T108" fmla="*/ 255634 w 237"/>
              <a:gd name="T109" fmla="*/ 125148 h 120"/>
              <a:gd name="T110" fmla="*/ 111500 w 237"/>
              <a:gd name="T111" fmla="*/ 133879 h 120"/>
              <a:gd name="T112" fmla="*/ 100622 w 237"/>
              <a:gd name="T113" fmla="*/ 116417 h 120"/>
              <a:gd name="T114" fmla="*/ 116939 w 237"/>
              <a:gd name="T115" fmla="*/ 98954 h 120"/>
              <a:gd name="T116" fmla="*/ 32634 w 237"/>
              <a:gd name="T117" fmla="*/ 93133 h 1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7" h="120">
                <a:moveTo>
                  <a:pt x="12" y="32"/>
                </a:moveTo>
                <a:cubicBezTo>
                  <a:pt x="8" y="30"/>
                  <a:pt x="8" y="31"/>
                  <a:pt x="5" y="31"/>
                </a:cubicBezTo>
                <a:cubicBezTo>
                  <a:pt x="3" y="31"/>
                  <a:pt x="2" y="29"/>
                  <a:pt x="2" y="29"/>
                </a:cubicBezTo>
                <a:cubicBezTo>
                  <a:pt x="0" y="28"/>
                  <a:pt x="2" y="26"/>
                  <a:pt x="4" y="26"/>
                </a:cubicBezTo>
                <a:cubicBezTo>
                  <a:pt x="5" y="26"/>
                  <a:pt x="10" y="23"/>
                  <a:pt x="11" y="23"/>
                </a:cubicBezTo>
                <a:cubicBezTo>
                  <a:pt x="12" y="23"/>
                  <a:pt x="18" y="24"/>
                  <a:pt x="18" y="24"/>
                </a:cubicBezTo>
                <a:cubicBezTo>
                  <a:pt x="18" y="24"/>
                  <a:pt x="20" y="25"/>
                  <a:pt x="22" y="24"/>
                </a:cubicBezTo>
                <a:cubicBezTo>
                  <a:pt x="23" y="23"/>
                  <a:pt x="24" y="21"/>
                  <a:pt x="25" y="20"/>
                </a:cubicBezTo>
                <a:cubicBezTo>
                  <a:pt x="26" y="20"/>
                  <a:pt x="32" y="19"/>
                  <a:pt x="33" y="19"/>
                </a:cubicBezTo>
                <a:cubicBezTo>
                  <a:pt x="34" y="20"/>
                  <a:pt x="36" y="21"/>
                  <a:pt x="38" y="21"/>
                </a:cubicBezTo>
                <a:cubicBezTo>
                  <a:pt x="40" y="21"/>
                  <a:pt x="41" y="17"/>
                  <a:pt x="41" y="17"/>
                </a:cubicBezTo>
                <a:cubicBezTo>
                  <a:pt x="42" y="17"/>
                  <a:pt x="50" y="18"/>
                  <a:pt x="50" y="17"/>
                </a:cubicBezTo>
                <a:cubicBezTo>
                  <a:pt x="50" y="16"/>
                  <a:pt x="48" y="12"/>
                  <a:pt x="49" y="12"/>
                </a:cubicBezTo>
                <a:cubicBezTo>
                  <a:pt x="50" y="12"/>
                  <a:pt x="55" y="12"/>
                  <a:pt x="56" y="12"/>
                </a:cubicBezTo>
                <a:cubicBezTo>
                  <a:pt x="57" y="13"/>
                  <a:pt x="62" y="14"/>
                  <a:pt x="64" y="15"/>
                </a:cubicBezTo>
                <a:cubicBezTo>
                  <a:pt x="65" y="16"/>
                  <a:pt x="68" y="18"/>
                  <a:pt x="70" y="18"/>
                </a:cubicBezTo>
                <a:cubicBezTo>
                  <a:pt x="72" y="19"/>
                  <a:pt x="75" y="18"/>
                  <a:pt x="76" y="18"/>
                </a:cubicBezTo>
                <a:cubicBezTo>
                  <a:pt x="78" y="18"/>
                  <a:pt x="77" y="17"/>
                  <a:pt x="76" y="16"/>
                </a:cubicBezTo>
                <a:cubicBezTo>
                  <a:pt x="76" y="16"/>
                  <a:pt x="71" y="14"/>
                  <a:pt x="72" y="13"/>
                </a:cubicBezTo>
                <a:cubicBezTo>
                  <a:pt x="73" y="12"/>
                  <a:pt x="76" y="9"/>
                  <a:pt x="76" y="9"/>
                </a:cubicBezTo>
                <a:cubicBezTo>
                  <a:pt x="76" y="9"/>
                  <a:pt x="82" y="7"/>
                  <a:pt x="85" y="7"/>
                </a:cubicBezTo>
                <a:cubicBezTo>
                  <a:pt x="89" y="6"/>
                  <a:pt x="91" y="9"/>
                  <a:pt x="93" y="9"/>
                </a:cubicBezTo>
                <a:cubicBezTo>
                  <a:pt x="96" y="9"/>
                  <a:pt x="92" y="4"/>
                  <a:pt x="94" y="4"/>
                </a:cubicBezTo>
                <a:cubicBezTo>
                  <a:pt x="96" y="3"/>
                  <a:pt x="102" y="3"/>
                  <a:pt x="104" y="4"/>
                </a:cubicBezTo>
                <a:cubicBezTo>
                  <a:pt x="106" y="5"/>
                  <a:pt x="111" y="5"/>
                  <a:pt x="112" y="6"/>
                </a:cubicBezTo>
                <a:cubicBezTo>
                  <a:pt x="114" y="7"/>
                  <a:pt x="118" y="9"/>
                  <a:pt x="119" y="10"/>
                </a:cubicBezTo>
                <a:cubicBezTo>
                  <a:pt x="120" y="11"/>
                  <a:pt x="123" y="11"/>
                  <a:pt x="124" y="10"/>
                </a:cubicBezTo>
                <a:cubicBezTo>
                  <a:pt x="125" y="9"/>
                  <a:pt x="117" y="4"/>
                  <a:pt x="117" y="2"/>
                </a:cubicBezTo>
                <a:cubicBezTo>
                  <a:pt x="118" y="1"/>
                  <a:pt x="127" y="1"/>
                  <a:pt x="129" y="1"/>
                </a:cubicBezTo>
                <a:cubicBezTo>
                  <a:pt x="132" y="1"/>
                  <a:pt x="136" y="2"/>
                  <a:pt x="137" y="3"/>
                </a:cubicBezTo>
                <a:cubicBezTo>
                  <a:pt x="138" y="4"/>
                  <a:pt x="142" y="6"/>
                  <a:pt x="144" y="6"/>
                </a:cubicBezTo>
                <a:cubicBezTo>
                  <a:pt x="146" y="6"/>
                  <a:pt x="144" y="1"/>
                  <a:pt x="145" y="1"/>
                </a:cubicBezTo>
                <a:cubicBezTo>
                  <a:pt x="147" y="1"/>
                  <a:pt x="152" y="1"/>
                  <a:pt x="155" y="1"/>
                </a:cubicBezTo>
                <a:cubicBezTo>
                  <a:pt x="157" y="2"/>
                  <a:pt x="167" y="0"/>
                  <a:pt x="169" y="1"/>
                </a:cubicBezTo>
                <a:cubicBezTo>
                  <a:pt x="171" y="1"/>
                  <a:pt x="186" y="3"/>
                  <a:pt x="189" y="3"/>
                </a:cubicBezTo>
                <a:cubicBezTo>
                  <a:pt x="192" y="4"/>
                  <a:pt x="200" y="4"/>
                  <a:pt x="191" y="6"/>
                </a:cubicBezTo>
                <a:cubicBezTo>
                  <a:pt x="182" y="9"/>
                  <a:pt x="176" y="9"/>
                  <a:pt x="178" y="11"/>
                </a:cubicBezTo>
                <a:cubicBezTo>
                  <a:pt x="180" y="12"/>
                  <a:pt x="189" y="12"/>
                  <a:pt x="191" y="12"/>
                </a:cubicBezTo>
                <a:cubicBezTo>
                  <a:pt x="192" y="12"/>
                  <a:pt x="202" y="9"/>
                  <a:pt x="205" y="7"/>
                </a:cubicBezTo>
                <a:cubicBezTo>
                  <a:pt x="208" y="5"/>
                  <a:pt x="213" y="6"/>
                  <a:pt x="215" y="6"/>
                </a:cubicBezTo>
                <a:cubicBezTo>
                  <a:pt x="217" y="7"/>
                  <a:pt x="219" y="11"/>
                  <a:pt x="222" y="11"/>
                </a:cubicBezTo>
                <a:cubicBezTo>
                  <a:pt x="224" y="12"/>
                  <a:pt x="230" y="11"/>
                  <a:pt x="232" y="12"/>
                </a:cubicBezTo>
                <a:cubicBezTo>
                  <a:pt x="234" y="14"/>
                  <a:pt x="237" y="15"/>
                  <a:pt x="233" y="18"/>
                </a:cubicBezTo>
                <a:cubicBezTo>
                  <a:pt x="231" y="19"/>
                  <a:pt x="217" y="24"/>
                  <a:pt x="213" y="24"/>
                </a:cubicBezTo>
                <a:cubicBezTo>
                  <a:pt x="209" y="24"/>
                  <a:pt x="200" y="26"/>
                  <a:pt x="198" y="27"/>
                </a:cubicBezTo>
                <a:cubicBezTo>
                  <a:pt x="192" y="27"/>
                  <a:pt x="179" y="32"/>
                  <a:pt x="174" y="32"/>
                </a:cubicBezTo>
                <a:cubicBezTo>
                  <a:pt x="169" y="33"/>
                  <a:pt x="169" y="36"/>
                  <a:pt x="170" y="37"/>
                </a:cubicBezTo>
                <a:cubicBezTo>
                  <a:pt x="171" y="37"/>
                  <a:pt x="178" y="36"/>
                  <a:pt x="181" y="36"/>
                </a:cubicBezTo>
                <a:cubicBezTo>
                  <a:pt x="184" y="36"/>
                  <a:pt x="209" y="30"/>
                  <a:pt x="209" y="31"/>
                </a:cubicBezTo>
                <a:cubicBezTo>
                  <a:pt x="210" y="32"/>
                  <a:pt x="197" y="39"/>
                  <a:pt x="193" y="40"/>
                </a:cubicBezTo>
                <a:cubicBezTo>
                  <a:pt x="188" y="42"/>
                  <a:pt x="176" y="49"/>
                  <a:pt x="172" y="51"/>
                </a:cubicBezTo>
                <a:cubicBezTo>
                  <a:pt x="169" y="52"/>
                  <a:pt x="164" y="58"/>
                  <a:pt x="161" y="60"/>
                </a:cubicBezTo>
                <a:cubicBezTo>
                  <a:pt x="158" y="61"/>
                  <a:pt x="149" y="65"/>
                  <a:pt x="145" y="65"/>
                </a:cubicBezTo>
                <a:cubicBezTo>
                  <a:pt x="142" y="65"/>
                  <a:pt x="121" y="67"/>
                  <a:pt x="118" y="66"/>
                </a:cubicBezTo>
                <a:cubicBezTo>
                  <a:pt x="115" y="66"/>
                  <a:pt x="112" y="69"/>
                  <a:pt x="114" y="69"/>
                </a:cubicBezTo>
                <a:cubicBezTo>
                  <a:pt x="116" y="69"/>
                  <a:pt x="128" y="71"/>
                  <a:pt x="131" y="72"/>
                </a:cubicBezTo>
                <a:cubicBezTo>
                  <a:pt x="134" y="73"/>
                  <a:pt x="132" y="74"/>
                  <a:pt x="132" y="76"/>
                </a:cubicBezTo>
                <a:cubicBezTo>
                  <a:pt x="132" y="78"/>
                  <a:pt x="132" y="82"/>
                  <a:pt x="130" y="85"/>
                </a:cubicBezTo>
                <a:cubicBezTo>
                  <a:pt x="127" y="88"/>
                  <a:pt x="124" y="91"/>
                  <a:pt x="123" y="91"/>
                </a:cubicBezTo>
                <a:cubicBezTo>
                  <a:pt x="122" y="91"/>
                  <a:pt x="110" y="91"/>
                  <a:pt x="106" y="91"/>
                </a:cubicBezTo>
                <a:cubicBezTo>
                  <a:pt x="102" y="92"/>
                  <a:pt x="110" y="97"/>
                  <a:pt x="108" y="98"/>
                </a:cubicBezTo>
                <a:cubicBezTo>
                  <a:pt x="106" y="100"/>
                  <a:pt x="91" y="102"/>
                  <a:pt x="87" y="101"/>
                </a:cubicBezTo>
                <a:cubicBezTo>
                  <a:pt x="83" y="100"/>
                  <a:pt x="84" y="100"/>
                  <a:pt x="83" y="103"/>
                </a:cubicBezTo>
                <a:cubicBezTo>
                  <a:pt x="81" y="106"/>
                  <a:pt x="97" y="106"/>
                  <a:pt x="101" y="107"/>
                </a:cubicBezTo>
                <a:cubicBezTo>
                  <a:pt x="104" y="108"/>
                  <a:pt x="106" y="106"/>
                  <a:pt x="107" y="108"/>
                </a:cubicBezTo>
                <a:cubicBezTo>
                  <a:pt x="108" y="111"/>
                  <a:pt x="107" y="114"/>
                  <a:pt x="105" y="115"/>
                </a:cubicBezTo>
                <a:cubicBezTo>
                  <a:pt x="103" y="115"/>
                  <a:pt x="88" y="120"/>
                  <a:pt x="86" y="120"/>
                </a:cubicBezTo>
                <a:cubicBezTo>
                  <a:pt x="84" y="120"/>
                  <a:pt x="89" y="114"/>
                  <a:pt x="84" y="114"/>
                </a:cubicBezTo>
                <a:cubicBezTo>
                  <a:pt x="79" y="114"/>
                  <a:pt x="77" y="116"/>
                  <a:pt x="69" y="115"/>
                </a:cubicBezTo>
                <a:cubicBezTo>
                  <a:pt x="61" y="115"/>
                  <a:pt x="59" y="114"/>
                  <a:pt x="57" y="114"/>
                </a:cubicBezTo>
                <a:cubicBezTo>
                  <a:pt x="55" y="114"/>
                  <a:pt x="61" y="120"/>
                  <a:pt x="54" y="119"/>
                </a:cubicBezTo>
                <a:cubicBezTo>
                  <a:pt x="47" y="119"/>
                  <a:pt x="39" y="116"/>
                  <a:pt x="35" y="115"/>
                </a:cubicBezTo>
                <a:cubicBezTo>
                  <a:pt x="30" y="115"/>
                  <a:pt x="20" y="116"/>
                  <a:pt x="18" y="113"/>
                </a:cubicBezTo>
                <a:cubicBezTo>
                  <a:pt x="16" y="111"/>
                  <a:pt x="17" y="110"/>
                  <a:pt x="21" y="109"/>
                </a:cubicBezTo>
                <a:cubicBezTo>
                  <a:pt x="24" y="109"/>
                  <a:pt x="35" y="108"/>
                  <a:pt x="38" y="106"/>
                </a:cubicBezTo>
                <a:cubicBezTo>
                  <a:pt x="41" y="104"/>
                  <a:pt x="35" y="103"/>
                  <a:pt x="34" y="101"/>
                </a:cubicBezTo>
                <a:cubicBezTo>
                  <a:pt x="33" y="99"/>
                  <a:pt x="29" y="97"/>
                  <a:pt x="31" y="95"/>
                </a:cubicBezTo>
                <a:cubicBezTo>
                  <a:pt x="32" y="94"/>
                  <a:pt x="38" y="92"/>
                  <a:pt x="42" y="95"/>
                </a:cubicBezTo>
                <a:cubicBezTo>
                  <a:pt x="46" y="98"/>
                  <a:pt x="46" y="101"/>
                  <a:pt x="49" y="102"/>
                </a:cubicBezTo>
                <a:cubicBezTo>
                  <a:pt x="52" y="103"/>
                  <a:pt x="59" y="103"/>
                  <a:pt x="62" y="103"/>
                </a:cubicBezTo>
                <a:cubicBezTo>
                  <a:pt x="64" y="102"/>
                  <a:pt x="65" y="101"/>
                  <a:pt x="64" y="100"/>
                </a:cubicBezTo>
                <a:cubicBezTo>
                  <a:pt x="64" y="98"/>
                  <a:pt x="57" y="100"/>
                  <a:pt x="55" y="97"/>
                </a:cubicBezTo>
                <a:cubicBezTo>
                  <a:pt x="53" y="94"/>
                  <a:pt x="50" y="92"/>
                  <a:pt x="52" y="91"/>
                </a:cubicBezTo>
                <a:cubicBezTo>
                  <a:pt x="54" y="90"/>
                  <a:pt x="56" y="89"/>
                  <a:pt x="55" y="86"/>
                </a:cubicBezTo>
                <a:cubicBezTo>
                  <a:pt x="54" y="83"/>
                  <a:pt x="51" y="87"/>
                  <a:pt x="45" y="87"/>
                </a:cubicBezTo>
                <a:cubicBezTo>
                  <a:pt x="39" y="88"/>
                  <a:pt x="36" y="89"/>
                  <a:pt x="36" y="87"/>
                </a:cubicBezTo>
                <a:cubicBezTo>
                  <a:pt x="37" y="85"/>
                  <a:pt x="39" y="82"/>
                  <a:pt x="41" y="80"/>
                </a:cubicBezTo>
                <a:cubicBezTo>
                  <a:pt x="43" y="79"/>
                  <a:pt x="44" y="78"/>
                  <a:pt x="48" y="78"/>
                </a:cubicBezTo>
                <a:cubicBezTo>
                  <a:pt x="53" y="78"/>
                  <a:pt x="63" y="77"/>
                  <a:pt x="66" y="79"/>
                </a:cubicBezTo>
                <a:cubicBezTo>
                  <a:pt x="70" y="80"/>
                  <a:pt x="70" y="80"/>
                  <a:pt x="72" y="77"/>
                </a:cubicBezTo>
                <a:cubicBezTo>
                  <a:pt x="74" y="74"/>
                  <a:pt x="68" y="74"/>
                  <a:pt x="65" y="73"/>
                </a:cubicBezTo>
                <a:cubicBezTo>
                  <a:pt x="62" y="73"/>
                  <a:pt x="60" y="74"/>
                  <a:pt x="60" y="71"/>
                </a:cubicBezTo>
                <a:cubicBezTo>
                  <a:pt x="61" y="67"/>
                  <a:pt x="59" y="67"/>
                  <a:pt x="56" y="64"/>
                </a:cubicBezTo>
                <a:cubicBezTo>
                  <a:pt x="53" y="62"/>
                  <a:pt x="49" y="60"/>
                  <a:pt x="48" y="60"/>
                </a:cubicBezTo>
                <a:cubicBezTo>
                  <a:pt x="47" y="60"/>
                  <a:pt x="45" y="61"/>
                  <a:pt x="44" y="59"/>
                </a:cubicBezTo>
                <a:cubicBezTo>
                  <a:pt x="43" y="58"/>
                  <a:pt x="42" y="53"/>
                  <a:pt x="43" y="53"/>
                </a:cubicBezTo>
                <a:cubicBezTo>
                  <a:pt x="45" y="52"/>
                  <a:pt x="50" y="53"/>
                  <a:pt x="53" y="53"/>
                </a:cubicBezTo>
                <a:cubicBezTo>
                  <a:pt x="56" y="53"/>
                  <a:pt x="61" y="52"/>
                  <a:pt x="63" y="54"/>
                </a:cubicBezTo>
                <a:cubicBezTo>
                  <a:pt x="65" y="56"/>
                  <a:pt x="74" y="59"/>
                  <a:pt x="75" y="60"/>
                </a:cubicBezTo>
                <a:cubicBezTo>
                  <a:pt x="75" y="62"/>
                  <a:pt x="78" y="64"/>
                  <a:pt x="80" y="64"/>
                </a:cubicBezTo>
                <a:cubicBezTo>
                  <a:pt x="81" y="64"/>
                  <a:pt x="84" y="63"/>
                  <a:pt x="84" y="61"/>
                </a:cubicBezTo>
                <a:cubicBezTo>
                  <a:pt x="84" y="60"/>
                  <a:pt x="81" y="59"/>
                  <a:pt x="81" y="58"/>
                </a:cubicBezTo>
                <a:cubicBezTo>
                  <a:pt x="81" y="56"/>
                  <a:pt x="72" y="54"/>
                  <a:pt x="71" y="53"/>
                </a:cubicBezTo>
                <a:cubicBezTo>
                  <a:pt x="71" y="51"/>
                  <a:pt x="77" y="51"/>
                  <a:pt x="79" y="51"/>
                </a:cubicBezTo>
                <a:cubicBezTo>
                  <a:pt x="82" y="51"/>
                  <a:pt x="94" y="48"/>
                  <a:pt x="96" y="48"/>
                </a:cubicBezTo>
                <a:cubicBezTo>
                  <a:pt x="98" y="47"/>
                  <a:pt x="102" y="46"/>
                  <a:pt x="102" y="44"/>
                </a:cubicBezTo>
                <a:cubicBezTo>
                  <a:pt x="102" y="42"/>
                  <a:pt x="101" y="41"/>
                  <a:pt x="102" y="40"/>
                </a:cubicBezTo>
                <a:cubicBezTo>
                  <a:pt x="103" y="39"/>
                  <a:pt x="105" y="36"/>
                  <a:pt x="104" y="36"/>
                </a:cubicBezTo>
                <a:cubicBezTo>
                  <a:pt x="103" y="35"/>
                  <a:pt x="97" y="38"/>
                  <a:pt x="96" y="39"/>
                </a:cubicBezTo>
                <a:cubicBezTo>
                  <a:pt x="95" y="39"/>
                  <a:pt x="96" y="43"/>
                  <a:pt x="94" y="43"/>
                </a:cubicBezTo>
                <a:cubicBezTo>
                  <a:pt x="91" y="43"/>
                  <a:pt x="73" y="47"/>
                  <a:pt x="65" y="46"/>
                </a:cubicBezTo>
                <a:cubicBezTo>
                  <a:pt x="58" y="46"/>
                  <a:pt x="45" y="48"/>
                  <a:pt x="41" y="46"/>
                </a:cubicBezTo>
                <a:cubicBezTo>
                  <a:pt x="37" y="44"/>
                  <a:pt x="30" y="46"/>
                  <a:pt x="25" y="43"/>
                </a:cubicBezTo>
                <a:cubicBezTo>
                  <a:pt x="21" y="39"/>
                  <a:pt x="32" y="40"/>
                  <a:pt x="37" y="40"/>
                </a:cubicBezTo>
                <a:cubicBezTo>
                  <a:pt x="43" y="39"/>
                  <a:pt x="49" y="36"/>
                  <a:pt x="50" y="35"/>
                </a:cubicBezTo>
                <a:cubicBezTo>
                  <a:pt x="52" y="33"/>
                  <a:pt x="49" y="33"/>
                  <a:pt x="43" y="34"/>
                </a:cubicBezTo>
                <a:cubicBezTo>
                  <a:pt x="37" y="34"/>
                  <a:pt x="21" y="37"/>
                  <a:pt x="15" y="35"/>
                </a:cubicBezTo>
                <a:cubicBezTo>
                  <a:pt x="9" y="33"/>
                  <a:pt x="16" y="35"/>
                  <a:pt x="12" y="32"/>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 name="Freeform 461"/>
          <p:cNvSpPr>
            <a:spLocks/>
          </p:cNvSpPr>
          <p:nvPr>
            <p:custDataLst>
              <p:tags r:id="rId13"/>
            </p:custDataLst>
          </p:nvPr>
        </p:nvSpPr>
        <p:spPr bwMode="auto">
          <a:xfrm>
            <a:off x="3744587" y="1604415"/>
            <a:ext cx="49171" cy="35122"/>
          </a:xfrm>
          <a:custGeom>
            <a:avLst/>
            <a:gdLst>
              <a:gd name="T0" fmla="*/ 22225 w 16"/>
              <a:gd name="T1" fmla="*/ 28864 h 11"/>
              <a:gd name="T2" fmla="*/ 5556 w 16"/>
              <a:gd name="T3" fmla="*/ 14432 h 11"/>
              <a:gd name="T4" fmla="*/ 16669 w 16"/>
              <a:gd name="T5" fmla="*/ 0 h 11"/>
              <a:gd name="T6" fmla="*/ 30559 w 16"/>
              <a:gd name="T7" fmla="*/ 2886 h 11"/>
              <a:gd name="T8" fmla="*/ 44450 w 16"/>
              <a:gd name="T9" fmla="*/ 20205 h 11"/>
              <a:gd name="T10" fmla="*/ 22225 w 16"/>
              <a:gd name="T11" fmla="*/ 28864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1">
                <a:moveTo>
                  <a:pt x="8" y="10"/>
                </a:moveTo>
                <a:cubicBezTo>
                  <a:pt x="6" y="10"/>
                  <a:pt x="2" y="7"/>
                  <a:pt x="2" y="5"/>
                </a:cubicBezTo>
                <a:cubicBezTo>
                  <a:pt x="0" y="3"/>
                  <a:pt x="4" y="0"/>
                  <a:pt x="6" y="0"/>
                </a:cubicBezTo>
                <a:cubicBezTo>
                  <a:pt x="6" y="0"/>
                  <a:pt x="9" y="0"/>
                  <a:pt x="11" y="1"/>
                </a:cubicBezTo>
                <a:cubicBezTo>
                  <a:pt x="13" y="1"/>
                  <a:pt x="16" y="4"/>
                  <a:pt x="16" y="7"/>
                </a:cubicBezTo>
                <a:cubicBezTo>
                  <a:pt x="16" y="11"/>
                  <a:pt x="10" y="10"/>
                  <a:pt x="8" y="10"/>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 name="Freeform 462"/>
          <p:cNvSpPr>
            <a:spLocks/>
          </p:cNvSpPr>
          <p:nvPr>
            <p:custDataLst>
              <p:tags r:id="rId14"/>
            </p:custDataLst>
          </p:nvPr>
        </p:nvSpPr>
        <p:spPr bwMode="auto">
          <a:xfrm>
            <a:off x="3712978" y="1662366"/>
            <a:ext cx="316097" cy="108878"/>
          </a:xfrm>
          <a:custGeom>
            <a:avLst/>
            <a:gdLst>
              <a:gd name="T0" fmla="*/ 2721 w 105"/>
              <a:gd name="T1" fmla="*/ 14474 h 34"/>
              <a:gd name="T2" fmla="*/ 13607 w 105"/>
              <a:gd name="T3" fmla="*/ 0 h 34"/>
              <a:gd name="T4" fmla="*/ 38100 w 105"/>
              <a:gd name="T5" fmla="*/ 0 h 34"/>
              <a:gd name="T6" fmla="*/ 62593 w 105"/>
              <a:gd name="T7" fmla="*/ 17369 h 34"/>
              <a:gd name="T8" fmla="*/ 81643 w 105"/>
              <a:gd name="T9" fmla="*/ 23159 h 34"/>
              <a:gd name="T10" fmla="*/ 62593 w 105"/>
              <a:gd name="T11" fmla="*/ 28949 h 34"/>
              <a:gd name="T12" fmla="*/ 78921 w 105"/>
              <a:gd name="T13" fmla="*/ 43423 h 34"/>
              <a:gd name="T14" fmla="*/ 119743 w 105"/>
              <a:gd name="T15" fmla="*/ 46318 h 34"/>
              <a:gd name="T16" fmla="*/ 144236 w 105"/>
              <a:gd name="T17" fmla="*/ 57897 h 34"/>
              <a:gd name="T18" fmla="*/ 157843 w 105"/>
              <a:gd name="T19" fmla="*/ 49213 h 34"/>
              <a:gd name="T20" fmla="*/ 193221 w 105"/>
              <a:gd name="T21" fmla="*/ 40528 h 34"/>
              <a:gd name="T22" fmla="*/ 239486 w 105"/>
              <a:gd name="T23" fmla="*/ 40528 h 34"/>
              <a:gd name="T24" fmla="*/ 261257 w 105"/>
              <a:gd name="T25" fmla="*/ 43423 h 34"/>
              <a:gd name="T26" fmla="*/ 280307 w 105"/>
              <a:gd name="T27" fmla="*/ 57897 h 34"/>
              <a:gd name="T28" fmla="*/ 266700 w 105"/>
              <a:gd name="T29" fmla="*/ 72371 h 34"/>
              <a:gd name="T30" fmla="*/ 285750 w 105"/>
              <a:gd name="T31" fmla="*/ 78161 h 34"/>
              <a:gd name="T32" fmla="*/ 266700 w 105"/>
              <a:gd name="T33" fmla="*/ 89740 h 34"/>
              <a:gd name="T34" fmla="*/ 234043 w 105"/>
              <a:gd name="T35" fmla="*/ 95530 h 34"/>
              <a:gd name="T36" fmla="*/ 209550 w 105"/>
              <a:gd name="T37" fmla="*/ 89740 h 34"/>
              <a:gd name="T38" fmla="*/ 204107 w 105"/>
              <a:gd name="T39" fmla="*/ 78161 h 34"/>
              <a:gd name="T40" fmla="*/ 185057 w 105"/>
              <a:gd name="T41" fmla="*/ 92635 h 34"/>
              <a:gd name="T42" fmla="*/ 144236 w 105"/>
              <a:gd name="T43" fmla="*/ 95530 h 34"/>
              <a:gd name="T44" fmla="*/ 97971 w 105"/>
              <a:gd name="T45" fmla="*/ 95530 h 34"/>
              <a:gd name="T46" fmla="*/ 92529 w 105"/>
              <a:gd name="T47" fmla="*/ 78161 h 34"/>
              <a:gd name="T48" fmla="*/ 73479 w 105"/>
              <a:gd name="T49" fmla="*/ 92635 h 34"/>
              <a:gd name="T50" fmla="*/ 48986 w 105"/>
              <a:gd name="T51" fmla="*/ 89740 h 34"/>
              <a:gd name="T52" fmla="*/ 24493 w 105"/>
              <a:gd name="T53" fmla="*/ 83951 h 34"/>
              <a:gd name="T54" fmla="*/ 16329 w 105"/>
              <a:gd name="T55" fmla="*/ 63687 h 34"/>
              <a:gd name="T56" fmla="*/ 21771 w 105"/>
              <a:gd name="T57" fmla="*/ 46318 h 34"/>
              <a:gd name="T58" fmla="*/ 13607 w 105"/>
              <a:gd name="T59" fmla="*/ 28949 h 34"/>
              <a:gd name="T60" fmla="*/ 2721 w 105"/>
              <a:gd name="T61" fmla="*/ 14474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5" h="34">
                <a:moveTo>
                  <a:pt x="1" y="5"/>
                </a:moveTo>
                <a:cubicBezTo>
                  <a:pt x="2" y="4"/>
                  <a:pt x="4" y="1"/>
                  <a:pt x="5" y="0"/>
                </a:cubicBezTo>
                <a:cubicBezTo>
                  <a:pt x="6" y="0"/>
                  <a:pt x="12" y="0"/>
                  <a:pt x="14" y="0"/>
                </a:cubicBezTo>
                <a:cubicBezTo>
                  <a:pt x="16" y="1"/>
                  <a:pt x="19" y="6"/>
                  <a:pt x="23" y="6"/>
                </a:cubicBezTo>
                <a:cubicBezTo>
                  <a:pt x="26" y="6"/>
                  <a:pt x="30" y="6"/>
                  <a:pt x="30" y="8"/>
                </a:cubicBezTo>
                <a:cubicBezTo>
                  <a:pt x="30" y="9"/>
                  <a:pt x="24" y="9"/>
                  <a:pt x="23" y="10"/>
                </a:cubicBezTo>
                <a:cubicBezTo>
                  <a:pt x="22" y="11"/>
                  <a:pt x="25" y="14"/>
                  <a:pt x="29" y="15"/>
                </a:cubicBezTo>
                <a:cubicBezTo>
                  <a:pt x="33" y="16"/>
                  <a:pt x="42" y="15"/>
                  <a:pt x="44" y="16"/>
                </a:cubicBezTo>
                <a:cubicBezTo>
                  <a:pt x="46" y="17"/>
                  <a:pt x="52" y="21"/>
                  <a:pt x="53" y="20"/>
                </a:cubicBezTo>
                <a:cubicBezTo>
                  <a:pt x="54" y="20"/>
                  <a:pt x="55" y="17"/>
                  <a:pt x="58" y="17"/>
                </a:cubicBezTo>
                <a:cubicBezTo>
                  <a:pt x="60" y="17"/>
                  <a:pt x="69" y="14"/>
                  <a:pt x="71" y="14"/>
                </a:cubicBezTo>
                <a:cubicBezTo>
                  <a:pt x="73" y="14"/>
                  <a:pt x="86" y="14"/>
                  <a:pt x="88" y="14"/>
                </a:cubicBezTo>
                <a:cubicBezTo>
                  <a:pt x="90" y="14"/>
                  <a:pt x="93" y="14"/>
                  <a:pt x="96" y="15"/>
                </a:cubicBezTo>
                <a:cubicBezTo>
                  <a:pt x="98" y="16"/>
                  <a:pt x="104" y="19"/>
                  <a:pt x="103" y="20"/>
                </a:cubicBezTo>
                <a:cubicBezTo>
                  <a:pt x="103" y="21"/>
                  <a:pt x="96" y="23"/>
                  <a:pt x="98" y="25"/>
                </a:cubicBezTo>
                <a:cubicBezTo>
                  <a:pt x="99" y="26"/>
                  <a:pt x="105" y="26"/>
                  <a:pt x="105" y="27"/>
                </a:cubicBezTo>
                <a:cubicBezTo>
                  <a:pt x="105" y="28"/>
                  <a:pt x="98" y="31"/>
                  <a:pt x="98" y="31"/>
                </a:cubicBezTo>
                <a:cubicBezTo>
                  <a:pt x="98" y="31"/>
                  <a:pt x="91" y="33"/>
                  <a:pt x="86" y="33"/>
                </a:cubicBezTo>
                <a:cubicBezTo>
                  <a:pt x="81" y="33"/>
                  <a:pt x="77" y="31"/>
                  <a:pt x="77" y="31"/>
                </a:cubicBezTo>
                <a:cubicBezTo>
                  <a:pt x="77" y="31"/>
                  <a:pt x="77" y="27"/>
                  <a:pt x="75" y="27"/>
                </a:cubicBezTo>
                <a:cubicBezTo>
                  <a:pt x="74" y="27"/>
                  <a:pt x="71" y="32"/>
                  <a:pt x="68" y="32"/>
                </a:cubicBezTo>
                <a:cubicBezTo>
                  <a:pt x="66" y="32"/>
                  <a:pt x="60" y="34"/>
                  <a:pt x="53" y="33"/>
                </a:cubicBezTo>
                <a:cubicBezTo>
                  <a:pt x="46" y="33"/>
                  <a:pt x="38" y="33"/>
                  <a:pt x="36" y="33"/>
                </a:cubicBezTo>
                <a:cubicBezTo>
                  <a:pt x="35" y="33"/>
                  <a:pt x="36" y="28"/>
                  <a:pt x="34" y="27"/>
                </a:cubicBezTo>
                <a:cubicBezTo>
                  <a:pt x="32" y="27"/>
                  <a:pt x="29" y="32"/>
                  <a:pt x="27" y="32"/>
                </a:cubicBezTo>
                <a:cubicBezTo>
                  <a:pt x="25" y="32"/>
                  <a:pt x="20" y="31"/>
                  <a:pt x="18" y="31"/>
                </a:cubicBezTo>
                <a:cubicBezTo>
                  <a:pt x="16" y="30"/>
                  <a:pt x="10" y="32"/>
                  <a:pt x="9" y="29"/>
                </a:cubicBezTo>
                <a:cubicBezTo>
                  <a:pt x="7" y="26"/>
                  <a:pt x="6" y="24"/>
                  <a:pt x="6" y="22"/>
                </a:cubicBezTo>
                <a:cubicBezTo>
                  <a:pt x="6" y="20"/>
                  <a:pt x="8" y="17"/>
                  <a:pt x="8" y="16"/>
                </a:cubicBezTo>
                <a:cubicBezTo>
                  <a:pt x="7" y="14"/>
                  <a:pt x="5" y="10"/>
                  <a:pt x="5" y="10"/>
                </a:cubicBezTo>
                <a:cubicBezTo>
                  <a:pt x="2" y="9"/>
                  <a:pt x="0" y="7"/>
                  <a:pt x="1" y="5"/>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 name="Freeform 463"/>
          <p:cNvSpPr>
            <a:spLocks/>
          </p:cNvSpPr>
          <p:nvPr>
            <p:custDataLst>
              <p:tags r:id="rId15"/>
            </p:custDataLst>
          </p:nvPr>
        </p:nvSpPr>
        <p:spPr bwMode="auto">
          <a:xfrm>
            <a:off x="3630441" y="1709781"/>
            <a:ext cx="86049" cy="56195"/>
          </a:xfrm>
          <a:custGeom>
            <a:avLst/>
            <a:gdLst>
              <a:gd name="T0" fmla="*/ 0 w 28"/>
              <a:gd name="T1" fmla="*/ 29882 h 17"/>
              <a:gd name="T2" fmla="*/ 5556 w 28"/>
              <a:gd name="T3" fmla="*/ 11953 h 17"/>
              <a:gd name="T4" fmla="*/ 27781 w 28"/>
              <a:gd name="T5" fmla="*/ 0 h 17"/>
              <a:gd name="T6" fmla="*/ 55563 w 28"/>
              <a:gd name="T7" fmla="*/ 2988 h 17"/>
              <a:gd name="T8" fmla="*/ 72232 w 28"/>
              <a:gd name="T9" fmla="*/ 26894 h 17"/>
              <a:gd name="T10" fmla="*/ 61119 w 28"/>
              <a:gd name="T11" fmla="*/ 50800 h 17"/>
              <a:gd name="T12" fmla="*/ 27781 w 28"/>
              <a:gd name="T13" fmla="*/ 47812 h 17"/>
              <a:gd name="T14" fmla="*/ 0 w 28"/>
              <a:gd name="T15" fmla="*/ 29882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8" h="17">
                <a:moveTo>
                  <a:pt x="0" y="10"/>
                </a:moveTo>
                <a:cubicBezTo>
                  <a:pt x="0" y="10"/>
                  <a:pt x="0" y="5"/>
                  <a:pt x="2" y="4"/>
                </a:cubicBezTo>
                <a:cubicBezTo>
                  <a:pt x="6" y="2"/>
                  <a:pt x="8" y="0"/>
                  <a:pt x="10" y="0"/>
                </a:cubicBezTo>
                <a:cubicBezTo>
                  <a:pt x="10" y="0"/>
                  <a:pt x="16" y="0"/>
                  <a:pt x="20" y="1"/>
                </a:cubicBezTo>
                <a:cubicBezTo>
                  <a:pt x="24" y="2"/>
                  <a:pt x="24" y="6"/>
                  <a:pt x="26" y="9"/>
                </a:cubicBezTo>
                <a:cubicBezTo>
                  <a:pt x="28" y="12"/>
                  <a:pt x="26" y="17"/>
                  <a:pt x="22" y="17"/>
                </a:cubicBezTo>
                <a:cubicBezTo>
                  <a:pt x="18" y="17"/>
                  <a:pt x="14" y="16"/>
                  <a:pt x="10" y="16"/>
                </a:cubicBezTo>
                <a:cubicBezTo>
                  <a:pt x="6" y="16"/>
                  <a:pt x="0" y="10"/>
                  <a:pt x="0" y="10"/>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 name="Freeform 464"/>
          <p:cNvSpPr>
            <a:spLocks/>
          </p:cNvSpPr>
          <p:nvPr>
            <p:custDataLst>
              <p:tags r:id="rId16"/>
            </p:custDataLst>
          </p:nvPr>
        </p:nvSpPr>
        <p:spPr bwMode="auto">
          <a:xfrm>
            <a:off x="3628685" y="1404220"/>
            <a:ext cx="268683" cy="182634"/>
          </a:xfrm>
          <a:custGeom>
            <a:avLst/>
            <a:gdLst>
              <a:gd name="T0" fmla="*/ 21833 w 89"/>
              <a:gd name="T1" fmla="*/ 95584 h 57"/>
              <a:gd name="T2" fmla="*/ 2729 w 89"/>
              <a:gd name="T3" fmla="*/ 66619 h 57"/>
              <a:gd name="T4" fmla="*/ 13645 w 89"/>
              <a:gd name="T5" fmla="*/ 43447 h 57"/>
              <a:gd name="T6" fmla="*/ 40936 w 89"/>
              <a:gd name="T7" fmla="*/ 43447 h 57"/>
              <a:gd name="T8" fmla="*/ 49123 w 89"/>
              <a:gd name="T9" fmla="*/ 40551 h 57"/>
              <a:gd name="T10" fmla="*/ 46394 w 89"/>
              <a:gd name="T11" fmla="*/ 31861 h 57"/>
              <a:gd name="T12" fmla="*/ 30020 w 89"/>
              <a:gd name="T13" fmla="*/ 20275 h 57"/>
              <a:gd name="T14" fmla="*/ 51852 w 89"/>
              <a:gd name="T15" fmla="*/ 17379 h 57"/>
              <a:gd name="T16" fmla="*/ 70956 w 89"/>
              <a:gd name="T17" fmla="*/ 17379 h 57"/>
              <a:gd name="T18" fmla="*/ 51852 w 89"/>
              <a:gd name="T19" fmla="*/ 2896 h 57"/>
              <a:gd name="T20" fmla="*/ 73685 w 89"/>
              <a:gd name="T21" fmla="*/ 0 h 57"/>
              <a:gd name="T22" fmla="*/ 103705 w 89"/>
              <a:gd name="T23" fmla="*/ 14482 h 57"/>
              <a:gd name="T24" fmla="*/ 125538 w 89"/>
              <a:gd name="T25" fmla="*/ 40551 h 57"/>
              <a:gd name="T26" fmla="*/ 158287 w 89"/>
              <a:gd name="T27" fmla="*/ 43447 h 57"/>
              <a:gd name="T28" fmla="*/ 158287 w 89"/>
              <a:gd name="T29" fmla="*/ 60826 h 57"/>
              <a:gd name="T30" fmla="*/ 171932 w 89"/>
              <a:gd name="T31" fmla="*/ 60826 h 57"/>
              <a:gd name="T32" fmla="*/ 174661 w 89"/>
              <a:gd name="T33" fmla="*/ 49240 h 57"/>
              <a:gd name="T34" fmla="*/ 191036 w 89"/>
              <a:gd name="T35" fmla="*/ 52137 h 57"/>
              <a:gd name="T36" fmla="*/ 188306 w 89"/>
              <a:gd name="T37" fmla="*/ 66619 h 57"/>
              <a:gd name="T38" fmla="*/ 201952 w 89"/>
              <a:gd name="T39" fmla="*/ 78205 h 57"/>
              <a:gd name="T40" fmla="*/ 193765 w 89"/>
              <a:gd name="T41" fmla="*/ 92688 h 57"/>
              <a:gd name="T42" fmla="*/ 201952 w 89"/>
              <a:gd name="T43" fmla="*/ 98481 h 57"/>
              <a:gd name="T44" fmla="*/ 215597 w 89"/>
              <a:gd name="T45" fmla="*/ 89791 h 57"/>
              <a:gd name="T46" fmla="*/ 231972 w 89"/>
              <a:gd name="T47" fmla="*/ 95584 h 57"/>
              <a:gd name="T48" fmla="*/ 242888 w 89"/>
              <a:gd name="T49" fmla="*/ 107170 h 57"/>
              <a:gd name="T50" fmla="*/ 212868 w 89"/>
              <a:gd name="T51" fmla="*/ 115860 h 57"/>
              <a:gd name="T52" fmla="*/ 188306 w 89"/>
              <a:gd name="T53" fmla="*/ 133239 h 57"/>
              <a:gd name="T54" fmla="*/ 169203 w 89"/>
              <a:gd name="T55" fmla="*/ 156411 h 57"/>
              <a:gd name="T56" fmla="*/ 147370 w 89"/>
              <a:gd name="T57" fmla="*/ 144825 h 57"/>
              <a:gd name="T58" fmla="*/ 136454 w 89"/>
              <a:gd name="T59" fmla="*/ 144825 h 57"/>
              <a:gd name="T60" fmla="*/ 139183 w 89"/>
              <a:gd name="T61" fmla="*/ 153514 h 57"/>
              <a:gd name="T62" fmla="*/ 128267 w 89"/>
              <a:gd name="T63" fmla="*/ 165100 h 57"/>
              <a:gd name="T64" fmla="*/ 92789 w 89"/>
              <a:gd name="T65" fmla="*/ 156411 h 57"/>
              <a:gd name="T66" fmla="*/ 68227 w 89"/>
              <a:gd name="T67" fmla="*/ 136135 h 57"/>
              <a:gd name="T68" fmla="*/ 51852 w 89"/>
              <a:gd name="T69" fmla="*/ 121653 h 57"/>
              <a:gd name="T70" fmla="*/ 73685 w 89"/>
              <a:gd name="T71" fmla="*/ 112963 h 57"/>
              <a:gd name="T72" fmla="*/ 100976 w 89"/>
              <a:gd name="T73" fmla="*/ 112963 h 57"/>
              <a:gd name="T74" fmla="*/ 87331 w 89"/>
              <a:gd name="T75" fmla="*/ 98481 h 57"/>
              <a:gd name="T76" fmla="*/ 73685 w 89"/>
              <a:gd name="T77" fmla="*/ 98481 h 57"/>
              <a:gd name="T78" fmla="*/ 43665 w 89"/>
              <a:gd name="T79" fmla="*/ 104274 h 57"/>
              <a:gd name="T80" fmla="*/ 21833 w 89"/>
              <a:gd name="T81" fmla="*/ 95584 h 5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9" h="57">
                <a:moveTo>
                  <a:pt x="8" y="33"/>
                </a:moveTo>
                <a:cubicBezTo>
                  <a:pt x="7" y="32"/>
                  <a:pt x="0" y="27"/>
                  <a:pt x="1" y="23"/>
                </a:cubicBezTo>
                <a:cubicBezTo>
                  <a:pt x="2" y="19"/>
                  <a:pt x="3" y="17"/>
                  <a:pt x="5" y="15"/>
                </a:cubicBezTo>
                <a:cubicBezTo>
                  <a:pt x="6" y="14"/>
                  <a:pt x="14" y="15"/>
                  <a:pt x="15" y="15"/>
                </a:cubicBezTo>
                <a:cubicBezTo>
                  <a:pt x="16" y="16"/>
                  <a:pt x="18" y="15"/>
                  <a:pt x="18" y="14"/>
                </a:cubicBezTo>
                <a:cubicBezTo>
                  <a:pt x="18" y="13"/>
                  <a:pt x="18" y="12"/>
                  <a:pt x="17" y="11"/>
                </a:cubicBezTo>
                <a:cubicBezTo>
                  <a:pt x="16" y="10"/>
                  <a:pt x="10" y="9"/>
                  <a:pt x="11" y="7"/>
                </a:cubicBezTo>
                <a:cubicBezTo>
                  <a:pt x="12" y="6"/>
                  <a:pt x="18" y="6"/>
                  <a:pt x="19" y="6"/>
                </a:cubicBezTo>
                <a:cubicBezTo>
                  <a:pt x="21" y="6"/>
                  <a:pt x="25" y="6"/>
                  <a:pt x="26" y="6"/>
                </a:cubicBezTo>
                <a:cubicBezTo>
                  <a:pt x="26" y="5"/>
                  <a:pt x="19" y="2"/>
                  <a:pt x="19" y="1"/>
                </a:cubicBezTo>
                <a:cubicBezTo>
                  <a:pt x="19" y="0"/>
                  <a:pt x="23" y="0"/>
                  <a:pt x="27" y="0"/>
                </a:cubicBezTo>
                <a:cubicBezTo>
                  <a:pt x="30" y="1"/>
                  <a:pt x="37" y="3"/>
                  <a:pt x="38" y="5"/>
                </a:cubicBezTo>
                <a:cubicBezTo>
                  <a:pt x="39" y="6"/>
                  <a:pt x="43" y="14"/>
                  <a:pt x="46" y="14"/>
                </a:cubicBezTo>
                <a:cubicBezTo>
                  <a:pt x="50" y="15"/>
                  <a:pt x="57" y="15"/>
                  <a:pt x="58" y="15"/>
                </a:cubicBezTo>
                <a:cubicBezTo>
                  <a:pt x="59" y="16"/>
                  <a:pt x="56" y="21"/>
                  <a:pt x="58" y="21"/>
                </a:cubicBezTo>
                <a:cubicBezTo>
                  <a:pt x="60" y="22"/>
                  <a:pt x="63" y="23"/>
                  <a:pt x="63" y="21"/>
                </a:cubicBezTo>
                <a:cubicBezTo>
                  <a:pt x="64" y="20"/>
                  <a:pt x="63" y="17"/>
                  <a:pt x="64" y="17"/>
                </a:cubicBezTo>
                <a:cubicBezTo>
                  <a:pt x="66" y="17"/>
                  <a:pt x="70" y="16"/>
                  <a:pt x="70" y="18"/>
                </a:cubicBezTo>
                <a:cubicBezTo>
                  <a:pt x="70" y="20"/>
                  <a:pt x="69" y="23"/>
                  <a:pt x="69" y="23"/>
                </a:cubicBezTo>
                <a:cubicBezTo>
                  <a:pt x="69" y="23"/>
                  <a:pt x="74" y="25"/>
                  <a:pt x="74" y="27"/>
                </a:cubicBezTo>
                <a:cubicBezTo>
                  <a:pt x="74" y="29"/>
                  <a:pt x="68" y="31"/>
                  <a:pt x="71" y="32"/>
                </a:cubicBezTo>
                <a:cubicBezTo>
                  <a:pt x="73" y="33"/>
                  <a:pt x="73" y="34"/>
                  <a:pt x="74" y="34"/>
                </a:cubicBezTo>
                <a:cubicBezTo>
                  <a:pt x="75" y="34"/>
                  <a:pt x="78" y="31"/>
                  <a:pt x="79" y="31"/>
                </a:cubicBezTo>
                <a:cubicBezTo>
                  <a:pt x="80" y="31"/>
                  <a:pt x="84" y="32"/>
                  <a:pt x="85" y="33"/>
                </a:cubicBezTo>
                <a:cubicBezTo>
                  <a:pt x="87" y="34"/>
                  <a:pt x="89" y="35"/>
                  <a:pt x="89" y="37"/>
                </a:cubicBezTo>
                <a:cubicBezTo>
                  <a:pt x="89" y="38"/>
                  <a:pt x="80" y="39"/>
                  <a:pt x="78" y="40"/>
                </a:cubicBezTo>
                <a:cubicBezTo>
                  <a:pt x="75" y="41"/>
                  <a:pt x="71" y="46"/>
                  <a:pt x="69" y="46"/>
                </a:cubicBezTo>
                <a:cubicBezTo>
                  <a:pt x="67" y="47"/>
                  <a:pt x="63" y="54"/>
                  <a:pt x="62" y="54"/>
                </a:cubicBezTo>
                <a:cubicBezTo>
                  <a:pt x="60" y="54"/>
                  <a:pt x="56" y="52"/>
                  <a:pt x="54" y="50"/>
                </a:cubicBezTo>
                <a:cubicBezTo>
                  <a:pt x="53" y="48"/>
                  <a:pt x="50" y="48"/>
                  <a:pt x="50" y="50"/>
                </a:cubicBezTo>
                <a:cubicBezTo>
                  <a:pt x="50" y="51"/>
                  <a:pt x="52" y="52"/>
                  <a:pt x="51" y="53"/>
                </a:cubicBezTo>
                <a:cubicBezTo>
                  <a:pt x="50" y="55"/>
                  <a:pt x="50" y="57"/>
                  <a:pt x="47" y="57"/>
                </a:cubicBezTo>
                <a:cubicBezTo>
                  <a:pt x="45" y="56"/>
                  <a:pt x="34" y="54"/>
                  <a:pt x="34" y="54"/>
                </a:cubicBezTo>
                <a:cubicBezTo>
                  <a:pt x="30" y="52"/>
                  <a:pt x="27" y="49"/>
                  <a:pt x="25" y="47"/>
                </a:cubicBezTo>
                <a:cubicBezTo>
                  <a:pt x="23" y="45"/>
                  <a:pt x="20" y="43"/>
                  <a:pt x="19" y="42"/>
                </a:cubicBezTo>
                <a:cubicBezTo>
                  <a:pt x="19" y="41"/>
                  <a:pt x="26" y="39"/>
                  <a:pt x="27" y="39"/>
                </a:cubicBezTo>
                <a:cubicBezTo>
                  <a:pt x="29" y="39"/>
                  <a:pt x="36" y="40"/>
                  <a:pt x="37" y="39"/>
                </a:cubicBezTo>
                <a:cubicBezTo>
                  <a:pt x="37" y="38"/>
                  <a:pt x="33" y="35"/>
                  <a:pt x="32" y="34"/>
                </a:cubicBezTo>
                <a:cubicBezTo>
                  <a:pt x="31" y="33"/>
                  <a:pt x="29" y="34"/>
                  <a:pt x="27" y="34"/>
                </a:cubicBezTo>
                <a:cubicBezTo>
                  <a:pt x="25" y="34"/>
                  <a:pt x="19" y="36"/>
                  <a:pt x="16" y="36"/>
                </a:cubicBezTo>
                <a:cubicBezTo>
                  <a:pt x="13" y="36"/>
                  <a:pt x="10" y="35"/>
                  <a:pt x="8" y="33"/>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 name="Freeform 465"/>
          <p:cNvSpPr>
            <a:spLocks/>
          </p:cNvSpPr>
          <p:nvPr>
            <p:custDataLst>
              <p:tags r:id="rId17"/>
            </p:custDataLst>
          </p:nvPr>
        </p:nvSpPr>
        <p:spPr bwMode="auto">
          <a:xfrm>
            <a:off x="3621660" y="1632513"/>
            <a:ext cx="80780" cy="47415"/>
          </a:xfrm>
          <a:custGeom>
            <a:avLst/>
            <a:gdLst>
              <a:gd name="T0" fmla="*/ 18932 w 27"/>
              <a:gd name="T1" fmla="*/ 31433 h 15"/>
              <a:gd name="T2" fmla="*/ 0 w 27"/>
              <a:gd name="T3" fmla="*/ 8573 h 15"/>
              <a:gd name="T4" fmla="*/ 29751 w 27"/>
              <a:gd name="T5" fmla="*/ 2858 h 15"/>
              <a:gd name="T6" fmla="*/ 56797 w 27"/>
              <a:gd name="T7" fmla="*/ 8573 h 15"/>
              <a:gd name="T8" fmla="*/ 73025 w 27"/>
              <a:gd name="T9" fmla="*/ 22860 h 15"/>
              <a:gd name="T10" fmla="*/ 59502 w 27"/>
              <a:gd name="T11" fmla="*/ 42863 h 15"/>
              <a:gd name="T12" fmla="*/ 18932 w 27"/>
              <a:gd name="T13" fmla="*/ 31433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5">
                <a:moveTo>
                  <a:pt x="7" y="11"/>
                </a:moveTo>
                <a:cubicBezTo>
                  <a:pt x="5" y="11"/>
                  <a:pt x="0" y="6"/>
                  <a:pt x="0" y="3"/>
                </a:cubicBezTo>
                <a:cubicBezTo>
                  <a:pt x="0" y="0"/>
                  <a:pt x="8" y="1"/>
                  <a:pt x="11" y="1"/>
                </a:cubicBezTo>
                <a:cubicBezTo>
                  <a:pt x="11" y="1"/>
                  <a:pt x="17" y="3"/>
                  <a:pt x="21" y="3"/>
                </a:cubicBezTo>
                <a:cubicBezTo>
                  <a:pt x="25" y="3"/>
                  <a:pt x="27" y="6"/>
                  <a:pt x="27" y="8"/>
                </a:cubicBezTo>
                <a:cubicBezTo>
                  <a:pt x="27" y="11"/>
                  <a:pt x="25" y="15"/>
                  <a:pt x="22" y="15"/>
                </a:cubicBezTo>
                <a:cubicBezTo>
                  <a:pt x="19" y="15"/>
                  <a:pt x="9" y="12"/>
                  <a:pt x="7" y="11"/>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 name="Freeform 466"/>
          <p:cNvSpPr>
            <a:spLocks/>
          </p:cNvSpPr>
          <p:nvPr>
            <p:custDataLst>
              <p:tags r:id="rId18"/>
            </p:custDataLst>
          </p:nvPr>
        </p:nvSpPr>
        <p:spPr bwMode="auto">
          <a:xfrm>
            <a:off x="3590051" y="1546464"/>
            <a:ext cx="82537" cy="50927"/>
          </a:xfrm>
          <a:custGeom>
            <a:avLst/>
            <a:gdLst>
              <a:gd name="T0" fmla="*/ 0 w 28"/>
              <a:gd name="T1" fmla="*/ 8632 h 16"/>
              <a:gd name="T2" fmla="*/ 23983 w 28"/>
              <a:gd name="T3" fmla="*/ 0 h 16"/>
              <a:gd name="T4" fmla="*/ 71948 w 28"/>
              <a:gd name="T5" fmla="*/ 17264 h 16"/>
              <a:gd name="T6" fmla="*/ 71948 w 28"/>
              <a:gd name="T7" fmla="*/ 34529 h 16"/>
              <a:gd name="T8" fmla="*/ 53295 w 28"/>
              <a:gd name="T9" fmla="*/ 46038 h 16"/>
              <a:gd name="T10" fmla="*/ 29312 w 28"/>
              <a:gd name="T11" fmla="*/ 46038 h 16"/>
              <a:gd name="T12" fmla="*/ 0 w 28"/>
              <a:gd name="T13" fmla="*/ 8632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 h="16">
                <a:moveTo>
                  <a:pt x="0" y="3"/>
                </a:moveTo>
                <a:cubicBezTo>
                  <a:pt x="0" y="1"/>
                  <a:pt x="6" y="0"/>
                  <a:pt x="9" y="0"/>
                </a:cubicBezTo>
                <a:cubicBezTo>
                  <a:pt x="12" y="1"/>
                  <a:pt x="26" y="5"/>
                  <a:pt x="27" y="6"/>
                </a:cubicBezTo>
                <a:cubicBezTo>
                  <a:pt x="28" y="8"/>
                  <a:pt x="27" y="12"/>
                  <a:pt x="27" y="12"/>
                </a:cubicBezTo>
                <a:cubicBezTo>
                  <a:pt x="27" y="12"/>
                  <a:pt x="22" y="15"/>
                  <a:pt x="20" y="16"/>
                </a:cubicBezTo>
                <a:cubicBezTo>
                  <a:pt x="18" y="16"/>
                  <a:pt x="11" y="16"/>
                  <a:pt x="11" y="16"/>
                </a:cubicBezTo>
                <a:cubicBezTo>
                  <a:pt x="9" y="14"/>
                  <a:pt x="0" y="5"/>
                  <a:pt x="0" y="3"/>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 name="Freeform 467"/>
          <p:cNvSpPr>
            <a:spLocks/>
          </p:cNvSpPr>
          <p:nvPr>
            <p:custDataLst>
              <p:tags r:id="rId19"/>
            </p:custDataLst>
          </p:nvPr>
        </p:nvSpPr>
        <p:spPr bwMode="auto">
          <a:xfrm>
            <a:off x="3488196" y="1790561"/>
            <a:ext cx="149268" cy="135220"/>
          </a:xfrm>
          <a:custGeom>
            <a:avLst/>
            <a:gdLst>
              <a:gd name="T0" fmla="*/ 11015 w 49"/>
              <a:gd name="T1" fmla="*/ 64029 h 42"/>
              <a:gd name="T2" fmla="*/ 0 w 49"/>
              <a:gd name="T3" fmla="*/ 58209 h 42"/>
              <a:gd name="T4" fmla="*/ 8262 w 49"/>
              <a:gd name="T5" fmla="*/ 43656 h 42"/>
              <a:gd name="T6" fmla="*/ 30292 w 49"/>
              <a:gd name="T7" fmla="*/ 55298 h 42"/>
              <a:gd name="T8" fmla="*/ 46815 w 49"/>
              <a:gd name="T9" fmla="*/ 55298 h 42"/>
              <a:gd name="T10" fmla="*/ 52323 w 49"/>
              <a:gd name="T11" fmla="*/ 43656 h 42"/>
              <a:gd name="T12" fmla="*/ 49569 w 49"/>
              <a:gd name="T13" fmla="*/ 34925 h 42"/>
              <a:gd name="T14" fmla="*/ 24785 w 49"/>
              <a:gd name="T15" fmla="*/ 23283 h 42"/>
              <a:gd name="T16" fmla="*/ 44061 w 49"/>
              <a:gd name="T17" fmla="*/ 8731 h 42"/>
              <a:gd name="T18" fmla="*/ 74354 w 49"/>
              <a:gd name="T19" fmla="*/ 5821 h 42"/>
              <a:gd name="T20" fmla="*/ 107400 w 49"/>
              <a:gd name="T21" fmla="*/ 2910 h 42"/>
              <a:gd name="T22" fmla="*/ 123923 w 49"/>
              <a:gd name="T23" fmla="*/ 17463 h 42"/>
              <a:gd name="T24" fmla="*/ 112907 w 49"/>
              <a:gd name="T25" fmla="*/ 29104 h 42"/>
              <a:gd name="T26" fmla="*/ 129430 w 49"/>
              <a:gd name="T27" fmla="*/ 46567 h 42"/>
              <a:gd name="T28" fmla="*/ 134938 w 49"/>
              <a:gd name="T29" fmla="*/ 66940 h 42"/>
              <a:gd name="T30" fmla="*/ 129430 w 49"/>
              <a:gd name="T31" fmla="*/ 78582 h 42"/>
              <a:gd name="T32" fmla="*/ 129430 w 49"/>
              <a:gd name="T33" fmla="*/ 96044 h 42"/>
              <a:gd name="T34" fmla="*/ 99138 w 49"/>
              <a:gd name="T35" fmla="*/ 101865 h 42"/>
              <a:gd name="T36" fmla="*/ 96384 w 49"/>
              <a:gd name="T37" fmla="*/ 113507 h 42"/>
              <a:gd name="T38" fmla="*/ 79861 w 49"/>
              <a:gd name="T39" fmla="*/ 116417 h 42"/>
              <a:gd name="T40" fmla="*/ 66092 w 49"/>
              <a:gd name="T41" fmla="*/ 96044 h 42"/>
              <a:gd name="T42" fmla="*/ 55077 w 49"/>
              <a:gd name="T43" fmla="*/ 90223 h 42"/>
              <a:gd name="T44" fmla="*/ 33046 w 49"/>
              <a:gd name="T45" fmla="*/ 75671 h 42"/>
              <a:gd name="T46" fmla="*/ 19277 w 49"/>
              <a:gd name="T47" fmla="*/ 75671 h 42"/>
              <a:gd name="T48" fmla="*/ 11015 w 49"/>
              <a:gd name="T49" fmla="*/ 640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9" h="42">
                <a:moveTo>
                  <a:pt x="4" y="22"/>
                </a:moveTo>
                <a:cubicBezTo>
                  <a:pt x="3" y="22"/>
                  <a:pt x="1" y="22"/>
                  <a:pt x="0" y="20"/>
                </a:cubicBezTo>
                <a:cubicBezTo>
                  <a:pt x="0" y="18"/>
                  <a:pt x="1" y="15"/>
                  <a:pt x="3" y="15"/>
                </a:cubicBezTo>
                <a:cubicBezTo>
                  <a:pt x="5" y="14"/>
                  <a:pt x="11" y="18"/>
                  <a:pt x="11" y="19"/>
                </a:cubicBezTo>
                <a:cubicBezTo>
                  <a:pt x="12" y="19"/>
                  <a:pt x="16" y="20"/>
                  <a:pt x="17" y="19"/>
                </a:cubicBezTo>
                <a:cubicBezTo>
                  <a:pt x="18" y="19"/>
                  <a:pt x="20" y="17"/>
                  <a:pt x="19" y="15"/>
                </a:cubicBezTo>
                <a:cubicBezTo>
                  <a:pt x="18" y="13"/>
                  <a:pt x="19" y="12"/>
                  <a:pt x="18" y="12"/>
                </a:cubicBezTo>
                <a:cubicBezTo>
                  <a:pt x="17" y="11"/>
                  <a:pt x="9" y="10"/>
                  <a:pt x="9" y="8"/>
                </a:cubicBezTo>
                <a:cubicBezTo>
                  <a:pt x="9" y="7"/>
                  <a:pt x="14" y="3"/>
                  <a:pt x="16" y="3"/>
                </a:cubicBezTo>
                <a:cubicBezTo>
                  <a:pt x="19" y="2"/>
                  <a:pt x="26" y="3"/>
                  <a:pt x="27" y="2"/>
                </a:cubicBezTo>
                <a:cubicBezTo>
                  <a:pt x="29" y="2"/>
                  <a:pt x="39" y="1"/>
                  <a:pt x="39" y="1"/>
                </a:cubicBezTo>
                <a:cubicBezTo>
                  <a:pt x="41" y="0"/>
                  <a:pt x="44" y="5"/>
                  <a:pt x="45" y="6"/>
                </a:cubicBezTo>
                <a:cubicBezTo>
                  <a:pt x="45" y="6"/>
                  <a:pt x="40" y="8"/>
                  <a:pt x="41" y="10"/>
                </a:cubicBezTo>
                <a:cubicBezTo>
                  <a:pt x="42" y="11"/>
                  <a:pt x="47" y="14"/>
                  <a:pt x="47" y="16"/>
                </a:cubicBezTo>
                <a:cubicBezTo>
                  <a:pt x="47" y="17"/>
                  <a:pt x="49" y="22"/>
                  <a:pt x="49" y="23"/>
                </a:cubicBezTo>
                <a:cubicBezTo>
                  <a:pt x="49" y="24"/>
                  <a:pt x="46" y="25"/>
                  <a:pt x="47" y="27"/>
                </a:cubicBezTo>
                <a:cubicBezTo>
                  <a:pt x="47" y="28"/>
                  <a:pt x="47" y="32"/>
                  <a:pt x="47" y="33"/>
                </a:cubicBezTo>
                <a:cubicBezTo>
                  <a:pt x="47" y="34"/>
                  <a:pt x="38" y="36"/>
                  <a:pt x="36" y="35"/>
                </a:cubicBezTo>
                <a:cubicBezTo>
                  <a:pt x="34" y="34"/>
                  <a:pt x="36" y="37"/>
                  <a:pt x="35" y="39"/>
                </a:cubicBezTo>
                <a:cubicBezTo>
                  <a:pt x="33" y="40"/>
                  <a:pt x="31" y="42"/>
                  <a:pt x="29" y="40"/>
                </a:cubicBezTo>
                <a:cubicBezTo>
                  <a:pt x="26" y="39"/>
                  <a:pt x="25" y="34"/>
                  <a:pt x="24" y="33"/>
                </a:cubicBezTo>
                <a:cubicBezTo>
                  <a:pt x="23" y="32"/>
                  <a:pt x="20" y="31"/>
                  <a:pt x="20" y="31"/>
                </a:cubicBezTo>
                <a:cubicBezTo>
                  <a:pt x="19" y="30"/>
                  <a:pt x="14" y="26"/>
                  <a:pt x="12" y="26"/>
                </a:cubicBezTo>
                <a:cubicBezTo>
                  <a:pt x="10" y="27"/>
                  <a:pt x="9" y="27"/>
                  <a:pt x="7" y="26"/>
                </a:cubicBezTo>
                <a:cubicBezTo>
                  <a:pt x="6" y="25"/>
                  <a:pt x="5" y="23"/>
                  <a:pt x="4" y="22"/>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 name="Freeform 468"/>
          <p:cNvSpPr>
            <a:spLocks/>
          </p:cNvSpPr>
          <p:nvPr>
            <p:custDataLst>
              <p:tags r:id="rId20"/>
            </p:custDataLst>
          </p:nvPr>
        </p:nvSpPr>
        <p:spPr bwMode="auto">
          <a:xfrm>
            <a:off x="3447807" y="1657099"/>
            <a:ext cx="166829" cy="93073"/>
          </a:xfrm>
          <a:custGeom>
            <a:avLst/>
            <a:gdLst>
              <a:gd name="T0" fmla="*/ 0 w 56"/>
              <a:gd name="T1" fmla="*/ 23210 h 29"/>
              <a:gd name="T2" fmla="*/ 0 w 56"/>
              <a:gd name="T3" fmla="*/ 8704 h 29"/>
              <a:gd name="T4" fmla="*/ 29624 w 56"/>
              <a:gd name="T5" fmla="*/ 14507 h 29"/>
              <a:gd name="T6" fmla="*/ 45783 w 56"/>
              <a:gd name="T7" fmla="*/ 34816 h 29"/>
              <a:gd name="T8" fmla="*/ 61941 w 56"/>
              <a:gd name="T9" fmla="*/ 43520 h 29"/>
              <a:gd name="T10" fmla="*/ 56555 w 56"/>
              <a:gd name="T11" fmla="*/ 17408 h 29"/>
              <a:gd name="T12" fmla="*/ 70020 w 56"/>
              <a:gd name="T13" fmla="*/ 20309 h 29"/>
              <a:gd name="T14" fmla="*/ 96951 w 56"/>
              <a:gd name="T15" fmla="*/ 40618 h 29"/>
              <a:gd name="T16" fmla="*/ 96951 w 56"/>
              <a:gd name="T17" fmla="*/ 23210 h 29"/>
              <a:gd name="T18" fmla="*/ 80793 w 56"/>
              <a:gd name="T19" fmla="*/ 8704 h 29"/>
              <a:gd name="T20" fmla="*/ 96951 w 56"/>
              <a:gd name="T21" fmla="*/ 0 h 29"/>
              <a:gd name="T22" fmla="*/ 121189 w 56"/>
              <a:gd name="T23" fmla="*/ 5803 h 29"/>
              <a:gd name="T24" fmla="*/ 142734 w 56"/>
              <a:gd name="T25" fmla="*/ 17408 h 29"/>
              <a:gd name="T26" fmla="*/ 142734 w 56"/>
              <a:gd name="T27" fmla="*/ 43520 h 29"/>
              <a:gd name="T28" fmla="*/ 150813 w 56"/>
              <a:gd name="T29" fmla="*/ 52224 h 29"/>
              <a:gd name="T30" fmla="*/ 148120 w 56"/>
              <a:gd name="T31" fmla="*/ 63829 h 29"/>
              <a:gd name="T32" fmla="*/ 134654 w 56"/>
              <a:gd name="T33" fmla="*/ 66730 h 29"/>
              <a:gd name="T34" fmla="*/ 137348 w 56"/>
              <a:gd name="T35" fmla="*/ 78335 h 29"/>
              <a:gd name="T36" fmla="*/ 91565 w 56"/>
              <a:gd name="T37" fmla="*/ 81237 h 29"/>
              <a:gd name="T38" fmla="*/ 83486 w 56"/>
              <a:gd name="T39" fmla="*/ 66730 h 29"/>
              <a:gd name="T40" fmla="*/ 94258 w 56"/>
              <a:gd name="T41" fmla="*/ 52224 h 29"/>
              <a:gd name="T42" fmla="*/ 61941 w 56"/>
              <a:gd name="T43" fmla="*/ 58026 h 29"/>
              <a:gd name="T44" fmla="*/ 40396 w 56"/>
              <a:gd name="T45" fmla="*/ 58026 h 29"/>
              <a:gd name="T46" fmla="*/ 35010 w 56"/>
              <a:gd name="T47" fmla="*/ 46421 h 29"/>
              <a:gd name="T48" fmla="*/ 13465 w 56"/>
              <a:gd name="T49" fmla="*/ 40618 h 29"/>
              <a:gd name="T50" fmla="*/ 13465 w 56"/>
              <a:gd name="T51" fmla="*/ 29013 h 29"/>
              <a:gd name="T52" fmla="*/ 0 w 56"/>
              <a:gd name="T53" fmla="*/ 23210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6" h="29">
                <a:moveTo>
                  <a:pt x="0" y="8"/>
                </a:moveTo>
                <a:cubicBezTo>
                  <a:pt x="0" y="7"/>
                  <a:pt x="0" y="3"/>
                  <a:pt x="0" y="3"/>
                </a:cubicBezTo>
                <a:cubicBezTo>
                  <a:pt x="2" y="2"/>
                  <a:pt x="10" y="3"/>
                  <a:pt x="11" y="5"/>
                </a:cubicBezTo>
                <a:cubicBezTo>
                  <a:pt x="12" y="6"/>
                  <a:pt x="15" y="10"/>
                  <a:pt x="17" y="12"/>
                </a:cubicBezTo>
                <a:cubicBezTo>
                  <a:pt x="20" y="13"/>
                  <a:pt x="21" y="15"/>
                  <a:pt x="23" y="15"/>
                </a:cubicBezTo>
                <a:cubicBezTo>
                  <a:pt x="24" y="15"/>
                  <a:pt x="19" y="7"/>
                  <a:pt x="21" y="6"/>
                </a:cubicBezTo>
                <a:cubicBezTo>
                  <a:pt x="22" y="5"/>
                  <a:pt x="25" y="6"/>
                  <a:pt x="26" y="7"/>
                </a:cubicBezTo>
                <a:cubicBezTo>
                  <a:pt x="27" y="8"/>
                  <a:pt x="35" y="14"/>
                  <a:pt x="36" y="14"/>
                </a:cubicBezTo>
                <a:cubicBezTo>
                  <a:pt x="38" y="14"/>
                  <a:pt x="37" y="10"/>
                  <a:pt x="36" y="8"/>
                </a:cubicBezTo>
                <a:cubicBezTo>
                  <a:pt x="35" y="6"/>
                  <a:pt x="29" y="5"/>
                  <a:pt x="30" y="3"/>
                </a:cubicBezTo>
                <a:cubicBezTo>
                  <a:pt x="31" y="1"/>
                  <a:pt x="35" y="0"/>
                  <a:pt x="36" y="0"/>
                </a:cubicBezTo>
                <a:cubicBezTo>
                  <a:pt x="37" y="0"/>
                  <a:pt x="43" y="1"/>
                  <a:pt x="45" y="2"/>
                </a:cubicBezTo>
                <a:cubicBezTo>
                  <a:pt x="47" y="2"/>
                  <a:pt x="52" y="4"/>
                  <a:pt x="53" y="6"/>
                </a:cubicBezTo>
                <a:cubicBezTo>
                  <a:pt x="54" y="9"/>
                  <a:pt x="54" y="14"/>
                  <a:pt x="53" y="15"/>
                </a:cubicBezTo>
                <a:cubicBezTo>
                  <a:pt x="52" y="16"/>
                  <a:pt x="56" y="17"/>
                  <a:pt x="56" y="18"/>
                </a:cubicBezTo>
                <a:cubicBezTo>
                  <a:pt x="56" y="19"/>
                  <a:pt x="55" y="22"/>
                  <a:pt x="55" y="22"/>
                </a:cubicBezTo>
                <a:cubicBezTo>
                  <a:pt x="54" y="23"/>
                  <a:pt x="50" y="21"/>
                  <a:pt x="50" y="23"/>
                </a:cubicBezTo>
                <a:cubicBezTo>
                  <a:pt x="50" y="24"/>
                  <a:pt x="52" y="26"/>
                  <a:pt x="51" y="27"/>
                </a:cubicBezTo>
                <a:cubicBezTo>
                  <a:pt x="50" y="28"/>
                  <a:pt x="35" y="29"/>
                  <a:pt x="34" y="28"/>
                </a:cubicBezTo>
                <a:cubicBezTo>
                  <a:pt x="32" y="27"/>
                  <a:pt x="30" y="23"/>
                  <a:pt x="31" y="23"/>
                </a:cubicBezTo>
                <a:cubicBezTo>
                  <a:pt x="32" y="23"/>
                  <a:pt x="37" y="19"/>
                  <a:pt x="35" y="18"/>
                </a:cubicBezTo>
                <a:cubicBezTo>
                  <a:pt x="32" y="17"/>
                  <a:pt x="25" y="20"/>
                  <a:pt x="23" y="20"/>
                </a:cubicBezTo>
                <a:cubicBezTo>
                  <a:pt x="21" y="21"/>
                  <a:pt x="16" y="21"/>
                  <a:pt x="15" y="20"/>
                </a:cubicBezTo>
                <a:cubicBezTo>
                  <a:pt x="13" y="19"/>
                  <a:pt x="15" y="17"/>
                  <a:pt x="13" y="16"/>
                </a:cubicBezTo>
                <a:cubicBezTo>
                  <a:pt x="11" y="15"/>
                  <a:pt x="7" y="15"/>
                  <a:pt x="5" y="14"/>
                </a:cubicBezTo>
                <a:cubicBezTo>
                  <a:pt x="4" y="12"/>
                  <a:pt x="6" y="11"/>
                  <a:pt x="5" y="10"/>
                </a:cubicBezTo>
                <a:cubicBezTo>
                  <a:pt x="4" y="9"/>
                  <a:pt x="1" y="9"/>
                  <a:pt x="0" y="8"/>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 name="Freeform 469"/>
          <p:cNvSpPr>
            <a:spLocks/>
          </p:cNvSpPr>
          <p:nvPr>
            <p:custDataLst>
              <p:tags r:id="rId21"/>
            </p:custDataLst>
          </p:nvPr>
        </p:nvSpPr>
        <p:spPr bwMode="auto">
          <a:xfrm>
            <a:off x="3421466" y="1516611"/>
            <a:ext cx="158049" cy="87805"/>
          </a:xfrm>
          <a:custGeom>
            <a:avLst/>
            <a:gdLst>
              <a:gd name="T0" fmla="*/ 21566 w 53"/>
              <a:gd name="T1" fmla="*/ 26458 h 27"/>
              <a:gd name="T2" fmla="*/ 2696 w 53"/>
              <a:gd name="T3" fmla="*/ 17639 h 27"/>
              <a:gd name="T4" fmla="*/ 8087 w 53"/>
              <a:gd name="T5" fmla="*/ 2940 h 27"/>
              <a:gd name="T6" fmla="*/ 29653 w 53"/>
              <a:gd name="T7" fmla="*/ 0 h 27"/>
              <a:gd name="T8" fmla="*/ 56611 w 53"/>
              <a:gd name="T9" fmla="*/ 5880 h 27"/>
              <a:gd name="T10" fmla="*/ 67394 w 53"/>
              <a:gd name="T11" fmla="*/ 20579 h 27"/>
              <a:gd name="T12" fmla="*/ 78177 w 53"/>
              <a:gd name="T13" fmla="*/ 14699 h 27"/>
              <a:gd name="T14" fmla="*/ 97047 w 53"/>
              <a:gd name="T15" fmla="*/ 20579 h 27"/>
              <a:gd name="T16" fmla="*/ 124005 w 53"/>
              <a:gd name="T17" fmla="*/ 38218 h 27"/>
              <a:gd name="T18" fmla="*/ 124005 w 53"/>
              <a:gd name="T19" fmla="*/ 52917 h 27"/>
              <a:gd name="T20" fmla="*/ 140179 w 53"/>
              <a:gd name="T21" fmla="*/ 64676 h 27"/>
              <a:gd name="T22" fmla="*/ 137483 w 53"/>
              <a:gd name="T23" fmla="*/ 79375 h 27"/>
              <a:gd name="T24" fmla="*/ 113222 w 53"/>
              <a:gd name="T25" fmla="*/ 79375 h 27"/>
              <a:gd name="T26" fmla="*/ 105134 w 53"/>
              <a:gd name="T27" fmla="*/ 73495 h 27"/>
              <a:gd name="T28" fmla="*/ 94351 w 53"/>
              <a:gd name="T29" fmla="*/ 61736 h 27"/>
              <a:gd name="T30" fmla="*/ 67394 w 53"/>
              <a:gd name="T31" fmla="*/ 55856 h 27"/>
              <a:gd name="T32" fmla="*/ 32349 w 53"/>
              <a:gd name="T33" fmla="*/ 55856 h 27"/>
              <a:gd name="T34" fmla="*/ 16175 w 53"/>
              <a:gd name="T35" fmla="*/ 44097 h 27"/>
              <a:gd name="T36" fmla="*/ 43132 w 53"/>
              <a:gd name="T37" fmla="*/ 41157 h 27"/>
              <a:gd name="T38" fmla="*/ 37741 w 53"/>
              <a:gd name="T39" fmla="*/ 26458 h 27"/>
              <a:gd name="T40" fmla="*/ 21566 w 53"/>
              <a:gd name="T41" fmla="*/ 26458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3" h="27">
                <a:moveTo>
                  <a:pt x="8" y="9"/>
                </a:moveTo>
                <a:cubicBezTo>
                  <a:pt x="7" y="9"/>
                  <a:pt x="1" y="7"/>
                  <a:pt x="1" y="6"/>
                </a:cubicBezTo>
                <a:cubicBezTo>
                  <a:pt x="0" y="5"/>
                  <a:pt x="1" y="2"/>
                  <a:pt x="3" y="1"/>
                </a:cubicBezTo>
                <a:cubicBezTo>
                  <a:pt x="5" y="0"/>
                  <a:pt x="7" y="1"/>
                  <a:pt x="11" y="0"/>
                </a:cubicBezTo>
                <a:cubicBezTo>
                  <a:pt x="16" y="0"/>
                  <a:pt x="20" y="1"/>
                  <a:pt x="21" y="2"/>
                </a:cubicBezTo>
                <a:cubicBezTo>
                  <a:pt x="22" y="3"/>
                  <a:pt x="24" y="7"/>
                  <a:pt x="25" y="7"/>
                </a:cubicBezTo>
                <a:cubicBezTo>
                  <a:pt x="26" y="7"/>
                  <a:pt x="26" y="5"/>
                  <a:pt x="29" y="5"/>
                </a:cubicBezTo>
                <a:cubicBezTo>
                  <a:pt x="32" y="5"/>
                  <a:pt x="35" y="7"/>
                  <a:pt x="36" y="7"/>
                </a:cubicBezTo>
                <a:cubicBezTo>
                  <a:pt x="38" y="8"/>
                  <a:pt x="44" y="13"/>
                  <a:pt x="46" y="13"/>
                </a:cubicBezTo>
                <a:cubicBezTo>
                  <a:pt x="48" y="14"/>
                  <a:pt x="45" y="17"/>
                  <a:pt x="46" y="18"/>
                </a:cubicBezTo>
                <a:cubicBezTo>
                  <a:pt x="47" y="20"/>
                  <a:pt x="52" y="21"/>
                  <a:pt x="52" y="22"/>
                </a:cubicBezTo>
                <a:cubicBezTo>
                  <a:pt x="52" y="24"/>
                  <a:pt x="53" y="26"/>
                  <a:pt x="51" y="27"/>
                </a:cubicBezTo>
                <a:cubicBezTo>
                  <a:pt x="49" y="27"/>
                  <a:pt x="44" y="27"/>
                  <a:pt x="42" y="27"/>
                </a:cubicBezTo>
                <a:cubicBezTo>
                  <a:pt x="41" y="27"/>
                  <a:pt x="39" y="25"/>
                  <a:pt x="39" y="25"/>
                </a:cubicBezTo>
                <a:cubicBezTo>
                  <a:pt x="37" y="23"/>
                  <a:pt x="38" y="22"/>
                  <a:pt x="35" y="21"/>
                </a:cubicBezTo>
                <a:cubicBezTo>
                  <a:pt x="32" y="19"/>
                  <a:pt x="27" y="19"/>
                  <a:pt x="25" y="19"/>
                </a:cubicBezTo>
                <a:cubicBezTo>
                  <a:pt x="24" y="19"/>
                  <a:pt x="15" y="22"/>
                  <a:pt x="12" y="19"/>
                </a:cubicBezTo>
                <a:cubicBezTo>
                  <a:pt x="8" y="17"/>
                  <a:pt x="4" y="16"/>
                  <a:pt x="6" y="15"/>
                </a:cubicBezTo>
                <a:cubicBezTo>
                  <a:pt x="7" y="14"/>
                  <a:pt x="15" y="14"/>
                  <a:pt x="16" y="14"/>
                </a:cubicBezTo>
                <a:cubicBezTo>
                  <a:pt x="18" y="13"/>
                  <a:pt x="16" y="10"/>
                  <a:pt x="14" y="9"/>
                </a:cubicBezTo>
                <a:cubicBezTo>
                  <a:pt x="12" y="8"/>
                  <a:pt x="9" y="9"/>
                  <a:pt x="8" y="9"/>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6" name="Freeform 470"/>
          <p:cNvSpPr>
            <a:spLocks/>
          </p:cNvSpPr>
          <p:nvPr>
            <p:custDataLst>
              <p:tags r:id="rId22"/>
            </p:custDataLst>
          </p:nvPr>
        </p:nvSpPr>
        <p:spPr bwMode="auto">
          <a:xfrm>
            <a:off x="3409173" y="1600902"/>
            <a:ext cx="54439" cy="40390"/>
          </a:xfrm>
          <a:custGeom>
            <a:avLst/>
            <a:gdLst>
              <a:gd name="T0" fmla="*/ 16404 w 18"/>
              <a:gd name="T1" fmla="*/ 30896 h 13"/>
              <a:gd name="T2" fmla="*/ 2734 w 18"/>
              <a:gd name="T3" fmla="*/ 2809 h 13"/>
              <a:gd name="T4" fmla="*/ 21872 w 18"/>
              <a:gd name="T5" fmla="*/ 5617 h 13"/>
              <a:gd name="T6" fmla="*/ 32809 w 18"/>
              <a:gd name="T7" fmla="*/ 16852 h 13"/>
              <a:gd name="T8" fmla="*/ 43745 w 18"/>
              <a:gd name="T9" fmla="*/ 30896 h 13"/>
              <a:gd name="T10" fmla="*/ 16404 w 18"/>
              <a:gd name="T11" fmla="*/ 30896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3">
                <a:moveTo>
                  <a:pt x="6" y="11"/>
                </a:moveTo>
                <a:cubicBezTo>
                  <a:pt x="4" y="9"/>
                  <a:pt x="0" y="3"/>
                  <a:pt x="1" y="1"/>
                </a:cubicBezTo>
                <a:cubicBezTo>
                  <a:pt x="2" y="0"/>
                  <a:pt x="6" y="1"/>
                  <a:pt x="8" y="2"/>
                </a:cubicBezTo>
                <a:cubicBezTo>
                  <a:pt x="10" y="3"/>
                  <a:pt x="11" y="5"/>
                  <a:pt x="12" y="6"/>
                </a:cubicBezTo>
                <a:cubicBezTo>
                  <a:pt x="12" y="7"/>
                  <a:pt x="18" y="10"/>
                  <a:pt x="16" y="11"/>
                </a:cubicBezTo>
                <a:cubicBezTo>
                  <a:pt x="15" y="12"/>
                  <a:pt x="9" y="13"/>
                  <a:pt x="6" y="11"/>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7" name="Freeform 471"/>
          <p:cNvSpPr>
            <a:spLocks/>
          </p:cNvSpPr>
          <p:nvPr>
            <p:custDataLst>
              <p:tags r:id="rId23"/>
            </p:custDataLst>
          </p:nvPr>
        </p:nvSpPr>
        <p:spPr bwMode="auto">
          <a:xfrm>
            <a:off x="3258148" y="1586854"/>
            <a:ext cx="72000" cy="40390"/>
          </a:xfrm>
          <a:custGeom>
            <a:avLst/>
            <a:gdLst>
              <a:gd name="T0" fmla="*/ 0 w 24"/>
              <a:gd name="T1" fmla="*/ 15214 h 12"/>
              <a:gd name="T2" fmla="*/ 8136 w 24"/>
              <a:gd name="T3" fmla="*/ 6086 h 12"/>
              <a:gd name="T4" fmla="*/ 48816 w 24"/>
              <a:gd name="T5" fmla="*/ 0 h 12"/>
              <a:gd name="T6" fmla="*/ 65088 w 24"/>
              <a:gd name="T7" fmla="*/ 3043 h 12"/>
              <a:gd name="T8" fmla="*/ 37968 w 24"/>
              <a:gd name="T9" fmla="*/ 15214 h 12"/>
              <a:gd name="T10" fmla="*/ 56952 w 24"/>
              <a:gd name="T11" fmla="*/ 21299 h 12"/>
              <a:gd name="T12" fmla="*/ 48816 w 24"/>
              <a:gd name="T13" fmla="*/ 30428 h 12"/>
              <a:gd name="T14" fmla="*/ 16272 w 24"/>
              <a:gd name="T15" fmla="*/ 33470 h 12"/>
              <a:gd name="T16" fmla="*/ 0 w 24"/>
              <a:gd name="T17" fmla="*/ 27385 h 12"/>
              <a:gd name="T18" fmla="*/ 0 w 24"/>
              <a:gd name="T19" fmla="*/ 15214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12">
                <a:moveTo>
                  <a:pt x="0" y="5"/>
                </a:moveTo>
                <a:cubicBezTo>
                  <a:pt x="0" y="4"/>
                  <a:pt x="2" y="2"/>
                  <a:pt x="3" y="2"/>
                </a:cubicBezTo>
                <a:cubicBezTo>
                  <a:pt x="3" y="2"/>
                  <a:pt x="14" y="0"/>
                  <a:pt x="18" y="0"/>
                </a:cubicBezTo>
                <a:cubicBezTo>
                  <a:pt x="22" y="0"/>
                  <a:pt x="24" y="0"/>
                  <a:pt x="24" y="1"/>
                </a:cubicBezTo>
                <a:cubicBezTo>
                  <a:pt x="23" y="3"/>
                  <a:pt x="14" y="3"/>
                  <a:pt x="14" y="5"/>
                </a:cubicBezTo>
                <a:cubicBezTo>
                  <a:pt x="15" y="8"/>
                  <a:pt x="21" y="6"/>
                  <a:pt x="21" y="7"/>
                </a:cubicBezTo>
                <a:cubicBezTo>
                  <a:pt x="22" y="8"/>
                  <a:pt x="21" y="9"/>
                  <a:pt x="18" y="10"/>
                </a:cubicBezTo>
                <a:cubicBezTo>
                  <a:pt x="16" y="12"/>
                  <a:pt x="8" y="11"/>
                  <a:pt x="6" y="11"/>
                </a:cubicBezTo>
                <a:cubicBezTo>
                  <a:pt x="4" y="11"/>
                  <a:pt x="2" y="10"/>
                  <a:pt x="0" y="9"/>
                </a:cubicBezTo>
                <a:cubicBezTo>
                  <a:pt x="0" y="9"/>
                  <a:pt x="0" y="7"/>
                  <a:pt x="0" y="5"/>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8" name="Freeform 472"/>
          <p:cNvSpPr>
            <a:spLocks/>
          </p:cNvSpPr>
          <p:nvPr>
            <p:custDataLst>
              <p:tags r:id="rId24"/>
            </p:custDataLst>
          </p:nvPr>
        </p:nvSpPr>
        <p:spPr bwMode="auto">
          <a:xfrm>
            <a:off x="3242344" y="1546463"/>
            <a:ext cx="98341" cy="31610"/>
          </a:xfrm>
          <a:custGeom>
            <a:avLst/>
            <a:gdLst>
              <a:gd name="T0" fmla="*/ 5388 w 33"/>
              <a:gd name="T1" fmla="*/ 17145 h 10"/>
              <a:gd name="T2" fmla="*/ 45797 w 33"/>
              <a:gd name="T3" fmla="*/ 2858 h 10"/>
              <a:gd name="T4" fmla="*/ 70042 w 33"/>
              <a:gd name="T5" fmla="*/ 2858 h 10"/>
              <a:gd name="T6" fmla="*/ 88900 w 33"/>
              <a:gd name="T7" fmla="*/ 14288 h 10"/>
              <a:gd name="T8" fmla="*/ 83512 w 33"/>
              <a:gd name="T9" fmla="*/ 20003 h 10"/>
              <a:gd name="T10" fmla="*/ 51185 w 33"/>
              <a:gd name="T11" fmla="*/ 20003 h 10"/>
              <a:gd name="T12" fmla="*/ 26939 w 33"/>
              <a:gd name="T13" fmla="*/ 25718 h 10"/>
              <a:gd name="T14" fmla="*/ 5388 w 33"/>
              <a:gd name="T15" fmla="*/ 25718 h 10"/>
              <a:gd name="T16" fmla="*/ 5388 w 33"/>
              <a:gd name="T17" fmla="*/ 17145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10">
                <a:moveTo>
                  <a:pt x="2" y="6"/>
                </a:moveTo>
                <a:cubicBezTo>
                  <a:pt x="3" y="4"/>
                  <a:pt x="15" y="2"/>
                  <a:pt x="17" y="1"/>
                </a:cubicBezTo>
                <a:cubicBezTo>
                  <a:pt x="19" y="0"/>
                  <a:pt x="24" y="0"/>
                  <a:pt x="26" y="1"/>
                </a:cubicBezTo>
                <a:cubicBezTo>
                  <a:pt x="28" y="1"/>
                  <a:pt x="33" y="4"/>
                  <a:pt x="33" y="5"/>
                </a:cubicBezTo>
                <a:cubicBezTo>
                  <a:pt x="33" y="6"/>
                  <a:pt x="33" y="7"/>
                  <a:pt x="31" y="7"/>
                </a:cubicBezTo>
                <a:cubicBezTo>
                  <a:pt x="29" y="7"/>
                  <a:pt x="21" y="7"/>
                  <a:pt x="19" y="7"/>
                </a:cubicBezTo>
                <a:cubicBezTo>
                  <a:pt x="17" y="7"/>
                  <a:pt x="13" y="8"/>
                  <a:pt x="10" y="9"/>
                </a:cubicBezTo>
                <a:cubicBezTo>
                  <a:pt x="8" y="9"/>
                  <a:pt x="3" y="10"/>
                  <a:pt x="2" y="9"/>
                </a:cubicBezTo>
                <a:cubicBezTo>
                  <a:pt x="0" y="7"/>
                  <a:pt x="2" y="6"/>
                  <a:pt x="2" y="6"/>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9" name="Freeform 473"/>
          <p:cNvSpPr>
            <a:spLocks/>
          </p:cNvSpPr>
          <p:nvPr>
            <p:custDataLst>
              <p:tags r:id="rId25"/>
            </p:custDataLst>
          </p:nvPr>
        </p:nvSpPr>
        <p:spPr bwMode="auto">
          <a:xfrm>
            <a:off x="3203709" y="1586855"/>
            <a:ext cx="38634" cy="22829"/>
          </a:xfrm>
          <a:custGeom>
            <a:avLst/>
            <a:gdLst>
              <a:gd name="T0" fmla="*/ 0 w 13"/>
              <a:gd name="T1" fmla="*/ 5897 h 7"/>
              <a:gd name="T2" fmla="*/ 18806 w 13"/>
              <a:gd name="T3" fmla="*/ 0 h 7"/>
              <a:gd name="T4" fmla="*/ 32238 w 13"/>
              <a:gd name="T5" fmla="*/ 11793 h 7"/>
              <a:gd name="T6" fmla="*/ 18806 w 13"/>
              <a:gd name="T7" fmla="*/ 17690 h 7"/>
              <a:gd name="T8" fmla="*/ 8060 w 13"/>
              <a:gd name="T9" fmla="*/ 14741 h 7"/>
              <a:gd name="T10" fmla="*/ 0 w 13"/>
              <a:gd name="T11" fmla="*/ 5897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2"/>
                </a:moveTo>
                <a:cubicBezTo>
                  <a:pt x="0" y="1"/>
                  <a:pt x="6" y="0"/>
                  <a:pt x="7" y="0"/>
                </a:cubicBezTo>
                <a:cubicBezTo>
                  <a:pt x="8" y="0"/>
                  <a:pt x="13" y="3"/>
                  <a:pt x="12" y="4"/>
                </a:cubicBezTo>
                <a:cubicBezTo>
                  <a:pt x="12" y="5"/>
                  <a:pt x="9" y="7"/>
                  <a:pt x="7" y="6"/>
                </a:cubicBezTo>
                <a:cubicBezTo>
                  <a:pt x="6" y="5"/>
                  <a:pt x="3" y="5"/>
                  <a:pt x="3" y="5"/>
                </a:cubicBezTo>
                <a:cubicBezTo>
                  <a:pt x="1" y="4"/>
                  <a:pt x="0" y="3"/>
                  <a:pt x="0" y="2"/>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0" name="Freeform 474"/>
          <p:cNvSpPr>
            <a:spLocks/>
          </p:cNvSpPr>
          <p:nvPr>
            <p:custDataLst>
              <p:tags r:id="rId26"/>
            </p:custDataLst>
          </p:nvPr>
        </p:nvSpPr>
        <p:spPr bwMode="auto">
          <a:xfrm>
            <a:off x="3149270" y="1648317"/>
            <a:ext cx="282732" cy="136976"/>
          </a:xfrm>
          <a:custGeom>
            <a:avLst/>
            <a:gdLst>
              <a:gd name="T0" fmla="*/ 2719 w 94"/>
              <a:gd name="T1" fmla="*/ 76654 h 42"/>
              <a:gd name="T2" fmla="*/ 19033 w 94"/>
              <a:gd name="T3" fmla="*/ 58964 h 42"/>
              <a:gd name="T4" fmla="*/ 27190 w 94"/>
              <a:gd name="T5" fmla="*/ 35379 h 42"/>
              <a:gd name="T6" fmla="*/ 48942 w 94"/>
              <a:gd name="T7" fmla="*/ 20638 h 42"/>
              <a:gd name="T8" fmla="*/ 67976 w 94"/>
              <a:gd name="T9" fmla="*/ 20638 h 42"/>
              <a:gd name="T10" fmla="*/ 76133 w 94"/>
              <a:gd name="T11" fmla="*/ 35379 h 42"/>
              <a:gd name="T12" fmla="*/ 97885 w 94"/>
              <a:gd name="T13" fmla="*/ 29482 h 42"/>
              <a:gd name="T14" fmla="*/ 125075 w 94"/>
              <a:gd name="T15" fmla="*/ 53068 h 42"/>
              <a:gd name="T16" fmla="*/ 130513 w 94"/>
              <a:gd name="T17" fmla="*/ 64861 h 42"/>
              <a:gd name="T18" fmla="*/ 176736 w 94"/>
              <a:gd name="T19" fmla="*/ 64861 h 42"/>
              <a:gd name="T20" fmla="*/ 176736 w 94"/>
              <a:gd name="T21" fmla="*/ 53068 h 42"/>
              <a:gd name="T22" fmla="*/ 163141 w 94"/>
              <a:gd name="T23" fmla="*/ 47171 h 42"/>
              <a:gd name="T24" fmla="*/ 168579 w 94"/>
              <a:gd name="T25" fmla="*/ 35379 h 42"/>
              <a:gd name="T26" fmla="*/ 146827 w 94"/>
              <a:gd name="T27" fmla="*/ 23586 h 42"/>
              <a:gd name="T28" fmla="*/ 171298 w 94"/>
              <a:gd name="T29" fmla="*/ 5896 h 42"/>
              <a:gd name="T30" fmla="*/ 184893 w 94"/>
              <a:gd name="T31" fmla="*/ 0 h 42"/>
              <a:gd name="T32" fmla="*/ 187612 w 94"/>
              <a:gd name="T33" fmla="*/ 17689 h 42"/>
              <a:gd name="T34" fmla="*/ 195770 w 94"/>
              <a:gd name="T35" fmla="*/ 29482 h 42"/>
              <a:gd name="T36" fmla="*/ 193051 w 94"/>
              <a:gd name="T37" fmla="*/ 41275 h 42"/>
              <a:gd name="T38" fmla="*/ 217522 w 94"/>
              <a:gd name="T39" fmla="*/ 50120 h 42"/>
              <a:gd name="T40" fmla="*/ 222960 w 94"/>
              <a:gd name="T41" fmla="*/ 35379 h 42"/>
              <a:gd name="T42" fmla="*/ 244712 w 94"/>
              <a:gd name="T43" fmla="*/ 41275 h 42"/>
              <a:gd name="T44" fmla="*/ 250150 w 94"/>
              <a:gd name="T45" fmla="*/ 67809 h 42"/>
              <a:gd name="T46" fmla="*/ 233836 w 94"/>
              <a:gd name="T47" fmla="*/ 88446 h 42"/>
              <a:gd name="T48" fmla="*/ 179455 w 94"/>
              <a:gd name="T49" fmla="*/ 88446 h 42"/>
              <a:gd name="T50" fmla="*/ 130513 w 94"/>
              <a:gd name="T51" fmla="*/ 106136 h 42"/>
              <a:gd name="T52" fmla="*/ 87009 w 94"/>
              <a:gd name="T53" fmla="*/ 117929 h 42"/>
              <a:gd name="T54" fmla="*/ 65257 w 94"/>
              <a:gd name="T55" fmla="*/ 103188 h 42"/>
              <a:gd name="T56" fmla="*/ 89728 w 94"/>
              <a:gd name="T57" fmla="*/ 94343 h 42"/>
              <a:gd name="T58" fmla="*/ 122356 w 94"/>
              <a:gd name="T59" fmla="*/ 88446 h 42"/>
              <a:gd name="T60" fmla="*/ 133232 w 94"/>
              <a:gd name="T61" fmla="*/ 79602 h 42"/>
              <a:gd name="T62" fmla="*/ 106042 w 94"/>
              <a:gd name="T63" fmla="*/ 76654 h 42"/>
              <a:gd name="T64" fmla="*/ 78852 w 94"/>
              <a:gd name="T65" fmla="*/ 79602 h 42"/>
              <a:gd name="T66" fmla="*/ 76133 w 94"/>
              <a:gd name="T67" fmla="*/ 64861 h 42"/>
              <a:gd name="T68" fmla="*/ 65257 w 94"/>
              <a:gd name="T69" fmla="*/ 67809 h 42"/>
              <a:gd name="T70" fmla="*/ 59818 w 94"/>
              <a:gd name="T71" fmla="*/ 85498 h 42"/>
              <a:gd name="T72" fmla="*/ 38066 w 94"/>
              <a:gd name="T73" fmla="*/ 88446 h 42"/>
              <a:gd name="T74" fmla="*/ 32628 w 94"/>
              <a:gd name="T75" fmla="*/ 85498 h 42"/>
              <a:gd name="T76" fmla="*/ 2719 w 94"/>
              <a:gd name="T77" fmla="*/ 76654 h 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4" h="42">
                <a:moveTo>
                  <a:pt x="1" y="26"/>
                </a:moveTo>
                <a:cubicBezTo>
                  <a:pt x="2" y="25"/>
                  <a:pt x="6" y="21"/>
                  <a:pt x="7" y="20"/>
                </a:cubicBezTo>
                <a:cubicBezTo>
                  <a:pt x="8" y="18"/>
                  <a:pt x="10" y="13"/>
                  <a:pt x="10" y="12"/>
                </a:cubicBezTo>
                <a:cubicBezTo>
                  <a:pt x="11" y="11"/>
                  <a:pt x="16" y="7"/>
                  <a:pt x="18" y="7"/>
                </a:cubicBezTo>
                <a:cubicBezTo>
                  <a:pt x="20" y="7"/>
                  <a:pt x="25" y="6"/>
                  <a:pt x="25" y="7"/>
                </a:cubicBezTo>
                <a:cubicBezTo>
                  <a:pt x="26" y="9"/>
                  <a:pt x="25" y="12"/>
                  <a:pt x="28" y="12"/>
                </a:cubicBezTo>
                <a:cubicBezTo>
                  <a:pt x="30" y="12"/>
                  <a:pt x="32" y="9"/>
                  <a:pt x="36" y="10"/>
                </a:cubicBezTo>
                <a:cubicBezTo>
                  <a:pt x="40" y="12"/>
                  <a:pt x="44" y="16"/>
                  <a:pt x="46" y="18"/>
                </a:cubicBezTo>
                <a:cubicBezTo>
                  <a:pt x="47" y="19"/>
                  <a:pt x="46" y="22"/>
                  <a:pt x="48" y="22"/>
                </a:cubicBezTo>
                <a:cubicBezTo>
                  <a:pt x="50" y="22"/>
                  <a:pt x="64" y="23"/>
                  <a:pt x="65" y="22"/>
                </a:cubicBezTo>
                <a:cubicBezTo>
                  <a:pt x="66" y="21"/>
                  <a:pt x="68" y="20"/>
                  <a:pt x="65" y="18"/>
                </a:cubicBezTo>
                <a:cubicBezTo>
                  <a:pt x="62" y="16"/>
                  <a:pt x="61" y="17"/>
                  <a:pt x="60" y="16"/>
                </a:cubicBezTo>
                <a:cubicBezTo>
                  <a:pt x="58" y="14"/>
                  <a:pt x="64" y="13"/>
                  <a:pt x="62" y="12"/>
                </a:cubicBezTo>
                <a:cubicBezTo>
                  <a:pt x="61" y="11"/>
                  <a:pt x="54" y="9"/>
                  <a:pt x="54" y="8"/>
                </a:cubicBezTo>
                <a:cubicBezTo>
                  <a:pt x="54" y="6"/>
                  <a:pt x="61" y="4"/>
                  <a:pt x="63" y="2"/>
                </a:cubicBezTo>
                <a:cubicBezTo>
                  <a:pt x="65" y="0"/>
                  <a:pt x="67" y="0"/>
                  <a:pt x="68" y="0"/>
                </a:cubicBezTo>
                <a:cubicBezTo>
                  <a:pt x="69" y="0"/>
                  <a:pt x="68" y="4"/>
                  <a:pt x="69" y="6"/>
                </a:cubicBezTo>
                <a:cubicBezTo>
                  <a:pt x="70" y="7"/>
                  <a:pt x="71" y="9"/>
                  <a:pt x="72" y="10"/>
                </a:cubicBezTo>
                <a:cubicBezTo>
                  <a:pt x="73" y="11"/>
                  <a:pt x="69" y="12"/>
                  <a:pt x="71" y="14"/>
                </a:cubicBezTo>
                <a:cubicBezTo>
                  <a:pt x="73" y="15"/>
                  <a:pt x="78" y="17"/>
                  <a:pt x="80" y="17"/>
                </a:cubicBezTo>
                <a:cubicBezTo>
                  <a:pt x="82" y="17"/>
                  <a:pt x="80" y="12"/>
                  <a:pt x="82" y="12"/>
                </a:cubicBezTo>
                <a:cubicBezTo>
                  <a:pt x="84" y="12"/>
                  <a:pt x="88" y="13"/>
                  <a:pt x="90" y="14"/>
                </a:cubicBezTo>
                <a:cubicBezTo>
                  <a:pt x="93" y="16"/>
                  <a:pt x="94" y="20"/>
                  <a:pt x="92" y="23"/>
                </a:cubicBezTo>
                <a:cubicBezTo>
                  <a:pt x="90" y="25"/>
                  <a:pt x="89" y="30"/>
                  <a:pt x="86" y="30"/>
                </a:cubicBezTo>
                <a:cubicBezTo>
                  <a:pt x="84" y="30"/>
                  <a:pt x="68" y="29"/>
                  <a:pt x="66" y="30"/>
                </a:cubicBezTo>
                <a:cubicBezTo>
                  <a:pt x="64" y="31"/>
                  <a:pt x="51" y="36"/>
                  <a:pt x="48" y="36"/>
                </a:cubicBezTo>
                <a:cubicBezTo>
                  <a:pt x="45" y="37"/>
                  <a:pt x="37" y="42"/>
                  <a:pt x="32" y="40"/>
                </a:cubicBezTo>
                <a:cubicBezTo>
                  <a:pt x="27" y="38"/>
                  <a:pt x="24" y="36"/>
                  <a:pt x="24" y="35"/>
                </a:cubicBezTo>
                <a:cubicBezTo>
                  <a:pt x="25" y="34"/>
                  <a:pt x="30" y="32"/>
                  <a:pt x="33" y="32"/>
                </a:cubicBezTo>
                <a:cubicBezTo>
                  <a:pt x="36" y="32"/>
                  <a:pt x="43" y="31"/>
                  <a:pt x="45" y="30"/>
                </a:cubicBezTo>
                <a:cubicBezTo>
                  <a:pt x="47" y="29"/>
                  <a:pt x="50" y="29"/>
                  <a:pt x="49" y="27"/>
                </a:cubicBezTo>
                <a:cubicBezTo>
                  <a:pt x="48" y="26"/>
                  <a:pt x="42" y="26"/>
                  <a:pt x="39" y="26"/>
                </a:cubicBezTo>
                <a:cubicBezTo>
                  <a:pt x="36" y="26"/>
                  <a:pt x="30" y="28"/>
                  <a:pt x="29" y="27"/>
                </a:cubicBezTo>
                <a:cubicBezTo>
                  <a:pt x="28" y="26"/>
                  <a:pt x="30" y="22"/>
                  <a:pt x="28" y="22"/>
                </a:cubicBezTo>
                <a:cubicBezTo>
                  <a:pt x="27" y="22"/>
                  <a:pt x="24" y="23"/>
                  <a:pt x="24" y="23"/>
                </a:cubicBezTo>
                <a:cubicBezTo>
                  <a:pt x="24" y="23"/>
                  <a:pt x="23" y="29"/>
                  <a:pt x="22" y="29"/>
                </a:cubicBezTo>
                <a:cubicBezTo>
                  <a:pt x="20" y="29"/>
                  <a:pt x="15" y="30"/>
                  <a:pt x="14" y="30"/>
                </a:cubicBezTo>
                <a:cubicBezTo>
                  <a:pt x="14" y="30"/>
                  <a:pt x="12" y="29"/>
                  <a:pt x="12" y="29"/>
                </a:cubicBezTo>
                <a:cubicBezTo>
                  <a:pt x="10" y="28"/>
                  <a:pt x="0" y="27"/>
                  <a:pt x="1" y="26"/>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1" name="Freeform 475"/>
          <p:cNvSpPr>
            <a:spLocks/>
          </p:cNvSpPr>
          <p:nvPr>
            <p:custDataLst>
              <p:tags r:id="rId27"/>
            </p:custDataLst>
          </p:nvPr>
        </p:nvSpPr>
        <p:spPr bwMode="auto">
          <a:xfrm>
            <a:off x="3108879" y="1804611"/>
            <a:ext cx="430244" cy="237073"/>
          </a:xfrm>
          <a:custGeom>
            <a:avLst/>
            <a:gdLst>
              <a:gd name="T0" fmla="*/ 5478 w 142"/>
              <a:gd name="T1" fmla="*/ 83988 h 74"/>
              <a:gd name="T2" fmla="*/ 41085 w 142"/>
              <a:gd name="T3" fmla="*/ 49234 h 74"/>
              <a:gd name="T4" fmla="*/ 106821 w 142"/>
              <a:gd name="T5" fmla="*/ 23169 h 74"/>
              <a:gd name="T6" fmla="*/ 123255 w 142"/>
              <a:gd name="T7" fmla="*/ 49234 h 74"/>
              <a:gd name="T8" fmla="*/ 164340 w 142"/>
              <a:gd name="T9" fmla="*/ 46338 h 74"/>
              <a:gd name="T10" fmla="*/ 172557 w 142"/>
              <a:gd name="T11" fmla="*/ 60819 h 74"/>
              <a:gd name="T12" fmla="*/ 180774 w 142"/>
              <a:gd name="T13" fmla="*/ 31857 h 74"/>
              <a:gd name="T14" fmla="*/ 221859 w 142"/>
              <a:gd name="T15" fmla="*/ 49234 h 74"/>
              <a:gd name="T16" fmla="*/ 251988 w 142"/>
              <a:gd name="T17" fmla="*/ 78195 h 74"/>
              <a:gd name="T18" fmla="*/ 232815 w 142"/>
              <a:gd name="T19" fmla="*/ 23169 h 74"/>
              <a:gd name="T20" fmla="*/ 268422 w 142"/>
              <a:gd name="T21" fmla="*/ 23169 h 74"/>
              <a:gd name="T22" fmla="*/ 290334 w 142"/>
              <a:gd name="T23" fmla="*/ 2896 h 74"/>
              <a:gd name="T24" fmla="*/ 295812 w 142"/>
              <a:gd name="T25" fmla="*/ 34753 h 74"/>
              <a:gd name="T26" fmla="*/ 312246 w 142"/>
              <a:gd name="T27" fmla="*/ 92676 h 74"/>
              <a:gd name="T28" fmla="*/ 331419 w 142"/>
              <a:gd name="T29" fmla="*/ 130325 h 74"/>
              <a:gd name="T30" fmla="*/ 383460 w 142"/>
              <a:gd name="T31" fmla="*/ 167975 h 74"/>
              <a:gd name="T32" fmla="*/ 347853 w 142"/>
              <a:gd name="T33" fmla="*/ 167975 h 74"/>
              <a:gd name="T34" fmla="*/ 339636 w 142"/>
              <a:gd name="T35" fmla="*/ 185352 h 74"/>
              <a:gd name="T36" fmla="*/ 367026 w 142"/>
              <a:gd name="T37" fmla="*/ 191144 h 74"/>
              <a:gd name="T38" fmla="*/ 301290 w 142"/>
              <a:gd name="T39" fmla="*/ 196936 h 74"/>
              <a:gd name="T40" fmla="*/ 268422 w 142"/>
              <a:gd name="T41" fmla="*/ 176663 h 74"/>
              <a:gd name="T42" fmla="*/ 246510 w 142"/>
              <a:gd name="T43" fmla="*/ 191144 h 74"/>
              <a:gd name="T44" fmla="*/ 180774 w 142"/>
              <a:gd name="T45" fmla="*/ 208521 h 74"/>
              <a:gd name="T46" fmla="*/ 120516 w 142"/>
              <a:gd name="T47" fmla="*/ 196936 h 74"/>
              <a:gd name="T48" fmla="*/ 73953 w 142"/>
              <a:gd name="T49" fmla="*/ 179560 h 74"/>
              <a:gd name="T50" fmla="*/ 52041 w 142"/>
              <a:gd name="T51" fmla="*/ 153494 h 74"/>
              <a:gd name="T52" fmla="*/ 142428 w 142"/>
              <a:gd name="T53" fmla="*/ 150598 h 74"/>
              <a:gd name="T54" fmla="*/ 139689 w 142"/>
              <a:gd name="T55" fmla="*/ 130325 h 74"/>
              <a:gd name="T56" fmla="*/ 57519 w 142"/>
              <a:gd name="T57" fmla="*/ 133222 h 74"/>
              <a:gd name="T58" fmla="*/ 21912 w 142"/>
              <a:gd name="T59" fmla="*/ 115845 h 74"/>
              <a:gd name="T60" fmla="*/ 82170 w 142"/>
              <a:gd name="T61" fmla="*/ 95572 h 74"/>
              <a:gd name="T62" fmla="*/ 30129 w 142"/>
              <a:gd name="T63" fmla="*/ 95572 h 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2" h="74">
                <a:moveTo>
                  <a:pt x="6" y="31"/>
                </a:moveTo>
                <a:cubicBezTo>
                  <a:pt x="4" y="30"/>
                  <a:pt x="0" y="31"/>
                  <a:pt x="2" y="29"/>
                </a:cubicBezTo>
                <a:cubicBezTo>
                  <a:pt x="4" y="26"/>
                  <a:pt x="7" y="26"/>
                  <a:pt x="9" y="24"/>
                </a:cubicBezTo>
                <a:cubicBezTo>
                  <a:pt x="10" y="23"/>
                  <a:pt x="3" y="19"/>
                  <a:pt x="15" y="17"/>
                </a:cubicBezTo>
                <a:cubicBezTo>
                  <a:pt x="18" y="16"/>
                  <a:pt x="25" y="12"/>
                  <a:pt x="26" y="11"/>
                </a:cubicBezTo>
                <a:cubicBezTo>
                  <a:pt x="30" y="10"/>
                  <a:pt x="37" y="6"/>
                  <a:pt x="39" y="8"/>
                </a:cubicBezTo>
                <a:cubicBezTo>
                  <a:pt x="41" y="10"/>
                  <a:pt x="36" y="17"/>
                  <a:pt x="37" y="17"/>
                </a:cubicBezTo>
                <a:cubicBezTo>
                  <a:pt x="38" y="18"/>
                  <a:pt x="44" y="18"/>
                  <a:pt x="45" y="17"/>
                </a:cubicBezTo>
                <a:cubicBezTo>
                  <a:pt x="45" y="16"/>
                  <a:pt x="46" y="11"/>
                  <a:pt x="47" y="11"/>
                </a:cubicBezTo>
                <a:cubicBezTo>
                  <a:pt x="48" y="11"/>
                  <a:pt x="60" y="14"/>
                  <a:pt x="60" y="16"/>
                </a:cubicBezTo>
                <a:cubicBezTo>
                  <a:pt x="61" y="18"/>
                  <a:pt x="56" y="20"/>
                  <a:pt x="58" y="21"/>
                </a:cubicBezTo>
                <a:cubicBezTo>
                  <a:pt x="59" y="22"/>
                  <a:pt x="61" y="21"/>
                  <a:pt x="63" y="21"/>
                </a:cubicBezTo>
                <a:cubicBezTo>
                  <a:pt x="65" y="21"/>
                  <a:pt x="68" y="18"/>
                  <a:pt x="69" y="17"/>
                </a:cubicBezTo>
                <a:cubicBezTo>
                  <a:pt x="70" y="16"/>
                  <a:pt x="65" y="12"/>
                  <a:pt x="66" y="11"/>
                </a:cubicBezTo>
                <a:cubicBezTo>
                  <a:pt x="68" y="11"/>
                  <a:pt x="71" y="11"/>
                  <a:pt x="73" y="12"/>
                </a:cubicBezTo>
                <a:cubicBezTo>
                  <a:pt x="74" y="13"/>
                  <a:pt x="81" y="15"/>
                  <a:pt x="81" y="17"/>
                </a:cubicBezTo>
                <a:cubicBezTo>
                  <a:pt x="81" y="20"/>
                  <a:pt x="83" y="31"/>
                  <a:pt x="85" y="31"/>
                </a:cubicBezTo>
                <a:cubicBezTo>
                  <a:pt x="87" y="31"/>
                  <a:pt x="91" y="29"/>
                  <a:pt x="92" y="27"/>
                </a:cubicBezTo>
                <a:cubicBezTo>
                  <a:pt x="93" y="26"/>
                  <a:pt x="90" y="24"/>
                  <a:pt x="89" y="22"/>
                </a:cubicBezTo>
                <a:cubicBezTo>
                  <a:pt x="89" y="19"/>
                  <a:pt x="84" y="9"/>
                  <a:pt x="85" y="8"/>
                </a:cubicBezTo>
                <a:cubicBezTo>
                  <a:pt x="86" y="6"/>
                  <a:pt x="90" y="7"/>
                  <a:pt x="92" y="8"/>
                </a:cubicBezTo>
                <a:cubicBezTo>
                  <a:pt x="93" y="8"/>
                  <a:pt x="97" y="8"/>
                  <a:pt x="98" y="8"/>
                </a:cubicBezTo>
                <a:cubicBezTo>
                  <a:pt x="98" y="8"/>
                  <a:pt x="94" y="3"/>
                  <a:pt x="96" y="2"/>
                </a:cubicBezTo>
                <a:cubicBezTo>
                  <a:pt x="99" y="1"/>
                  <a:pt x="102" y="1"/>
                  <a:pt x="106" y="1"/>
                </a:cubicBezTo>
                <a:cubicBezTo>
                  <a:pt x="110" y="0"/>
                  <a:pt x="112" y="2"/>
                  <a:pt x="113" y="4"/>
                </a:cubicBezTo>
                <a:cubicBezTo>
                  <a:pt x="113" y="6"/>
                  <a:pt x="109" y="12"/>
                  <a:pt x="108" y="12"/>
                </a:cubicBezTo>
                <a:cubicBezTo>
                  <a:pt x="106" y="12"/>
                  <a:pt x="106" y="15"/>
                  <a:pt x="106" y="15"/>
                </a:cubicBezTo>
                <a:cubicBezTo>
                  <a:pt x="106" y="15"/>
                  <a:pt x="113" y="30"/>
                  <a:pt x="114" y="32"/>
                </a:cubicBezTo>
                <a:cubicBezTo>
                  <a:pt x="114" y="34"/>
                  <a:pt x="110" y="38"/>
                  <a:pt x="112" y="39"/>
                </a:cubicBezTo>
                <a:cubicBezTo>
                  <a:pt x="114" y="41"/>
                  <a:pt x="118" y="44"/>
                  <a:pt x="121" y="45"/>
                </a:cubicBezTo>
                <a:cubicBezTo>
                  <a:pt x="123" y="46"/>
                  <a:pt x="138" y="49"/>
                  <a:pt x="139" y="51"/>
                </a:cubicBezTo>
                <a:cubicBezTo>
                  <a:pt x="140" y="53"/>
                  <a:pt x="142" y="58"/>
                  <a:pt x="140" y="58"/>
                </a:cubicBezTo>
                <a:cubicBezTo>
                  <a:pt x="139" y="59"/>
                  <a:pt x="133" y="56"/>
                  <a:pt x="131" y="55"/>
                </a:cubicBezTo>
                <a:cubicBezTo>
                  <a:pt x="130" y="55"/>
                  <a:pt x="128" y="57"/>
                  <a:pt x="127" y="58"/>
                </a:cubicBezTo>
                <a:cubicBezTo>
                  <a:pt x="126" y="59"/>
                  <a:pt x="124" y="60"/>
                  <a:pt x="123" y="60"/>
                </a:cubicBezTo>
                <a:cubicBezTo>
                  <a:pt x="121" y="59"/>
                  <a:pt x="122" y="64"/>
                  <a:pt x="124" y="64"/>
                </a:cubicBezTo>
                <a:cubicBezTo>
                  <a:pt x="125" y="64"/>
                  <a:pt x="130" y="60"/>
                  <a:pt x="132" y="61"/>
                </a:cubicBezTo>
                <a:cubicBezTo>
                  <a:pt x="133" y="63"/>
                  <a:pt x="135" y="64"/>
                  <a:pt x="134" y="66"/>
                </a:cubicBezTo>
                <a:cubicBezTo>
                  <a:pt x="134" y="68"/>
                  <a:pt x="129" y="70"/>
                  <a:pt x="126" y="70"/>
                </a:cubicBezTo>
                <a:cubicBezTo>
                  <a:pt x="122" y="70"/>
                  <a:pt x="111" y="69"/>
                  <a:pt x="110" y="68"/>
                </a:cubicBezTo>
                <a:cubicBezTo>
                  <a:pt x="109" y="66"/>
                  <a:pt x="105" y="65"/>
                  <a:pt x="103" y="65"/>
                </a:cubicBezTo>
                <a:cubicBezTo>
                  <a:pt x="101" y="65"/>
                  <a:pt x="100" y="62"/>
                  <a:pt x="98" y="61"/>
                </a:cubicBezTo>
                <a:cubicBezTo>
                  <a:pt x="96" y="61"/>
                  <a:pt x="94" y="61"/>
                  <a:pt x="93" y="63"/>
                </a:cubicBezTo>
                <a:cubicBezTo>
                  <a:pt x="92" y="64"/>
                  <a:pt x="93" y="66"/>
                  <a:pt x="90" y="66"/>
                </a:cubicBezTo>
                <a:cubicBezTo>
                  <a:pt x="87" y="66"/>
                  <a:pt x="83" y="68"/>
                  <a:pt x="81" y="69"/>
                </a:cubicBezTo>
                <a:cubicBezTo>
                  <a:pt x="79" y="69"/>
                  <a:pt x="71" y="72"/>
                  <a:pt x="66" y="72"/>
                </a:cubicBezTo>
                <a:cubicBezTo>
                  <a:pt x="62" y="72"/>
                  <a:pt x="51" y="74"/>
                  <a:pt x="49" y="73"/>
                </a:cubicBezTo>
                <a:cubicBezTo>
                  <a:pt x="47" y="72"/>
                  <a:pt x="44" y="72"/>
                  <a:pt x="44" y="68"/>
                </a:cubicBezTo>
                <a:cubicBezTo>
                  <a:pt x="44" y="65"/>
                  <a:pt x="44" y="63"/>
                  <a:pt x="42" y="63"/>
                </a:cubicBezTo>
                <a:cubicBezTo>
                  <a:pt x="41" y="63"/>
                  <a:pt x="31" y="64"/>
                  <a:pt x="27" y="62"/>
                </a:cubicBezTo>
                <a:cubicBezTo>
                  <a:pt x="23" y="61"/>
                  <a:pt x="16" y="59"/>
                  <a:pt x="15" y="56"/>
                </a:cubicBezTo>
                <a:cubicBezTo>
                  <a:pt x="14" y="54"/>
                  <a:pt x="17" y="53"/>
                  <a:pt x="19" y="53"/>
                </a:cubicBezTo>
                <a:cubicBezTo>
                  <a:pt x="22" y="52"/>
                  <a:pt x="34" y="51"/>
                  <a:pt x="38" y="51"/>
                </a:cubicBezTo>
                <a:cubicBezTo>
                  <a:pt x="41" y="51"/>
                  <a:pt x="49" y="52"/>
                  <a:pt x="52" y="52"/>
                </a:cubicBezTo>
                <a:cubicBezTo>
                  <a:pt x="54" y="52"/>
                  <a:pt x="57" y="50"/>
                  <a:pt x="57" y="48"/>
                </a:cubicBezTo>
                <a:cubicBezTo>
                  <a:pt x="57" y="47"/>
                  <a:pt x="54" y="46"/>
                  <a:pt x="51" y="45"/>
                </a:cubicBezTo>
                <a:cubicBezTo>
                  <a:pt x="47" y="45"/>
                  <a:pt x="41" y="43"/>
                  <a:pt x="38" y="44"/>
                </a:cubicBezTo>
                <a:cubicBezTo>
                  <a:pt x="35" y="44"/>
                  <a:pt x="24" y="46"/>
                  <a:pt x="21" y="46"/>
                </a:cubicBezTo>
                <a:cubicBezTo>
                  <a:pt x="19" y="46"/>
                  <a:pt x="13" y="46"/>
                  <a:pt x="11" y="44"/>
                </a:cubicBezTo>
                <a:cubicBezTo>
                  <a:pt x="8" y="42"/>
                  <a:pt x="6" y="42"/>
                  <a:pt x="8" y="40"/>
                </a:cubicBezTo>
                <a:cubicBezTo>
                  <a:pt x="9" y="39"/>
                  <a:pt x="22" y="37"/>
                  <a:pt x="24" y="36"/>
                </a:cubicBezTo>
                <a:cubicBezTo>
                  <a:pt x="26" y="35"/>
                  <a:pt x="30" y="35"/>
                  <a:pt x="30" y="33"/>
                </a:cubicBezTo>
                <a:cubicBezTo>
                  <a:pt x="29" y="32"/>
                  <a:pt x="26" y="32"/>
                  <a:pt x="23" y="32"/>
                </a:cubicBezTo>
                <a:cubicBezTo>
                  <a:pt x="21" y="32"/>
                  <a:pt x="14" y="34"/>
                  <a:pt x="11" y="33"/>
                </a:cubicBezTo>
                <a:cubicBezTo>
                  <a:pt x="7" y="32"/>
                  <a:pt x="8" y="33"/>
                  <a:pt x="6" y="31"/>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2" name="Freeform 476"/>
          <p:cNvSpPr>
            <a:spLocks/>
          </p:cNvSpPr>
          <p:nvPr>
            <p:custDataLst>
              <p:tags r:id="rId28"/>
            </p:custDataLst>
          </p:nvPr>
        </p:nvSpPr>
        <p:spPr bwMode="auto">
          <a:xfrm>
            <a:off x="3101856" y="1690463"/>
            <a:ext cx="54439" cy="40390"/>
          </a:xfrm>
          <a:custGeom>
            <a:avLst/>
            <a:gdLst>
              <a:gd name="T0" fmla="*/ 35543 w 18"/>
              <a:gd name="T1" fmla="*/ 21299 h 12"/>
              <a:gd name="T2" fmla="*/ 19138 w 18"/>
              <a:gd name="T3" fmla="*/ 33470 h 12"/>
              <a:gd name="T4" fmla="*/ 0 w 18"/>
              <a:gd name="T5" fmla="*/ 24342 h 12"/>
              <a:gd name="T6" fmla="*/ 32809 w 18"/>
              <a:gd name="T7" fmla="*/ 3043 h 12"/>
              <a:gd name="T8" fmla="*/ 43745 w 18"/>
              <a:gd name="T9" fmla="*/ 3043 h 12"/>
              <a:gd name="T10" fmla="*/ 35543 w 18"/>
              <a:gd name="T11" fmla="*/ 21299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2">
                <a:moveTo>
                  <a:pt x="13" y="7"/>
                </a:moveTo>
                <a:cubicBezTo>
                  <a:pt x="13" y="9"/>
                  <a:pt x="9" y="11"/>
                  <a:pt x="7" y="11"/>
                </a:cubicBezTo>
                <a:cubicBezTo>
                  <a:pt x="6" y="12"/>
                  <a:pt x="0" y="10"/>
                  <a:pt x="0" y="8"/>
                </a:cubicBezTo>
                <a:cubicBezTo>
                  <a:pt x="1" y="7"/>
                  <a:pt x="10" y="1"/>
                  <a:pt x="12" y="1"/>
                </a:cubicBezTo>
                <a:cubicBezTo>
                  <a:pt x="12" y="1"/>
                  <a:pt x="15" y="0"/>
                  <a:pt x="16" y="1"/>
                </a:cubicBezTo>
                <a:cubicBezTo>
                  <a:pt x="18" y="1"/>
                  <a:pt x="14" y="5"/>
                  <a:pt x="13" y="7"/>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3" name="Freeform 477"/>
          <p:cNvSpPr>
            <a:spLocks/>
          </p:cNvSpPr>
          <p:nvPr>
            <p:custDataLst>
              <p:tags r:id="rId29"/>
            </p:custDataLst>
          </p:nvPr>
        </p:nvSpPr>
        <p:spPr bwMode="auto">
          <a:xfrm>
            <a:off x="2957856" y="1765977"/>
            <a:ext cx="242341" cy="163317"/>
          </a:xfrm>
          <a:custGeom>
            <a:avLst/>
            <a:gdLst>
              <a:gd name="T0" fmla="*/ 18932 w 81"/>
              <a:gd name="T1" fmla="*/ 81056 h 51"/>
              <a:gd name="T2" fmla="*/ 40569 w 81"/>
              <a:gd name="T3" fmla="*/ 46318 h 51"/>
              <a:gd name="T4" fmla="*/ 48683 w 81"/>
              <a:gd name="T5" fmla="*/ 34738 h 51"/>
              <a:gd name="T6" fmla="*/ 27046 w 81"/>
              <a:gd name="T7" fmla="*/ 26054 h 51"/>
              <a:gd name="T8" fmla="*/ 21637 w 81"/>
              <a:gd name="T9" fmla="*/ 8685 h 51"/>
              <a:gd name="T10" fmla="*/ 64911 w 81"/>
              <a:gd name="T11" fmla="*/ 2895 h 51"/>
              <a:gd name="T12" fmla="*/ 94662 w 81"/>
              <a:gd name="T13" fmla="*/ 0 h 51"/>
              <a:gd name="T14" fmla="*/ 127118 w 81"/>
              <a:gd name="T15" fmla="*/ 17369 h 51"/>
              <a:gd name="T16" fmla="*/ 170392 w 81"/>
              <a:gd name="T17" fmla="*/ 14474 h 51"/>
              <a:gd name="T18" fmla="*/ 219075 w 81"/>
              <a:gd name="T19" fmla="*/ 46318 h 51"/>
              <a:gd name="T20" fmla="*/ 140641 w 81"/>
              <a:gd name="T21" fmla="*/ 78161 h 51"/>
              <a:gd name="T22" fmla="*/ 129822 w 81"/>
              <a:gd name="T23" fmla="*/ 98425 h 51"/>
              <a:gd name="T24" fmla="*/ 113594 w 81"/>
              <a:gd name="T25" fmla="*/ 101320 h 51"/>
              <a:gd name="T26" fmla="*/ 110890 w 81"/>
              <a:gd name="T27" fmla="*/ 127374 h 51"/>
              <a:gd name="T28" fmla="*/ 89253 w 81"/>
              <a:gd name="T29" fmla="*/ 133164 h 51"/>
              <a:gd name="T30" fmla="*/ 64911 w 81"/>
              <a:gd name="T31" fmla="*/ 147638 h 51"/>
              <a:gd name="T32" fmla="*/ 51388 w 81"/>
              <a:gd name="T33" fmla="*/ 141848 h 51"/>
              <a:gd name="T34" fmla="*/ 45979 w 81"/>
              <a:gd name="T35" fmla="*/ 130269 h 51"/>
              <a:gd name="T36" fmla="*/ 5409 w 81"/>
              <a:gd name="T37" fmla="*/ 110005 h 51"/>
              <a:gd name="T38" fmla="*/ 18932 w 81"/>
              <a:gd name="T39" fmla="*/ 81056 h 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1" h="51">
                <a:moveTo>
                  <a:pt x="7" y="28"/>
                </a:moveTo>
                <a:cubicBezTo>
                  <a:pt x="8" y="26"/>
                  <a:pt x="14" y="17"/>
                  <a:pt x="15" y="16"/>
                </a:cubicBezTo>
                <a:cubicBezTo>
                  <a:pt x="16" y="15"/>
                  <a:pt x="18" y="14"/>
                  <a:pt x="18" y="12"/>
                </a:cubicBezTo>
                <a:cubicBezTo>
                  <a:pt x="18" y="11"/>
                  <a:pt x="11" y="11"/>
                  <a:pt x="10" y="9"/>
                </a:cubicBezTo>
                <a:cubicBezTo>
                  <a:pt x="10" y="8"/>
                  <a:pt x="7" y="4"/>
                  <a:pt x="8" y="3"/>
                </a:cubicBezTo>
                <a:cubicBezTo>
                  <a:pt x="9" y="3"/>
                  <a:pt x="22" y="1"/>
                  <a:pt x="24" y="1"/>
                </a:cubicBezTo>
                <a:cubicBezTo>
                  <a:pt x="27" y="1"/>
                  <a:pt x="34" y="0"/>
                  <a:pt x="35" y="0"/>
                </a:cubicBezTo>
                <a:cubicBezTo>
                  <a:pt x="36" y="0"/>
                  <a:pt x="44" y="6"/>
                  <a:pt x="47" y="6"/>
                </a:cubicBezTo>
                <a:cubicBezTo>
                  <a:pt x="49" y="7"/>
                  <a:pt x="61" y="5"/>
                  <a:pt x="63" y="5"/>
                </a:cubicBezTo>
                <a:cubicBezTo>
                  <a:pt x="65" y="5"/>
                  <a:pt x="81" y="14"/>
                  <a:pt x="81" y="16"/>
                </a:cubicBezTo>
                <a:cubicBezTo>
                  <a:pt x="80" y="17"/>
                  <a:pt x="54" y="27"/>
                  <a:pt x="52" y="27"/>
                </a:cubicBezTo>
                <a:cubicBezTo>
                  <a:pt x="51" y="28"/>
                  <a:pt x="50" y="34"/>
                  <a:pt x="48" y="34"/>
                </a:cubicBezTo>
                <a:cubicBezTo>
                  <a:pt x="47" y="34"/>
                  <a:pt x="43" y="34"/>
                  <a:pt x="42" y="35"/>
                </a:cubicBezTo>
                <a:cubicBezTo>
                  <a:pt x="42" y="36"/>
                  <a:pt x="44" y="43"/>
                  <a:pt x="41" y="44"/>
                </a:cubicBezTo>
                <a:cubicBezTo>
                  <a:pt x="38" y="46"/>
                  <a:pt x="34" y="46"/>
                  <a:pt x="33" y="46"/>
                </a:cubicBezTo>
                <a:cubicBezTo>
                  <a:pt x="32" y="46"/>
                  <a:pt x="27" y="51"/>
                  <a:pt x="24" y="51"/>
                </a:cubicBezTo>
                <a:cubicBezTo>
                  <a:pt x="22" y="51"/>
                  <a:pt x="19" y="51"/>
                  <a:pt x="19" y="49"/>
                </a:cubicBezTo>
                <a:cubicBezTo>
                  <a:pt x="18" y="48"/>
                  <a:pt x="18" y="46"/>
                  <a:pt x="17" y="45"/>
                </a:cubicBezTo>
                <a:cubicBezTo>
                  <a:pt x="14" y="43"/>
                  <a:pt x="4" y="38"/>
                  <a:pt x="2" y="38"/>
                </a:cubicBezTo>
                <a:cubicBezTo>
                  <a:pt x="0" y="38"/>
                  <a:pt x="5" y="29"/>
                  <a:pt x="7" y="28"/>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4" name="Freeform 478"/>
          <p:cNvSpPr>
            <a:spLocks/>
          </p:cNvSpPr>
          <p:nvPr>
            <p:custDataLst>
              <p:tags r:id="rId30"/>
            </p:custDataLst>
          </p:nvPr>
        </p:nvSpPr>
        <p:spPr bwMode="auto">
          <a:xfrm>
            <a:off x="3022831" y="1614952"/>
            <a:ext cx="173854" cy="84293"/>
          </a:xfrm>
          <a:custGeom>
            <a:avLst/>
            <a:gdLst>
              <a:gd name="T0" fmla="*/ 10839 w 58"/>
              <a:gd name="T1" fmla="*/ 53622 h 27"/>
              <a:gd name="T2" fmla="*/ 32516 w 58"/>
              <a:gd name="T3" fmla="*/ 50800 h 27"/>
              <a:gd name="T4" fmla="*/ 43355 w 58"/>
              <a:gd name="T5" fmla="*/ 39511 h 27"/>
              <a:gd name="T6" fmla="*/ 81291 w 58"/>
              <a:gd name="T7" fmla="*/ 11289 h 27"/>
              <a:gd name="T8" fmla="*/ 121937 w 58"/>
              <a:gd name="T9" fmla="*/ 14111 h 27"/>
              <a:gd name="T10" fmla="*/ 132776 w 58"/>
              <a:gd name="T11" fmla="*/ 0 h 27"/>
              <a:gd name="T12" fmla="*/ 157163 w 58"/>
              <a:gd name="T13" fmla="*/ 11289 h 27"/>
              <a:gd name="T14" fmla="*/ 138195 w 58"/>
              <a:gd name="T15" fmla="*/ 19756 h 27"/>
              <a:gd name="T16" fmla="*/ 149034 w 58"/>
              <a:gd name="T17" fmla="*/ 36689 h 27"/>
              <a:gd name="T18" fmla="*/ 130066 w 58"/>
              <a:gd name="T19" fmla="*/ 45156 h 27"/>
              <a:gd name="T20" fmla="*/ 113808 w 58"/>
              <a:gd name="T21" fmla="*/ 53622 h 27"/>
              <a:gd name="T22" fmla="*/ 105679 w 58"/>
              <a:gd name="T23" fmla="*/ 39511 h 27"/>
              <a:gd name="T24" fmla="*/ 92130 w 58"/>
              <a:gd name="T25" fmla="*/ 39511 h 27"/>
              <a:gd name="T26" fmla="*/ 86711 w 58"/>
              <a:gd name="T27" fmla="*/ 56444 h 27"/>
              <a:gd name="T28" fmla="*/ 73162 w 58"/>
              <a:gd name="T29" fmla="*/ 67733 h 27"/>
              <a:gd name="T30" fmla="*/ 56904 w 58"/>
              <a:gd name="T31" fmla="*/ 76200 h 27"/>
              <a:gd name="T32" fmla="*/ 43355 w 58"/>
              <a:gd name="T33" fmla="*/ 62089 h 27"/>
              <a:gd name="T34" fmla="*/ 32516 w 58"/>
              <a:gd name="T35" fmla="*/ 76200 h 27"/>
              <a:gd name="T36" fmla="*/ 18968 w 58"/>
              <a:gd name="T37" fmla="*/ 73378 h 27"/>
              <a:gd name="T38" fmla="*/ 10839 w 58"/>
              <a:gd name="T39" fmla="*/ 76200 h 27"/>
              <a:gd name="T40" fmla="*/ 2710 w 58"/>
              <a:gd name="T41" fmla="*/ 70556 h 27"/>
              <a:gd name="T42" fmla="*/ 10839 w 58"/>
              <a:gd name="T43" fmla="*/ 53622 h 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8" h="27">
                <a:moveTo>
                  <a:pt x="4" y="19"/>
                </a:moveTo>
                <a:cubicBezTo>
                  <a:pt x="6" y="18"/>
                  <a:pt x="10" y="20"/>
                  <a:pt x="12" y="18"/>
                </a:cubicBezTo>
                <a:cubicBezTo>
                  <a:pt x="14" y="17"/>
                  <a:pt x="14" y="15"/>
                  <a:pt x="16" y="14"/>
                </a:cubicBezTo>
                <a:cubicBezTo>
                  <a:pt x="17" y="12"/>
                  <a:pt x="28" y="5"/>
                  <a:pt x="30" y="4"/>
                </a:cubicBezTo>
                <a:cubicBezTo>
                  <a:pt x="32" y="4"/>
                  <a:pt x="44" y="6"/>
                  <a:pt x="45" y="5"/>
                </a:cubicBezTo>
                <a:cubicBezTo>
                  <a:pt x="47" y="3"/>
                  <a:pt x="46" y="0"/>
                  <a:pt x="49" y="0"/>
                </a:cubicBezTo>
                <a:cubicBezTo>
                  <a:pt x="52" y="0"/>
                  <a:pt x="58" y="4"/>
                  <a:pt x="58" y="4"/>
                </a:cubicBezTo>
                <a:cubicBezTo>
                  <a:pt x="58" y="5"/>
                  <a:pt x="51" y="6"/>
                  <a:pt x="51" y="7"/>
                </a:cubicBezTo>
                <a:cubicBezTo>
                  <a:pt x="51" y="8"/>
                  <a:pt x="56" y="12"/>
                  <a:pt x="55" y="13"/>
                </a:cubicBezTo>
                <a:cubicBezTo>
                  <a:pt x="54" y="14"/>
                  <a:pt x="50" y="16"/>
                  <a:pt x="48" y="16"/>
                </a:cubicBezTo>
                <a:cubicBezTo>
                  <a:pt x="46" y="16"/>
                  <a:pt x="46" y="20"/>
                  <a:pt x="42" y="19"/>
                </a:cubicBezTo>
                <a:cubicBezTo>
                  <a:pt x="39" y="18"/>
                  <a:pt x="39" y="16"/>
                  <a:pt x="39" y="14"/>
                </a:cubicBezTo>
                <a:cubicBezTo>
                  <a:pt x="39" y="12"/>
                  <a:pt x="36" y="13"/>
                  <a:pt x="34" y="14"/>
                </a:cubicBezTo>
                <a:cubicBezTo>
                  <a:pt x="33" y="15"/>
                  <a:pt x="34" y="19"/>
                  <a:pt x="32" y="20"/>
                </a:cubicBezTo>
                <a:cubicBezTo>
                  <a:pt x="29" y="21"/>
                  <a:pt x="29" y="24"/>
                  <a:pt x="27" y="24"/>
                </a:cubicBezTo>
                <a:cubicBezTo>
                  <a:pt x="25" y="24"/>
                  <a:pt x="22" y="27"/>
                  <a:pt x="21" y="27"/>
                </a:cubicBezTo>
                <a:cubicBezTo>
                  <a:pt x="20" y="27"/>
                  <a:pt x="18" y="21"/>
                  <a:pt x="16" y="22"/>
                </a:cubicBezTo>
                <a:cubicBezTo>
                  <a:pt x="14" y="23"/>
                  <a:pt x="14" y="27"/>
                  <a:pt x="12" y="27"/>
                </a:cubicBezTo>
                <a:cubicBezTo>
                  <a:pt x="10" y="27"/>
                  <a:pt x="8" y="25"/>
                  <a:pt x="7" y="26"/>
                </a:cubicBezTo>
                <a:cubicBezTo>
                  <a:pt x="5" y="26"/>
                  <a:pt x="5" y="27"/>
                  <a:pt x="4" y="27"/>
                </a:cubicBezTo>
                <a:cubicBezTo>
                  <a:pt x="2" y="26"/>
                  <a:pt x="1" y="25"/>
                  <a:pt x="1" y="25"/>
                </a:cubicBezTo>
                <a:cubicBezTo>
                  <a:pt x="0" y="23"/>
                  <a:pt x="2" y="19"/>
                  <a:pt x="4" y="19"/>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5" name="Freeform 479"/>
          <p:cNvSpPr>
            <a:spLocks/>
          </p:cNvSpPr>
          <p:nvPr>
            <p:custDataLst>
              <p:tags r:id="rId31"/>
            </p:custDataLst>
          </p:nvPr>
        </p:nvSpPr>
        <p:spPr bwMode="auto">
          <a:xfrm>
            <a:off x="2606637" y="1785293"/>
            <a:ext cx="1970341" cy="1180098"/>
          </a:xfrm>
          <a:custGeom>
            <a:avLst/>
            <a:gdLst>
              <a:gd name="T0" fmla="*/ 117111 w 654"/>
              <a:gd name="T1" fmla="*/ 226731 h 367"/>
              <a:gd name="T2" fmla="*/ 234222 w 654"/>
              <a:gd name="T3" fmla="*/ 159875 h 367"/>
              <a:gd name="T4" fmla="*/ 266904 w 654"/>
              <a:gd name="T5" fmla="*/ 148247 h 367"/>
              <a:gd name="T6" fmla="*/ 367674 w 654"/>
              <a:gd name="T7" fmla="*/ 200570 h 367"/>
              <a:gd name="T8" fmla="*/ 522914 w 654"/>
              <a:gd name="T9" fmla="*/ 215104 h 367"/>
              <a:gd name="T10" fmla="*/ 631854 w 654"/>
              <a:gd name="T11" fmla="*/ 255799 h 367"/>
              <a:gd name="T12" fmla="*/ 724453 w 654"/>
              <a:gd name="T13" fmla="*/ 223825 h 367"/>
              <a:gd name="T14" fmla="*/ 849735 w 654"/>
              <a:gd name="T15" fmla="*/ 258706 h 367"/>
              <a:gd name="T16" fmla="*/ 874246 w 654"/>
              <a:gd name="T17" fmla="*/ 220918 h 367"/>
              <a:gd name="T18" fmla="*/ 939611 w 654"/>
              <a:gd name="T19" fmla="*/ 209290 h 367"/>
              <a:gd name="T20" fmla="*/ 955952 w 654"/>
              <a:gd name="T21" fmla="*/ 279054 h 367"/>
              <a:gd name="T22" fmla="*/ 975016 w 654"/>
              <a:gd name="T23" fmla="*/ 223825 h 367"/>
              <a:gd name="T24" fmla="*/ 928717 w 654"/>
              <a:gd name="T25" fmla="*/ 168595 h 367"/>
              <a:gd name="T26" fmla="*/ 942334 w 654"/>
              <a:gd name="T27" fmla="*/ 107552 h 367"/>
              <a:gd name="T28" fmla="*/ 953228 w 654"/>
              <a:gd name="T29" fmla="*/ 14534 h 367"/>
              <a:gd name="T30" fmla="*/ 1037657 w 654"/>
              <a:gd name="T31" fmla="*/ 37789 h 367"/>
              <a:gd name="T32" fmla="*/ 999528 w 654"/>
              <a:gd name="T33" fmla="*/ 116272 h 367"/>
              <a:gd name="T34" fmla="*/ 1053998 w 654"/>
              <a:gd name="T35" fmla="*/ 194756 h 367"/>
              <a:gd name="T36" fmla="*/ 1108468 w 654"/>
              <a:gd name="T37" fmla="*/ 244172 h 367"/>
              <a:gd name="T38" fmla="*/ 1168385 w 654"/>
              <a:gd name="T39" fmla="*/ 226731 h 367"/>
              <a:gd name="T40" fmla="*/ 1241920 w 654"/>
              <a:gd name="T41" fmla="*/ 209290 h 367"/>
              <a:gd name="T42" fmla="*/ 1203791 w 654"/>
              <a:gd name="T43" fmla="*/ 313936 h 367"/>
              <a:gd name="T44" fmla="*/ 1132980 w 654"/>
              <a:gd name="T45" fmla="*/ 340097 h 367"/>
              <a:gd name="T46" fmla="*/ 1124809 w 654"/>
              <a:gd name="T47" fmla="*/ 357538 h 367"/>
              <a:gd name="T48" fmla="*/ 1037657 w 654"/>
              <a:gd name="T49" fmla="*/ 415674 h 367"/>
              <a:gd name="T50" fmla="*/ 961399 w 654"/>
              <a:gd name="T51" fmla="*/ 563922 h 367"/>
              <a:gd name="T52" fmla="*/ 1056722 w 654"/>
              <a:gd name="T53" fmla="*/ 630778 h 367"/>
              <a:gd name="T54" fmla="*/ 1225579 w 654"/>
              <a:gd name="T55" fmla="*/ 752864 h 367"/>
              <a:gd name="T56" fmla="*/ 1277326 w 654"/>
              <a:gd name="T57" fmla="*/ 703449 h 367"/>
              <a:gd name="T58" fmla="*/ 1318178 w 654"/>
              <a:gd name="T59" fmla="*/ 552294 h 367"/>
              <a:gd name="T60" fmla="*/ 1318178 w 654"/>
              <a:gd name="T61" fmla="*/ 450556 h 367"/>
              <a:gd name="T62" fmla="*/ 1487036 w 654"/>
              <a:gd name="T63" fmla="*/ 491251 h 367"/>
              <a:gd name="T64" fmla="*/ 1514271 w 654"/>
              <a:gd name="T65" fmla="*/ 572642 h 367"/>
              <a:gd name="T66" fmla="*/ 1571465 w 654"/>
              <a:gd name="T67" fmla="*/ 540667 h 367"/>
              <a:gd name="T68" fmla="*/ 1642276 w 654"/>
              <a:gd name="T69" fmla="*/ 595896 h 367"/>
              <a:gd name="T70" fmla="*/ 1743046 w 654"/>
              <a:gd name="T71" fmla="*/ 700542 h 367"/>
              <a:gd name="T72" fmla="*/ 1672235 w 654"/>
              <a:gd name="T73" fmla="*/ 752864 h 367"/>
              <a:gd name="T74" fmla="*/ 1775728 w 654"/>
              <a:gd name="T75" fmla="*/ 744144 h 367"/>
              <a:gd name="T76" fmla="*/ 1653170 w 654"/>
              <a:gd name="T77" fmla="*/ 842975 h 367"/>
              <a:gd name="T78" fmla="*/ 1585082 w 654"/>
              <a:gd name="T79" fmla="*/ 895298 h 367"/>
              <a:gd name="T80" fmla="*/ 1585082 w 654"/>
              <a:gd name="T81" fmla="*/ 918553 h 367"/>
              <a:gd name="T82" fmla="*/ 1680405 w 654"/>
              <a:gd name="T83" fmla="*/ 947621 h 367"/>
              <a:gd name="T84" fmla="*/ 1571465 w 654"/>
              <a:gd name="T85" fmla="*/ 1031918 h 367"/>
              <a:gd name="T86" fmla="*/ 1585082 w 654"/>
              <a:gd name="T87" fmla="*/ 967968 h 367"/>
              <a:gd name="T88" fmla="*/ 1470695 w 654"/>
              <a:gd name="T89" fmla="*/ 967968 h 367"/>
              <a:gd name="T90" fmla="*/ 1307284 w 654"/>
              <a:gd name="T91" fmla="*/ 1011571 h 367"/>
              <a:gd name="T92" fmla="*/ 1214685 w 654"/>
              <a:gd name="T93" fmla="*/ 1066800 h 367"/>
              <a:gd name="T94" fmla="*/ 1266432 w 654"/>
              <a:gd name="T95" fmla="*/ 1002850 h 367"/>
              <a:gd name="T96" fmla="*/ 1176556 w 654"/>
              <a:gd name="T97" fmla="*/ 944714 h 367"/>
              <a:gd name="T98" fmla="*/ 1092127 w 654"/>
              <a:gd name="T99" fmla="*/ 880764 h 367"/>
              <a:gd name="T100" fmla="*/ 983187 w 654"/>
              <a:gd name="T101" fmla="*/ 889484 h 367"/>
              <a:gd name="T102" fmla="*/ 386738 w 654"/>
              <a:gd name="T103" fmla="*/ 872044 h 367"/>
              <a:gd name="T104" fmla="*/ 283245 w 654"/>
              <a:gd name="T105" fmla="*/ 811001 h 367"/>
              <a:gd name="T106" fmla="*/ 220604 w 654"/>
              <a:gd name="T107" fmla="*/ 723796 h 367"/>
              <a:gd name="T108" fmla="*/ 190646 w 654"/>
              <a:gd name="T109" fmla="*/ 680194 h 367"/>
              <a:gd name="T110" fmla="*/ 128005 w 654"/>
              <a:gd name="T111" fmla="*/ 561015 h 367"/>
              <a:gd name="T112" fmla="*/ 46300 w 654"/>
              <a:gd name="T113" fmla="*/ 531947 h 3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54" h="367">
                <a:moveTo>
                  <a:pt x="1" y="175"/>
                </a:moveTo>
                <a:cubicBezTo>
                  <a:pt x="0" y="63"/>
                  <a:pt x="0" y="63"/>
                  <a:pt x="0" y="63"/>
                </a:cubicBezTo>
                <a:cubicBezTo>
                  <a:pt x="4" y="65"/>
                  <a:pt x="7" y="66"/>
                  <a:pt x="8" y="66"/>
                </a:cubicBezTo>
                <a:cubicBezTo>
                  <a:pt x="11" y="66"/>
                  <a:pt x="16" y="67"/>
                  <a:pt x="20" y="69"/>
                </a:cubicBezTo>
                <a:cubicBezTo>
                  <a:pt x="25" y="72"/>
                  <a:pt x="28" y="74"/>
                  <a:pt x="33" y="76"/>
                </a:cubicBezTo>
                <a:cubicBezTo>
                  <a:pt x="37" y="78"/>
                  <a:pt x="41" y="78"/>
                  <a:pt x="43" y="78"/>
                </a:cubicBezTo>
                <a:cubicBezTo>
                  <a:pt x="45" y="78"/>
                  <a:pt x="41" y="74"/>
                  <a:pt x="39" y="73"/>
                </a:cubicBezTo>
                <a:cubicBezTo>
                  <a:pt x="38" y="72"/>
                  <a:pt x="38" y="69"/>
                  <a:pt x="41" y="68"/>
                </a:cubicBezTo>
                <a:cubicBezTo>
                  <a:pt x="43" y="68"/>
                  <a:pt x="49" y="65"/>
                  <a:pt x="51" y="65"/>
                </a:cubicBezTo>
                <a:cubicBezTo>
                  <a:pt x="53" y="66"/>
                  <a:pt x="60" y="67"/>
                  <a:pt x="62" y="67"/>
                </a:cubicBezTo>
                <a:cubicBezTo>
                  <a:pt x="64" y="67"/>
                  <a:pt x="73" y="60"/>
                  <a:pt x="75" y="59"/>
                </a:cubicBezTo>
                <a:cubicBezTo>
                  <a:pt x="76" y="58"/>
                  <a:pt x="84" y="54"/>
                  <a:pt x="86" y="55"/>
                </a:cubicBezTo>
                <a:cubicBezTo>
                  <a:pt x="87" y="55"/>
                  <a:pt x="89" y="57"/>
                  <a:pt x="89" y="58"/>
                </a:cubicBezTo>
                <a:cubicBezTo>
                  <a:pt x="89" y="60"/>
                  <a:pt x="82" y="62"/>
                  <a:pt x="82" y="63"/>
                </a:cubicBezTo>
                <a:cubicBezTo>
                  <a:pt x="81" y="64"/>
                  <a:pt x="82" y="66"/>
                  <a:pt x="84" y="66"/>
                </a:cubicBezTo>
                <a:cubicBezTo>
                  <a:pt x="85" y="65"/>
                  <a:pt x="94" y="63"/>
                  <a:pt x="96" y="62"/>
                </a:cubicBezTo>
                <a:cubicBezTo>
                  <a:pt x="98" y="61"/>
                  <a:pt x="98" y="58"/>
                  <a:pt x="98" y="57"/>
                </a:cubicBezTo>
                <a:cubicBezTo>
                  <a:pt x="98" y="55"/>
                  <a:pt x="96" y="52"/>
                  <a:pt x="98" y="51"/>
                </a:cubicBezTo>
                <a:cubicBezTo>
                  <a:pt x="100" y="51"/>
                  <a:pt x="104" y="54"/>
                  <a:pt x="106" y="57"/>
                </a:cubicBezTo>
                <a:cubicBezTo>
                  <a:pt x="109" y="59"/>
                  <a:pt x="114" y="66"/>
                  <a:pt x="116" y="67"/>
                </a:cubicBezTo>
                <a:cubicBezTo>
                  <a:pt x="118" y="68"/>
                  <a:pt x="119" y="60"/>
                  <a:pt x="120" y="60"/>
                </a:cubicBezTo>
                <a:cubicBezTo>
                  <a:pt x="121" y="59"/>
                  <a:pt x="127" y="57"/>
                  <a:pt x="128" y="59"/>
                </a:cubicBezTo>
                <a:cubicBezTo>
                  <a:pt x="128" y="61"/>
                  <a:pt x="125" y="68"/>
                  <a:pt x="127" y="69"/>
                </a:cubicBezTo>
                <a:cubicBezTo>
                  <a:pt x="128" y="71"/>
                  <a:pt x="132" y="69"/>
                  <a:pt x="135" y="69"/>
                </a:cubicBezTo>
                <a:cubicBezTo>
                  <a:pt x="137" y="69"/>
                  <a:pt x="137" y="63"/>
                  <a:pt x="138" y="63"/>
                </a:cubicBezTo>
                <a:cubicBezTo>
                  <a:pt x="139" y="63"/>
                  <a:pt x="144" y="62"/>
                  <a:pt x="147" y="62"/>
                </a:cubicBezTo>
                <a:cubicBezTo>
                  <a:pt x="150" y="63"/>
                  <a:pt x="153" y="64"/>
                  <a:pt x="156" y="66"/>
                </a:cubicBezTo>
                <a:cubicBezTo>
                  <a:pt x="160" y="68"/>
                  <a:pt x="172" y="72"/>
                  <a:pt x="175" y="73"/>
                </a:cubicBezTo>
                <a:cubicBezTo>
                  <a:pt x="178" y="74"/>
                  <a:pt x="185" y="75"/>
                  <a:pt x="187" y="76"/>
                </a:cubicBezTo>
                <a:cubicBezTo>
                  <a:pt x="189" y="77"/>
                  <a:pt x="190" y="74"/>
                  <a:pt x="192" y="74"/>
                </a:cubicBezTo>
                <a:cubicBezTo>
                  <a:pt x="194" y="75"/>
                  <a:pt x="202" y="77"/>
                  <a:pt x="204" y="78"/>
                </a:cubicBezTo>
                <a:cubicBezTo>
                  <a:pt x="206" y="79"/>
                  <a:pt x="208" y="83"/>
                  <a:pt x="207" y="83"/>
                </a:cubicBezTo>
                <a:cubicBezTo>
                  <a:pt x="206" y="84"/>
                  <a:pt x="200" y="84"/>
                  <a:pt x="198" y="84"/>
                </a:cubicBezTo>
                <a:cubicBezTo>
                  <a:pt x="197" y="84"/>
                  <a:pt x="196" y="88"/>
                  <a:pt x="197" y="89"/>
                </a:cubicBezTo>
                <a:cubicBezTo>
                  <a:pt x="198" y="89"/>
                  <a:pt x="210" y="90"/>
                  <a:pt x="212" y="90"/>
                </a:cubicBezTo>
                <a:cubicBezTo>
                  <a:pt x="214" y="90"/>
                  <a:pt x="230" y="88"/>
                  <a:pt x="232" y="88"/>
                </a:cubicBezTo>
                <a:cubicBezTo>
                  <a:pt x="236" y="88"/>
                  <a:pt x="238" y="87"/>
                  <a:pt x="240" y="87"/>
                </a:cubicBezTo>
                <a:cubicBezTo>
                  <a:pt x="244" y="88"/>
                  <a:pt x="250" y="105"/>
                  <a:pt x="256" y="105"/>
                </a:cubicBezTo>
                <a:cubicBezTo>
                  <a:pt x="256" y="105"/>
                  <a:pt x="257" y="102"/>
                  <a:pt x="256" y="99"/>
                </a:cubicBezTo>
                <a:cubicBezTo>
                  <a:pt x="251" y="88"/>
                  <a:pt x="260" y="88"/>
                  <a:pt x="258" y="85"/>
                </a:cubicBezTo>
                <a:cubicBezTo>
                  <a:pt x="256" y="84"/>
                  <a:pt x="249" y="85"/>
                  <a:pt x="249" y="84"/>
                </a:cubicBezTo>
                <a:cubicBezTo>
                  <a:pt x="251" y="78"/>
                  <a:pt x="264" y="77"/>
                  <a:pt x="266" y="77"/>
                </a:cubicBezTo>
                <a:cubicBezTo>
                  <a:pt x="269" y="77"/>
                  <a:pt x="272" y="78"/>
                  <a:pt x="273" y="79"/>
                </a:cubicBezTo>
                <a:cubicBezTo>
                  <a:pt x="275" y="81"/>
                  <a:pt x="278" y="84"/>
                  <a:pt x="280" y="85"/>
                </a:cubicBezTo>
                <a:cubicBezTo>
                  <a:pt x="282" y="87"/>
                  <a:pt x="286" y="85"/>
                  <a:pt x="289" y="85"/>
                </a:cubicBezTo>
                <a:cubicBezTo>
                  <a:pt x="291" y="85"/>
                  <a:pt x="292" y="88"/>
                  <a:pt x="294" y="89"/>
                </a:cubicBezTo>
                <a:cubicBezTo>
                  <a:pt x="297" y="91"/>
                  <a:pt x="300" y="91"/>
                  <a:pt x="302" y="91"/>
                </a:cubicBezTo>
                <a:cubicBezTo>
                  <a:pt x="305" y="91"/>
                  <a:pt x="310" y="89"/>
                  <a:pt x="312" y="89"/>
                </a:cubicBezTo>
                <a:cubicBezTo>
                  <a:pt x="314" y="89"/>
                  <a:pt x="316" y="90"/>
                  <a:pt x="318" y="91"/>
                </a:cubicBezTo>
                <a:cubicBezTo>
                  <a:pt x="320" y="92"/>
                  <a:pt x="324" y="91"/>
                  <a:pt x="326" y="90"/>
                </a:cubicBezTo>
                <a:cubicBezTo>
                  <a:pt x="327" y="88"/>
                  <a:pt x="322" y="86"/>
                  <a:pt x="323" y="85"/>
                </a:cubicBezTo>
                <a:cubicBezTo>
                  <a:pt x="323" y="84"/>
                  <a:pt x="322" y="82"/>
                  <a:pt x="324" y="82"/>
                </a:cubicBezTo>
                <a:cubicBezTo>
                  <a:pt x="326" y="82"/>
                  <a:pt x="329" y="80"/>
                  <a:pt x="329" y="78"/>
                </a:cubicBezTo>
                <a:cubicBezTo>
                  <a:pt x="329" y="77"/>
                  <a:pt x="324" y="76"/>
                  <a:pt x="321" y="76"/>
                </a:cubicBezTo>
                <a:cubicBezTo>
                  <a:pt x="318" y="76"/>
                  <a:pt x="317" y="73"/>
                  <a:pt x="318" y="72"/>
                </a:cubicBezTo>
                <a:cubicBezTo>
                  <a:pt x="320" y="71"/>
                  <a:pt x="325" y="69"/>
                  <a:pt x="326" y="68"/>
                </a:cubicBezTo>
                <a:cubicBezTo>
                  <a:pt x="327" y="68"/>
                  <a:pt x="328" y="61"/>
                  <a:pt x="329" y="61"/>
                </a:cubicBezTo>
                <a:cubicBezTo>
                  <a:pt x="331" y="62"/>
                  <a:pt x="335" y="65"/>
                  <a:pt x="336" y="66"/>
                </a:cubicBezTo>
                <a:cubicBezTo>
                  <a:pt x="338" y="67"/>
                  <a:pt x="340" y="68"/>
                  <a:pt x="342" y="68"/>
                </a:cubicBezTo>
                <a:cubicBezTo>
                  <a:pt x="344" y="68"/>
                  <a:pt x="345" y="71"/>
                  <a:pt x="345" y="72"/>
                </a:cubicBezTo>
                <a:cubicBezTo>
                  <a:pt x="346" y="74"/>
                  <a:pt x="347" y="77"/>
                  <a:pt x="347" y="77"/>
                </a:cubicBezTo>
                <a:cubicBezTo>
                  <a:pt x="346" y="78"/>
                  <a:pt x="338" y="78"/>
                  <a:pt x="337" y="78"/>
                </a:cubicBezTo>
                <a:cubicBezTo>
                  <a:pt x="335" y="78"/>
                  <a:pt x="334" y="80"/>
                  <a:pt x="335" y="81"/>
                </a:cubicBezTo>
                <a:cubicBezTo>
                  <a:pt x="336" y="82"/>
                  <a:pt x="344" y="83"/>
                  <a:pt x="343" y="84"/>
                </a:cubicBezTo>
                <a:cubicBezTo>
                  <a:pt x="343" y="85"/>
                  <a:pt x="340" y="92"/>
                  <a:pt x="341" y="94"/>
                </a:cubicBezTo>
                <a:cubicBezTo>
                  <a:pt x="342" y="95"/>
                  <a:pt x="351" y="97"/>
                  <a:pt x="351" y="96"/>
                </a:cubicBezTo>
                <a:cubicBezTo>
                  <a:pt x="351" y="94"/>
                  <a:pt x="348" y="91"/>
                  <a:pt x="348" y="90"/>
                </a:cubicBezTo>
                <a:cubicBezTo>
                  <a:pt x="348" y="88"/>
                  <a:pt x="349" y="87"/>
                  <a:pt x="350" y="86"/>
                </a:cubicBezTo>
                <a:cubicBezTo>
                  <a:pt x="350" y="85"/>
                  <a:pt x="354" y="86"/>
                  <a:pt x="356" y="86"/>
                </a:cubicBezTo>
                <a:cubicBezTo>
                  <a:pt x="357" y="85"/>
                  <a:pt x="362" y="83"/>
                  <a:pt x="362" y="81"/>
                </a:cubicBezTo>
                <a:cubicBezTo>
                  <a:pt x="362" y="80"/>
                  <a:pt x="363" y="78"/>
                  <a:pt x="363" y="77"/>
                </a:cubicBezTo>
                <a:cubicBezTo>
                  <a:pt x="362" y="76"/>
                  <a:pt x="359" y="77"/>
                  <a:pt x="358" y="77"/>
                </a:cubicBezTo>
                <a:cubicBezTo>
                  <a:pt x="357" y="77"/>
                  <a:pt x="358" y="75"/>
                  <a:pt x="358" y="73"/>
                </a:cubicBezTo>
                <a:cubicBezTo>
                  <a:pt x="359" y="72"/>
                  <a:pt x="363" y="70"/>
                  <a:pt x="363" y="69"/>
                </a:cubicBezTo>
                <a:cubicBezTo>
                  <a:pt x="363" y="68"/>
                  <a:pt x="361" y="67"/>
                  <a:pt x="359" y="67"/>
                </a:cubicBezTo>
                <a:cubicBezTo>
                  <a:pt x="358" y="67"/>
                  <a:pt x="356" y="64"/>
                  <a:pt x="355" y="64"/>
                </a:cubicBezTo>
                <a:cubicBezTo>
                  <a:pt x="354" y="64"/>
                  <a:pt x="349" y="63"/>
                  <a:pt x="347" y="63"/>
                </a:cubicBezTo>
                <a:cubicBezTo>
                  <a:pt x="345" y="63"/>
                  <a:pt x="342" y="60"/>
                  <a:pt x="341" y="58"/>
                </a:cubicBezTo>
                <a:cubicBezTo>
                  <a:pt x="339" y="57"/>
                  <a:pt x="342" y="54"/>
                  <a:pt x="343" y="53"/>
                </a:cubicBezTo>
                <a:cubicBezTo>
                  <a:pt x="344" y="52"/>
                  <a:pt x="342" y="51"/>
                  <a:pt x="341" y="50"/>
                </a:cubicBezTo>
                <a:cubicBezTo>
                  <a:pt x="340" y="49"/>
                  <a:pt x="341" y="45"/>
                  <a:pt x="342" y="43"/>
                </a:cubicBezTo>
                <a:cubicBezTo>
                  <a:pt x="342" y="41"/>
                  <a:pt x="346" y="44"/>
                  <a:pt x="347" y="43"/>
                </a:cubicBezTo>
                <a:cubicBezTo>
                  <a:pt x="347" y="43"/>
                  <a:pt x="347" y="41"/>
                  <a:pt x="348" y="41"/>
                </a:cubicBezTo>
                <a:cubicBezTo>
                  <a:pt x="349" y="40"/>
                  <a:pt x="344" y="39"/>
                  <a:pt x="346" y="37"/>
                </a:cubicBezTo>
                <a:cubicBezTo>
                  <a:pt x="348" y="35"/>
                  <a:pt x="350" y="28"/>
                  <a:pt x="350" y="25"/>
                </a:cubicBezTo>
                <a:cubicBezTo>
                  <a:pt x="350" y="23"/>
                  <a:pt x="348" y="21"/>
                  <a:pt x="347" y="21"/>
                </a:cubicBezTo>
                <a:cubicBezTo>
                  <a:pt x="345" y="20"/>
                  <a:pt x="347" y="17"/>
                  <a:pt x="347" y="16"/>
                </a:cubicBezTo>
                <a:cubicBezTo>
                  <a:pt x="348" y="15"/>
                  <a:pt x="347" y="12"/>
                  <a:pt x="347" y="10"/>
                </a:cubicBezTo>
                <a:cubicBezTo>
                  <a:pt x="347" y="8"/>
                  <a:pt x="351" y="10"/>
                  <a:pt x="353" y="9"/>
                </a:cubicBezTo>
                <a:cubicBezTo>
                  <a:pt x="354" y="8"/>
                  <a:pt x="351" y="6"/>
                  <a:pt x="350" y="5"/>
                </a:cubicBezTo>
                <a:cubicBezTo>
                  <a:pt x="349" y="3"/>
                  <a:pt x="352" y="1"/>
                  <a:pt x="354" y="0"/>
                </a:cubicBezTo>
                <a:cubicBezTo>
                  <a:pt x="357" y="0"/>
                  <a:pt x="365" y="0"/>
                  <a:pt x="368" y="0"/>
                </a:cubicBezTo>
                <a:cubicBezTo>
                  <a:pt x="370" y="0"/>
                  <a:pt x="371" y="4"/>
                  <a:pt x="373" y="4"/>
                </a:cubicBezTo>
                <a:cubicBezTo>
                  <a:pt x="376" y="4"/>
                  <a:pt x="378" y="2"/>
                  <a:pt x="382" y="2"/>
                </a:cubicBezTo>
                <a:cubicBezTo>
                  <a:pt x="385" y="3"/>
                  <a:pt x="390" y="4"/>
                  <a:pt x="389" y="5"/>
                </a:cubicBezTo>
                <a:cubicBezTo>
                  <a:pt x="389" y="6"/>
                  <a:pt x="383" y="11"/>
                  <a:pt x="381" y="13"/>
                </a:cubicBezTo>
                <a:cubicBezTo>
                  <a:pt x="380" y="16"/>
                  <a:pt x="377" y="18"/>
                  <a:pt x="375" y="20"/>
                </a:cubicBezTo>
                <a:cubicBezTo>
                  <a:pt x="372" y="21"/>
                  <a:pt x="361" y="18"/>
                  <a:pt x="360" y="19"/>
                </a:cubicBezTo>
                <a:cubicBezTo>
                  <a:pt x="358" y="19"/>
                  <a:pt x="359" y="22"/>
                  <a:pt x="361" y="22"/>
                </a:cubicBezTo>
                <a:cubicBezTo>
                  <a:pt x="363" y="23"/>
                  <a:pt x="364" y="27"/>
                  <a:pt x="363" y="28"/>
                </a:cubicBezTo>
                <a:cubicBezTo>
                  <a:pt x="362" y="30"/>
                  <a:pt x="358" y="32"/>
                  <a:pt x="358" y="34"/>
                </a:cubicBezTo>
                <a:cubicBezTo>
                  <a:pt x="358" y="36"/>
                  <a:pt x="363" y="38"/>
                  <a:pt x="367" y="40"/>
                </a:cubicBezTo>
                <a:cubicBezTo>
                  <a:pt x="370" y="43"/>
                  <a:pt x="368" y="46"/>
                  <a:pt x="368" y="48"/>
                </a:cubicBezTo>
                <a:cubicBezTo>
                  <a:pt x="368" y="50"/>
                  <a:pt x="370" y="50"/>
                  <a:pt x="372" y="51"/>
                </a:cubicBezTo>
                <a:cubicBezTo>
                  <a:pt x="375" y="51"/>
                  <a:pt x="378" y="55"/>
                  <a:pt x="377" y="56"/>
                </a:cubicBezTo>
                <a:cubicBezTo>
                  <a:pt x="377" y="57"/>
                  <a:pt x="369" y="63"/>
                  <a:pt x="370" y="64"/>
                </a:cubicBezTo>
                <a:cubicBezTo>
                  <a:pt x="370" y="64"/>
                  <a:pt x="377" y="66"/>
                  <a:pt x="379" y="65"/>
                </a:cubicBezTo>
                <a:cubicBezTo>
                  <a:pt x="380" y="64"/>
                  <a:pt x="385" y="66"/>
                  <a:pt x="387" y="67"/>
                </a:cubicBezTo>
                <a:cubicBezTo>
                  <a:pt x="388" y="69"/>
                  <a:pt x="384" y="69"/>
                  <a:pt x="386" y="73"/>
                </a:cubicBezTo>
                <a:cubicBezTo>
                  <a:pt x="389" y="76"/>
                  <a:pt x="383" y="81"/>
                  <a:pt x="390" y="81"/>
                </a:cubicBezTo>
                <a:cubicBezTo>
                  <a:pt x="391" y="80"/>
                  <a:pt x="392" y="74"/>
                  <a:pt x="392" y="74"/>
                </a:cubicBezTo>
                <a:cubicBezTo>
                  <a:pt x="392" y="73"/>
                  <a:pt x="395" y="69"/>
                  <a:pt x="397" y="69"/>
                </a:cubicBezTo>
                <a:cubicBezTo>
                  <a:pt x="398" y="69"/>
                  <a:pt x="405" y="74"/>
                  <a:pt x="407" y="76"/>
                </a:cubicBezTo>
                <a:cubicBezTo>
                  <a:pt x="408" y="79"/>
                  <a:pt x="408" y="83"/>
                  <a:pt x="407" y="84"/>
                </a:cubicBezTo>
                <a:cubicBezTo>
                  <a:pt x="406" y="85"/>
                  <a:pt x="403" y="82"/>
                  <a:pt x="403" y="85"/>
                </a:cubicBezTo>
                <a:cubicBezTo>
                  <a:pt x="403" y="89"/>
                  <a:pt x="408" y="96"/>
                  <a:pt x="410" y="96"/>
                </a:cubicBezTo>
                <a:cubicBezTo>
                  <a:pt x="413" y="97"/>
                  <a:pt x="417" y="96"/>
                  <a:pt x="417" y="94"/>
                </a:cubicBezTo>
                <a:cubicBezTo>
                  <a:pt x="417" y="93"/>
                  <a:pt x="419" y="91"/>
                  <a:pt x="419" y="89"/>
                </a:cubicBezTo>
                <a:cubicBezTo>
                  <a:pt x="420" y="88"/>
                  <a:pt x="422" y="83"/>
                  <a:pt x="422" y="81"/>
                </a:cubicBezTo>
                <a:cubicBezTo>
                  <a:pt x="422" y="79"/>
                  <a:pt x="429" y="78"/>
                  <a:pt x="429" y="78"/>
                </a:cubicBezTo>
                <a:cubicBezTo>
                  <a:pt x="429" y="77"/>
                  <a:pt x="429" y="75"/>
                  <a:pt x="428" y="73"/>
                </a:cubicBezTo>
                <a:cubicBezTo>
                  <a:pt x="427" y="72"/>
                  <a:pt x="423" y="67"/>
                  <a:pt x="424" y="66"/>
                </a:cubicBezTo>
                <a:cubicBezTo>
                  <a:pt x="426" y="64"/>
                  <a:pt x="430" y="63"/>
                  <a:pt x="432" y="63"/>
                </a:cubicBezTo>
                <a:cubicBezTo>
                  <a:pt x="434" y="63"/>
                  <a:pt x="438" y="65"/>
                  <a:pt x="440" y="65"/>
                </a:cubicBezTo>
                <a:cubicBezTo>
                  <a:pt x="442" y="65"/>
                  <a:pt x="446" y="66"/>
                  <a:pt x="447" y="67"/>
                </a:cubicBezTo>
                <a:cubicBezTo>
                  <a:pt x="448" y="68"/>
                  <a:pt x="456" y="71"/>
                  <a:pt x="456" y="72"/>
                </a:cubicBezTo>
                <a:cubicBezTo>
                  <a:pt x="457" y="73"/>
                  <a:pt x="457" y="76"/>
                  <a:pt x="457" y="79"/>
                </a:cubicBezTo>
                <a:cubicBezTo>
                  <a:pt x="457" y="82"/>
                  <a:pt x="449" y="79"/>
                  <a:pt x="447" y="81"/>
                </a:cubicBezTo>
                <a:cubicBezTo>
                  <a:pt x="446" y="82"/>
                  <a:pt x="458" y="92"/>
                  <a:pt x="458" y="94"/>
                </a:cubicBezTo>
                <a:cubicBezTo>
                  <a:pt x="458" y="95"/>
                  <a:pt x="456" y="101"/>
                  <a:pt x="455" y="101"/>
                </a:cubicBezTo>
                <a:cubicBezTo>
                  <a:pt x="453" y="101"/>
                  <a:pt x="448" y="105"/>
                  <a:pt x="446" y="106"/>
                </a:cubicBezTo>
                <a:cubicBezTo>
                  <a:pt x="444" y="106"/>
                  <a:pt x="443" y="107"/>
                  <a:pt x="442" y="108"/>
                </a:cubicBezTo>
                <a:cubicBezTo>
                  <a:pt x="440" y="108"/>
                  <a:pt x="444" y="113"/>
                  <a:pt x="438" y="115"/>
                </a:cubicBezTo>
                <a:cubicBezTo>
                  <a:pt x="436" y="116"/>
                  <a:pt x="435" y="111"/>
                  <a:pt x="432" y="110"/>
                </a:cubicBezTo>
                <a:cubicBezTo>
                  <a:pt x="430" y="109"/>
                  <a:pt x="430" y="105"/>
                  <a:pt x="426" y="104"/>
                </a:cubicBezTo>
                <a:cubicBezTo>
                  <a:pt x="423" y="104"/>
                  <a:pt x="416" y="105"/>
                  <a:pt x="415" y="106"/>
                </a:cubicBezTo>
                <a:cubicBezTo>
                  <a:pt x="414" y="107"/>
                  <a:pt x="421" y="110"/>
                  <a:pt x="421" y="111"/>
                </a:cubicBezTo>
                <a:cubicBezTo>
                  <a:pt x="421" y="112"/>
                  <a:pt x="417" y="116"/>
                  <a:pt x="416" y="117"/>
                </a:cubicBezTo>
                <a:cubicBezTo>
                  <a:pt x="415" y="117"/>
                  <a:pt x="407" y="118"/>
                  <a:pt x="405" y="117"/>
                </a:cubicBezTo>
                <a:cubicBezTo>
                  <a:pt x="403" y="116"/>
                  <a:pt x="397" y="113"/>
                  <a:pt x="394" y="113"/>
                </a:cubicBezTo>
                <a:cubicBezTo>
                  <a:pt x="392" y="113"/>
                  <a:pt x="390" y="113"/>
                  <a:pt x="390" y="114"/>
                </a:cubicBezTo>
                <a:cubicBezTo>
                  <a:pt x="389" y="115"/>
                  <a:pt x="392" y="118"/>
                  <a:pt x="394" y="119"/>
                </a:cubicBezTo>
                <a:cubicBezTo>
                  <a:pt x="397" y="121"/>
                  <a:pt x="401" y="122"/>
                  <a:pt x="404" y="122"/>
                </a:cubicBezTo>
                <a:cubicBezTo>
                  <a:pt x="406" y="122"/>
                  <a:pt x="411" y="122"/>
                  <a:pt x="413" y="123"/>
                </a:cubicBezTo>
                <a:cubicBezTo>
                  <a:pt x="413" y="124"/>
                  <a:pt x="414" y="124"/>
                  <a:pt x="413" y="125"/>
                </a:cubicBezTo>
                <a:cubicBezTo>
                  <a:pt x="413" y="127"/>
                  <a:pt x="410" y="129"/>
                  <a:pt x="409" y="131"/>
                </a:cubicBezTo>
                <a:cubicBezTo>
                  <a:pt x="408" y="133"/>
                  <a:pt x="403" y="137"/>
                  <a:pt x="400" y="138"/>
                </a:cubicBezTo>
                <a:cubicBezTo>
                  <a:pt x="398" y="139"/>
                  <a:pt x="393" y="135"/>
                  <a:pt x="392" y="136"/>
                </a:cubicBezTo>
                <a:cubicBezTo>
                  <a:pt x="391" y="137"/>
                  <a:pt x="390" y="140"/>
                  <a:pt x="387" y="141"/>
                </a:cubicBezTo>
                <a:cubicBezTo>
                  <a:pt x="384" y="142"/>
                  <a:pt x="381" y="142"/>
                  <a:pt x="381" y="143"/>
                </a:cubicBezTo>
                <a:cubicBezTo>
                  <a:pt x="381" y="144"/>
                  <a:pt x="385" y="148"/>
                  <a:pt x="385" y="150"/>
                </a:cubicBezTo>
                <a:cubicBezTo>
                  <a:pt x="385" y="152"/>
                  <a:pt x="377" y="155"/>
                  <a:pt x="375" y="156"/>
                </a:cubicBezTo>
                <a:cubicBezTo>
                  <a:pt x="373" y="157"/>
                  <a:pt x="370" y="158"/>
                  <a:pt x="367" y="160"/>
                </a:cubicBezTo>
                <a:cubicBezTo>
                  <a:pt x="365" y="161"/>
                  <a:pt x="367" y="165"/>
                  <a:pt x="366" y="166"/>
                </a:cubicBezTo>
                <a:cubicBezTo>
                  <a:pt x="364" y="166"/>
                  <a:pt x="359" y="174"/>
                  <a:pt x="356" y="177"/>
                </a:cubicBezTo>
                <a:cubicBezTo>
                  <a:pt x="354" y="181"/>
                  <a:pt x="352" y="194"/>
                  <a:pt x="353" y="194"/>
                </a:cubicBezTo>
                <a:cubicBezTo>
                  <a:pt x="353" y="195"/>
                  <a:pt x="354" y="199"/>
                  <a:pt x="355" y="199"/>
                </a:cubicBezTo>
                <a:cubicBezTo>
                  <a:pt x="357" y="200"/>
                  <a:pt x="364" y="197"/>
                  <a:pt x="366" y="199"/>
                </a:cubicBezTo>
                <a:cubicBezTo>
                  <a:pt x="368" y="202"/>
                  <a:pt x="368" y="208"/>
                  <a:pt x="370" y="210"/>
                </a:cubicBezTo>
                <a:cubicBezTo>
                  <a:pt x="372" y="213"/>
                  <a:pt x="369" y="218"/>
                  <a:pt x="370" y="219"/>
                </a:cubicBezTo>
                <a:cubicBezTo>
                  <a:pt x="371" y="220"/>
                  <a:pt x="374" y="217"/>
                  <a:pt x="377" y="217"/>
                </a:cubicBezTo>
                <a:cubicBezTo>
                  <a:pt x="380" y="217"/>
                  <a:pt x="385" y="216"/>
                  <a:pt x="388" y="217"/>
                </a:cubicBezTo>
                <a:cubicBezTo>
                  <a:pt x="391" y="219"/>
                  <a:pt x="398" y="219"/>
                  <a:pt x="401" y="221"/>
                </a:cubicBezTo>
                <a:cubicBezTo>
                  <a:pt x="405" y="223"/>
                  <a:pt x="406" y="224"/>
                  <a:pt x="408" y="227"/>
                </a:cubicBezTo>
                <a:cubicBezTo>
                  <a:pt x="410" y="231"/>
                  <a:pt x="417" y="230"/>
                  <a:pt x="423" y="234"/>
                </a:cubicBezTo>
                <a:cubicBezTo>
                  <a:pt x="430" y="238"/>
                  <a:pt x="434" y="236"/>
                  <a:pt x="439" y="237"/>
                </a:cubicBezTo>
                <a:cubicBezTo>
                  <a:pt x="444" y="237"/>
                  <a:pt x="449" y="237"/>
                  <a:pt x="450" y="240"/>
                </a:cubicBezTo>
                <a:cubicBezTo>
                  <a:pt x="451" y="242"/>
                  <a:pt x="450" y="255"/>
                  <a:pt x="450" y="259"/>
                </a:cubicBezTo>
                <a:cubicBezTo>
                  <a:pt x="450" y="263"/>
                  <a:pt x="451" y="263"/>
                  <a:pt x="453" y="266"/>
                </a:cubicBezTo>
                <a:cubicBezTo>
                  <a:pt x="455" y="268"/>
                  <a:pt x="460" y="271"/>
                  <a:pt x="462" y="273"/>
                </a:cubicBezTo>
                <a:cubicBezTo>
                  <a:pt x="464" y="275"/>
                  <a:pt x="465" y="280"/>
                  <a:pt x="468" y="279"/>
                </a:cubicBezTo>
                <a:cubicBezTo>
                  <a:pt x="471" y="279"/>
                  <a:pt x="476" y="272"/>
                  <a:pt x="477" y="268"/>
                </a:cubicBezTo>
                <a:cubicBezTo>
                  <a:pt x="479" y="265"/>
                  <a:pt x="473" y="254"/>
                  <a:pt x="472" y="251"/>
                </a:cubicBezTo>
                <a:cubicBezTo>
                  <a:pt x="472" y="247"/>
                  <a:pt x="468" y="243"/>
                  <a:pt x="469" y="242"/>
                </a:cubicBezTo>
                <a:cubicBezTo>
                  <a:pt x="470" y="241"/>
                  <a:pt x="475" y="240"/>
                  <a:pt x="477" y="240"/>
                </a:cubicBezTo>
                <a:cubicBezTo>
                  <a:pt x="479" y="239"/>
                  <a:pt x="488" y="232"/>
                  <a:pt x="491" y="229"/>
                </a:cubicBezTo>
                <a:cubicBezTo>
                  <a:pt x="493" y="226"/>
                  <a:pt x="492" y="218"/>
                  <a:pt x="491" y="214"/>
                </a:cubicBezTo>
                <a:cubicBezTo>
                  <a:pt x="491" y="211"/>
                  <a:pt x="485" y="205"/>
                  <a:pt x="483" y="205"/>
                </a:cubicBezTo>
                <a:cubicBezTo>
                  <a:pt x="480" y="204"/>
                  <a:pt x="476" y="201"/>
                  <a:pt x="476" y="199"/>
                </a:cubicBezTo>
                <a:cubicBezTo>
                  <a:pt x="476" y="196"/>
                  <a:pt x="482" y="192"/>
                  <a:pt x="484" y="190"/>
                </a:cubicBezTo>
                <a:cubicBezTo>
                  <a:pt x="485" y="188"/>
                  <a:pt x="484" y="183"/>
                  <a:pt x="484" y="181"/>
                </a:cubicBezTo>
                <a:cubicBezTo>
                  <a:pt x="484" y="179"/>
                  <a:pt x="478" y="177"/>
                  <a:pt x="478" y="176"/>
                </a:cubicBezTo>
                <a:cubicBezTo>
                  <a:pt x="478" y="175"/>
                  <a:pt x="479" y="174"/>
                  <a:pt x="481" y="173"/>
                </a:cubicBezTo>
                <a:cubicBezTo>
                  <a:pt x="484" y="172"/>
                  <a:pt x="483" y="170"/>
                  <a:pt x="481" y="165"/>
                </a:cubicBezTo>
                <a:cubicBezTo>
                  <a:pt x="480" y="163"/>
                  <a:pt x="480" y="161"/>
                  <a:pt x="480" y="160"/>
                </a:cubicBezTo>
                <a:cubicBezTo>
                  <a:pt x="480" y="157"/>
                  <a:pt x="481" y="155"/>
                  <a:pt x="484" y="155"/>
                </a:cubicBezTo>
                <a:cubicBezTo>
                  <a:pt x="489" y="154"/>
                  <a:pt x="503" y="158"/>
                  <a:pt x="508" y="159"/>
                </a:cubicBezTo>
                <a:cubicBezTo>
                  <a:pt x="511" y="159"/>
                  <a:pt x="514" y="155"/>
                  <a:pt x="515" y="156"/>
                </a:cubicBezTo>
                <a:cubicBezTo>
                  <a:pt x="516" y="157"/>
                  <a:pt x="523" y="159"/>
                  <a:pt x="525" y="161"/>
                </a:cubicBezTo>
                <a:cubicBezTo>
                  <a:pt x="527" y="163"/>
                  <a:pt x="529" y="165"/>
                  <a:pt x="531" y="168"/>
                </a:cubicBezTo>
                <a:cubicBezTo>
                  <a:pt x="532" y="171"/>
                  <a:pt x="538" y="172"/>
                  <a:pt x="540" y="173"/>
                </a:cubicBezTo>
                <a:cubicBezTo>
                  <a:pt x="547" y="174"/>
                  <a:pt x="543" y="167"/>
                  <a:pt x="546" y="169"/>
                </a:cubicBezTo>
                <a:cubicBezTo>
                  <a:pt x="547" y="170"/>
                  <a:pt x="548" y="171"/>
                  <a:pt x="549" y="172"/>
                </a:cubicBezTo>
                <a:cubicBezTo>
                  <a:pt x="550" y="174"/>
                  <a:pt x="546" y="179"/>
                  <a:pt x="546" y="179"/>
                </a:cubicBezTo>
                <a:cubicBezTo>
                  <a:pt x="546" y="179"/>
                  <a:pt x="546" y="181"/>
                  <a:pt x="547" y="183"/>
                </a:cubicBezTo>
                <a:cubicBezTo>
                  <a:pt x="547" y="185"/>
                  <a:pt x="547" y="187"/>
                  <a:pt x="547" y="189"/>
                </a:cubicBezTo>
                <a:cubicBezTo>
                  <a:pt x="547" y="191"/>
                  <a:pt x="548" y="193"/>
                  <a:pt x="549" y="195"/>
                </a:cubicBezTo>
                <a:cubicBezTo>
                  <a:pt x="550" y="197"/>
                  <a:pt x="555" y="196"/>
                  <a:pt x="556" y="197"/>
                </a:cubicBezTo>
                <a:cubicBezTo>
                  <a:pt x="557" y="198"/>
                  <a:pt x="559" y="203"/>
                  <a:pt x="561" y="203"/>
                </a:cubicBezTo>
                <a:cubicBezTo>
                  <a:pt x="562" y="204"/>
                  <a:pt x="566" y="203"/>
                  <a:pt x="568" y="202"/>
                </a:cubicBezTo>
                <a:cubicBezTo>
                  <a:pt x="569" y="202"/>
                  <a:pt x="569" y="198"/>
                  <a:pt x="570" y="198"/>
                </a:cubicBezTo>
                <a:cubicBezTo>
                  <a:pt x="571" y="197"/>
                  <a:pt x="574" y="198"/>
                  <a:pt x="575" y="196"/>
                </a:cubicBezTo>
                <a:cubicBezTo>
                  <a:pt x="576" y="195"/>
                  <a:pt x="579" y="193"/>
                  <a:pt x="579" y="192"/>
                </a:cubicBezTo>
                <a:cubicBezTo>
                  <a:pt x="579" y="190"/>
                  <a:pt x="575" y="187"/>
                  <a:pt x="577" y="186"/>
                </a:cubicBezTo>
                <a:cubicBezTo>
                  <a:pt x="578" y="184"/>
                  <a:pt x="579" y="186"/>
                  <a:pt x="580" y="183"/>
                </a:cubicBezTo>
                <a:cubicBezTo>
                  <a:pt x="581" y="181"/>
                  <a:pt x="581" y="177"/>
                  <a:pt x="582" y="177"/>
                </a:cubicBezTo>
                <a:cubicBezTo>
                  <a:pt x="583" y="177"/>
                  <a:pt x="584" y="176"/>
                  <a:pt x="585" y="176"/>
                </a:cubicBezTo>
                <a:cubicBezTo>
                  <a:pt x="585" y="177"/>
                  <a:pt x="586" y="179"/>
                  <a:pt x="586" y="181"/>
                </a:cubicBezTo>
                <a:cubicBezTo>
                  <a:pt x="587" y="182"/>
                  <a:pt x="592" y="191"/>
                  <a:pt x="594" y="195"/>
                </a:cubicBezTo>
                <a:cubicBezTo>
                  <a:pt x="596" y="198"/>
                  <a:pt x="600" y="203"/>
                  <a:pt x="603" y="205"/>
                </a:cubicBezTo>
                <a:cubicBezTo>
                  <a:pt x="605" y="207"/>
                  <a:pt x="602" y="210"/>
                  <a:pt x="605" y="212"/>
                </a:cubicBezTo>
                <a:cubicBezTo>
                  <a:pt x="607" y="214"/>
                  <a:pt x="610" y="215"/>
                  <a:pt x="611" y="218"/>
                </a:cubicBezTo>
                <a:cubicBezTo>
                  <a:pt x="612" y="222"/>
                  <a:pt x="608" y="224"/>
                  <a:pt x="609" y="226"/>
                </a:cubicBezTo>
                <a:cubicBezTo>
                  <a:pt x="609" y="229"/>
                  <a:pt x="615" y="231"/>
                  <a:pt x="617" y="233"/>
                </a:cubicBezTo>
                <a:cubicBezTo>
                  <a:pt x="619" y="235"/>
                  <a:pt x="624" y="236"/>
                  <a:pt x="626" y="237"/>
                </a:cubicBezTo>
                <a:cubicBezTo>
                  <a:pt x="629" y="239"/>
                  <a:pt x="638" y="241"/>
                  <a:pt x="640" y="241"/>
                </a:cubicBezTo>
                <a:cubicBezTo>
                  <a:pt x="642" y="242"/>
                  <a:pt x="641" y="245"/>
                  <a:pt x="640" y="245"/>
                </a:cubicBezTo>
                <a:cubicBezTo>
                  <a:pt x="639" y="245"/>
                  <a:pt x="636" y="244"/>
                  <a:pt x="633" y="245"/>
                </a:cubicBezTo>
                <a:cubicBezTo>
                  <a:pt x="631" y="246"/>
                  <a:pt x="627" y="248"/>
                  <a:pt x="625" y="248"/>
                </a:cubicBezTo>
                <a:cubicBezTo>
                  <a:pt x="624" y="249"/>
                  <a:pt x="621" y="250"/>
                  <a:pt x="620" y="251"/>
                </a:cubicBezTo>
                <a:cubicBezTo>
                  <a:pt x="618" y="251"/>
                  <a:pt x="617" y="254"/>
                  <a:pt x="616" y="255"/>
                </a:cubicBezTo>
                <a:cubicBezTo>
                  <a:pt x="616" y="256"/>
                  <a:pt x="612" y="259"/>
                  <a:pt x="614" y="259"/>
                </a:cubicBezTo>
                <a:cubicBezTo>
                  <a:pt x="618" y="259"/>
                  <a:pt x="618" y="259"/>
                  <a:pt x="618" y="259"/>
                </a:cubicBezTo>
                <a:cubicBezTo>
                  <a:pt x="621" y="259"/>
                  <a:pt x="626" y="255"/>
                  <a:pt x="627" y="254"/>
                </a:cubicBezTo>
                <a:cubicBezTo>
                  <a:pt x="628" y="253"/>
                  <a:pt x="633" y="250"/>
                  <a:pt x="634" y="250"/>
                </a:cubicBezTo>
                <a:cubicBezTo>
                  <a:pt x="636" y="249"/>
                  <a:pt x="639" y="249"/>
                  <a:pt x="640" y="250"/>
                </a:cubicBezTo>
                <a:cubicBezTo>
                  <a:pt x="641" y="250"/>
                  <a:pt x="642" y="252"/>
                  <a:pt x="643" y="252"/>
                </a:cubicBezTo>
                <a:cubicBezTo>
                  <a:pt x="644" y="253"/>
                  <a:pt x="650" y="254"/>
                  <a:pt x="652" y="256"/>
                </a:cubicBezTo>
                <a:cubicBezTo>
                  <a:pt x="654" y="257"/>
                  <a:pt x="652" y="261"/>
                  <a:pt x="652" y="263"/>
                </a:cubicBezTo>
                <a:cubicBezTo>
                  <a:pt x="652" y="266"/>
                  <a:pt x="653" y="268"/>
                  <a:pt x="652" y="270"/>
                </a:cubicBezTo>
                <a:cubicBezTo>
                  <a:pt x="651" y="271"/>
                  <a:pt x="642" y="276"/>
                  <a:pt x="641" y="276"/>
                </a:cubicBezTo>
                <a:cubicBezTo>
                  <a:pt x="639" y="277"/>
                  <a:pt x="632" y="278"/>
                  <a:pt x="631" y="279"/>
                </a:cubicBezTo>
                <a:cubicBezTo>
                  <a:pt x="629" y="281"/>
                  <a:pt x="622" y="288"/>
                  <a:pt x="619" y="289"/>
                </a:cubicBezTo>
                <a:cubicBezTo>
                  <a:pt x="617" y="289"/>
                  <a:pt x="610" y="290"/>
                  <a:pt x="607" y="290"/>
                </a:cubicBezTo>
                <a:cubicBezTo>
                  <a:pt x="605" y="290"/>
                  <a:pt x="600" y="288"/>
                  <a:pt x="598" y="288"/>
                </a:cubicBezTo>
                <a:cubicBezTo>
                  <a:pt x="585" y="288"/>
                  <a:pt x="585" y="288"/>
                  <a:pt x="585" y="288"/>
                </a:cubicBezTo>
                <a:cubicBezTo>
                  <a:pt x="584" y="288"/>
                  <a:pt x="581" y="290"/>
                  <a:pt x="580" y="291"/>
                </a:cubicBezTo>
                <a:cubicBezTo>
                  <a:pt x="579" y="292"/>
                  <a:pt x="581" y="296"/>
                  <a:pt x="584" y="297"/>
                </a:cubicBezTo>
                <a:cubicBezTo>
                  <a:pt x="586" y="299"/>
                  <a:pt x="589" y="304"/>
                  <a:pt x="587" y="305"/>
                </a:cubicBezTo>
                <a:cubicBezTo>
                  <a:pt x="586" y="306"/>
                  <a:pt x="584" y="306"/>
                  <a:pt x="582" y="308"/>
                </a:cubicBezTo>
                <a:cubicBezTo>
                  <a:pt x="580" y="309"/>
                  <a:pt x="578" y="308"/>
                  <a:pt x="577" y="308"/>
                </a:cubicBezTo>
                <a:cubicBezTo>
                  <a:pt x="575" y="308"/>
                  <a:pt x="569" y="308"/>
                  <a:pt x="569" y="309"/>
                </a:cubicBezTo>
                <a:cubicBezTo>
                  <a:pt x="569" y="310"/>
                  <a:pt x="571" y="311"/>
                  <a:pt x="572" y="311"/>
                </a:cubicBezTo>
                <a:cubicBezTo>
                  <a:pt x="574" y="312"/>
                  <a:pt x="575" y="314"/>
                  <a:pt x="577" y="315"/>
                </a:cubicBezTo>
                <a:cubicBezTo>
                  <a:pt x="578" y="316"/>
                  <a:pt x="584" y="311"/>
                  <a:pt x="584" y="312"/>
                </a:cubicBezTo>
                <a:cubicBezTo>
                  <a:pt x="584" y="313"/>
                  <a:pt x="583" y="314"/>
                  <a:pt x="582" y="316"/>
                </a:cubicBezTo>
                <a:cubicBezTo>
                  <a:pt x="582" y="318"/>
                  <a:pt x="583" y="320"/>
                  <a:pt x="586" y="323"/>
                </a:cubicBezTo>
                <a:cubicBezTo>
                  <a:pt x="588" y="325"/>
                  <a:pt x="589" y="324"/>
                  <a:pt x="592" y="327"/>
                </a:cubicBezTo>
                <a:cubicBezTo>
                  <a:pt x="594" y="330"/>
                  <a:pt x="598" y="331"/>
                  <a:pt x="600" y="331"/>
                </a:cubicBezTo>
                <a:cubicBezTo>
                  <a:pt x="603" y="331"/>
                  <a:pt x="607" y="328"/>
                  <a:pt x="609" y="326"/>
                </a:cubicBezTo>
                <a:cubicBezTo>
                  <a:pt x="611" y="324"/>
                  <a:pt x="615" y="319"/>
                  <a:pt x="617" y="320"/>
                </a:cubicBezTo>
                <a:cubicBezTo>
                  <a:pt x="619" y="320"/>
                  <a:pt x="616" y="324"/>
                  <a:pt x="617" y="326"/>
                </a:cubicBezTo>
                <a:cubicBezTo>
                  <a:pt x="618" y="328"/>
                  <a:pt x="622" y="328"/>
                  <a:pt x="622" y="330"/>
                </a:cubicBezTo>
                <a:cubicBezTo>
                  <a:pt x="622" y="332"/>
                  <a:pt x="614" y="336"/>
                  <a:pt x="612" y="337"/>
                </a:cubicBezTo>
                <a:cubicBezTo>
                  <a:pt x="611" y="338"/>
                  <a:pt x="607" y="340"/>
                  <a:pt x="604" y="341"/>
                </a:cubicBezTo>
                <a:cubicBezTo>
                  <a:pt x="600" y="341"/>
                  <a:pt x="590" y="344"/>
                  <a:pt x="588" y="344"/>
                </a:cubicBezTo>
                <a:cubicBezTo>
                  <a:pt x="587" y="345"/>
                  <a:pt x="583" y="350"/>
                  <a:pt x="581" y="351"/>
                </a:cubicBezTo>
                <a:cubicBezTo>
                  <a:pt x="580" y="352"/>
                  <a:pt x="579" y="355"/>
                  <a:pt x="577" y="355"/>
                </a:cubicBezTo>
                <a:cubicBezTo>
                  <a:pt x="576" y="355"/>
                  <a:pt x="575" y="354"/>
                  <a:pt x="573" y="352"/>
                </a:cubicBezTo>
                <a:cubicBezTo>
                  <a:pt x="572" y="350"/>
                  <a:pt x="572" y="346"/>
                  <a:pt x="573" y="344"/>
                </a:cubicBezTo>
                <a:cubicBezTo>
                  <a:pt x="574" y="342"/>
                  <a:pt x="581" y="338"/>
                  <a:pt x="584" y="337"/>
                </a:cubicBezTo>
                <a:cubicBezTo>
                  <a:pt x="587" y="336"/>
                  <a:pt x="590" y="336"/>
                  <a:pt x="588" y="334"/>
                </a:cubicBezTo>
                <a:cubicBezTo>
                  <a:pt x="587" y="333"/>
                  <a:pt x="586" y="329"/>
                  <a:pt x="585" y="330"/>
                </a:cubicBezTo>
                <a:cubicBezTo>
                  <a:pt x="585" y="330"/>
                  <a:pt x="583" y="332"/>
                  <a:pt x="582" y="333"/>
                </a:cubicBezTo>
                <a:cubicBezTo>
                  <a:pt x="580" y="334"/>
                  <a:pt x="572" y="337"/>
                  <a:pt x="570" y="337"/>
                </a:cubicBezTo>
                <a:cubicBezTo>
                  <a:pt x="568" y="338"/>
                  <a:pt x="567" y="340"/>
                  <a:pt x="567" y="340"/>
                </a:cubicBezTo>
                <a:cubicBezTo>
                  <a:pt x="561" y="331"/>
                  <a:pt x="561" y="331"/>
                  <a:pt x="561" y="331"/>
                </a:cubicBezTo>
                <a:cubicBezTo>
                  <a:pt x="561" y="329"/>
                  <a:pt x="561" y="321"/>
                  <a:pt x="560" y="318"/>
                </a:cubicBezTo>
                <a:cubicBezTo>
                  <a:pt x="559" y="315"/>
                  <a:pt x="553" y="318"/>
                  <a:pt x="550" y="316"/>
                </a:cubicBezTo>
                <a:cubicBezTo>
                  <a:pt x="548" y="315"/>
                  <a:pt x="541" y="330"/>
                  <a:pt x="540" y="333"/>
                </a:cubicBezTo>
                <a:cubicBezTo>
                  <a:pt x="539" y="337"/>
                  <a:pt x="532" y="338"/>
                  <a:pt x="532" y="338"/>
                </a:cubicBezTo>
                <a:cubicBezTo>
                  <a:pt x="506" y="339"/>
                  <a:pt x="506" y="339"/>
                  <a:pt x="506" y="339"/>
                </a:cubicBezTo>
                <a:cubicBezTo>
                  <a:pt x="495" y="349"/>
                  <a:pt x="495" y="349"/>
                  <a:pt x="495" y="349"/>
                </a:cubicBezTo>
                <a:cubicBezTo>
                  <a:pt x="495" y="349"/>
                  <a:pt x="495" y="349"/>
                  <a:pt x="495" y="349"/>
                </a:cubicBezTo>
                <a:cubicBezTo>
                  <a:pt x="495" y="348"/>
                  <a:pt x="494" y="348"/>
                  <a:pt x="492" y="348"/>
                </a:cubicBezTo>
                <a:cubicBezTo>
                  <a:pt x="488" y="348"/>
                  <a:pt x="480" y="348"/>
                  <a:pt x="480" y="348"/>
                </a:cubicBezTo>
                <a:cubicBezTo>
                  <a:pt x="476" y="348"/>
                  <a:pt x="474" y="350"/>
                  <a:pt x="473" y="351"/>
                </a:cubicBezTo>
                <a:cubicBezTo>
                  <a:pt x="472" y="352"/>
                  <a:pt x="472" y="354"/>
                  <a:pt x="476" y="354"/>
                </a:cubicBezTo>
                <a:cubicBezTo>
                  <a:pt x="472" y="359"/>
                  <a:pt x="472" y="359"/>
                  <a:pt x="472" y="359"/>
                </a:cubicBezTo>
                <a:cubicBezTo>
                  <a:pt x="470" y="359"/>
                  <a:pt x="467" y="359"/>
                  <a:pt x="466" y="360"/>
                </a:cubicBezTo>
                <a:cubicBezTo>
                  <a:pt x="463" y="360"/>
                  <a:pt x="459" y="360"/>
                  <a:pt x="456" y="361"/>
                </a:cubicBezTo>
                <a:cubicBezTo>
                  <a:pt x="453" y="362"/>
                  <a:pt x="448" y="367"/>
                  <a:pt x="446" y="367"/>
                </a:cubicBezTo>
                <a:cubicBezTo>
                  <a:pt x="446" y="367"/>
                  <a:pt x="445" y="367"/>
                  <a:pt x="444" y="367"/>
                </a:cubicBezTo>
                <a:cubicBezTo>
                  <a:pt x="448" y="358"/>
                  <a:pt x="448" y="358"/>
                  <a:pt x="448" y="358"/>
                </a:cubicBezTo>
                <a:cubicBezTo>
                  <a:pt x="450" y="360"/>
                  <a:pt x="451" y="357"/>
                  <a:pt x="453" y="356"/>
                </a:cubicBezTo>
                <a:cubicBezTo>
                  <a:pt x="455" y="356"/>
                  <a:pt x="455" y="348"/>
                  <a:pt x="455" y="346"/>
                </a:cubicBezTo>
                <a:cubicBezTo>
                  <a:pt x="456" y="344"/>
                  <a:pt x="455" y="339"/>
                  <a:pt x="457" y="339"/>
                </a:cubicBezTo>
                <a:cubicBezTo>
                  <a:pt x="459" y="338"/>
                  <a:pt x="462" y="344"/>
                  <a:pt x="465" y="345"/>
                </a:cubicBezTo>
                <a:cubicBezTo>
                  <a:pt x="468" y="346"/>
                  <a:pt x="468" y="344"/>
                  <a:pt x="468" y="342"/>
                </a:cubicBezTo>
                <a:cubicBezTo>
                  <a:pt x="469" y="341"/>
                  <a:pt x="463" y="331"/>
                  <a:pt x="461" y="331"/>
                </a:cubicBezTo>
                <a:cubicBezTo>
                  <a:pt x="460" y="331"/>
                  <a:pt x="455" y="329"/>
                  <a:pt x="454" y="329"/>
                </a:cubicBezTo>
                <a:cubicBezTo>
                  <a:pt x="452" y="329"/>
                  <a:pt x="453" y="333"/>
                  <a:pt x="451" y="333"/>
                </a:cubicBezTo>
                <a:cubicBezTo>
                  <a:pt x="449" y="333"/>
                  <a:pt x="443" y="332"/>
                  <a:pt x="440" y="332"/>
                </a:cubicBezTo>
                <a:cubicBezTo>
                  <a:pt x="432" y="325"/>
                  <a:pt x="432" y="325"/>
                  <a:pt x="432" y="325"/>
                </a:cubicBezTo>
                <a:cubicBezTo>
                  <a:pt x="434" y="325"/>
                  <a:pt x="431" y="321"/>
                  <a:pt x="431" y="319"/>
                </a:cubicBezTo>
                <a:cubicBezTo>
                  <a:pt x="431" y="317"/>
                  <a:pt x="431" y="312"/>
                  <a:pt x="430" y="312"/>
                </a:cubicBezTo>
                <a:cubicBezTo>
                  <a:pt x="429" y="312"/>
                  <a:pt x="422" y="312"/>
                  <a:pt x="421" y="311"/>
                </a:cubicBezTo>
                <a:cubicBezTo>
                  <a:pt x="419" y="310"/>
                  <a:pt x="420" y="303"/>
                  <a:pt x="417" y="303"/>
                </a:cubicBezTo>
                <a:cubicBezTo>
                  <a:pt x="415" y="303"/>
                  <a:pt x="409" y="302"/>
                  <a:pt x="407" y="301"/>
                </a:cubicBezTo>
                <a:cubicBezTo>
                  <a:pt x="404" y="300"/>
                  <a:pt x="402" y="302"/>
                  <a:pt x="401" y="303"/>
                </a:cubicBezTo>
                <a:cubicBezTo>
                  <a:pt x="401" y="304"/>
                  <a:pt x="395" y="308"/>
                  <a:pt x="394" y="310"/>
                </a:cubicBezTo>
                <a:cubicBezTo>
                  <a:pt x="394" y="310"/>
                  <a:pt x="393" y="311"/>
                  <a:pt x="392" y="311"/>
                </a:cubicBezTo>
                <a:cubicBezTo>
                  <a:pt x="392" y="311"/>
                  <a:pt x="392" y="311"/>
                  <a:pt x="392" y="311"/>
                </a:cubicBezTo>
                <a:cubicBezTo>
                  <a:pt x="392" y="311"/>
                  <a:pt x="388" y="307"/>
                  <a:pt x="386" y="308"/>
                </a:cubicBezTo>
                <a:cubicBezTo>
                  <a:pt x="385" y="308"/>
                  <a:pt x="380" y="309"/>
                  <a:pt x="376" y="308"/>
                </a:cubicBezTo>
                <a:cubicBezTo>
                  <a:pt x="373" y="307"/>
                  <a:pt x="362" y="306"/>
                  <a:pt x="361" y="306"/>
                </a:cubicBezTo>
                <a:cubicBezTo>
                  <a:pt x="360" y="306"/>
                  <a:pt x="356" y="298"/>
                  <a:pt x="356" y="297"/>
                </a:cubicBezTo>
                <a:cubicBezTo>
                  <a:pt x="356" y="296"/>
                  <a:pt x="350" y="295"/>
                  <a:pt x="350" y="295"/>
                </a:cubicBezTo>
                <a:cubicBezTo>
                  <a:pt x="350" y="295"/>
                  <a:pt x="350" y="301"/>
                  <a:pt x="348" y="301"/>
                </a:cubicBezTo>
                <a:cubicBezTo>
                  <a:pt x="142" y="301"/>
                  <a:pt x="142" y="301"/>
                  <a:pt x="142" y="301"/>
                </a:cubicBezTo>
                <a:cubicBezTo>
                  <a:pt x="142" y="301"/>
                  <a:pt x="142" y="301"/>
                  <a:pt x="142" y="301"/>
                </a:cubicBezTo>
                <a:cubicBezTo>
                  <a:pt x="142" y="301"/>
                  <a:pt x="142" y="301"/>
                  <a:pt x="142" y="300"/>
                </a:cubicBezTo>
                <a:cubicBezTo>
                  <a:pt x="141" y="299"/>
                  <a:pt x="139" y="295"/>
                  <a:pt x="137" y="295"/>
                </a:cubicBezTo>
                <a:cubicBezTo>
                  <a:pt x="135" y="295"/>
                  <a:pt x="132" y="295"/>
                  <a:pt x="129" y="294"/>
                </a:cubicBezTo>
                <a:cubicBezTo>
                  <a:pt x="126" y="292"/>
                  <a:pt x="123" y="289"/>
                  <a:pt x="122" y="288"/>
                </a:cubicBezTo>
                <a:cubicBezTo>
                  <a:pt x="122" y="287"/>
                  <a:pt x="116" y="285"/>
                  <a:pt x="115" y="284"/>
                </a:cubicBezTo>
                <a:cubicBezTo>
                  <a:pt x="114" y="284"/>
                  <a:pt x="110" y="282"/>
                  <a:pt x="110" y="282"/>
                </a:cubicBezTo>
                <a:cubicBezTo>
                  <a:pt x="109" y="281"/>
                  <a:pt x="106" y="279"/>
                  <a:pt x="104" y="279"/>
                </a:cubicBezTo>
                <a:cubicBezTo>
                  <a:pt x="103" y="278"/>
                  <a:pt x="102" y="277"/>
                  <a:pt x="100" y="275"/>
                </a:cubicBezTo>
                <a:cubicBezTo>
                  <a:pt x="97" y="273"/>
                  <a:pt x="97" y="270"/>
                  <a:pt x="96" y="268"/>
                </a:cubicBezTo>
                <a:cubicBezTo>
                  <a:pt x="96" y="266"/>
                  <a:pt x="92" y="263"/>
                  <a:pt x="91" y="261"/>
                </a:cubicBezTo>
                <a:cubicBezTo>
                  <a:pt x="90" y="260"/>
                  <a:pt x="87" y="259"/>
                  <a:pt x="84" y="258"/>
                </a:cubicBezTo>
                <a:cubicBezTo>
                  <a:pt x="81" y="257"/>
                  <a:pt x="81" y="253"/>
                  <a:pt x="80" y="252"/>
                </a:cubicBezTo>
                <a:cubicBezTo>
                  <a:pt x="78" y="250"/>
                  <a:pt x="80" y="250"/>
                  <a:pt x="81" y="249"/>
                </a:cubicBezTo>
                <a:cubicBezTo>
                  <a:pt x="82" y="249"/>
                  <a:pt x="84" y="244"/>
                  <a:pt x="84" y="243"/>
                </a:cubicBezTo>
                <a:cubicBezTo>
                  <a:pt x="84" y="242"/>
                  <a:pt x="84" y="241"/>
                  <a:pt x="82" y="240"/>
                </a:cubicBezTo>
                <a:cubicBezTo>
                  <a:pt x="81" y="239"/>
                  <a:pt x="79" y="242"/>
                  <a:pt x="78" y="241"/>
                </a:cubicBezTo>
                <a:cubicBezTo>
                  <a:pt x="77" y="240"/>
                  <a:pt x="78" y="235"/>
                  <a:pt x="78" y="233"/>
                </a:cubicBezTo>
                <a:cubicBezTo>
                  <a:pt x="78" y="231"/>
                  <a:pt x="76" y="229"/>
                  <a:pt x="74" y="229"/>
                </a:cubicBezTo>
                <a:cubicBezTo>
                  <a:pt x="72" y="228"/>
                  <a:pt x="72" y="234"/>
                  <a:pt x="70" y="234"/>
                </a:cubicBezTo>
                <a:cubicBezTo>
                  <a:pt x="69" y="235"/>
                  <a:pt x="68" y="233"/>
                  <a:pt x="66" y="232"/>
                </a:cubicBezTo>
                <a:cubicBezTo>
                  <a:pt x="66" y="231"/>
                  <a:pt x="62" y="225"/>
                  <a:pt x="62" y="223"/>
                </a:cubicBezTo>
                <a:cubicBezTo>
                  <a:pt x="61" y="220"/>
                  <a:pt x="62" y="219"/>
                  <a:pt x="60" y="218"/>
                </a:cubicBezTo>
                <a:cubicBezTo>
                  <a:pt x="59" y="216"/>
                  <a:pt x="59" y="213"/>
                  <a:pt x="58" y="212"/>
                </a:cubicBezTo>
                <a:cubicBezTo>
                  <a:pt x="58" y="211"/>
                  <a:pt x="54" y="205"/>
                  <a:pt x="52" y="204"/>
                </a:cubicBezTo>
                <a:cubicBezTo>
                  <a:pt x="51" y="203"/>
                  <a:pt x="48" y="194"/>
                  <a:pt x="47" y="193"/>
                </a:cubicBezTo>
                <a:cubicBezTo>
                  <a:pt x="46" y="192"/>
                  <a:pt x="46" y="192"/>
                  <a:pt x="45" y="192"/>
                </a:cubicBezTo>
                <a:cubicBezTo>
                  <a:pt x="45" y="192"/>
                  <a:pt x="45" y="185"/>
                  <a:pt x="43" y="185"/>
                </a:cubicBezTo>
                <a:cubicBezTo>
                  <a:pt x="41" y="184"/>
                  <a:pt x="38" y="186"/>
                  <a:pt x="37" y="186"/>
                </a:cubicBezTo>
                <a:cubicBezTo>
                  <a:pt x="36" y="186"/>
                  <a:pt x="29" y="194"/>
                  <a:pt x="29" y="194"/>
                </a:cubicBezTo>
                <a:cubicBezTo>
                  <a:pt x="29" y="193"/>
                  <a:pt x="26" y="190"/>
                  <a:pt x="25" y="190"/>
                </a:cubicBezTo>
                <a:cubicBezTo>
                  <a:pt x="24" y="189"/>
                  <a:pt x="17" y="183"/>
                  <a:pt x="17" y="183"/>
                </a:cubicBezTo>
                <a:cubicBezTo>
                  <a:pt x="17" y="182"/>
                  <a:pt x="19" y="178"/>
                  <a:pt x="18" y="177"/>
                </a:cubicBezTo>
                <a:cubicBezTo>
                  <a:pt x="16" y="176"/>
                  <a:pt x="9" y="178"/>
                  <a:pt x="8" y="177"/>
                </a:cubicBezTo>
                <a:cubicBezTo>
                  <a:pt x="7" y="177"/>
                  <a:pt x="1" y="175"/>
                  <a:pt x="1" y="175"/>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6" name="Freeform 480"/>
          <p:cNvSpPr>
            <a:spLocks/>
          </p:cNvSpPr>
          <p:nvPr>
            <p:custDataLst>
              <p:tags r:id="rId32"/>
            </p:custDataLst>
          </p:nvPr>
        </p:nvSpPr>
        <p:spPr bwMode="auto">
          <a:xfrm>
            <a:off x="2778733" y="2542171"/>
            <a:ext cx="38634" cy="35122"/>
          </a:xfrm>
          <a:custGeom>
            <a:avLst/>
            <a:gdLst>
              <a:gd name="T0" fmla="*/ 21492 w 13"/>
              <a:gd name="T1" fmla="*/ 8659 h 11"/>
              <a:gd name="T2" fmla="*/ 32238 w 13"/>
              <a:gd name="T3" fmla="*/ 25977 h 11"/>
              <a:gd name="T4" fmla="*/ 16119 w 13"/>
              <a:gd name="T5" fmla="*/ 20205 h 11"/>
              <a:gd name="T6" fmla="*/ 13433 w 13"/>
              <a:gd name="T7" fmla="*/ 31750 h 11"/>
              <a:gd name="T8" fmla="*/ 0 w 13"/>
              <a:gd name="T9" fmla="*/ 5773 h 11"/>
              <a:gd name="T10" fmla="*/ 10746 w 13"/>
              <a:gd name="T11" fmla="*/ 0 h 11"/>
              <a:gd name="T12" fmla="*/ 21492 w 13"/>
              <a:gd name="T13" fmla="*/ 8659 h 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1">
                <a:moveTo>
                  <a:pt x="8" y="3"/>
                </a:moveTo>
                <a:cubicBezTo>
                  <a:pt x="9" y="4"/>
                  <a:pt x="13" y="8"/>
                  <a:pt x="12" y="9"/>
                </a:cubicBezTo>
                <a:cubicBezTo>
                  <a:pt x="12" y="10"/>
                  <a:pt x="7" y="7"/>
                  <a:pt x="6" y="7"/>
                </a:cubicBezTo>
                <a:cubicBezTo>
                  <a:pt x="6" y="7"/>
                  <a:pt x="6" y="11"/>
                  <a:pt x="5" y="11"/>
                </a:cubicBezTo>
                <a:cubicBezTo>
                  <a:pt x="3" y="10"/>
                  <a:pt x="0" y="2"/>
                  <a:pt x="0" y="2"/>
                </a:cubicBezTo>
                <a:cubicBezTo>
                  <a:pt x="1" y="1"/>
                  <a:pt x="3" y="0"/>
                  <a:pt x="4" y="0"/>
                </a:cubicBezTo>
                <a:cubicBezTo>
                  <a:pt x="5" y="1"/>
                  <a:pt x="7" y="2"/>
                  <a:pt x="8" y="3"/>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7" name="Freeform 481"/>
          <p:cNvSpPr>
            <a:spLocks/>
          </p:cNvSpPr>
          <p:nvPr>
            <p:custDataLst>
              <p:tags r:id="rId33"/>
            </p:custDataLst>
          </p:nvPr>
        </p:nvSpPr>
        <p:spPr bwMode="auto">
          <a:xfrm>
            <a:off x="2757661" y="2500024"/>
            <a:ext cx="19317" cy="35122"/>
          </a:xfrm>
          <a:custGeom>
            <a:avLst/>
            <a:gdLst>
              <a:gd name="T0" fmla="*/ 2911 w 6"/>
              <a:gd name="T1" fmla="*/ 17318 h 11"/>
              <a:gd name="T2" fmla="*/ 5821 w 6"/>
              <a:gd name="T3" fmla="*/ 0 h 11"/>
              <a:gd name="T4" fmla="*/ 14553 w 6"/>
              <a:gd name="T5" fmla="*/ 2886 h 11"/>
              <a:gd name="T6" fmla="*/ 14553 w 6"/>
              <a:gd name="T7" fmla="*/ 25977 h 11"/>
              <a:gd name="T8" fmla="*/ 2911 w 6"/>
              <a:gd name="T9" fmla="*/ 31750 h 11"/>
              <a:gd name="T10" fmla="*/ 2911 w 6"/>
              <a:gd name="T11" fmla="*/ 17318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1" y="6"/>
                </a:moveTo>
                <a:cubicBezTo>
                  <a:pt x="1" y="4"/>
                  <a:pt x="2" y="0"/>
                  <a:pt x="2" y="0"/>
                </a:cubicBezTo>
                <a:cubicBezTo>
                  <a:pt x="3" y="0"/>
                  <a:pt x="5" y="0"/>
                  <a:pt x="5" y="1"/>
                </a:cubicBezTo>
                <a:cubicBezTo>
                  <a:pt x="6" y="2"/>
                  <a:pt x="5" y="8"/>
                  <a:pt x="5" y="9"/>
                </a:cubicBezTo>
                <a:cubicBezTo>
                  <a:pt x="5" y="10"/>
                  <a:pt x="3" y="11"/>
                  <a:pt x="1" y="11"/>
                </a:cubicBezTo>
                <a:cubicBezTo>
                  <a:pt x="0" y="11"/>
                  <a:pt x="1" y="7"/>
                  <a:pt x="1" y="6"/>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8" name="Freeform 482"/>
          <p:cNvSpPr>
            <a:spLocks/>
          </p:cNvSpPr>
          <p:nvPr>
            <p:custDataLst>
              <p:tags r:id="rId34"/>
            </p:custDataLst>
          </p:nvPr>
        </p:nvSpPr>
        <p:spPr bwMode="auto">
          <a:xfrm>
            <a:off x="2745368" y="2449098"/>
            <a:ext cx="24585" cy="36878"/>
          </a:xfrm>
          <a:custGeom>
            <a:avLst/>
            <a:gdLst>
              <a:gd name="T0" fmla="*/ 16669 w 8"/>
              <a:gd name="T1" fmla="*/ 13891 h 12"/>
              <a:gd name="T2" fmla="*/ 19447 w 8"/>
              <a:gd name="T3" fmla="*/ 25004 h 12"/>
              <a:gd name="T4" fmla="*/ 5556 w 8"/>
              <a:gd name="T5" fmla="*/ 33338 h 12"/>
              <a:gd name="T6" fmla="*/ 5556 w 8"/>
              <a:gd name="T7" fmla="*/ 19447 h 12"/>
              <a:gd name="T8" fmla="*/ 2778 w 8"/>
              <a:gd name="T9" fmla="*/ 0 h 12"/>
              <a:gd name="T10" fmla="*/ 16669 w 8"/>
              <a:gd name="T11" fmla="*/ 13891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2">
                <a:moveTo>
                  <a:pt x="6" y="5"/>
                </a:moveTo>
                <a:cubicBezTo>
                  <a:pt x="6" y="5"/>
                  <a:pt x="8" y="9"/>
                  <a:pt x="7" y="9"/>
                </a:cubicBezTo>
                <a:cubicBezTo>
                  <a:pt x="7" y="10"/>
                  <a:pt x="3" y="12"/>
                  <a:pt x="2" y="12"/>
                </a:cubicBezTo>
                <a:cubicBezTo>
                  <a:pt x="2" y="11"/>
                  <a:pt x="2" y="8"/>
                  <a:pt x="2" y="7"/>
                </a:cubicBezTo>
                <a:cubicBezTo>
                  <a:pt x="2" y="6"/>
                  <a:pt x="0" y="0"/>
                  <a:pt x="1" y="0"/>
                </a:cubicBezTo>
                <a:cubicBezTo>
                  <a:pt x="2" y="0"/>
                  <a:pt x="6" y="5"/>
                  <a:pt x="6" y="5"/>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39" name="Freeform 483"/>
          <p:cNvSpPr>
            <a:spLocks/>
          </p:cNvSpPr>
          <p:nvPr>
            <p:custDataLst>
              <p:tags r:id="rId35"/>
            </p:custDataLst>
          </p:nvPr>
        </p:nvSpPr>
        <p:spPr bwMode="auto">
          <a:xfrm>
            <a:off x="2704977" y="2461390"/>
            <a:ext cx="38634" cy="64976"/>
          </a:xfrm>
          <a:custGeom>
            <a:avLst/>
            <a:gdLst>
              <a:gd name="T0" fmla="*/ 21492 w 13"/>
              <a:gd name="T1" fmla="*/ 26432 h 20"/>
              <a:gd name="T2" fmla="*/ 8060 w 13"/>
              <a:gd name="T3" fmla="*/ 23495 h 20"/>
              <a:gd name="T4" fmla="*/ 0 w 13"/>
              <a:gd name="T5" fmla="*/ 5874 h 20"/>
              <a:gd name="T6" fmla="*/ 16119 w 13"/>
              <a:gd name="T7" fmla="*/ 0 h 20"/>
              <a:gd name="T8" fmla="*/ 24179 w 13"/>
              <a:gd name="T9" fmla="*/ 0 h 20"/>
              <a:gd name="T10" fmla="*/ 29552 w 13"/>
              <a:gd name="T11" fmla="*/ 26432 h 20"/>
              <a:gd name="T12" fmla="*/ 34925 w 13"/>
              <a:gd name="T13" fmla="*/ 52864 h 20"/>
              <a:gd name="T14" fmla="*/ 34925 w 13"/>
              <a:gd name="T15" fmla="*/ 58738 h 20"/>
              <a:gd name="T16" fmla="*/ 21492 w 13"/>
              <a:gd name="T17" fmla="*/ 38180 h 20"/>
              <a:gd name="T18" fmla="*/ 21492 w 13"/>
              <a:gd name="T19" fmla="*/ 26432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0">
                <a:moveTo>
                  <a:pt x="8" y="9"/>
                </a:moveTo>
                <a:cubicBezTo>
                  <a:pt x="7" y="9"/>
                  <a:pt x="3" y="9"/>
                  <a:pt x="3" y="8"/>
                </a:cubicBezTo>
                <a:cubicBezTo>
                  <a:pt x="3" y="6"/>
                  <a:pt x="0" y="2"/>
                  <a:pt x="0" y="2"/>
                </a:cubicBezTo>
                <a:cubicBezTo>
                  <a:pt x="0" y="1"/>
                  <a:pt x="5" y="0"/>
                  <a:pt x="6" y="0"/>
                </a:cubicBezTo>
                <a:cubicBezTo>
                  <a:pt x="7" y="0"/>
                  <a:pt x="9" y="0"/>
                  <a:pt x="9" y="0"/>
                </a:cubicBezTo>
                <a:cubicBezTo>
                  <a:pt x="9" y="1"/>
                  <a:pt x="11" y="8"/>
                  <a:pt x="11" y="9"/>
                </a:cubicBezTo>
                <a:cubicBezTo>
                  <a:pt x="11" y="10"/>
                  <a:pt x="13" y="18"/>
                  <a:pt x="13" y="18"/>
                </a:cubicBezTo>
                <a:cubicBezTo>
                  <a:pt x="13" y="20"/>
                  <a:pt x="13" y="20"/>
                  <a:pt x="13" y="20"/>
                </a:cubicBezTo>
                <a:cubicBezTo>
                  <a:pt x="12" y="20"/>
                  <a:pt x="8" y="14"/>
                  <a:pt x="8" y="13"/>
                </a:cubicBezTo>
                <a:cubicBezTo>
                  <a:pt x="7" y="12"/>
                  <a:pt x="9" y="10"/>
                  <a:pt x="8" y="9"/>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0" name="Freeform 266"/>
          <p:cNvSpPr>
            <a:spLocks/>
          </p:cNvSpPr>
          <p:nvPr>
            <p:custDataLst>
              <p:tags r:id="rId36"/>
            </p:custDataLst>
          </p:nvPr>
        </p:nvSpPr>
        <p:spPr bwMode="auto">
          <a:xfrm>
            <a:off x="5423415" y="1716805"/>
            <a:ext cx="35122" cy="29854"/>
          </a:xfrm>
          <a:custGeom>
            <a:avLst/>
            <a:gdLst>
              <a:gd name="T0" fmla="*/ 2646 w 12"/>
              <a:gd name="T1" fmla="*/ 20991 h 9"/>
              <a:gd name="T2" fmla="*/ 2646 w 12"/>
              <a:gd name="T3" fmla="*/ 2999 h 9"/>
              <a:gd name="T4" fmla="*/ 15875 w 12"/>
              <a:gd name="T5" fmla="*/ 0 h 9"/>
              <a:gd name="T6" fmla="*/ 29104 w 12"/>
              <a:gd name="T7" fmla="*/ 14993 h 9"/>
              <a:gd name="T8" fmla="*/ 21167 w 12"/>
              <a:gd name="T9" fmla="*/ 26988 h 9"/>
              <a:gd name="T10" fmla="*/ 2646 w 12"/>
              <a:gd name="T11" fmla="*/ 20991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 y="7"/>
                </a:moveTo>
                <a:cubicBezTo>
                  <a:pt x="1" y="6"/>
                  <a:pt x="0" y="1"/>
                  <a:pt x="1" y="1"/>
                </a:cubicBezTo>
                <a:cubicBezTo>
                  <a:pt x="2" y="1"/>
                  <a:pt x="6" y="0"/>
                  <a:pt x="6" y="0"/>
                </a:cubicBezTo>
                <a:cubicBezTo>
                  <a:pt x="6" y="0"/>
                  <a:pt x="9" y="4"/>
                  <a:pt x="11" y="5"/>
                </a:cubicBezTo>
                <a:cubicBezTo>
                  <a:pt x="12" y="5"/>
                  <a:pt x="10" y="9"/>
                  <a:pt x="8" y="9"/>
                </a:cubicBezTo>
                <a:cubicBezTo>
                  <a:pt x="7" y="8"/>
                  <a:pt x="1" y="8"/>
                  <a:pt x="1" y="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1" name="Freeform 267"/>
          <p:cNvSpPr>
            <a:spLocks/>
          </p:cNvSpPr>
          <p:nvPr>
            <p:custDataLst>
              <p:tags r:id="rId37"/>
            </p:custDataLst>
          </p:nvPr>
        </p:nvSpPr>
        <p:spPr bwMode="auto">
          <a:xfrm>
            <a:off x="5402343" y="1530660"/>
            <a:ext cx="52683" cy="61463"/>
          </a:xfrm>
          <a:custGeom>
            <a:avLst/>
            <a:gdLst>
              <a:gd name="T0" fmla="*/ 5292 w 18"/>
              <a:gd name="T1" fmla="*/ 49714 h 19"/>
              <a:gd name="T2" fmla="*/ 7938 w 18"/>
              <a:gd name="T3" fmla="*/ 35092 h 19"/>
              <a:gd name="T4" fmla="*/ 15875 w 18"/>
              <a:gd name="T5" fmla="*/ 32168 h 19"/>
              <a:gd name="T6" fmla="*/ 23813 w 18"/>
              <a:gd name="T7" fmla="*/ 17546 h 19"/>
              <a:gd name="T8" fmla="*/ 44979 w 18"/>
              <a:gd name="T9" fmla="*/ 2924 h 19"/>
              <a:gd name="T10" fmla="*/ 31750 w 18"/>
              <a:gd name="T11" fmla="*/ 26319 h 19"/>
              <a:gd name="T12" fmla="*/ 18521 w 18"/>
              <a:gd name="T13" fmla="*/ 52639 h 19"/>
              <a:gd name="T14" fmla="*/ 5292 w 18"/>
              <a:gd name="T15" fmla="*/ 49714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 h="19">
                <a:moveTo>
                  <a:pt x="2" y="17"/>
                </a:moveTo>
                <a:cubicBezTo>
                  <a:pt x="0" y="17"/>
                  <a:pt x="2" y="13"/>
                  <a:pt x="3" y="12"/>
                </a:cubicBezTo>
                <a:cubicBezTo>
                  <a:pt x="3" y="12"/>
                  <a:pt x="5" y="11"/>
                  <a:pt x="6" y="11"/>
                </a:cubicBezTo>
                <a:cubicBezTo>
                  <a:pt x="7" y="11"/>
                  <a:pt x="8" y="8"/>
                  <a:pt x="9" y="6"/>
                </a:cubicBezTo>
                <a:cubicBezTo>
                  <a:pt x="10" y="4"/>
                  <a:pt x="16" y="0"/>
                  <a:pt x="17" y="1"/>
                </a:cubicBezTo>
                <a:cubicBezTo>
                  <a:pt x="18" y="2"/>
                  <a:pt x="14" y="7"/>
                  <a:pt x="12" y="9"/>
                </a:cubicBezTo>
                <a:cubicBezTo>
                  <a:pt x="11" y="10"/>
                  <a:pt x="8" y="17"/>
                  <a:pt x="7" y="18"/>
                </a:cubicBezTo>
                <a:cubicBezTo>
                  <a:pt x="6" y="19"/>
                  <a:pt x="4" y="17"/>
                  <a:pt x="2" y="1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2" name="Freeform 412"/>
          <p:cNvSpPr>
            <a:spLocks/>
          </p:cNvSpPr>
          <p:nvPr>
            <p:custDataLst>
              <p:tags r:id="rId38"/>
            </p:custDataLst>
          </p:nvPr>
        </p:nvSpPr>
        <p:spPr bwMode="auto">
          <a:xfrm>
            <a:off x="4591025" y="1964416"/>
            <a:ext cx="68488" cy="45659"/>
          </a:xfrm>
          <a:custGeom>
            <a:avLst/>
            <a:gdLst>
              <a:gd name="T0" fmla="*/ 22514 w 22"/>
              <a:gd name="T1" fmla="*/ 41275 h 14"/>
              <a:gd name="T2" fmla="*/ 2814 w 22"/>
              <a:gd name="T3" fmla="*/ 29482 h 14"/>
              <a:gd name="T4" fmla="*/ 0 w 22"/>
              <a:gd name="T5" fmla="*/ 14741 h 14"/>
              <a:gd name="T6" fmla="*/ 5628 w 22"/>
              <a:gd name="T7" fmla="*/ 0 h 14"/>
              <a:gd name="T8" fmla="*/ 16885 w 22"/>
              <a:gd name="T9" fmla="*/ 5896 h 14"/>
              <a:gd name="T10" fmla="*/ 28142 w 22"/>
              <a:gd name="T11" fmla="*/ 11793 h 14"/>
              <a:gd name="T12" fmla="*/ 45028 w 22"/>
              <a:gd name="T13" fmla="*/ 20638 h 14"/>
              <a:gd name="T14" fmla="*/ 61913 w 22"/>
              <a:gd name="T15" fmla="*/ 23586 h 14"/>
              <a:gd name="T16" fmla="*/ 59099 w 22"/>
              <a:gd name="T17" fmla="*/ 35379 h 14"/>
              <a:gd name="T18" fmla="*/ 22514 w 22"/>
              <a:gd name="T19" fmla="*/ 41275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14">
                <a:moveTo>
                  <a:pt x="8" y="14"/>
                </a:moveTo>
                <a:cubicBezTo>
                  <a:pt x="6" y="14"/>
                  <a:pt x="5" y="10"/>
                  <a:pt x="1" y="10"/>
                </a:cubicBezTo>
                <a:cubicBezTo>
                  <a:pt x="0" y="10"/>
                  <a:pt x="0" y="9"/>
                  <a:pt x="0" y="5"/>
                </a:cubicBezTo>
                <a:cubicBezTo>
                  <a:pt x="0" y="1"/>
                  <a:pt x="0" y="0"/>
                  <a:pt x="2" y="0"/>
                </a:cubicBezTo>
                <a:cubicBezTo>
                  <a:pt x="2" y="0"/>
                  <a:pt x="5" y="2"/>
                  <a:pt x="6" y="2"/>
                </a:cubicBezTo>
                <a:cubicBezTo>
                  <a:pt x="6" y="2"/>
                  <a:pt x="7" y="3"/>
                  <a:pt x="10" y="4"/>
                </a:cubicBezTo>
                <a:cubicBezTo>
                  <a:pt x="12" y="5"/>
                  <a:pt x="14" y="6"/>
                  <a:pt x="16" y="7"/>
                </a:cubicBezTo>
                <a:cubicBezTo>
                  <a:pt x="18" y="9"/>
                  <a:pt x="22" y="7"/>
                  <a:pt x="22" y="8"/>
                </a:cubicBezTo>
                <a:cubicBezTo>
                  <a:pt x="22" y="9"/>
                  <a:pt x="22" y="11"/>
                  <a:pt x="21" y="12"/>
                </a:cubicBezTo>
                <a:cubicBezTo>
                  <a:pt x="20" y="12"/>
                  <a:pt x="10" y="14"/>
                  <a:pt x="8" y="1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3" name="Freeform 413"/>
          <p:cNvSpPr>
            <a:spLocks/>
          </p:cNvSpPr>
          <p:nvPr>
            <p:custDataLst>
              <p:tags r:id="rId39"/>
            </p:custDataLst>
          </p:nvPr>
        </p:nvSpPr>
        <p:spPr bwMode="auto">
          <a:xfrm>
            <a:off x="4173074" y="1269000"/>
            <a:ext cx="1413658" cy="1116878"/>
          </a:xfrm>
          <a:custGeom>
            <a:avLst/>
            <a:gdLst>
              <a:gd name="T0" fmla="*/ 103323 w 470"/>
              <a:gd name="T1" fmla="*/ 314243 h 347"/>
              <a:gd name="T2" fmla="*/ 62537 w 470"/>
              <a:gd name="T3" fmla="*/ 256050 h 347"/>
              <a:gd name="T4" fmla="*/ 122356 w 470"/>
              <a:gd name="T5" fmla="*/ 192037 h 347"/>
              <a:gd name="T6" fmla="*/ 236554 w 470"/>
              <a:gd name="T7" fmla="*/ 139663 h 347"/>
              <a:gd name="T8" fmla="*/ 269183 w 470"/>
              <a:gd name="T9" fmla="*/ 93109 h 347"/>
              <a:gd name="T10" fmla="*/ 296373 w 470"/>
              <a:gd name="T11" fmla="*/ 84380 h 347"/>
              <a:gd name="T12" fmla="*/ 396976 w 470"/>
              <a:gd name="T13" fmla="*/ 113477 h 347"/>
              <a:gd name="T14" fmla="*/ 410572 w 470"/>
              <a:gd name="T15" fmla="*/ 69832 h 347"/>
              <a:gd name="T16" fmla="*/ 486704 w 470"/>
              <a:gd name="T17" fmla="*/ 93109 h 347"/>
              <a:gd name="T18" fmla="*/ 579151 w 470"/>
              <a:gd name="T19" fmla="*/ 104748 h 347"/>
              <a:gd name="T20" fmla="*/ 524770 w 470"/>
              <a:gd name="T21" fmla="*/ 52374 h 347"/>
              <a:gd name="T22" fmla="*/ 581870 w 470"/>
              <a:gd name="T23" fmla="*/ 46554 h 347"/>
              <a:gd name="T24" fmla="*/ 644407 w 470"/>
              <a:gd name="T25" fmla="*/ 34916 h 347"/>
              <a:gd name="T26" fmla="*/ 747730 w 470"/>
              <a:gd name="T27" fmla="*/ 2910 h 347"/>
              <a:gd name="T28" fmla="*/ 978846 w 470"/>
              <a:gd name="T29" fmla="*/ 14548 h 347"/>
              <a:gd name="T30" fmla="*/ 1054979 w 470"/>
              <a:gd name="T31" fmla="*/ 66922 h 347"/>
              <a:gd name="T32" fmla="*/ 832019 w 470"/>
              <a:gd name="T33" fmla="*/ 93109 h 347"/>
              <a:gd name="T34" fmla="*/ 910871 w 470"/>
              <a:gd name="T35" fmla="*/ 104748 h 347"/>
              <a:gd name="T36" fmla="*/ 959813 w 470"/>
              <a:gd name="T37" fmla="*/ 113477 h 347"/>
              <a:gd name="T38" fmla="*/ 1071293 w 470"/>
              <a:gd name="T39" fmla="*/ 84380 h 347"/>
              <a:gd name="T40" fmla="*/ 1044103 w 470"/>
              <a:gd name="T41" fmla="*/ 151302 h 347"/>
              <a:gd name="T42" fmla="*/ 1180053 w 470"/>
              <a:gd name="T43" fmla="*/ 98928 h 347"/>
              <a:gd name="T44" fmla="*/ 1237153 w 470"/>
              <a:gd name="T45" fmla="*/ 139663 h 347"/>
              <a:gd name="T46" fmla="*/ 1117516 w 470"/>
              <a:gd name="T47" fmla="*/ 160031 h 347"/>
              <a:gd name="T48" fmla="*/ 1098483 w 470"/>
              <a:gd name="T49" fmla="*/ 189128 h 347"/>
              <a:gd name="T50" fmla="*/ 1109359 w 470"/>
              <a:gd name="T51" fmla="*/ 221134 h 347"/>
              <a:gd name="T52" fmla="*/ 1087607 w 470"/>
              <a:gd name="T53" fmla="*/ 293875 h 347"/>
              <a:gd name="T54" fmla="*/ 1114797 w 470"/>
              <a:gd name="T55" fmla="*/ 331701 h 347"/>
              <a:gd name="T56" fmla="*/ 1074012 w 470"/>
              <a:gd name="T57" fmla="*/ 343339 h 347"/>
              <a:gd name="T58" fmla="*/ 1112078 w 470"/>
              <a:gd name="T59" fmla="*/ 407352 h 347"/>
              <a:gd name="T60" fmla="*/ 1122954 w 470"/>
              <a:gd name="T61" fmla="*/ 445177 h 347"/>
              <a:gd name="T62" fmla="*/ 1090326 w 470"/>
              <a:gd name="T63" fmla="*/ 500461 h 347"/>
              <a:gd name="T64" fmla="*/ 1035945 w 470"/>
              <a:gd name="T65" fmla="*/ 515009 h 347"/>
              <a:gd name="T66" fmla="*/ 1003317 w 470"/>
              <a:gd name="T67" fmla="*/ 526647 h 347"/>
              <a:gd name="T68" fmla="*/ 1049541 w 470"/>
              <a:gd name="T69" fmla="*/ 567383 h 347"/>
              <a:gd name="T70" fmla="*/ 984284 w 470"/>
              <a:gd name="T71" fmla="*/ 581931 h 347"/>
              <a:gd name="T72" fmla="*/ 1038665 w 470"/>
              <a:gd name="T73" fmla="*/ 640124 h 347"/>
              <a:gd name="T74" fmla="*/ 875523 w 470"/>
              <a:gd name="T75" fmla="*/ 718685 h 347"/>
              <a:gd name="T76" fmla="*/ 761325 w 470"/>
              <a:gd name="T77" fmla="*/ 800155 h 347"/>
              <a:gd name="T78" fmla="*/ 668878 w 470"/>
              <a:gd name="T79" fmla="*/ 832161 h 347"/>
              <a:gd name="T80" fmla="*/ 609060 w 470"/>
              <a:gd name="T81" fmla="*/ 1006740 h 347"/>
              <a:gd name="T82" fmla="*/ 470390 w 470"/>
              <a:gd name="T83" fmla="*/ 922360 h 347"/>
              <a:gd name="T84" fmla="*/ 418729 w 470"/>
              <a:gd name="T85" fmla="*/ 817613 h 347"/>
              <a:gd name="T86" fmla="*/ 399696 w 470"/>
              <a:gd name="T87" fmla="*/ 724504 h 347"/>
              <a:gd name="T88" fmla="*/ 454076 w 470"/>
              <a:gd name="T89" fmla="*/ 704136 h 347"/>
              <a:gd name="T90" fmla="*/ 413291 w 470"/>
              <a:gd name="T91" fmla="*/ 628485 h 347"/>
              <a:gd name="T92" fmla="*/ 437762 w 470"/>
              <a:gd name="T93" fmla="*/ 616847 h 347"/>
              <a:gd name="T94" fmla="*/ 410572 w 470"/>
              <a:gd name="T95" fmla="*/ 567383 h 347"/>
              <a:gd name="T96" fmla="*/ 358910 w 470"/>
              <a:gd name="T97" fmla="*/ 549925 h 347"/>
              <a:gd name="T98" fmla="*/ 320844 w 470"/>
              <a:gd name="T99" fmla="*/ 436448 h 347"/>
              <a:gd name="T100" fmla="*/ 225678 w 470"/>
              <a:gd name="T101" fmla="*/ 378255 h 347"/>
              <a:gd name="T102" fmla="*/ 130513 w 470"/>
              <a:gd name="T103" fmla="*/ 395713 h 3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47">
                <a:moveTo>
                  <a:pt x="24" y="120"/>
                </a:moveTo>
                <a:cubicBezTo>
                  <a:pt x="21" y="120"/>
                  <a:pt x="15" y="119"/>
                  <a:pt x="14" y="118"/>
                </a:cubicBezTo>
                <a:cubicBezTo>
                  <a:pt x="12" y="116"/>
                  <a:pt x="13" y="115"/>
                  <a:pt x="15" y="114"/>
                </a:cubicBezTo>
                <a:cubicBezTo>
                  <a:pt x="16" y="114"/>
                  <a:pt x="34" y="113"/>
                  <a:pt x="35" y="112"/>
                </a:cubicBezTo>
                <a:cubicBezTo>
                  <a:pt x="36" y="112"/>
                  <a:pt x="38" y="110"/>
                  <a:pt x="38" y="108"/>
                </a:cubicBezTo>
                <a:cubicBezTo>
                  <a:pt x="37" y="107"/>
                  <a:pt x="36" y="108"/>
                  <a:pt x="31" y="108"/>
                </a:cubicBezTo>
                <a:cubicBezTo>
                  <a:pt x="27" y="108"/>
                  <a:pt x="22" y="107"/>
                  <a:pt x="20" y="106"/>
                </a:cubicBezTo>
                <a:cubicBezTo>
                  <a:pt x="18" y="104"/>
                  <a:pt x="3" y="101"/>
                  <a:pt x="2" y="99"/>
                </a:cubicBezTo>
                <a:cubicBezTo>
                  <a:pt x="0" y="96"/>
                  <a:pt x="2" y="92"/>
                  <a:pt x="3" y="92"/>
                </a:cubicBezTo>
                <a:cubicBezTo>
                  <a:pt x="5" y="91"/>
                  <a:pt x="20" y="88"/>
                  <a:pt x="23" y="88"/>
                </a:cubicBezTo>
                <a:cubicBezTo>
                  <a:pt x="26" y="87"/>
                  <a:pt x="36" y="82"/>
                  <a:pt x="38" y="82"/>
                </a:cubicBezTo>
                <a:cubicBezTo>
                  <a:pt x="39" y="82"/>
                  <a:pt x="52" y="82"/>
                  <a:pt x="53" y="82"/>
                </a:cubicBezTo>
                <a:cubicBezTo>
                  <a:pt x="55" y="81"/>
                  <a:pt x="62" y="76"/>
                  <a:pt x="62" y="74"/>
                </a:cubicBezTo>
                <a:cubicBezTo>
                  <a:pt x="62" y="72"/>
                  <a:pt x="62" y="66"/>
                  <a:pt x="59" y="66"/>
                </a:cubicBezTo>
                <a:cubicBezTo>
                  <a:pt x="57" y="66"/>
                  <a:pt x="47" y="67"/>
                  <a:pt x="45" y="66"/>
                </a:cubicBezTo>
                <a:cubicBezTo>
                  <a:pt x="44" y="65"/>
                  <a:pt x="43" y="62"/>
                  <a:pt x="44" y="61"/>
                </a:cubicBezTo>
                <a:cubicBezTo>
                  <a:pt x="45" y="60"/>
                  <a:pt x="51" y="57"/>
                  <a:pt x="54" y="56"/>
                </a:cubicBezTo>
                <a:cubicBezTo>
                  <a:pt x="57" y="55"/>
                  <a:pt x="68" y="48"/>
                  <a:pt x="69" y="47"/>
                </a:cubicBezTo>
                <a:cubicBezTo>
                  <a:pt x="71" y="46"/>
                  <a:pt x="77" y="45"/>
                  <a:pt x="79" y="45"/>
                </a:cubicBezTo>
                <a:cubicBezTo>
                  <a:pt x="80" y="46"/>
                  <a:pt x="85" y="48"/>
                  <a:pt x="87" y="48"/>
                </a:cubicBezTo>
                <a:cubicBezTo>
                  <a:pt x="89" y="48"/>
                  <a:pt x="91" y="46"/>
                  <a:pt x="91" y="46"/>
                </a:cubicBezTo>
                <a:cubicBezTo>
                  <a:pt x="91" y="45"/>
                  <a:pt x="89" y="43"/>
                  <a:pt x="89" y="42"/>
                </a:cubicBezTo>
                <a:cubicBezTo>
                  <a:pt x="90" y="41"/>
                  <a:pt x="92" y="40"/>
                  <a:pt x="91" y="38"/>
                </a:cubicBezTo>
                <a:cubicBezTo>
                  <a:pt x="90" y="36"/>
                  <a:pt x="88" y="35"/>
                  <a:pt x="89" y="35"/>
                </a:cubicBezTo>
                <a:cubicBezTo>
                  <a:pt x="90" y="34"/>
                  <a:pt x="96" y="31"/>
                  <a:pt x="99" y="32"/>
                </a:cubicBezTo>
                <a:cubicBezTo>
                  <a:pt x="101" y="32"/>
                  <a:pt x="105" y="32"/>
                  <a:pt x="106" y="33"/>
                </a:cubicBezTo>
                <a:cubicBezTo>
                  <a:pt x="107" y="34"/>
                  <a:pt x="114" y="38"/>
                  <a:pt x="116" y="39"/>
                </a:cubicBezTo>
                <a:cubicBezTo>
                  <a:pt x="117" y="40"/>
                  <a:pt x="122" y="42"/>
                  <a:pt x="123" y="42"/>
                </a:cubicBezTo>
                <a:cubicBezTo>
                  <a:pt x="123" y="42"/>
                  <a:pt x="123" y="39"/>
                  <a:pt x="121" y="37"/>
                </a:cubicBezTo>
                <a:cubicBezTo>
                  <a:pt x="119" y="35"/>
                  <a:pt x="110" y="29"/>
                  <a:pt x="109" y="29"/>
                </a:cubicBezTo>
                <a:cubicBezTo>
                  <a:pt x="108" y="28"/>
                  <a:pt x="115" y="27"/>
                  <a:pt x="117" y="27"/>
                </a:cubicBezTo>
                <a:cubicBezTo>
                  <a:pt x="118" y="27"/>
                  <a:pt x="128" y="26"/>
                  <a:pt x="131" y="26"/>
                </a:cubicBezTo>
                <a:cubicBezTo>
                  <a:pt x="134" y="25"/>
                  <a:pt x="138" y="23"/>
                  <a:pt x="140" y="24"/>
                </a:cubicBezTo>
                <a:cubicBezTo>
                  <a:pt x="142" y="24"/>
                  <a:pt x="147" y="28"/>
                  <a:pt x="147" y="30"/>
                </a:cubicBezTo>
                <a:cubicBezTo>
                  <a:pt x="147" y="31"/>
                  <a:pt x="145" y="37"/>
                  <a:pt x="146" y="39"/>
                </a:cubicBezTo>
                <a:cubicBezTo>
                  <a:pt x="146" y="40"/>
                  <a:pt x="149" y="40"/>
                  <a:pt x="150" y="40"/>
                </a:cubicBezTo>
                <a:cubicBezTo>
                  <a:pt x="151" y="40"/>
                  <a:pt x="152" y="39"/>
                  <a:pt x="151" y="36"/>
                </a:cubicBezTo>
                <a:cubicBezTo>
                  <a:pt x="151" y="34"/>
                  <a:pt x="152" y="33"/>
                  <a:pt x="154" y="32"/>
                </a:cubicBezTo>
                <a:cubicBezTo>
                  <a:pt x="155" y="31"/>
                  <a:pt x="154" y="29"/>
                  <a:pt x="153" y="28"/>
                </a:cubicBezTo>
                <a:cubicBezTo>
                  <a:pt x="153" y="27"/>
                  <a:pt x="150" y="25"/>
                  <a:pt x="151" y="24"/>
                </a:cubicBezTo>
                <a:cubicBezTo>
                  <a:pt x="152" y="23"/>
                  <a:pt x="157" y="24"/>
                  <a:pt x="158" y="25"/>
                </a:cubicBezTo>
                <a:cubicBezTo>
                  <a:pt x="160" y="27"/>
                  <a:pt x="164" y="28"/>
                  <a:pt x="165" y="29"/>
                </a:cubicBezTo>
                <a:cubicBezTo>
                  <a:pt x="165" y="29"/>
                  <a:pt x="168" y="33"/>
                  <a:pt x="169" y="33"/>
                </a:cubicBezTo>
                <a:cubicBezTo>
                  <a:pt x="170" y="34"/>
                  <a:pt x="176" y="36"/>
                  <a:pt x="177" y="37"/>
                </a:cubicBezTo>
                <a:cubicBezTo>
                  <a:pt x="178" y="38"/>
                  <a:pt x="178" y="33"/>
                  <a:pt x="179" y="32"/>
                </a:cubicBezTo>
                <a:cubicBezTo>
                  <a:pt x="180" y="30"/>
                  <a:pt x="175" y="29"/>
                  <a:pt x="173" y="28"/>
                </a:cubicBezTo>
                <a:cubicBezTo>
                  <a:pt x="170" y="27"/>
                  <a:pt x="166" y="22"/>
                  <a:pt x="166" y="21"/>
                </a:cubicBezTo>
                <a:cubicBezTo>
                  <a:pt x="166" y="20"/>
                  <a:pt x="178" y="20"/>
                  <a:pt x="180" y="21"/>
                </a:cubicBezTo>
                <a:cubicBezTo>
                  <a:pt x="181" y="21"/>
                  <a:pt x="203" y="31"/>
                  <a:pt x="205" y="32"/>
                </a:cubicBezTo>
                <a:cubicBezTo>
                  <a:pt x="206" y="32"/>
                  <a:pt x="212" y="36"/>
                  <a:pt x="213" y="36"/>
                </a:cubicBezTo>
                <a:cubicBezTo>
                  <a:pt x="214" y="36"/>
                  <a:pt x="219" y="35"/>
                  <a:pt x="219" y="34"/>
                </a:cubicBezTo>
                <a:cubicBezTo>
                  <a:pt x="220" y="33"/>
                  <a:pt x="219" y="32"/>
                  <a:pt x="217" y="31"/>
                </a:cubicBezTo>
                <a:cubicBezTo>
                  <a:pt x="216" y="30"/>
                  <a:pt x="213" y="27"/>
                  <a:pt x="211" y="26"/>
                </a:cubicBezTo>
                <a:cubicBezTo>
                  <a:pt x="209" y="26"/>
                  <a:pt x="201" y="23"/>
                  <a:pt x="200" y="22"/>
                </a:cubicBezTo>
                <a:cubicBezTo>
                  <a:pt x="198" y="22"/>
                  <a:pt x="193" y="19"/>
                  <a:pt x="193" y="18"/>
                </a:cubicBezTo>
                <a:cubicBezTo>
                  <a:pt x="194" y="18"/>
                  <a:pt x="199" y="18"/>
                  <a:pt x="200" y="18"/>
                </a:cubicBezTo>
                <a:cubicBezTo>
                  <a:pt x="201" y="18"/>
                  <a:pt x="207" y="19"/>
                  <a:pt x="208" y="19"/>
                </a:cubicBezTo>
                <a:cubicBezTo>
                  <a:pt x="210" y="20"/>
                  <a:pt x="218" y="24"/>
                  <a:pt x="218" y="24"/>
                </a:cubicBezTo>
                <a:cubicBezTo>
                  <a:pt x="218" y="24"/>
                  <a:pt x="225" y="23"/>
                  <a:pt x="223" y="23"/>
                </a:cubicBezTo>
                <a:cubicBezTo>
                  <a:pt x="222" y="22"/>
                  <a:pt x="214" y="17"/>
                  <a:pt x="214" y="16"/>
                </a:cubicBezTo>
                <a:cubicBezTo>
                  <a:pt x="214" y="15"/>
                  <a:pt x="227" y="16"/>
                  <a:pt x="228" y="16"/>
                </a:cubicBezTo>
                <a:cubicBezTo>
                  <a:pt x="230" y="16"/>
                  <a:pt x="241" y="18"/>
                  <a:pt x="242" y="19"/>
                </a:cubicBezTo>
                <a:cubicBezTo>
                  <a:pt x="242" y="19"/>
                  <a:pt x="249" y="21"/>
                  <a:pt x="250" y="21"/>
                </a:cubicBezTo>
                <a:cubicBezTo>
                  <a:pt x="251" y="21"/>
                  <a:pt x="252" y="17"/>
                  <a:pt x="250" y="16"/>
                </a:cubicBezTo>
                <a:cubicBezTo>
                  <a:pt x="249" y="16"/>
                  <a:pt x="240" y="13"/>
                  <a:pt x="237" y="12"/>
                </a:cubicBezTo>
                <a:cubicBezTo>
                  <a:pt x="235" y="12"/>
                  <a:pt x="220" y="10"/>
                  <a:pt x="219" y="10"/>
                </a:cubicBezTo>
                <a:cubicBezTo>
                  <a:pt x="218" y="9"/>
                  <a:pt x="237" y="7"/>
                  <a:pt x="240" y="7"/>
                </a:cubicBezTo>
                <a:cubicBezTo>
                  <a:pt x="243" y="8"/>
                  <a:pt x="249" y="7"/>
                  <a:pt x="253" y="7"/>
                </a:cubicBezTo>
                <a:cubicBezTo>
                  <a:pt x="256" y="7"/>
                  <a:pt x="259" y="4"/>
                  <a:pt x="261" y="4"/>
                </a:cubicBezTo>
                <a:cubicBezTo>
                  <a:pt x="263" y="3"/>
                  <a:pt x="273" y="1"/>
                  <a:pt x="275" y="1"/>
                </a:cubicBezTo>
                <a:cubicBezTo>
                  <a:pt x="277" y="1"/>
                  <a:pt x="296" y="0"/>
                  <a:pt x="300" y="0"/>
                </a:cubicBezTo>
                <a:cubicBezTo>
                  <a:pt x="305" y="0"/>
                  <a:pt x="325" y="0"/>
                  <a:pt x="327" y="0"/>
                </a:cubicBezTo>
                <a:cubicBezTo>
                  <a:pt x="329" y="1"/>
                  <a:pt x="337" y="3"/>
                  <a:pt x="340" y="3"/>
                </a:cubicBezTo>
                <a:cubicBezTo>
                  <a:pt x="343" y="3"/>
                  <a:pt x="349" y="3"/>
                  <a:pt x="352" y="3"/>
                </a:cubicBezTo>
                <a:cubicBezTo>
                  <a:pt x="354" y="4"/>
                  <a:pt x="360" y="5"/>
                  <a:pt x="360" y="5"/>
                </a:cubicBezTo>
                <a:cubicBezTo>
                  <a:pt x="360" y="6"/>
                  <a:pt x="367" y="8"/>
                  <a:pt x="367" y="9"/>
                </a:cubicBezTo>
                <a:cubicBezTo>
                  <a:pt x="367" y="11"/>
                  <a:pt x="363" y="13"/>
                  <a:pt x="363" y="15"/>
                </a:cubicBezTo>
                <a:cubicBezTo>
                  <a:pt x="362" y="17"/>
                  <a:pt x="375" y="14"/>
                  <a:pt x="377" y="14"/>
                </a:cubicBezTo>
                <a:cubicBezTo>
                  <a:pt x="378" y="15"/>
                  <a:pt x="392" y="17"/>
                  <a:pt x="393" y="18"/>
                </a:cubicBezTo>
                <a:cubicBezTo>
                  <a:pt x="393" y="19"/>
                  <a:pt x="391" y="23"/>
                  <a:pt x="388" y="23"/>
                </a:cubicBezTo>
                <a:cubicBezTo>
                  <a:pt x="386" y="23"/>
                  <a:pt x="374" y="24"/>
                  <a:pt x="371" y="24"/>
                </a:cubicBezTo>
                <a:cubicBezTo>
                  <a:pt x="369" y="25"/>
                  <a:pt x="367" y="26"/>
                  <a:pt x="365" y="26"/>
                </a:cubicBezTo>
                <a:cubicBezTo>
                  <a:pt x="362" y="26"/>
                  <a:pt x="341" y="25"/>
                  <a:pt x="338" y="25"/>
                </a:cubicBezTo>
                <a:cubicBezTo>
                  <a:pt x="336" y="26"/>
                  <a:pt x="327" y="26"/>
                  <a:pt x="324" y="27"/>
                </a:cubicBezTo>
                <a:cubicBezTo>
                  <a:pt x="321" y="28"/>
                  <a:pt x="308" y="30"/>
                  <a:pt x="306" y="32"/>
                </a:cubicBezTo>
                <a:cubicBezTo>
                  <a:pt x="304" y="33"/>
                  <a:pt x="306" y="36"/>
                  <a:pt x="306" y="37"/>
                </a:cubicBezTo>
                <a:cubicBezTo>
                  <a:pt x="307" y="38"/>
                  <a:pt x="309" y="40"/>
                  <a:pt x="310" y="39"/>
                </a:cubicBezTo>
                <a:cubicBezTo>
                  <a:pt x="312" y="39"/>
                  <a:pt x="318" y="35"/>
                  <a:pt x="320" y="34"/>
                </a:cubicBezTo>
                <a:cubicBezTo>
                  <a:pt x="323" y="34"/>
                  <a:pt x="331" y="33"/>
                  <a:pt x="331" y="34"/>
                </a:cubicBezTo>
                <a:cubicBezTo>
                  <a:pt x="331" y="35"/>
                  <a:pt x="334" y="38"/>
                  <a:pt x="335" y="36"/>
                </a:cubicBezTo>
                <a:cubicBezTo>
                  <a:pt x="335" y="34"/>
                  <a:pt x="337" y="32"/>
                  <a:pt x="340" y="31"/>
                </a:cubicBezTo>
                <a:cubicBezTo>
                  <a:pt x="342" y="31"/>
                  <a:pt x="349" y="31"/>
                  <a:pt x="353" y="31"/>
                </a:cubicBezTo>
                <a:cubicBezTo>
                  <a:pt x="357" y="31"/>
                  <a:pt x="367" y="31"/>
                  <a:pt x="368" y="31"/>
                </a:cubicBezTo>
                <a:cubicBezTo>
                  <a:pt x="369" y="31"/>
                  <a:pt x="369" y="34"/>
                  <a:pt x="369" y="35"/>
                </a:cubicBezTo>
                <a:cubicBezTo>
                  <a:pt x="368" y="35"/>
                  <a:pt x="353" y="38"/>
                  <a:pt x="353" y="39"/>
                </a:cubicBezTo>
                <a:cubicBezTo>
                  <a:pt x="353" y="40"/>
                  <a:pt x="355" y="42"/>
                  <a:pt x="357" y="42"/>
                </a:cubicBezTo>
                <a:cubicBezTo>
                  <a:pt x="359" y="42"/>
                  <a:pt x="368" y="40"/>
                  <a:pt x="370" y="39"/>
                </a:cubicBezTo>
                <a:cubicBezTo>
                  <a:pt x="372" y="39"/>
                  <a:pt x="379" y="36"/>
                  <a:pt x="380" y="36"/>
                </a:cubicBezTo>
                <a:cubicBezTo>
                  <a:pt x="381" y="36"/>
                  <a:pt x="379" y="31"/>
                  <a:pt x="380" y="30"/>
                </a:cubicBezTo>
                <a:cubicBezTo>
                  <a:pt x="381" y="30"/>
                  <a:pt x="393" y="29"/>
                  <a:pt x="394" y="29"/>
                </a:cubicBezTo>
                <a:cubicBezTo>
                  <a:pt x="396" y="30"/>
                  <a:pt x="398" y="34"/>
                  <a:pt x="394" y="39"/>
                </a:cubicBezTo>
                <a:cubicBezTo>
                  <a:pt x="389" y="44"/>
                  <a:pt x="385" y="45"/>
                  <a:pt x="381" y="47"/>
                </a:cubicBezTo>
                <a:cubicBezTo>
                  <a:pt x="378" y="49"/>
                  <a:pt x="378" y="51"/>
                  <a:pt x="377" y="52"/>
                </a:cubicBezTo>
                <a:cubicBezTo>
                  <a:pt x="377" y="52"/>
                  <a:pt x="372" y="56"/>
                  <a:pt x="373" y="56"/>
                </a:cubicBezTo>
                <a:cubicBezTo>
                  <a:pt x="375" y="57"/>
                  <a:pt x="381" y="54"/>
                  <a:pt x="384" y="52"/>
                </a:cubicBezTo>
                <a:cubicBezTo>
                  <a:pt x="389" y="49"/>
                  <a:pt x="393" y="48"/>
                  <a:pt x="395" y="47"/>
                </a:cubicBezTo>
                <a:cubicBezTo>
                  <a:pt x="397" y="46"/>
                  <a:pt x="402" y="42"/>
                  <a:pt x="404" y="41"/>
                </a:cubicBezTo>
                <a:cubicBezTo>
                  <a:pt x="405" y="40"/>
                  <a:pt x="408" y="38"/>
                  <a:pt x="409" y="38"/>
                </a:cubicBezTo>
                <a:cubicBezTo>
                  <a:pt x="410" y="38"/>
                  <a:pt x="424" y="42"/>
                  <a:pt x="425" y="42"/>
                </a:cubicBezTo>
                <a:cubicBezTo>
                  <a:pt x="426" y="41"/>
                  <a:pt x="431" y="34"/>
                  <a:pt x="434" y="34"/>
                </a:cubicBezTo>
                <a:cubicBezTo>
                  <a:pt x="438" y="34"/>
                  <a:pt x="448" y="33"/>
                  <a:pt x="451" y="34"/>
                </a:cubicBezTo>
                <a:cubicBezTo>
                  <a:pt x="455" y="35"/>
                  <a:pt x="467" y="38"/>
                  <a:pt x="467" y="38"/>
                </a:cubicBezTo>
                <a:cubicBezTo>
                  <a:pt x="468" y="39"/>
                  <a:pt x="470" y="40"/>
                  <a:pt x="470" y="40"/>
                </a:cubicBezTo>
                <a:cubicBezTo>
                  <a:pt x="470" y="41"/>
                  <a:pt x="463" y="45"/>
                  <a:pt x="461" y="46"/>
                </a:cubicBezTo>
                <a:cubicBezTo>
                  <a:pt x="459" y="47"/>
                  <a:pt x="456" y="48"/>
                  <a:pt x="455" y="48"/>
                </a:cubicBezTo>
                <a:cubicBezTo>
                  <a:pt x="453" y="48"/>
                  <a:pt x="447" y="46"/>
                  <a:pt x="445" y="48"/>
                </a:cubicBezTo>
                <a:cubicBezTo>
                  <a:pt x="444" y="50"/>
                  <a:pt x="449" y="52"/>
                  <a:pt x="448" y="53"/>
                </a:cubicBezTo>
                <a:cubicBezTo>
                  <a:pt x="447" y="53"/>
                  <a:pt x="441" y="54"/>
                  <a:pt x="439" y="54"/>
                </a:cubicBezTo>
                <a:cubicBezTo>
                  <a:pt x="437" y="54"/>
                  <a:pt x="426" y="53"/>
                  <a:pt x="424" y="53"/>
                </a:cubicBezTo>
                <a:cubicBezTo>
                  <a:pt x="423" y="53"/>
                  <a:pt x="413" y="55"/>
                  <a:pt x="411" y="55"/>
                </a:cubicBezTo>
                <a:cubicBezTo>
                  <a:pt x="409" y="54"/>
                  <a:pt x="408" y="57"/>
                  <a:pt x="408" y="57"/>
                </a:cubicBezTo>
                <a:cubicBezTo>
                  <a:pt x="408" y="58"/>
                  <a:pt x="420" y="59"/>
                  <a:pt x="422" y="59"/>
                </a:cubicBezTo>
                <a:cubicBezTo>
                  <a:pt x="423" y="59"/>
                  <a:pt x="435" y="59"/>
                  <a:pt x="435" y="60"/>
                </a:cubicBezTo>
                <a:cubicBezTo>
                  <a:pt x="435" y="61"/>
                  <a:pt x="422" y="64"/>
                  <a:pt x="416" y="64"/>
                </a:cubicBezTo>
                <a:cubicBezTo>
                  <a:pt x="410" y="64"/>
                  <a:pt x="404" y="64"/>
                  <a:pt x="404" y="65"/>
                </a:cubicBezTo>
                <a:cubicBezTo>
                  <a:pt x="403" y="67"/>
                  <a:pt x="400" y="68"/>
                  <a:pt x="402" y="69"/>
                </a:cubicBezTo>
                <a:cubicBezTo>
                  <a:pt x="404" y="70"/>
                  <a:pt x="407" y="70"/>
                  <a:pt x="407" y="70"/>
                </a:cubicBezTo>
                <a:cubicBezTo>
                  <a:pt x="407" y="70"/>
                  <a:pt x="423" y="68"/>
                  <a:pt x="423" y="69"/>
                </a:cubicBezTo>
                <a:cubicBezTo>
                  <a:pt x="424" y="70"/>
                  <a:pt x="419" y="75"/>
                  <a:pt x="418" y="76"/>
                </a:cubicBezTo>
                <a:cubicBezTo>
                  <a:pt x="417" y="76"/>
                  <a:pt x="410" y="73"/>
                  <a:pt x="408" y="76"/>
                </a:cubicBezTo>
                <a:cubicBezTo>
                  <a:pt x="408" y="77"/>
                  <a:pt x="408" y="85"/>
                  <a:pt x="407" y="86"/>
                </a:cubicBezTo>
                <a:cubicBezTo>
                  <a:pt x="406" y="87"/>
                  <a:pt x="399" y="86"/>
                  <a:pt x="399" y="87"/>
                </a:cubicBezTo>
                <a:cubicBezTo>
                  <a:pt x="399" y="89"/>
                  <a:pt x="389" y="104"/>
                  <a:pt x="389" y="105"/>
                </a:cubicBezTo>
                <a:cubicBezTo>
                  <a:pt x="388" y="106"/>
                  <a:pt x="394" y="106"/>
                  <a:pt x="395" y="106"/>
                </a:cubicBezTo>
                <a:cubicBezTo>
                  <a:pt x="397" y="107"/>
                  <a:pt x="398" y="101"/>
                  <a:pt x="400" y="101"/>
                </a:cubicBezTo>
                <a:cubicBezTo>
                  <a:pt x="401" y="101"/>
                  <a:pt x="410" y="102"/>
                  <a:pt x="410" y="103"/>
                </a:cubicBezTo>
                <a:cubicBezTo>
                  <a:pt x="410" y="104"/>
                  <a:pt x="413" y="107"/>
                  <a:pt x="413" y="107"/>
                </a:cubicBezTo>
                <a:cubicBezTo>
                  <a:pt x="413" y="108"/>
                  <a:pt x="404" y="106"/>
                  <a:pt x="403" y="107"/>
                </a:cubicBezTo>
                <a:cubicBezTo>
                  <a:pt x="401" y="107"/>
                  <a:pt x="401" y="110"/>
                  <a:pt x="401" y="111"/>
                </a:cubicBezTo>
                <a:cubicBezTo>
                  <a:pt x="402" y="111"/>
                  <a:pt x="410" y="114"/>
                  <a:pt x="410" y="114"/>
                </a:cubicBezTo>
                <a:cubicBezTo>
                  <a:pt x="411" y="114"/>
                  <a:pt x="412" y="112"/>
                  <a:pt x="413" y="112"/>
                </a:cubicBezTo>
                <a:cubicBezTo>
                  <a:pt x="413" y="112"/>
                  <a:pt x="418" y="113"/>
                  <a:pt x="418" y="114"/>
                </a:cubicBezTo>
                <a:cubicBezTo>
                  <a:pt x="418" y="116"/>
                  <a:pt x="418" y="121"/>
                  <a:pt x="416" y="121"/>
                </a:cubicBezTo>
                <a:cubicBezTo>
                  <a:pt x="415" y="121"/>
                  <a:pt x="406" y="120"/>
                  <a:pt x="404" y="119"/>
                </a:cubicBezTo>
                <a:cubicBezTo>
                  <a:pt x="402" y="119"/>
                  <a:pt x="396" y="117"/>
                  <a:pt x="395" y="118"/>
                </a:cubicBezTo>
                <a:cubicBezTo>
                  <a:pt x="395" y="120"/>
                  <a:pt x="395" y="123"/>
                  <a:pt x="396" y="123"/>
                </a:cubicBezTo>
                <a:cubicBezTo>
                  <a:pt x="398" y="124"/>
                  <a:pt x="401" y="124"/>
                  <a:pt x="402" y="126"/>
                </a:cubicBezTo>
                <a:cubicBezTo>
                  <a:pt x="402" y="127"/>
                  <a:pt x="406" y="128"/>
                  <a:pt x="406" y="129"/>
                </a:cubicBezTo>
                <a:cubicBezTo>
                  <a:pt x="406" y="130"/>
                  <a:pt x="405" y="133"/>
                  <a:pt x="407" y="134"/>
                </a:cubicBezTo>
                <a:cubicBezTo>
                  <a:pt x="408" y="136"/>
                  <a:pt x="409" y="138"/>
                  <a:pt x="409" y="140"/>
                </a:cubicBezTo>
                <a:cubicBezTo>
                  <a:pt x="409" y="142"/>
                  <a:pt x="410" y="145"/>
                  <a:pt x="408" y="145"/>
                </a:cubicBezTo>
                <a:cubicBezTo>
                  <a:pt x="406" y="145"/>
                  <a:pt x="400" y="142"/>
                  <a:pt x="399" y="144"/>
                </a:cubicBezTo>
                <a:cubicBezTo>
                  <a:pt x="399" y="146"/>
                  <a:pt x="398" y="148"/>
                  <a:pt x="400" y="149"/>
                </a:cubicBezTo>
                <a:cubicBezTo>
                  <a:pt x="402" y="150"/>
                  <a:pt x="404" y="153"/>
                  <a:pt x="406" y="153"/>
                </a:cubicBezTo>
                <a:cubicBezTo>
                  <a:pt x="408" y="153"/>
                  <a:pt x="411" y="152"/>
                  <a:pt x="413" y="153"/>
                </a:cubicBezTo>
                <a:cubicBezTo>
                  <a:pt x="415" y="154"/>
                  <a:pt x="416" y="156"/>
                  <a:pt x="415" y="157"/>
                </a:cubicBezTo>
                <a:cubicBezTo>
                  <a:pt x="414" y="158"/>
                  <a:pt x="408" y="161"/>
                  <a:pt x="406" y="161"/>
                </a:cubicBezTo>
                <a:cubicBezTo>
                  <a:pt x="404" y="161"/>
                  <a:pt x="397" y="161"/>
                  <a:pt x="396" y="162"/>
                </a:cubicBezTo>
                <a:cubicBezTo>
                  <a:pt x="395" y="164"/>
                  <a:pt x="403" y="165"/>
                  <a:pt x="402" y="166"/>
                </a:cubicBezTo>
                <a:cubicBezTo>
                  <a:pt x="402" y="167"/>
                  <a:pt x="402" y="171"/>
                  <a:pt x="401" y="172"/>
                </a:cubicBezTo>
                <a:cubicBezTo>
                  <a:pt x="399" y="172"/>
                  <a:pt x="388" y="174"/>
                  <a:pt x="387" y="174"/>
                </a:cubicBezTo>
                <a:cubicBezTo>
                  <a:pt x="386" y="174"/>
                  <a:pt x="374" y="167"/>
                  <a:pt x="372" y="167"/>
                </a:cubicBezTo>
                <a:cubicBezTo>
                  <a:pt x="370" y="166"/>
                  <a:pt x="366" y="169"/>
                  <a:pt x="366" y="171"/>
                </a:cubicBezTo>
                <a:cubicBezTo>
                  <a:pt x="366" y="173"/>
                  <a:pt x="365" y="175"/>
                  <a:pt x="368" y="175"/>
                </a:cubicBezTo>
                <a:cubicBezTo>
                  <a:pt x="370" y="175"/>
                  <a:pt x="379" y="177"/>
                  <a:pt x="381" y="177"/>
                </a:cubicBezTo>
                <a:cubicBezTo>
                  <a:pt x="382" y="178"/>
                  <a:pt x="386" y="178"/>
                  <a:pt x="388" y="179"/>
                </a:cubicBezTo>
                <a:cubicBezTo>
                  <a:pt x="389" y="181"/>
                  <a:pt x="389" y="182"/>
                  <a:pt x="389" y="183"/>
                </a:cubicBezTo>
                <a:cubicBezTo>
                  <a:pt x="389" y="184"/>
                  <a:pt x="390" y="189"/>
                  <a:pt x="389" y="190"/>
                </a:cubicBezTo>
                <a:cubicBezTo>
                  <a:pt x="388" y="190"/>
                  <a:pt x="374" y="186"/>
                  <a:pt x="373" y="184"/>
                </a:cubicBezTo>
                <a:cubicBezTo>
                  <a:pt x="371" y="182"/>
                  <a:pt x="370" y="180"/>
                  <a:pt x="369" y="181"/>
                </a:cubicBezTo>
                <a:cubicBezTo>
                  <a:pt x="367" y="181"/>
                  <a:pt x="361" y="179"/>
                  <a:pt x="361" y="180"/>
                </a:cubicBezTo>
                <a:cubicBezTo>
                  <a:pt x="360" y="181"/>
                  <a:pt x="360" y="182"/>
                  <a:pt x="362" y="183"/>
                </a:cubicBezTo>
                <a:cubicBezTo>
                  <a:pt x="363" y="184"/>
                  <a:pt x="368" y="186"/>
                  <a:pt x="369" y="187"/>
                </a:cubicBezTo>
                <a:cubicBezTo>
                  <a:pt x="370" y="188"/>
                  <a:pt x="372" y="190"/>
                  <a:pt x="374" y="191"/>
                </a:cubicBezTo>
                <a:cubicBezTo>
                  <a:pt x="377" y="192"/>
                  <a:pt x="385" y="195"/>
                  <a:pt x="386" y="195"/>
                </a:cubicBezTo>
                <a:cubicBezTo>
                  <a:pt x="387" y="196"/>
                  <a:pt x="391" y="198"/>
                  <a:pt x="391" y="200"/>
                </a:cubicBezTo>
                <a:cubicBezTo>
                  <a:pt x="391" y="201"/>
                  <a:pt x="394" y="213"/>
                  <a:pt x="391" y="213"/>
                </a:cubicBezTo>
                <a:cubicBezTo>
                  <a:pt x="388" y="214"/>
                  <a:pt x="379" y="214"/>
                  <a:pt x="376" y="212"/>
                </a:cubicBezTo>
                <a:cubicBezTo>
                  <a:pt x="373" y="209"/>
                  <a:pt x="373" y="204"/>
                  <a:pt x="370" y="202"/>
                </a:cubicBezTo>
                <a:cubicBezTo>
                  <a:pt x="367" y="200"/>
                  <a:pt x="364" y="200"/>
                  <a:pt x="362" y="200"/>
                </a:cubicBezTo>
                <a:cubicBezTo>
                  <a:pt x="361" y="199"/>
                  <a:pt x="363" y="203"/>
                  <a:pt x="362" y="204"/>
                </a:cubicBezTo>
                <a:cubicBezTo>
                  <a:pt x="361" y="205"/>
                  <a:pt x="364" y="209"/>
                  <a:pt x="363" y="210"/>
                </a:cubicBezTo>
                <a:cubicBezTo>
                  <a:pt x="362" y="210"/>
                  <a:pt x="352" y="215"/>
                  <a:pt x="353" y="216"/>
                </a:cubicBezTo>
                <a:cubicBezTo>
                  <a:pt x="354" y="218"/>
                  <a:pt x="362" y="215"/>
                  <a:pt x="364" y="216"/>
                </a:cubicBezTo>
                <a:cubicBezTo>
                  <a:pt x="366" y="217"/>
                  <a:pt x="380" y="220"/>
                  <a:pt x="382" y="220"/>
                </a:cubicBezTo>
                <a:cubicBezTo>
                  <a:pt x="384" y="220"/>
                  <a:pt x="387" y="219"/>
                  <a:pt x="387" y="220"/>
                </a:cubicBezTo>
                <a:cubicBezTo>
                  <a:pt x="388" y="220"/>
                  <a:pt x="373" y="229"/>
                  <a:pt x="370" y="230"/>
                </a:cubicBezTo>
                <a:cubicBezTo>
                  <a:pt x="367" y="232"/>
                  <a:pt x="357" y="239"/>
                  <a:pt x="355" y="239"/>
                </a:cubicBezTo>
                <a:cubicBezTo>
                  <a:pt x="353" y="239"/>
                  <a:pt x="339" y="243"/>
                  <a:pt x="336" y="244"/>
                </a:cubicBezTo>
                <a:cubicBezTo>
                  <a:pt x="332" y="245"/>
                  <a:pt x="326" y="247"/>
                  <a:pt x="322" y="247"/>
                </a:cubicBezTo>
                <a:cubicBezTo>
                  <a:pt x="319" y="247"/>
                  <a:pt x="314" y="242"/>
                  <a:pt x="312" y="242"/>
                </a:cubicBezTo>
                <a:cubicBezTo>
                  <a:pt x="310" y="243"/>
                  <a:pt x="313" y="250"/>
                  <a:pt x="311" y="250"/>
                </a:cubicBezTo>
                <a:cubicBezTo>
                  <a:pt x="309" y="250"/>
                  <a:pt x="305" y="252"/>
                  <a:pt x="303" y="254"/>
                </a:cubicBezTo>
                <a:cubicBezTo>
                  <a:pt x="301" y="257"/>
                  <a:pt x="299" y="262"/>
                  <a:pt x="297" y="264"/>
                </a:cubicBezTo>
                <a:cubicBezTo>
                  <a:pt x="294" y="266"/>
                  <a:pt x="283" y="275"/>
                  <a:pt x="280" y="275"/>
                </a:cubicBezTo>
                <a:cubicBezTo>
                  <a:pt x="278" y="276"/>
                  <a:pt x="274" y="279"/>
                  <a:pt x="271" y="278"/>
                </a:cubicBezTo>
                <a:cubicBezTo>
                  <a:pt x="268" y="278"/>
                  <a:pt x="267" y="277"/>
                  <a:pt x="264" y="277"/>
                </a:cubicBezTo>
                <a:cubicBezTo>
                  <a:pt x="261" y="278"/>
                  <a:pt x="254" y="276"/>
                  <a:pt x="253" y="278"/>
                </a:cubicBezTo>
                <a:cubicBezTo>
                  <a:pt x="252" y="279"/>
                  <a:pt x="256" y="284"/>
                  <a:pt x="254" y="285"/>
                </a:cubicBezTo>
                <a:cubicBezTo>
                  <a:pt x="251" y="286"/>
                  <a:pt x="247" y="284"/>
                  <a:pt x="246" y="286"/>
                </a:cubicBezTo>
                <a:cubicBezTo>
                  <a:pt x="245" y="288"/>
                  <a:pt x="250" y="294"/>
                  <a:pt x="249" y="295"/>
                </a:cubicBezTo>
                <a:cubicBezTo>
                  <a:pt x="248" y="297"/>
                  <a:pt x="247" y="301"/>
                  <a:pt x="246" y="303"/>
                </a:cubicBezTo>
                <a:cubicBezTo>
                  <a:pt x="245" y="305"/>
                  <a:pt x="237" y="311"/>
                  <a:pt x="236" y="314"/>
                </a:cubicBezTo>
                <a:cubicBezTo>
                  <a:pt x="235" y="316"/>
                  <a:pt x="237" y="322"/>
                  <a:pt x="235" y="324"/>
                </a:cubicBezTo>
                <a:cubicBezTo>
                  <a:pt x="234" y="325"/>
                  <a:pt x="230" y="347"/>
                  <a:pt x="224" y="346"/>
                </a:cubicBezTo>
                <a:cubicBezTo>
                  <a:pt x="217" y="346"/>
                  <a:pt x="217" y="346"/>
                  <a:pt x="213" y="344"/>
                </a:cubicBezTo>
                <a:cubicBezTo>
                  <a:pt x="210" y="342"/>
                  <a:pt x="208" y="337"/>
                  <a:pt x="204" y="337"/>
                </a:cubicBezTo>
                <a:cubicBezTo>
                  <a:pt x="201" y="337"/>
                  <a:pt x="192" y="338"/>
                  <a:pt x="191" y="337"/>
                </a:cubicBezTo>
                <a:cubicBezTo>
                  <a:pt x="189" y="336"/>
                  <a:pt x="178" y="322"/>
                  <a:pt x="177" y="321"/>
                </a:cubicBezTo>
                <a:cubicBezTo>
                  <a:pt x="177" y="320"/>
                  <a:pt x="174" y="320"/>
                  <a:pt x="173" y="317"/>
                </a:cubicBezTo>
                <a:cubicBezTo>
                  <a:pt x="172" y="314"/>
                  <a:pt x="171" y="312"/>
                  <a:pt x="170" y="310"/>
                </a:cubicBezTo>
                <a:cubicBezTo>
                  <a:pt x="168" y="308"/>
                  <a:pt x="165" y="305"/>
                  <a:pt x="163" y="302"/>
                </a:cubicBezTo>
                <a:cubicBezTo>
                  <a:pt x="162" y="300"/>
                  <a:pt x="162" y="299"/>
                  <a:pt x="160" y="297"/>
                </a:cubicBezTo>
                <a:cubicBezTo>
                  <a:pt x="157" y="295"/>
                  <a:pt x="158" y="291"/>
                  <a:pt x="158" y="288"/>
                </a:cubicBezTo>
                <a:cubicBezTo>
                  <a:pt x="158" y="286"/>
                  <a:pt x="157" y="284"/>
                  <a:pt x="154" y="281"/>
                </a:cubicBezTo>
                <a:cubicBezTo>
                  <a:pt x="152" y="278"/>
                  <a:pt x="151" y="280"/>
                  <a:pt x="150" y="278"/>
                </a:cubicBezTo>
                <a:cubicBezTo>
                  <a:pt x="148" y="275"/>
                  <a:pt x="146" y="271"/>
                  <a:pt x="146" y="269"/>
                </a:cubicBezTo>
                <a:cubicBezTo>
                  <a:pt x="146" y="267"/>
                  <a:pt x="149" y="266"/>
                  <a:pt x="148" y="264"/>
                </a:cubicBezTo>
                <a:cubicBezTo>
                  <a:pt x="148" y="261"/>
                  <a:pt x="145" y="259"/>
                  <a:pt x="145" y="257"/>
                </a:cubicBezTo>
                <a:cubicBezTo>
                  <a:pt x="146" y="255"/>
                  <a:pt x="147" y="250"/>
                  <a:pt x="147" y="249"/>
                </a:cubicBezTo>
                <a:cubicBezTo>
                  <a:pt x="147" y="248"/>
                  <a:pt x="146" y="242"/>
                  <a:pt x="149" y="240"/>
                </a:cubicBezTo>
                <a:cubicBezTo>
                  <a:pt x="151" y="238"/>
                  <a:pt x="153" y="236"/>
                  <a:pt x="155" y="236"/>
                </a:cubicBezTo>
                <a:cubicBezTo>
                  <a:pt x="158" y="237"/>
                  <a:pt x="160" y="237"/>
                  <a:pt x="160" y="238"/>
                </a:cubicBezTo>
                <a:cubicBezTo>
                  <a:pt x="160" y="239"/>
                  <a:pt x="155" y="243"/>
                  <a:pt x="157" y="244"/>
                </a:cubicBezTo>
                <a:cubicBezTo>
                  <a:pt x="159" y="245"/>
                  <a:pt x="166" y="244"/>
                  <a:pt x="167" y="242"/>
                </a:cubicBezTo>
                <a:cubicBezTo>
                  <a:pt x="168" y="241"/>
                  <a:pt x="166" y="236"/>
                  <a:pt x="167" y="234"/>
                </a:cubicBezTo>
                <a:cubicBezTo>
                  <a:pt x="169" y="232"/>
                  <a:pt x="169" y="228"/>
                  <a:pt x="169" y="226"/>
                </a:cubicBezTo>
                <a:cubicBezTo>
                  <a:pt x="169" y="223"/>
                  <a:pt x="172" y="220"/>
                  <a:pt x="169" y="220"/>
                </a:cubicBezTo>
                <a:cubicBezTo>
                  <a:pt x="167" y="219"/>
                  <a:pt x="160" y="219"/>
                  <a:pt x="158" y="219"/>
                </a:cubicBezTo>
                <a:cubicBezTo>
                  <a:pt x="156" y="218"/>
                  <a:pt x="155" y="217"/>
                  <a:pt x="152" y="216"/>
                </a:cubicBezTo>
                <a:cubicBezTo>
                  <a:pt x="149" y="214"/>
                  <a:pt x="147" y="214"/>
                  <a:pt x="146" y="214"/>
                </a:cubicBezTo>
                <a:cubicBezTo>
                  <a:pt x="144" y="213"/>
                  <a:pt x="141" y="212"/>
                  <a:pt x="140" y="210"/>
                </a:cubicBezTo>
                <a:cubicBezTo>
                  <a:pt x="139" y="208"/>
                  <a:pt x="143" y="208"/>
                  <a:pt x="144" y="208"/>
                </a:cubicBezTo>
                <a:cubicBezTo>
                  <a:pt x="145" y="208"/>
                  <a:pt x="151" y="209"/>
                  <a:pt x="152" y="209"/>
                </a:cubicBezTo>
                <a:cubicBezTo>
                  <a:pt x="154" y="209"/>
                  <a:pt x="160" y="212"/>
                  <a:pt x="161" y="212"/>
                </a:cubicBezTo>
                <a:cubicBezTo>
                  <a:pt x="163" y="213"/>
                  <a:pt x="167" y="214"/>
                  <a:pt x="168" y="214"/>
                </a:cubicBezTo>
                <a:cubicBezTo>
                  <a:pt x="168" y="214"/>
                  <a:pt x="167" y="211"/>
                  <a:pt x="165" y="208"/>
                </a:cubicBezTo>
                <a:cubicBezTo>
                  <a:pt x="162" y="205"/>
                  <a:pt x="158" y="202"/>
                  <a:pt x="157" y="203"/>
                </a:cubicBezTo>
                <a:cubicBezTo>
                  <a:pt x="155" y="203"/>
                  <a:pt x="151" y="202"/>
                  <a:pt x="151" y="201"/>
                </a:cubicBezTo>
                <a:cubicBezTo>
                  <a:pt x="152" y="200"/>
                  <a:pt x="154" y="196"/>
                  <a:pt x="151" y="195"/>
                </a:cubicBezTo>
                <a:cubicBezTo>
                  <a:pt x="149" y="194"/>
                  <a:pt x="148" y="194"/>
                  <a:pt x="147" y="194"/>
                </a:cubicBezTo>
                <a:cubicBezTo>
                  <a:pt x="145" y="194"/>
                  <a:pt x="146" y="198"/>
                  <a:pt x="145" y="198"/>
                </a:cubicBezTo>
                <a:cubicBezTo>
                  <a:pt x="144" y="199"/>
                  <a:pt x="141" y="201"/>
                  <a:pt x="138" y="201"/>
                </a:cubicBezTo>
                <a:cubicBezTo>
                  <a:pt x="134" y="201"/>
                  <a:pt x="132" y="200"/>
                  <a:pt x="131" y="197"/>
                </a:cubicBezTo>
                <a:cubicBezTo>
                  <a:pt x="130" y="194"/>
                  <a:pt x="132" y="192"/>
                  <a:pt x="132" y="189"/>
                </a:cubicBezTo>
                <a:cubicBezTo>
                  <a:pt x="132" y="189"/>
                  <a:pt x="132" y="183"/>
                  <a:pt x="132" y="180"/>
                </a:cubicBezTo>
                <a:cubicBezTo>
                  <a:pt x="131" y="178"/>
                  <a:pt x="128" y="172"/>
                  <a:pt x="128" y="170"/>
                </a:cubicBezTo>
                <a:cubicBezTo>
                  <a:pt x="127" y="169"/>
                  <a:pt x="124" y="166"/>
                  <a:pt x="124" y="163"/>
                </a:cubicBezTo>
                <a:cubicBezTo>
                  <a:pt x="124" y="161"/>
                  <a:pt x="124" y="157"/>
                  <a:pt x="123" y="155"/>
                </a:cubicBezTo>
                <a:cubicBezTo>
                  <a:pt x="122" y="153"/>
                  <a:pt x="121" y="150"/>
                  <a:pt x="118" y="150"/>
                </a:cubicBezTo>
                <a:cubicBezTo>
                  <a:pt x="114" y="149"/>
                  <a:pt x="110" y="147"/>
                  <a:pt x="110" y="146"/>
                </a:cubicBezTo>
                <a:cubicBezTo>
                  <a:pt x="110" y="144"/>
                  <a:pt x="111" y="140"/>
                  <a:pt x="109" y="139"/>
                </a:cubicBezTo>
                <a:cubicBezTo>
                  <a:pt x="108" y="138"/>
                  <a:pt x="103" y="137"/>
                  <a:pt x="101" y="136"/>
                </a:cubicBezTo>
                <a:cubicBezTo>
                  <a:pt x="100" y="136"/>
                  <a:pt x="94" y="133"/>
                  <a:pt x="92" y="132"/>
                </a:cubicBezTo>
                <a:cubicBezTo>
                  <a:pt x="90" y="131"/>
                  <a:pt x="84" y="130"/>
                  <a:pt x="83" y="130"/>
                </a:cubicBezTo>
                <a:cubicBezTo>
                  <a:pt x="82" y="130"/>
                  <a:pt x="74" y="127"/>
                  <a:pt x="74" y="128"/>
                </a:cubicBezTo>
                <a:cubicBezTo>
                  <a:pt x="73" y="129"/>
                  <a:pt x="72" y="133"/>
                  <a:pt x="68" y="132"/>
                </a:cubicBezTo>
                <a:cubicBezTo>
                  <a:pt x="64" y="131"/>
                  <a:pt x="63" y="129"/>
                  <a:pt x="61" y="130"/>
                </a:cubicBezTo>
                <a:cubicBezTo>
                  <a:pt x="59" y="131"/>
                  <a:pt x="56" y="133"/>
                  <a:pt x="54" y="133"/>
                </a:cubicBezTo>
                <a:cubicBezTo>
                  <a:pt x="52" y="132"/>
                  <a:pt x="50" y="137"/>
                  <a:pt x="48" y="136"/>
                </a:cubicBezTo>
                <a:cubicBezTo>
                  <a:pt x="45" y="135"/>
                  <a:pt x="33" y="133"/>
                  <a:pt x="30" y="131"/>
                </a:cubicBezTo>
                <a:cubicBezTo>
                  <a:pt x="27" y="129"/>
                  <a:pt x="24" y="127"/>
                  <a:pt x="24" y="126"/>
                </a:cubicBezTo>
                <a:cubicBezTo>
                  <a:pt x="25" y="126"/>
                  <a:pt x="31" y="124"/>
                  <a:pt x="31" y="123"/>
                </a:cubicBezTo>
                <a:cubicBezTo>
                  <a:pt x="31" y="122"/>
                  <a:pt x="26" y="120"/>
                  <a:pt x="24" y="12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4" name="Freeform 42"/>
          <p:cNvSpPr>
            <a:spLocks/>
          </p:cNvSpPr>
          <p:nvPr>
            <p:custDataLst>
              <p:tags r:id="rId40"/>
            </p:custDataLst>
          </p:nvPr>
        </p:nvSpPr>
        <p:spPr bwMode="auto">
          <a:xfrm>
            <a:off x="4150245" y="3927732"/>
            <a:ext cx="906146" cy="1008000"/>
          </a:xfrm>
          <a:custGeom>
            <a:avLst/>
            <a:gdLst>
              <a:gd name="T0" fmla="*/ 19050 w 301"/>
              <a:gd name="T1" fmla="*/ 332948 h 312"/>
              <a:gd name="T2" fmla="*/ 21771 w 301"/>
              <a:gd name="T3" fmla="*/ 271615 h 312"/>
              <a:gd name="T4" fmla="*/ 35379 w 301"/>
              <a:gd name="T5" fmla="*/ 233647 h 312"/>
              <a:gd name="T6" fmla="*/ 87086 w 301"/>
              <a:gd name="T7" fmla="*/ 213203 h 312"/>
              <a:gd name="T8" fmla="*/ 84364 w 301"/>
              <a:gd name="T9" fmla="*/ 128506 h 312"/>
              <a:gd name="T10" fmla="*/ 125186 w 301"/>
              <a:gd name="T11" fmla="*/ 87618 h 312"/>
              <a:gd name="T12" fmla="*/ 146957 w 301"/>
              <a:gd name="T13" fmla="*/ 87618 h 312"/>
              <a:gd name="T14" fmla="*/ 214993 w 301"/>
              <a:gd name="T15" fmla="*/ 81777 h 312"/>
              <a:gd name="T16" fmla="*/ 193221 w 301"/>
              <a:gd name="T17" fmla="*/ 29206 h 312"/>
              <a:gd name="T18" fmla="*/ 274864 w 301"/>
              <a:gd name="T19" fmla="*/ 20444 h 312"/>
              <a:gd name="T20" fmla="*/ 288471 w 301"/>
              <a:gd name="T21" fmla="*/ 2921 h 312"/>
              <a:gd name="T22" fmla="*/ 302079 w 301"/>
              <a:gd name="T23" fmla="*/ 37968 h 312"/>
              <a:gd name="T24" fmla="*/ 312964 w 301"/>
              <a:gd name="T25" fmla="*/ 96380 h 312"/>
              <a:gd name="T26" fmla="*/ 359229 w 301"/>
              <a:gd name="T27" fmla="*/ 81777 h 312"/>
              <a:gd name="T28" fmla="*/ 378279 w 301"/>
              <a:gd name="T29" fmla="*/ 81777 h 312"/>
              <a:gd name="T30" fmla="*/ 405493 w 301"/>
              <a:gd name="T31" fmla="*/ 73015 h 312"/>
              <a:gd name="T32" fmla="*/ 440871 w 301"/>
              <a:gd name="T33" fmla="*/ 78856 h 312"/>
              <a:gd name="T34" fmla="*/ 470807 w 301"/>
              <a:gd name="T35" fmla="*/ 29206 h 312"/>
              <a:gd name="T36" fmla="*/ 487136 w 301"/>
              <a:gd name="T37" fmla="*/ 67174 h 312"/>
              <a:gd name="T38" fmla="*/ 484414 w 301"/>
              <a:gd name="T39" fmla="*/ 119744 h 312"/>
              <a:gd name="T40" fmla="*/ 525236 w 301"/>
              <a:gd name="T41" fmla="*/ 125585 h 312"/>
              <a:gd name="T42" fmla="*/ 549729 w 301"/>
              <a:gd name="T43" fmla="*/ 134347 h 312"/>
              <a:gd name="T44" fmla="*/ 612321 w 301"/>
              <a:gd name="T45" fmla="*/ 160633 h 312"/>
              <a:gd name="T46" fmla="*/ 625929 w 301"/>
              <a:gd name="T47" fmla="*/ 181077 h 312"/>
              <a:gd name="T48" fmla="*/ 688521 w 301"/>
              <a:gd name="T49" fmla="*/ 186918 h 312"/>
              <a:gd name="T50" fmla="*/ 767443 w 301"/>
              <a:gd name="T51" fmla="*/ 233647 h 312"/>
              <a:gd name="T52" fmla="*/ 819150 w 301"/>
              <a:gd name="T53" fmla="*/ 297900 h 312"/>
              <a:gd name="T54" fmla="*/ 770164 w 301"/>
              <a:gd name="T55" fmla="*/ 370915 h 312"/>
              <a:gd name="T56" fmla="*/ 729343 w 301"/>
              <a:gd name="T57" fmla="*/ 423486 h 312"/>
              <a:gd name="T58" fmla="*/ 726621 w 301"/>
              <a:gd name="T59" fmla="*/ 505263 h 312"/>
              <a:gd name="T60" fmla="*/ 713014 w 301"/>
              <a:gd name="T61" fmla="*/ 537389 h 312"/>
              <a:gd name="T62" fmla="*/ 691243 w 301"/>
              <a:gd name="T63" fmla="*/ 610404 h 312"/>
              <a:gd name="T64" fmla="*/ 653143 w 301"/>
              <a:gd name="T65" fmla="*/ 648372 h 312"/>
              <a:gd name="T66" fmla="*/ 571500 w 301"/>
              <a:gd name="T67" fmla="*/ 674657 h 312"/>
              <a:gd name="T68" fmla="*/ 530679 w 301"/>
              <a:gd name="T69" fmla="*/ 735989 h 312"/>
              <a:gd name="T70" fmla="*/ 514350 w 301"/>
              <a:gd name="T71" fmla="*/ 788560 h 312"/>
              <a:gd name="T72" fmla="*/ 468086 w 301"/>
              <a:gd name="T73" fmla="*/ 855734 h 312"/>
              <a:gd name="T74" fmla="*/ 432707 w 301"/>
              <a:gd name="T75" fmla="*/ 911225 h 312"/>
              <a:gd name="T76" fmla="*/ 432707 w 301"/>
              <a:gd name="T77" fmla="*/ 879098 h 312"/>
              <a:gd name="T78" fmla="*/ 372836 w 301"/>
              <a:gd name="T79" fmla="*/ 841131 h 312"/>
              <a:gd name="T80" fmla="*/ 351064 w 301"/>
              <a:gd name="T81" fmla="*/ 811925 h 312"/>
              <a:gd name="T82" fmla="*/ 419100 w 301"/>
              <a:gd name="T83" fmla="*/ 747672 h 312"/>
              <a:gd name="T84" fmla="*/ 419100 w 301"/>
              <a:gd name="T85" fmla="*/ 709704 h 312"/>
              <a:gd name="T86" fmla="*/ 408214 w 301"/>
              <a:gd name="T87" fmla="*/ 668816 h 312"/>
              <a:gd name="T88" fmla="*/ 381000 w 301"/>
              <a:gd name="T89" fmla="*/ 633769 h 312"/>
              <a:gd name="T90" fmla="*/ 337457 w 301"/>
              <a:gd name="T91" fmla="*/ 622086 h 312"/>
              <a:gd name="T92" fmla="*/ 342900 w 301"/>
              <a:gd name="T93" fmla="*/ 537389 h 312"/>
              <a:gd name="T94" fmla="*/ 326571 w 301"/>
              <a:gd name="T95" fmla="*/ 493580 h 312"/>
              <a:gd name="T96" fmla="*/ 285750 w 301"/>
              <a:gd name="T97" fmla="*/ 443930 h 312"/>
              <a:gd name="T98" fmla="*/ 253093 w 301"/>
              <a:gd name="T99" fmla="*/ 429327 h 312"/>
              <a:gd name="T100" fmla="*/ 195943 w 301"/>
              <a:gd name="T101" fmla="*/ 397201 h 312"/>
              <a:gd name="T102" fmla="*/ 182336 w 301"/>
              <a:gd name="T103" fmla="*/ 341709 h 312"/>
              <a:gd name="T104" fmla="*/ 114300 w 301"/>
              <a:gd name="T105" fmla="*/ 370915 h 312"/>
              <a:gd name="T106" fmla="*/ 95250 w 301"/>
              <a:gd name="T107" fmla="*/ 370915 h 312"/>
              <a:gd name="T108" fmla="*/ 70757 w 301"/>
              <a:gd name="T109" fmla="*/ 332948 h 31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01" h="312">
                <a:moveTo>
                  <a:pt x="16" y="119"/>
                </a:moveTo>
                <a:cubicBezTo>
                  <a:pt x="13" y="118"/>
                  <a:pt x="9" y="116"/>
                  <a:pt x="7" y="114"/>
                </a:cubicBezTo>
                <a:cubicBezTo>
                  <a:pt x="6" y="111"/>
                  <a:pt x="0" y="102"/>
                  <a:pt x="2" y="98"/>
                </a:cubicBezTo>
                <a:cubicBezTo>
                  <a:pt x="4" y="95"/>
                  <a:pt x="7" y="95"/>
                  <a:pt x="8" y="93"/>
                </a:cubicBezTo>
                <a:cubicBezTo>
                  <a:pt x="9" y="91"/>
                  <a:pt x="5" y="88"/>
                  <a:pt x="6" y="87"/>
                </a:cubicBezTo>
                <a:cubicBezTo>
                  <a:pt x="7" y="85"/>
                  <a:pt x="10" y="81"/>
                  <a:pt x="13" y="80"/>
                </a:cubicBezTo>
                <a:cubicBezTo>
                  <a:pt x="16" y="78"/>
                  <a:pt x="29" y="76"/>
                  <a:pt x="30" y="76"/>
                </a:cubicBezTo>
                <a:cubicBezTo>
                  <a:pt x="31" y="76"/>
                  <a:pt x="31" y="74"/>
                  <a:pt x="32" y="73"/>
                </a:cubicBezTo>
                <a:cubicBezTo>
                  <a:pt x="34" y="68"/>
                  <a:pt x="36" y="57"/>
                  <a:pt x="37" y="55"/>
                </a:cubicBezTo>
                <a:cubicBezTo>
                  <a:pt x="37" y="52"/>
                  <a:pt x="33" y="46"/>
                  <a:pt x="31" y="44"/>
                </a:cubicBezTo>
                <a:cubicBezTo>
                  <a:pt x="30" y="42"/>
                  <a:pt x="32" y="32"/>
                  <a:pt x="33" y="31"/>
                </a:cubicBezTo>
                <a:cubicBezTo>
                  <a:pt x="34" y="29"/>
                  <a:pt x="44" y="30"/>
                  <a:pt x="46" y="30"/>
                </a:cubicBezTo>
                <a:cubicBezTo>
                  <a:pt x="52" y="26"/>
                  <a:pt x="52" y="26"/>
                  <a:pt x="52" y="26"/>
                </a:cubicBezTo>
                <a:cubicBezTo>
                  <a:pt x="53" y="27"/>
                  <a:pt x="54" y="29"/>
                  <a:pt x="54" y="30"/>
                </a:cubicBezTo>
                <a:cubicBezTo>
                  <a:pt x="54" y="31"/>
                  <a:pt x="59" y="37"/>
                  <a:pt x="61" y="37"/>
                </a:cubicBezTo>
                <a:cubicBezTo>
                  <a:pt x="62" y="37"/>
                  <a:pt x="77" y="29"/>
                  <a:pt x="79" y="28"/>
                </a:cubicBezTo>
                <a:cubicBezTo>
                  <a:pt x="82" y="26"/>
                  <a:pt x="77" y="23"/>
                  <a:pt x="76" y="21"/>
                </a:cubicBezTo>
                <a:cubicBezTo>
                  <a:pt x="75" y="20"/>
                  <a:pt x="70" y="12"/>
                  <a:pt x="71" y="10"/>
                </a:cubicBezTo>
                <a:cubicBezTo>
                  <a:pt x="71" y="9"/>
                  <a:pt x="84" y="13"/>
                  <a:pt x="86" y="13"/>
                </a:cubicBezTo>
                <a:cubicBezTo>
                  <a:pt x="86" y="13"/>
                  <a:pt x="100" y="8"/>
                  <a:pt x="101" y="7"/>
                </a:cubicBezTo>
                <a:cubicBezTo>
                  <a:pt x="102" y="6"/>
                  <a:pt x="102" y="5"/>
                  <a:pt x="101" y="3"/>
                </a:cubicBezTo>
                <a:cubicBezTo>
                  <a:pt x="106" y="1"/>
                  <a:pt x="106" y="1"/>
                  <a:pt x="106" y="1"/>
                </a:cubicBezTo>
                <a:cubicBezTo>
                  <a:pt x="107" y="0"/>
                  <a:pt x="108" y="2"/>
                  <a:pt x="108" y="4"/>
                </a:cubicBezTo>
                <a:cubicBezTo>
                  <a:pt x="109" y="5"/>
                  <a:pt x="112" y="12"/>
                  <a:pt x="111" y="13"/>
                </a:cubicBezTo>
                <a:cubicBezTo>
                  <a:pt x="110" y="14"/>
                  <a:pt x="107" y="21"/>
                  <a:pt x="108" y="22"/>
                </a:cubicBezTo>
                <a:cubicBezTo>
                  <a:pt x="108" y="24"/>
                  <a:pt x="113" y="33"/>
                  <a:pt x="115" y="33"/>
                </a:cubicBezTo>
                <a:cubicBezTo>
                  <a:pt x="117" y="33"/>
                  <a:pt x="122" y="31"/>
                  <a:pt x="123" y="30"/>
                </a:cubicBezTo>
                <a:cubicBezTo>
                  <a:pt x="124" y="30"/>
                  <a:pt x="129" y="28"/>
                  <a:pt x="132" y="28"/>
                </a:cubicBezTo>
                <a:cubicBezTo>
                  <a:pt x="132" y="28"/>
                  <a:pt x="133" y="28"/>
                  <a:pt x="133" y="28"/>
                </a:cubicBezTo>
                <a:cubicBezTo>
                  <a:pt x="135" y="28"/>
                  <a:pt x="138" y="28"/>
                  <a:pt x="139" y="28"/>
                </a:cubicBezTo>
                <a:cubicBezTo>
                  <a:pt x="140" y="28"/>
                  <a:pt x="138" y="23"/>
                  <a:pt x="140" y="23"/>
                </a:cubicBezTo>
                <a:cubicBezTo>
                  <a:pt x="142" y="23"/>
                  <a:pt x="148" y="24"/>
                  <a:pt x="149" y="25"/>
                </a:cubicBezTo>
                <a:cubicBezTo>
                  <a:pt x="149" y="25"/>
                  <a:pt x="150" y="25"/>
                  <a:pt x="150" y="25"/>
                </a:cubicBezTo>
                <a:cubicBezTo>
                  <a:pt x="153" y="26"/>
                  <a:pt x="161" y="27"/>
                  <a:pt x="162" y="27"/>
                </a:cubicBezTo>
                <a:cubicBezTo>
                  <a:pt x="163" y="26"/>
                  <a:pt x="168" y="19"/>
                  <a:pt x="168" y="18"/>
                </a:cubicBezTo>
                <a:cubicBezTo>
                  <a:pt x="173" y="10"/>
                  <a:pt x="173" y="10"/>
                  <a:pt x="173" y="10"/>
                </a:cubicBezTo>
                <a:cubicBezTo>
                  <a:pt x="173" y="10"/>
                  <a:pt x="173" y="10"/>
                  <a:pt x="174" y="11"/>
                </a:cubicBezTo>
                <a:cubicBezTo>
                  <a:pt x="177" y="15"/>
                  <a:pt x="178" y="17"/>
                  <a:pt x="179" y="23"/>
                </a:cubicBezTo>
                <a:cubicBezTo>
                  <a:pt x="180" y="29"/>
                  <a:pt x="183" y="28"/>
                  <a:pt x="185" y="31"/>
                </a:cubicBezTo>
                <a:cubicBezTo>
                  <a:pt x="187" y="33"/>
                  <a:pt x="176" y="41"/>
                  <a:pt x="178" y="41"/>
                </a:cubicBezTo>
                <a:cubicBezTo>
                  <a:pt x="179" y="41"/>
                  <a:pt x="182" y="42"/>
                  <a:pt x="184" y="42"/>
                </a:cubicBezTo>
                <a:cubicBezTo>
                  <a:pt x="186" y="42"/>
                  <a:pt x="191" y="42"/>
                  <a:pt x="193" y="43"/>
                </a:cubicBezTo>
                <a:cubicBezTo>
                  <a:pt x="196" y="44"/>
                  <a:pt x="194" y="52"/>
                  <a:pt x="196" y="51"/>
                </a:cubicBezTo>
                <a:cubicBezTo>
                  <a:pt x="197" y="50"/>
                  <a:pt x="199" y="47"/>
                  <a:pt x="202" y="46"/>
                </a:cubicBezTo>
                <a:cubicBezTo>
                  <a:pt x="205" y="46"/>
                  <a:pt x="211" y="49"/>
                  <a:pt x="215" y="51"/>
                </a:cubicBezTo>
                <a:cubicBezTo>
                  <a:pt x="219" y="52"/>
                  <a:pt x="223" y="52"/>
                  <a:pt x="225" y="55"/>
                </a:cubicBezTo>
                <a:cubicBezTo>
                  <a:pt x="226" y="59"/>
                  <a:pt x="225" y="63"/>
                  <a:pt x="226" y="64"/>
                </a:cubicBezTo>
                <a:cubicBezTo>
                  <a:pt x="227" y="65"/>
                  <a:pt x="228" y="63"/>
                  <a:pt x="230" y="62"/>
                </a:cubicBezTo>
                <a:cubicBezTo>
                  <a:pt x="233" y="62"/>
                  <a:pt x="235" y="60"/>
                  <a:pt x="238" y="62"/>
                </a:cubicBezTo>
                <a:cubicBezTo>
                  <a:pt x="241" y="65"/>
                  <a:pt x="248" y="64"/>
                  <a:pt x="253" y="64"/>
                </a:cubicBezTo>
                <a:cubicBezTo>
                  <a:pt x="259" y="64"/>
                  <a:pt x="260" y="63"/>
                  <a:pt x="266" y="67"/>
                </a:cubicBezTo>
                <a:cubicBezTo>
                  <a:pt x="272" y="70"/>
                  <a:pt x="278" y="77"/>
                  <a:pt x="282" y="80"/>
                </a:cubicBezTo>
                <a:cubicBezTo>
                  <a:pt x="286" y="83"/>
                  <a:pt x="293" y="79"/>
                  <a:pt x="296" y="82"/>
                </a:cubicBezTo>
                <a:cubicBezTo>
                  <a:pt x="298" y="86"/>
                  <a:pt x="300" y="93"/>
                  <a:pt x="301" y="102"/>
                </a:cubicBezTo>
                <a:cubicBezTo>
                  <a:pt x="301" y="111"/>
                  <a:pt x="292" y="120"/>
                  <a:pt x="290" y="122"/>
                </a:cubicBezTo>
                <a:cubicBezTo>
                  <a:pt x="288" y="124"/>
                  <a:pt x="285" y="124"/>
                  <a:pt x="283" y="127"/>
                </a:cubicBezTo>
                <a:cubicBezTo>
                  <a:pt x="282" y="129"/>
                  <a:pt x="275" y="141"/>
                  <a:pt x="274" y="142"/>
                </a:cubicBezTo>
                <a:cubicBezTo>
                  <a:pt x="273" y="144"/>
                  <a:pt x="269" y="144"/>
                  <a:pt x="268" y="145"/>
                </a:cubicBezTo>
                <a:cubicBezTo>
                  <a:pt x="267" y="147"/>
                  <a:pt x="268" y="159"/>
                  <a:pt x="268" y="163"/>
                </a:cubicBezTo>
                <a:cubicBezTo>
                  <a:pt x="269" y="166"/>
                  <a:pt x="267" y="169"/>
                  <a:pt x="267" y="173"/>
                </a:cubicBezTo>
                <a:cubicBezTo>
                  <a:pt x="267" y="176"/>
                  <a:pt x="268" y="178"/>
                  <a:pt x="267" y="179"/>
                </a:cubicBezTo>
                <a:cubicBezTo>
                  <a:pt x="266" y="180"/>
                  <a:pt x="264" y="181"/>
                  <a:pt x="262" y="184"/>
                </a:cubicBezTo>
                <a:cubicBezTo>
                  <a:pt x="260" y="187"/>
                  <a:pt x="263" y="191"/>
                  <a:pt x="263" y="194"/>
                </a:cubicBezTo>
                <a:cubicBezTo>
                  <a:pt x="262" y="196"/>
                  <a:pt x="255" y="206"/>
                  <a:pt x="254" y="209"/>
                </a:cubicBezTo>
                <a:cubicBezTo>
                  <a:pt x="252" y="211"/>
                  <a:pt x="247" y="222"/>
                  <a:pt x="246" y="222"/>
                </a:cubicBezTo>
                <a:cubicBezTo>
                  <a:pt x="245" y="221"/>
                  <a:pt x="242" y="222"/>
                  <a:pt x="240" y="222"/>
                </a:cubicBezTo>
                <a:cubicBezTo>
                  <a:pt x="238" y="222"/>
                  <a:pt x="231" y="223"/>
                  <a:pt x="227" y="224"/>
                </a:cubicBezTo>
                <a:cubicBezTo>
                  <a:pt x="224" y="224"/>
                  <a:pt x="211" y="230"/>
                  <a:pt x="210" y="231"/>
                </a:cubicBezTo>
                <a:cubicBezTo>
                  <a:pt x="208" y="232"/>
                  <a:pt x="199" y="240"/>
                  <a:pt x="197" y="242"/>
                </a:cubicBezTo>
                <a:cubicBezTo>
                  <a:pt x="194" y="244"/>
                  <a:pt x="195" y="248"/>
                  <a:pt x="195" y="252"/>
                </a:cubicBezTo>
                <a:cubicBezTo>
                  <a:pt x="195" y="256"/>
                  <a:pt x="194" y="264"/>
                  <a:pt x="194" y="266"/>
                </a:cubicBezTo>
                <a:cubicBezTo>
                  <a:pt x="194" y="268"/>
                  <a:pt x="191" y="269"/>
                  <a:pt x="189" y="270"/>
                </a:cubicBezTo>
                <a:cubicBezTo>
                  <a:pt x="187" y="272"/>
                  <a:pt x="183" y="280"/>
                  <a:pt x="182" y="284"/>
                </a:cubicBezTo>
                <a:cubicBezTo>
                  <a:pt x="181" y="287"/>
                  <a:pt x="177" y="291"/>
                  <a:pt x="172" y="293"/>
                </a:cubicBezTo>
                <a:cubicBezTo>
                  <a:pt x="167" y="296"/>
                  <a:pt x="167" y="300"/>
                  <a:pt x="164" y="304"/>
                </a:cubicBezTo>
                <a:cubicBezTo>
                  <a:pt x="163" y="307"/>
                  <a:pt x="160" y="310"/>
                  <a:pt x="159" y="312"/>
                </a:cubicBezTo>
                <a:cubicBezTo>
                  <a:pt x="156" y="309"/>
                  <a:pt x="156" y="309"/>
                  <a:pt x="156" y="309"/>
                </a:cubicBezTo>
                <a:cubicBezTo>
                  <a:pt x="155" y="308"/>
                  <a:pt x="158" y="302"/>
                  <a:pt x="159" y="301"/>
                </a:cubicBezTo>
                <a:cubicBezTo>
                  <a:pt x="160" y="299"/>
                  <a:pt x="146" y="291"/>
                  <a:pt x="144" y="289"/>
                </a:cubicBezTo>
                <a:cubicBezTo>
                  <a:pt x="142" y="287"/>
                  <a:pt x="138" y="289"/>
                  <a:pt x="137" y="288"/>
                </a:cubicBezTo>
                <a:cubicBezTo>
                  <a:pt x="136" y="286"/>
                  <a:pt x="137" y="284"/>
                  <a:pt x="133" y="281"/>
                </a:cubicBezTo>
                <a:cubicBezTo>
                  <a:pt x="129" y="278"/>
                  <a:pt x="129" y="278"/>
                  <a:pt x="129" y="278"/>
                </a:cubicBezTo>
                <a:cubicBezTo>
                  <a:pt x="133" y="274"/>
                  <a:pt x="138" y="269"/>
                  <a:pt x="141" y="266"/>
                </a:cubicBezTo>
                <a:cubicBezTo>
                  <a:pt x="145" y="263"/>
                  <a:pt x="151" y="257"/>
                  <a:pt x="154" y="256"/>
                </a:cubicBezTo>
                <a:cubicBezTo>
                  <a:pt x="156" y="255"/>
                  <a:pt x="156" y="250"/>
                  <a:pt x="157" y="249"/>
                </a:cubicBezTo>
                <a:cubicBezTo>
                  <a:pt x="158" y="247"/>
                  <a:pt x="156" y="243"/>
                  <a:pt x="154" y="243"/>
                </a:cubicBezTo>
                <a:cubicBezTo>
                  <a:pt x="154" y="243"/>
                  <a:pt x="151" y="243"/>
                  <a:pt x="149" y="243"/>
                </a:cubicBezTo>
                <a:cubicBezTo>
                  <a:pt x="149" y="241"/>
                  <a:pt x="152" y="230"/>
                  <a:pt x="150" y="229"/>
                </a:cubicBezTo>
                <a:cubicBezTo>
                  <a:pt x="149" y="227"/>
                  <a:pt x="143" y="231"/>
                  <a:pt x="142" y="229"/>
                </a:cubicBezTo>
                <a:cubicBezTo>
                  <a:pt x="141" y="227"/>
                  <a:pt x="141" y="219"/>
                  <a:pt x="140" y="217"/>
                </a:cubicBezTo>
                <a:cubicBezTo>
                  <a:pt x="140" y="215"/>
                  <a:pt x="136" y="215"/>
                  <a:pt x="134" y="215"/>
                </a:cubicBezTo>
                <a:cubicBezTo>
                  <a:pt x="132" y="215"/>
                  <a:pt x="124" y="215"/>
                  <a:pt x="124" y="213"/>
                </a:cubicBezTo>
                <a:cubicBezTo>
                  <a:pt x="124" y="212"/>
                  <a:pt x="123" y="200"/>
                  <a:pt x="123" y="197"/>
                </a:cubicBezTo>
                <a:cubicBezTo>
                  <a:pt x="123" y="194"/>
                  <a:pt x="126" y="186"/>
                  <a:pt x="126" y="184"/>
                </a:cubicBezTo>
                <a:cubicBezTo>
                  <a:pt x="127" y="181"/>
                  <a:pt x="121" y="177"/>
                  <a:pt x="120" y="176"/>
                </a:cubicBezTo>
                <a:cubicBezTo>
                  <a:pt x="120" y="175"/>
                  <a:pt x="122" y="169"/>
                  <a:pt x="120" y="169"/>
                </a:cubicBezTo>
                <a:cubicBezTo>
                  <a:pt x="119" y="169"/>
                  <a:pt x="106" y="168"/>
                  <a:pt x="106" y="167"/>
                </a:cubicBezTo>
                <a:cubicBezTo>
                  <a:pt x="106" y="166"/>
                  <a:pt x="105" y="154"/>
                  <a:pt x="105" y="152"/>
                </a:cubicBezTo>
                <a:cubicBezTo>
                  <a:pt x="106" y="150"/>
                  <a:pt x="103" y="148"/>
                  <a:pt x="101" y="146"/>
                </a:cubicBezTo>
                <a:cubicBezTo>
                  <a:pt x="99" y="145"/>
                  <a:pt x="94" y="147"/>
                  <a:pt x="93" y="147"/>
                </a:cubicBezTo>
                <a:cubicBezTo>
                  <a:pt x="91" y="146"/>
                  <a:pt x="86" y="141"/>
                  <a:pt x="84" y="140"/>
                </a:cubicBezTo>
                <a:cubicBezTo>
                  <a:pt x="82" y="139"/>
                  <a:pt x="74" y="137"/>
                  <a:pt x="72" y="136"/>
                </a:cubicBezTo>
                <a:cubicBezTo>
                  <a:pt x="69" y="135"/>
                  <a:pt x="67" y="129"/>
                  <a:pt x="66" y="127"/>
                </a:cubicBezTo>
                <a:cubicBezTo>
                  <a:pt x="66" y="125"/>
                  <a:pt x="68" y="119"/>
                  <a:pt x="67" y="117"/>
                </a:cubicBezTo>
                <a:cubicBezTo>
                  <a:pt x="66" y="115"/>
                  <a:pt x="64" y="116"/>
                  <a:pt x="61" y="117"/>
                </a:cubicBezTo>
                <a:cubicBezTo>
                  <a:pt x="58" y="117"/>
                  <a:pt x="43" y="126"/>
                  <a:pt x="42" y="127"/>
                </a:cubicBezTo>
                <a:cubicBezTo>
                  <a:pt x="37" y="129"/>
                  <a:pt x="37" y="129"/>
                  <a:pt x="37" y="129"/>
                </a:cubicBezTo>
                <a:cubicBezTo>
                  <a:pt x="36" y="128"/>
                  <a:pt x="35" y="127"/>
                  <a:pt x="35" y="127"/>
                </a:cubicBezTo>
                <a:cubicBezTo>
                  <a:pt x="33" y="126"/>
                  <a:pt x="29" y="126"/>
                  <a:pt x="28" y="126"/>
                </a:cubicBezTo>
                <a:cubicBezTo>
                  <a:pt x="26" y="126"/>
                  <a:pt x="27" y="115"/>
                  <a:pt x="26" y="114"/>
                </a:cubicBezTo>
                <a:cubicBezTo>
                  <a:pt x="25" y="114"/>
                  <a:pt x="18" y="121"/>
                  <a:pt x="16" y="119"/>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5" name="Freeform 43"/>
          <p:cNvSpPr>
            <a:spLocks/>
          </p:cNvSpPr>
          <p:nvPr>
            <p:custDataLst>
              <p:tags r:id="rId41"/>
            </p:custDataLst>
          </p:nvPr>
        </p:nvSpPr>
        <p:spPr bwMode="auto">
          <a:xfrm>
            <a:off x="4411904" y="4547634"/>
            <a:ext cx="194927" cy="214244"/>
          </a:xfrm>
          <a:custGeom>
            <a:avLst/>
            <a:gdLst>
              <a:gd name="T0" fmla="*/ 46086 w 65"/>
              <a:gd name="T1" fmla="*/ 111510 h 66"/>
              <a:gd name="T2" fmla="*/ 2711 w 65"/>
              <a:gd name="T3" fmla="*/ 70427 h 66"/>
              <a:gd name="T4" fmla="*/ 0 w 65"/>
              <a:gd name="T5" fmla="*/ 67493 h 66"/>
              <a:gd name="T6" fmla="*/ 0 w 65"/>
              <a:gd name="T7" fmla="*/ 67493 h 66"/>
              <a:gd name="T8" fmla="*/ 8133 w 65"/>
              <a:gd name="T9" fmla="*/ 46952 h 66"/>
              <a:gd name="T10" fmla="*/ 18977 w 65"/>
              <a:gd name="T11" fmla="*/ 8803 h 66"/>
              <a:gd name="T12" fmla="*/ 51508 w 65"/>
              <a:gd name="T13" fmla="*/ 0 h 66"/>
              <a:gd name="T14" fmla="*/ 81329 w 65"/>
              <a:gd name="T15" fmla="*/ 2934 h 66"/>
              <a:gd name="T16" fmla="*/ 97595 w 65"/>
              <a:gd name="T17" fmla="*/ 14672 h 66"/>
              <a:gd name="T18" fmla="*/ 100306 w 65"/>
              <a:gd name="T19" fmla="*/ 61624 h 66"/>
              <a:gd name="T20" fmla="*/ 127416 w 65"/>
              <a:gd name="T21" fmla="*/ 67493 h 66"/>
              <a:gd name="T22" fmla="*/ 143681 w 65"/>
              <a:gd name="T23" fmla="*/ 73362 h 66"/>
              <a:gd name="T24" fmla="*/ 149103 w 65"/>
              <a:gd name="T25" fmla="*/ 108575 h 66"/>
              <a:gd name="T26" fmla="*/ 170791 w 65"/>
              <a:gd name="T27" fmla="*/ 108575 h 66"/>
              <a:gd name="T28" fmla="*/ 168080 w 65"/>
              <a:gd name="T29" fmla="*/ 149658 h 66"/>
              <a:gd name="T30" fmla="*/ 154525 w 65"/>
              <a:gd name="T31" fmla="*/ 176068 h 66"/>
              <a:gd name="T32" fmla="*/ 121994 w 65"/>
              <a:gd name="T33" fmla="*/ 193675 h 66"/>
              <a:gd name="T34" fmla="*/ 84040 w 65"/>
              <a:gd name="T35" fmla="*/ 187806 h 66"/>
              <a:gd name="T36" fmla="*/ 105728 w 65"/>
              <a:gd name="T37" fmla="*/ 146723 h 66"/>
              <a:gd name="T38" fmla="*/ 46086 w 65"/>
              <a:gd name="T39" fmla="*/ 111510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5" h="66">
                <a:moveTo>
                  <a:pt x="17" y="38"/>
                </a:moveTo>
                <a:cubicBezTo>
                  <a:pt x="15" y="37"/>
                  <a:pt x="1" y="27"/>
                  <a:pt x="1" y="24"/>
                </a:cubicBezTo>
                <a:cubicBezTo>
                  <a:pt x="1" y="24"/>
                  <a:pt x="1" y="23"/>
                  <a:pt x="0" y="23"/>
                </a:cubicBezTo>
                <a:cubicBezTo>
                  <a:pt x="0" y="23"/>
                  <a:pt x="0" y="23"/>
                  <a:pt x="0" y="23"/>
                </a:cubicBezTo>
                <a:cubicBezTo>
                  <a:pt x="3" y="16"/>
                  <a:pt x="3" y="16"/>
                  <a:pt x="3" y="16"/>
                </a:cubicBezTo>
                <a:cubicBezTo>
                  <a:pt x="3" y="14"/>
                  <a:pt x="5" y="4"/>
                  <a:pt x="7" y="3"/>
                </a:cubicBezTo>
                <a:cubicBezTo>
                  <a:pt x="7" y="2"/>
                  <a:pt x="17" y="0"/>
                  <a:pt x="19" y="0"/>
                </a:cubicBezTo>
                <a:cubicBezTo>
                  <a:pt x="22" y="0"/>
                  <a:pt x="30" y="1"/>
                  <a:pt x="30" y="1"/>
                </a:cubicBezTo>
                <a:cubicBezTo>
                  <a:pt x="36" y="5"/>
                  <a:pt x="36" y="5"/>
                  <a:pt x="36" y="5"/>
                </a:cubicBezTo>
                <a:cubicBezTo>
                  <a:pt x="36" y="8"/>
                  <a:pt x="37" y="20"/>
                  <a:pt x="37" y="21"/>
                </a:cubicBezTo>
                <a:cubicBezTo>
                  <a:pt x="37" y="23"/>
                  <a:pt x="45" y="23"/>
                  <a:pt x="47" y="23"/>
                </a:cubicBezTo>
                <a:cubicBezTo>
                  <a:pt x="49" y="23"/>
                  <a:pt x="53" y="23"/>
                  <a:pt x="53" y="25"/>
                </a:cubicBezTo>
                <a:cubicBezTo>
                  <a:pt x="54" y="27"/>
                  <a:pt x="54" y="35"/>
                  <a:pt x="55" y="37"/>
                </a:cubicBezTo>
                <a:cubicBezTo>
                  <a:pt x="56" y="39"/>
                  <a:pt x="62" y="35"/>
                  <a:pt x="63" y="37"/>
                </a:cubicBezTo>
                <a:cubicBezTo>
                  <a:pt x="65" y="38"/>
                  <a:pt x="62" y="49"/>
                  <a:pt x="62" y="51"/>
                </a:cubicBezTo>
                <a:cubicBezTo>
                  <a:pt x="61" y="53"/>
                  <a:pt x="59" y="59"/>
                  <a:pt x="57" y="60"/>
                </a:cubicBezTo>
                <a:cubicBezTo>
                  <a:pt x="55" y="61"/>
                  <a:pt x="49" y="66"/>
                  <a:pt x="45" y="66"/>
                </a:cubicBezTo>
                <a:cubicBezTo>
                  <a:pt x="41" y="66"/>
                  <a:pt x="33" y="66"/>
                  <a:pt x="31" y="64"/>
                </a:cubicBezTo>
                <a:cubicBezTo>
                  <a:pt x="29" y="62"/>
                  <a:pt x="39" y="52"/>
                  <a:pt x="39" y="50"/>
                </a:cubicBezTo>
                <a:cubicBezTo>
                  <a:pt x="39" y="49"/>
                  <a:pt x="21" y="40"/>
                  <a:pt x="17" y="3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6" name="Freeform 45"/>
          <p:cNvSpPr>
            <a:spLocks/>
          </p:cNvSpPr>
          <p:nvPr>
            <p:custDataLst>
              <p:tags r:id="rId42"/>
            </p:custDataLst>
          </p:nvPr>
        </p:nvSpPr>
        <p:spPr bwMode="auto">
          <a:xfrm>
            <a:off x="4599806" y="3920708"/>
            <a:ext cx="70244" cy="94829"/>
          </a:xfrm>
          <a:custGeom>
            <a:avLst/>
            <a:gdLst>
              <a:gd name="T0" fmla="*/ 8283 w 23"/>
              <a:gd name="T1" fmla="*/ 51435 h 30"/>
              <a:gd name="T2" fmla="*/ 0 w 23"/>
              <a:gd name="T3" fmla="*/ 34290 h 30"/>
              <a:gd name="T4" fmla="*/ 8283 w 23"/>
              <a:gd name="T5" fmla="*/ 17145 h 30"/>
              <a:gd name="T6" fmla="*/ 8283 w 23"/>
              <a:gd name="T7" fmla="*/ 0 h 30"/>
              <a:gd name="T8" fmla="*/ 8283 w 23"/>
              <a:gd name="T9" fmla="*/ 0 h 30"/>
              <a:gd name="T10" fmla="*/ 24848 w 23"/>
              <a:gd name="T11" fmla="*/ 5715 h 30"/>
              <a:gd name="T12" fmla="*/ 63500 w 23"/>
              <a:gd name="T13" fmla="*/ 37148 h 30"/>
              <a:gd name="T14" fmla="*/ 49696 w 23"/>
              <a:gd name="T15" fmla="*/ 60008 h 30"/>
              <a:gd name="T16" fmla="*/ 33130 w 23"/>
              <a:gd name="T17" fmla="*/ 85725 h 30"/>
              <a:gd name="T18" fmla="*/ 0 w 23"/>
              <a:gd name="T19" fmla="*/ 80010 h 30"/>
              <a:gd name="T20" fmla="*/ 8283 w 23"/>
              <a:gd name="T21" fmla="*/ 51435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30">
                <a:moveTo>
                  <a:pt x="3" y="18"/>
                </a:moveTo>
                <a:cubicBezTo>
                  <a:pt x="3" y="16"/>
                  <a:pt x="0" y="14"/>
                  <a:pt x="0" y="12"/>
                </a:cubicBezTo>
                <a:cubicBezTo>
                  <a:pt x="0" y="9"/>
                  <a:pt x="3" y="7"/>
                  <a:pt x="3" y="6"/>
                </a:cubicBezTo>
                <a:cubicBezTo>
                  <a:pt x="3" y="5"/>
                  <a:pt x="3" y="0"/>
                  <a:pt x="3" y="0"/>
                </a:cubicBezTo>
                <a:cubicBezTo>
                  <a:pt x="3" y="0"/>
                  <a:pt x="3" y="0"/>
                  <a:pt x="3" y="0"/>
                </a:cubicBezTo>
                <a:cubicBezTo>
                  <a:pt x="5" y="1"/>
                  <a:pt x="7" y="1"/>
                  <a:pt x="9" y="2"/>
                </a:cubicBezTo>
                <a:cubicBezTo>
                  <a:pt x="14" y="4"/>
                  <a:pt x="19" y="8"/>
                  <a:pt x="23" y="13"/>
                </a:cubicBezTo>
                <a:cubicBezTo>
                  <a:pt x="18" y="21"/>
                  <a:pt x="18" y="21"/>
                  <a:pt x="18" y="21"/>
                </a:cubicBezTo>
                <a:cubicBezTo>
                  <a:pt x="18" y="22"/>
                  <a:pt x="13" y="29"/>
                  <a:pt x="12" y="30"/>
                </a:cubicBezTo>
                <a:cubicBezTo>
                  <a:pt x="11" y="30"/>
                  <a:pt x="3" y="29"/>
                  <a:pt x="0" y="28"/>
                </a:cubicBezTo>
                <a:cubicBezTo>
                  <a:pt x="0" y="28"/>
                  <a:pt x="3" y="20"/>
                  <a:pt x="3" y="1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7" name="Freeform 46"/>
          <p:cNvSpPr>
            <a:spLocks/>
          </p:cNvSpPr>
          <p:nvPr>
            <p:custDataLst>
              <p:tags r:id="rId43"/>
            </p:custDataLst>
          </p:nvPr>
        </p:nvSpPr>
        <p:spPr bwMode="auto">
          <a:xfrm>
            <a:off x="4517270" y="3915439"/>
            <a:ext cx="91317" cy="103610"/>
          </a:xfrm>
          <a:custGeom>
            <a:avLst/>
            <a:gdLst>
              <a:gd name="T0" fmla="*/ 15977 w 31"/>
              <a:gd name="T1" fmla="*/ 61466 h 32"/>
              <a:gd name="T2" fmla="*/ 5326 w 31"/>
              <a:gd name="T3" fmla="*/ 52685 h 32"/>
              <a:gd name="T4" fmla="*/ 2663 w 31"/>
              <a:gd name="T5" fmla="*/ 32197 h 32"/>
              <a:gd name="T6" fmla="*/ 15977 w 31"/>
              <a:gd name="T7" fmla="*/ 20489 h 32"/>
              <a:gd name="T8" fmla="*/ 21303 w 31"/>
              <a:gd name="T9" fmla="*/ 0 h 32"/>
              <a:gd name="T10" fmla="*/ 53258 w 31"/>
              <a:gd name="T11" fmla="*/ 2927 h 32"/>
              <a:gd name="T12" fmla="*/ 82550 w 31"/>
              <a:gd name="T13" fmla="*/ 2927 h 32"/>
              <a:gd name="T14" fmla="*/ 82550 w 31"/>
              <a:gd name="T15" fmla="*/ 2927 h 32"/>
              <a:gd name="T16" fmla="*/ 82550 w 31"/>
              <a:gd name="T17" fmla="*/ 20489 h 32"/>
              <a:gd name="T18" fmla="*/ 74561 w 31"/>
              <a:gd name="T19" fmla="*/ 38051 h 32"/>
              <a:gd name="T20" fmla="*/ 82550 w 31"/>
              <a:gd name="T21" fmla="*/ 55612 h 32"/>
              <a:gd name="T22" fmla="*/ 74561 w 31"/>
              <a:gd name="T23" fmla="*/ 84882 h 32"/>
              <a:gd name="T24" fmla="*/ 71898 w 31"/>
              <a:gd name="T25" fmla="*/ 84882 h 32"/>
              <a:gd name="T26" fmla="*/ 47932 w 31"/>
              <a:gd name="T27" fmla="*/ 79028 h 32"/>
              <a:gd name="T28" fmla="*/ 45269 w 31"/>
              <a:gd name="T29" fmla="*/ 93663 h 32"/>
              <a:gd name="T30" fmla="*/ 29292 w 31"/>
              <a:gd name="T31" fmla="*/ 93663 h 32"/>
              <a:gd name="T32" fmla="*/ 26629 w 31"/>
              <a:gd name="T33" fmla="*/ 93663 h 32"/>
              <a:gd name="T34" fmla="*/ 26629 w 31"/>
              <a:gd name="T35" fmla="*/ 93663 h 32"/>
              <a:gd name="T36" fmla="*/ 15977 w 31"/>
              <a:gd name="T37" fmla="*/ 61466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1" h="32">
                <a:moveTo>
                  <a:pt x="6" y="21"/>
                </a:moveTo>
                <a:cubicBezTo>
                  <a:pt x="6" y="21"/>
                  <a:pt x="2" y="19"/>
                  <a:pt x="2" y="18"/>
                </a:cubicBezTo>
                <a:cubicBezTo>
                  <a:pt x="1" y="17"/>
                  <a:pt x="0" y="13"/>
                  <a:pt x="1" y="11"/>
                </a:cubicBezTo>
                <a:cubicBezTo>
                  <a:pt x="1" y="8"/>
                  <a:pt x="6" y="9"/>
                  <a:pt x="6" y="7"/>
                </a:cubicBezTo>
                <a:cubicBezTo>
                  <a:pt x="8" y="0"/>
                  <a:pt x="8" y="0"/>
                  <a:pt x="8" y="0"/>
                </a:cubicBezTo>
                <a:cubicBezTo>
                  <a:pt x="10" y="0"/>
                  <a:pt x="12" y="1"/>
                  <a:pt x="20" y="1"/>
                </a:cubicBezTo>
                <a:cubicBezTo>
                  <a:pt x="26" y="1"/>
                  <a:pt x="29" y="1"/>
                  <a:pt x="31" y="1"/>
                </a:cubicBezTo>
                <a:cubicBezTo>
                  <a:pt x="31" y="1"/>
                  <a:pt x="31" y="1"/>
                  <a:pt x="31" y="1"/>
                </a:cubicBezTo>
                <a:cubicBezTo>
                  <a:pt x="31" y="1"/>
                  <a:pt x="31" y="6"/>
                  <a:pt x="31" y="7"/>
                </a:cubicBezTo>
                <a:cubicBezTo>
                  <a:pt x="31" y="8"/>
                  <a:pt x="28" y="10"/>
                  <a:pt x="28" y="13"/>
                </a:cubicBezTo>
                <a:cubicBezTo>
                  <a:pt x="28" y="15"/>
                  <a:pt x="31" y="17"/>
                  <a:pt x="31" y="19"/>
                </a:cubicBezTo>
                <a:cubicBezTo>
                  <a:pt x="31" y="21"/>
                  <a:pt x="28" y="29"/>
                  <a:pt x="28" y="29"/>
                </a:cubicBezTo>
                <a:cubicBezTo>
                  <a:pt x="28" y="29"/>
                  <a:pt x="27" y="29"/>
                  <a:pt x="27" y="29"/>
                </a:cubicBezTo>
                <a:cubicBezTo>
                  <a:pt x="26" y="28"/>
                  <a:pt x="20" y="27"/>
                  <a:pt x="18" y="27"/>
                </a:cubicBezTo>
                <a:cubicBezTo>
                  <a:pt x="16" y="27"/>
                  <a:pt x="18" y="32"/>
                  <a:pt x="17" y="32"/>
                </a:cubicBezTo>
                <a:cubicBezTo>
                  <a:pt x="16" y="32"/>
                  <a:pt x="13" y="32"/>
                  <a:pt x="11" y="32"/>
                </a:cubicBezTo>
                <a:cubicBezTo>
                  <a:pt x="11" y="32"/>
                  <a:pt x="10" y="32"/>
                  <a:pt x="10" y="32"/>
                </a:cubicBezTo>
                <a:cubicBezTo>
                  <a:pt x="10" y="32"/>
                  <a:pt x="10" y="32"/>
                  <a:pt x="10" y="32"/>
                </a:cubicBezTo>
                <a:cubicBezTo>
                  <a:pt x="10" y="32"/>
                  <a:pt x="6" y="22"/>
                  <a:pt x="6" y="2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8" name="Freeform 47"/>
          <p:cNvSpPr>
            <a:spLocks/>
          </p:cNvSpPr>
          <p:nvPr>
            <p:custDataLst>
              <p:tags r:id="rId44"/>
            </p:custDataLst>
          </p:nvPr>
        </p:nvSpPr>
        <p:spPr bwMode="auto">
          <a:xfrm>
            <a:off x="4438245" y="3859244"/>
            <a:ext cx="108878" cy="175610"/>
          </a:xfrm>
          <a:custGeom>
            <a:avLst/>
            <a:gdLst>
              <a:gd name="T0" fmla="*/ 13670 w 36"/>
              <a:gd name="T1" fmla="*/ 72159 h 55"/>
              <a:gd name="T2" fmla="*/ 2734 w 36"/>
              <a:gd name="T3" fmla="*/ 57727 h 55"/>
              <a:gd name="T4" fmla="*/ 16404 w 36"/>
              <a:gd name="T5" fmla="*/ 31750 h 55"/>
              <a:gd name="T6" fmla="*/ 27340 w 36"/>
              <a:gd name="T7" fmla="*/ 14432 h 55"/>
              <a:gd name="T8" fmla="*/ 38276 w 36"/>
              <a:gd name="T9" fmla="*/ 0 h 55"/>
              <a:gd name="T10" fmla="*/ 65617 w 36"/>
              <a:gd name="T11" fmla="*/ 28864 h 55"/>
              <a:gd name="T12" fmla="*/ 92957 w 36"/>
              <a:gd name="T13" fmla="*/ 51955 h 55"/>
              <a:gd name="T14" fmla="*/ 87489 w 36"/>
              <a:gd name="T15" fmla="*/ 72159 h 55"/>
              <a:gd name="T16" fmla="*/ 73819 w 36"/>
              <a:gd name="T17" fmla="*/ 83705 h 55"/>
              <a:gd name="T18" fmla="*/ 76553 w 36"/>
              <a:gd name="T19" fmla="*/ 103909 h 55"/>
              <a:gd name="T20" fmla="*/ 87489 w 36"/>
              <a:gd name="T21" fmla="*/ 112568 h 55"/>
              <a:gd name="T22" fmla="*/ 98425 w 36"/>
              <a:gd name="T23" fmla="*/ 144318 h 55"/>
              <a:gd name="T24" fmla="*/ 98425 w 36"/>
              <a:gd name="T25" fmla="*/ 144318 h 55"/>
              <a:gd name="T26" fmla="*/ 73819 w 36"/>
              <a:gd name="T27" fmla="*/ 150091 h 55"/>
              <a:gd name="T28" fmla="*/ 51947 w 36"/>
              <a:gd name="T29" fmla="*/ 158750 h 55"/>
              <a:gd name="T30" fmla="*/ 32808 w 36"/>
              <a:gd name="T31" fmla="*/ 127000 h 55"/>
              <a:gd name="T32" fmla="*/ 41010 w 36"/>
              <a:gd name="T33" fmla="*/ 101023 h 55"/>
              <a:gd name="T34" fmla="*/ 32808 w 36"/>
              <a:gd name="T35" fmla="*/ 75045 h 55"/>
              <a:gd name="T36" fmla="*/ 27340 w 36"/>
              <a:gd name="T37" fmla="*/ 66386 h 55"/>
              <a:gd name="T38" fmla="*/ 13670 w 36"/>
              <a:gd name="T39" fmla="*/ 72159 h 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 h="55">
                <a:moveTo>
                  <a:pt x="5" y="25"/>
                </a:moveTo>
                <a:cubicBezTo>
                  <a:pt x="4" y="23"/>
                  <a:pt x="2" y="21"/>
                  <a:pt x="1" y="20"/>
                </a:cubicBezTo>
                <a:cubicBezTo>
                  <a:pt x="0" y="18"/>
                  <a:pt x="4" y="12"/>
                  <a:pt x="6" y="11"/>
                </a:cubicBezTo>
                <a:cubicBezTo>
                  <a:pt x="7" y="9"/>
                  <a:pt x="9" y="6"/>
                  <a:pt x="10" y="5"/>
                </a:cubicBezTo>
                <a:cubicBezTo>
                  <a:pt x="14" y="0"/>
                  <a:pt x="14" y="0"/>
                  <a:pt x="14" y="0"/>
                </a:cubicBezTo>
                <a:cubicBezTo>
                  <a:pt x="16" y="2"/>
                  <a:pt x="20" y="5"/>
                  <a:pt x="24" y="10"/>
                </a:cubicBezTo>
                <a:cubicBezTo>
                  <a:pt x="28" y="14"/>
                  <a:pt x="32" y="17"/>
                  <a:pt x="34" y="18"/>
                </a:cubicBezTo>
                <a:cubicBezTo>
                  <a:pt x="32" y="25"/>
                  <a:pt x="32" y="25"/>
                  <a:pt x="32" y="25"/>
                </a:cubicBezTo>
                <a:cubicBezTo>
                  <a:pt x="32" y="27"/>
                  <a:pt x="27" y="26"/>
                  <a:pt x="27" y="29"/>
                </a:cubicBezTo>
                <a:cubicBezTo>
                  <a:pt x="26" y="31"/>
                  <a:pt x="27" y="35"/>
                  <a:pt x="28" y="36"/>
                </a:cubicBezTo>
                <a:cubicBezTo>
                  <a:pt x="28" y="37"/>
                  <a:pt x="32" y="39"/>
                  <a:pt x="32" y="39"/>
                </a:cubicBezTo>
                <a:cubicBezTo>
                  <a:pt x="32" y="40"/>
                  <a:pt x="36" y="50"/>
                  <a:pt x="36" y="50"/>
                </a:cubicBezTo>
                <a:cubicBezTo>
                  <a:pt x="36" y="50"/>
                  <a:pt x="36" y="50"/>
                  <a:pt x="36" y="50"/>
                </a:cubicBezTo>
                <a:cubicBezTo>
                  <a:pt x="33" y="50"/>
                  <a:pt x="28" y="52"/>
                  <a:pt x="27" y="52"/>
                </a:cubicBezTo>
                <a:cubicBezTo>
                  <a:pt x="26" y="53"/>
                  <a:pt x="21" y="55"/>
                  <a:pt x="19" y="55"/>
                </a:cubicBezTo>
                <a:cubicBezTo>
                  <a:pt x="17" y="55"/>
                  <a:pt x="12" y="46"/>
                  <a:pt x="12" y="44"/>
                </a:cubicBezTo>
                <a:cubicBezTo>
                  <a:pt x="11" y="43"/>
                  <a:pt x="14" y="36"/>
                  <a:pt x="15" y="35"/>
                </a:cubicBezTo>
                <a:cubicBezTo>
                  <a:pt x="16" y="34"/>
                  <a:pt x="13" y="27"/>
                  <a:pt x="12" y="26"/>
                </a:cubicBezTo>
                <a:cubicBezTo>
                  <a:pt x="12" y="24"/>
                  <a:pt x="11" y="22"/>
                  <a:pt x="10" y="23"/>
                </a:cubicBezTo>
                <a:lnTo>
                  <a:pt x="5" y="25"/>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9" name="Freeform 49"/>
          <p:cNvSpPr>
            <a:spLocks/>
          </p:cNvSpPr>
          <p:nvPr>
            <p:custDataLst>
              <p:tags r:id="rId45"/>
            </p:custDataLst>
          </p:nvPr>
        </p:nvSpPr>
        <p:spPr bwMode="auto">
          <a:xfrm>
            <a:off x="4512002" y="4825098"/>
            <a:ext cx="119415" cy="138732"/>
          </a:xfrm>
          <a:custGeom>
            <a:avLst/>
            <a:gdLst>
              <a:gd name="T0" fmla="*/ 0 w 40"/>
              <a:gd name="T1" fmla="*/ 102080 h 43"/>
              <a:gd name="T2" fmla="*/ 8096 w 40"/>
              <a:gd name="T3" fmla="*/ 32082 h 43"/>
              <a:gd name="T4" fmla="*/ 16193 w 40"/>
              <a:gd name="T5" fmla="*/ 8750 h 43"/>
              <a:gd name="T6" fmla="*/ 24289 w 40"/>
              <a:gd name="T7" fmla="*/ 0 h 43"/>
              <a:gd name="T8" fmla="*/ 35084 w 40"/>
              <a:gd name="T9" fmla="*/ 8750 h 43"/>
              <a:gd name="T10" fmla="*/ 45879 w 40"/>
              <a:gd name="T11" fmla="*/ 29166 h 43"/>
              <a:gd name="T12" fmla="*/ 64770 w 40"/>
              <a:gd name="T13" fmla="*/ 32082 h 43"/>
              <a:gd name="T14" fmla="*/ 105251 w 40"/>
              <a:gd name="T15" fmla="*/ 67081 h 43"/>
              <a:gd name="T16" fmla="*/ 97155 w 40"/>
              <a:gd name="T17" fmla="*/ 90414 h 43"/>
              <a:gd name="T18" fmla="*/ 105251 w 40"/>
              <a:gd name="T19" fmla="*/ 99164 h 43"/>
              <a:gd name="T20" fmla="*/ 99854 w 40"/>
              <a:gd name="T21" fmla="*/ 107914 h 43"/>
              <a:gd name="T22" fmla="*/ 72866 w 40"/>
              <a:gd name="T23" fmla="*/ 122496 h 43"/>
              <a:gd name="T24" fmla="*/ 59373 w 40"/>
              <a:gd name="T25" fmla="*/ 116663 h 43"/>
              <a:gd name="T26" fmla="*/ 43180 w 40"/>
              <a:gd name="T27" fmla="*/ 122496 h 43"/>
              <a:gd name="T28" fmla="*/ 18891 w 40"/>
              <a:gd name="T29" fmla="*/ 107914 h 43"/>
              <a:gd name="T30" fmla="*/ 0 w 40"/>
              <a:gd name="T31" fmla="*/ 10208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0" h="43">
                <a:moveTo>
                  <a:pt x="0" y="35"/>
                </a:moveTo>
                <a:cubicBezTo>
                  <a:pt x="0" y="35"/>
                  <a:pt x="3" y="14"/>
                  <a:pt x="3" y="11"/>
                </a:cubicBezTo>
                <a:cubicBezTo>
                  <a:pt x="3" y="9"/>
                  <a:pt x="4" y="5"/>
                  <a:pt x="6" y="3"/>
                </a:cubicBezTo>
                <a:cubicBezTo>
                  <a:pt x="7" y="3"/>
                  <a:pt x="8" y="2"/>
                  <a:pt x="9" y="0"/>
                </a:cubicBezTo>
                <a:cubicBezTo>
                  <a:pt x="13" y="3"/>
                  <a:pt x="13" y="3"/>
                  <a:pt x="13" y="3"/>
                </a:cubicBezTo>
                <a:cubicBezTo>
                  <a:pt x="17" y="6"/>
                  <a:pt x="16" y="8"/>
                  <a:pt x="17" y="10"/>
                </a:cubicBezTo>
                <a:cubicBezTo>
                  <a:pt x="18" y="11"/>
                  <a:pt x="22" y="9"/>
                  <a:pt x="24" y="11"/>
                </a:cubicBezTo>
                <a:cubicBezTo>
                  <a:pt x="26" y="13"/>
                  <a:pt x="40" y="21"/>
                  <a:pt x="39" y="23"/>
                </a:cubicBezTo>
                <a:cubicBezTo>
                  <a:pt x="38" y="24"/>
                  <a:pt x="35" y="30"/>
                  <a:pt x="36" y="31"/>
                </a:cubicBezTo>
                <a:cubicBezTo>
                  <a:pt x="39" y="34"/>
                  <a:pt x="39" y="34"/>
                  <a:pt x="39" y="34"/>
                </a:cubicBezTo>
                <a:cubicBezTo>
                  <a:pt x="38" y="35"/>
                  <a:pt x="37" y="36"/>
                  <a:pt x="37" y="37"/>
                </a:cubicBezTo>
                <a:cubicBezTo>
                  <a:pt x="36" y="39"/>
                  <a:pt x="30" y="42"/>
                  <a:pt x="27" y="42"/>
                </a:cubicBezTo>
                <a:cubicBezTo>
                  <a:pt x="25" y="43"/>
                  <a:pt x="24" y="40"/>
                  <a:pt x="22" y="40"/>
                </a:cubicBezTo>
                <a:cubicBezTo>
                  <a:pt x="20" y="40"/>
                  <a:pt x="18" y="43"/>
                  <a:pt x="16" y="42"/>
                </a:cubicBezTo>
                <a:cubicBezTo>
                  <a:pt x="15" y="40"/>
                  <a:pt x="9" y="38"/>
                  <a:pt x="7" y="37"/>
                </a:cubicBezTo>
                <a:cubicBezTo>
                  <a:pt x="5" y="37"/>
                  <a:pt x="0" y="34"/>
                  <a:pt x="0" y="35"/>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0" name="Freeform 51"/>
          <p:cNvSpPr>
            <a:spLocks/>
          </p:cNvSpPr>
          <p:nvPr>
            <p:custDataLst>
              <p:tags r:id="rId46"/>
            </p:custDataLst>
          </p:nvPr>
        </p:nvSpPr>
        <p:spPr bwMode="auto">
          <a:xfrm>
            <a:off x="4489171" y="5453780"/>
            <a:ext cx="43902" cy="40390"/>
          </a:xfrm>
          <a:custGeom>
            <a:avLst/>
            <a:gdLst>
              <a:gd name="T0" fmla="*/ 2835 w 14"/>
              <a:gd name="T1" fmla="*/ 25278 h 13"/>
              <a:gd name="T2" fmla="*/ 25514 w 14"/>
              <a:gd name="T3" fmla="*/ 2809 h 13"/>
              <a:gd name="T4" fmla="*/ 36853 w 14"/>
              <a:gd name="T5" fmla="*/ 5617 h 13"/>
              <a:gd name="T6" fmla="*/ 34018 w 14"/>
              <a:gd name="T7" fmla="*/ 19661 h 13"/>
              <a:gd name="T8" fmla="*/ 8505 w 14"/>
              <a:gd name="T9" fmla="*/ 36513 h 13"/>
              <a:gd name="T10" fmla="*/ 2835 w 14"/>
              <a:gd name="T11" fmla="*/ 25278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1" y="9"/>
                </a:moveTo>
                <a:cubicBezTo>
                  <a:pt x="3" y="8"/>
                  <a:pt x="7" y="0"/>
                  <a:pt x="9" y="1"/>
                </a:cubicBezTo>
                <a:cubicBezTo>
                  <a:pt x="9" y="1"/>
                  <a:pt x="12" y="1"/>
                  <a:pt x="13" y="2"/>
                </a:cubicBezTo>
                <a:cubicBezTo>
                  <a:pt x="14" y="4"/>
                  <a:pt x="13" y="6"/>
                  <a:pt x="12" y="7"/>
                </a:cubicBezTo>
                <a:cubicBezTo>
                  <a:pt x="11" y="8"/>
                  <a:pt x="5" y="13"/>
                  <a:pt x="3" y="13"/>
                </a:cubicBezTo>
                <a:cubicBezTo>
                  <a:pt x="2" y="13"/>
                  <a:pt x="0" y="10"/>
                  <a:pt x="1" y="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1" name="Freeform 52"/>
          <p:cNvSpPr>
            <a:spLocks/>
          </p:cNvSpPr>
          <p:nvPr>
            <p:custDataLst>
              <p:tags r:id="rId47"/>
            </p:custDataLst>
          </p:nvPr>
        </p:nvSpPr>
        <p:spPr bwMode="auto">
          <a:xfrm>
            <a:off x="4450538" y="5450268"/>
            <a:ext cx="45659" cy="36878"/>
          </a:xfrm>
          <a:custGeom>
            <a:avLst/>
            <a:gdLst>
              <a:gd name="T0" fmla="*/ 16510 w 15"/>
              <a:gd name="T1" fmla="*/ 25004 h 12"/>
              <a:gd name="T2" fmla="*/ 5503 w 15"/>
              <a:gd name="T3" fmla="*/ 30560 h 12"/>
              <a:gd name="T4" fmla="*/ 0 w 15"/>
              <a:gd name="T5" fmla="*/ 19447 h 12"/>
              <a:gd name="T6" fmla="*/ 11007 w 15"/>
              <a:gd name="T7" fmla="*/ 11113 h 12"/>
              <a:gd name="T8" fmla="*/ 13758 w 15"/>
              <a:gd name="T9" fmla="*/ 2778 h 12"/>
              <a:gd name="T10" fmla="*/ 38523 w 15"/>
              <a:gd name="T11" fmla="*/ 5556 h 12"/>
              <a:gd name="T12" fmla="*/ 16510 w 15"/>
              <a:gd name="T13" fmla="*/ 25004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12">
                <a:moveTo>
                  <a:pt x="6" y="9"/>
                </a:moveTo>
                <a:cubicBezTo>
                  <a:pt x="6" y="10"/>
                  <a:pt x="3" y="12"/>
                  <a:pt x="2" y="11"/>
                </a:cubicBezTo>
                <a:cubicBezTo>
                  <a:pt x="0" y="10"/>
                  <a:pt x="0" y="8"/>
                  <a:pt x="0" y="7"/>
                </a:cubicBezTo>
                <a:cubicBezTo>
                  <a:pt x="0" y="7"/>
                  <a:pt x="3" y="4"/>
                  <a:pt x="4" y="4"/>
                </a:cubicBezTo>
                <a:cubicBezTo>
                  <a:pt x="5" y="4"/>
                  <a:pt x="3" y="1"/>
                  <a:pt x="5" y="1"/>
                </a:cubicBezTo>
                <a:cubicBezTo>
                  <a:pt x="6" y="0"/>
                  <a:pt x="12" y="1"/>
                  <a:pt x="14" y="2"/>
                </a:cubicBezTo>
                <a:cubicBezTo>
                  <a:pt x="15" y="4"/>
                  <a:pt x="7" y="9"/>
                  <a:pt x="6" y="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2" name="Freeform 53"/>
          <p:cNvSpPr>
            <a:spLocks/>
          </p:cNvSpPr>
          <p:nvPr>
            <p:custDataLst>
              <p:tags r:id="rId48"/>
            </p:custDataLst>
          </p:nvPr>
        </p:nvSpPr>
        <p:spPr bwMode="auto">
          <a:xfrm>
            <a:off x="4255612" y="4300025"/>
            <a:ext cx="277463" cy="342439"/>
          </a:xfrm>
          <a:custGeom>
            <a:avLst/>
            <a:gdLst>
              <a:gd name="T0" fmla="*/ 5453 w 92"/>
              <a:gd name="T1" fmla="*/ 40886 h 106"/>
              <a:gd name="T2" fmla="*/ 19085 w 92"/>
              <a:gd name="T3" fmla="*/ 35045 h 106"/>
              <a:gd name="T4" fmla="*/ 70885 w 92"/>
              <a:gd name="T5" fmla="*/ 5841 h 106"/>
              <a:gd name="T6" fmla="*/ 87243 w 92"/>
              <a:gd name="T7" fmla="*/ 5841 h 106"/>
              <a:gd name="T8" fmla="*/ 84517 w 92"/>
              <a:gd name="T9" fmla="*/ 35045 h 106"/>
              <a:gd name="T10" fmla="*/ 100875 w 92"/>
              <a:gd name="T11" fmla="*/ 61329 h 106"/>
              <a:gd name="T12" fmla="*/ 133592 w 92"/>
              <a:gd name="T13" fmla="*/ 73010 h 106"/>
              <a:gd name="T14" fmla="*/ 158129 w 92"/>
              <a:gd name="T15" fmla="*/ 93453 h 106"/>
              <a:gd name="T16" fmla="*/ 179940 w 92"/>
              <a:gd name="T17" fmla="*/ 90533 h 106"/>
              <a:gd name="T18" fmla="*/ 190845 w 92"/>
              <a:gd name="T19" fmla="*/ 108055 h 106"/>
              <a:gd name="T20" fmla="*/ 193571 w 92"/>
              <a:gd name="T21" fmla="*/ 151861 h 106"/>
              <a:gd name="T22" fmla="*/ 231740 w 92"/>
              <a:gd name="T23" fmla="*/ 157702 h 106"/>
              <a:gd name="T24" fmla="*/ 231740 w 92"/>
              <a:gd name="T25" fmla="*/ 178145 h 106"/>
              <a:gd name="T26" fmla="*/ 248099 w 92"/>
              <a:gd name="T27" fmla="*/ 201508 h 106"/>
              <a:gd name="T28" fmla="*/ 239920 w 92"/>
              <a:gd name="T29" fmla="*/ 239473 h 106"/>
              <a:gd name="T30" fmla="*/ 223561 w 92"/>
              <a:gd name="T31" fmla="*/ 227792 h 106"/>
              <a:gd name="T32" fmla="*/ 193571 w 92"/>
              <a:gd name="T33" fmla="*/ 224871 h 106"/>
              <a:gd name="T34" fmla="*/ 160855 w 92"/>
              <a:gd name="T35" fmla="*/ 233632 h 106"/>
              <a:gd name="T36" fmla="*/ 149950 w 92"/>
              <a:gd name="T37" fmla="*/ 271598 h 106"/>
              <a:gd name="T38" fmla="*/ 141771 w 92"/>
              <a:gd name="T39" fmla="*/ 292041 h 106"/>
              <a:gd name="T40" fmla="*/ 141771 w 92"/>
              <a:gd name="T41" fmla="*/ 292041 h 106"/>
              <a:gd name="T42" fmla="*/ 128139 w 92"/>
              <a:gd name="T43" fmla="*/ 289120 h 106"/>
              <a:gd name="T44" fmla="*/ 106328 w 92"/>
              <a:gd name="T45" fmla="*/ 306643 h 106"/>
              <a:gd name="T46" fmla="*/ 92696 w 92"/>
              <a:gd name="T47" fmla="*/ 289120 h 106"/>
              <a:gd name="T48" fmla="*/ 68159 w 92"/>
              <a:gd name="T49" fmla="*/ 286200 h 106"/>
              <a:gd name="T50" fmla="*/ 51801 w 92"/>
              <a:gd name="T51" fmla="*/ 303722 h 106"/>
              <a:gd name="T52" fmla="*/ 49074 w 92"/>
              <a:gd name="T53" fmla="*/ 306643 h 106"/>
              <a:gd name="T54" fmla="*/ 29990 w 92"/>
              <a:gd name="T55" fmla="*/ 303722 h 106"/>
              <a:gd name="T56" fmla="*/ 21811 w 92"/>
              <a:gd name="T57" fmla="*/ 254075 h 106"/>
              <a:gd name="T58" fmla="*/ 24537 w 92"/>
              <a:gd name="T59" fmla="*/ 227792 h 106"/>
              <a:gd name="T60" fmla="*/ 13632 w 92"/>
              <a:gd name="T61" fmla="*/ 210269 h 106"/>
              <a:gd name="T62" fmla="*/ 0 w 92"/>
              <a:gd name="T63" fmla="*/ 186906 h 106"/>
              <a:gd name="T64" fmla="*/ 13632 w 92"/>
              <a:gd name="T65" fmla="*/ 160622 h 106"/>
              <a:gd name="T66" fmla="*/ 2726 w 92"/>
              <a:gd name="T67" fmla="*/ 140179 h 106"/>
              <a:gd name="T68" fmla="*/ 13632 w 92"/>
              <a:gd name="T69" fmla="*/ 110975 h 106"/>
              <a:gd name="T70" fmla="*/ 10905 w 92"/>
              <a:gd name="T71" fmla="*/ 81771 h 106"/>
              <a:gd name="T72" fmla="*/ 19085 w 92"/>
              <a:gd name="T73" fmla="*/ 70090 h 106"/>
              <a:gd name="T74" fmla="*/ 5453 w 92"/>
              <a:gd name="T75" fmla="*/ 40886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2" h="106">
                <a:moveTo>
                  <a:pt x="2" y="14"/>
                </a:moveTo>
                <a:cubicBezTo>
                  <a:pt x="7" y="12"/>
                  <a:pt x="7" y="12"/>
                  <a:pt x="7" y="12"/>
                </a:cubicBezTo>
                <a:cubicBezTo>
                  <a:pt x="8" y="11"/>
                  <a:pt x="23" y="2"/>
                  <a:pt x="26" y="2"/>
                </a:cubicBezTo>
                <a:cubicBezTo>
                  <a:pt x="29" y="1"/>
                  <a:pt x="31" y="0"/>
                  <a:pt x="32" y="2"/>
                </a:cubicBezTo>
                <a:cubicBezTo>
                  <a:pt x="33" y="4"/>
                  <a:pt x="31" y="10"/>
                  <a:pt x="31" y="12"/>
                </a:cubicBezTo>
                <a:cubicBezTo>
                  <a:pt x="32" y="14"/>
                  <a:pt x="34" y="20"/>
                  <a:pt x="37" y="21"/>
                </a:cubicBezTo>
                <a:cubicBezTo>
                  <a:pt x="39" y="22"/>
                  <a:pt x="47" y="24"/>
                  <a:pt x="49" y="25"/>
                </a:cubicBezTo>
                <a:cubicBezTo>
                  <a:pt x="51" y="26"/>
                  <a:pt x="56" y="31"/>
                  <a:pt x="58" y="32"/>
                </a:cubicBezTo>
                <a:cubicBezTo>
                  <a:pt x="59" y="32"/>
                  <a:pt x="64" y="30"/>
                  <a:pt x="66" y="31"/>
                </a:cubicBezTo>
                <a:cubicBezTo>
                  <a:pt x="68" y="33"/>
                  <a:pt x="71" y="35"/>
                  <a:pt x="70" y="37"/>
                </a:cubicBezTo>
                <a:cubicBezTo>
                  <a:pt x="70" y="39"/>
                  <a:pt x="71" y="51"/>
                  <a:pt x="71" y="52"/>
                </a:cubicBezTo>
                <a:cubicBezTo>
                  <a:pt x="71" y="53"/>
                  <a:pt x="84" y="54"/>
                  <a:pt x="85" y="54"/>
                </a:cubicBezTo>
                <a:cubicBezTo>
                  <a:pt x="87" y="54"/>
                  <a:pt x="85" y="60"/>
                  <a:pt x="85" y="61"/>
                </a:cubicBezTo>
                <a:cubicBezTo>
                  <a:pt x="86" y="62"/>
                  <a:pt x="92" y="66"/>
                  <a:pt x="91" y="69"/>
                </a:cubicBezTo>
                <a:cubicBezTo>
                  <a:pt x="91" y="71"/>
                  <a:pt x="88" y="79"/>
                  <a:pt x="88" y="82"/>
                </a:cubicBezTo>
                <a:cubicBezTo>
                  <a:pt x="82" y="78"/>
                  <a:pt x="82" y="78"/>
                  <a:pt x="82" y="78"/>
                </a:cubicBezTo>
                <a:cubicBezTo>
                  <a:pt x="82" y="78"/>
                  <a:pt x="74" y="77"/>
                  <a:pt x="71" y="77"/>
                </a:cubicBezTo>
                <a:cubicBezTo>
                  <a:pt x="69" y="77"/>
                  <a:pt x="59" y="79"/>
                  <a:pt x="59" y="80"/>
                </a:cubicBezTo>
                <a:cubicBezTo>
                  <a:pt x="57" y="81"/>
                  <a:pt x="55" y="91"/>
                  <a:pt x="55" y="93"/>
                </a:cubicBezTo>
                <a:cubicBezTo>
                  <a:pt x="52" y="100"/>
                  <a:pt x="52" y="100"/>
                  <a:pt x="52" y="100"/>
                </a:cubicBezTo>
                <a:cubicBezTo>
                  <a:pt x="52" y="100"/>
                  <a:pt x="52" y="100"/>
                  <a:pt x="52" y="100"/>
                </a:cubicBezTo>
                <a:cubicBezTo>
                  <a:pt x="51" y="99"/>
                  <a:pt x="49" y="99"/>
                  <a:pt x="47" y="99"/>
                </a:cubicBezTo>
                <a:cubicBezTo>
                  <a:pt x="45" y="99"/>
                  <a:pt x="41" y="105"/>
                  <a:pt x="39" y="105"/>
                </a:cubicBezTo>
                <a:cubicBezTo>
                  <a:pt x="38" y="105"/>
                  <a:pt x="37" y="99"/>
                  <a:pt x="34" y="99"/>
                </a:cubicBezTo>
                <a:cubicBezTo>
                  <a:pt x="31" y="98"/>
                  <a:pt x="26" y="97"/>
                  <a:pt x="25" y="98"/>
                </a:cubicBezTo>
                <a:cubicBezTo>
                  <a:pt x="23" y="100"/>
                  <a:pt x="21" y="103"/>
                  <a:pt x="19" y="104"/>
                </a:cubicBezTo>
                <a:cubicBezTo>
                  <a:pt x="19" y="105"/>
                  <a:pt x="18" y="105"/>
                  <a:pt x="18" y="105"/>
                </a:cubicBezTo>
                <a:cubicBezTo>
                  <a:pt x="17" y="105"/>
                  <a:pt x="11" y="106"/>
                  <a:pt x="11" y="104"/>
                </a:cubicBezTo>
                <a:cubicBezTo>
                  <a:pt x="11" y="103"/>
                  <a:pt x="9" y="90"/>
                  <a:pt x="8" y="87"/>
                </a:cubicBezTo>
                <a:cubicBezTo>
                  <a:pt x="7" y="84"/>
                  <a:pt x="9" y="80"/>
                  <a:pt x="9" y="78"/>
                </a:cubicBezTo>
                <a:cubicBezTo>
                  <a:pt x="8" y="76"/>
                  <a:pt x="6" y="74"/>
                  <a:pt x="5" y="72"/>
                </a:cubicBezTo>
                <a:cubicBezTo>
                  <a:pt x="0" y="64"/>
                  <a:pt x="0" y="64"/>
                  <a:pt x="0" y="64"/>
                </a:cubicBezTo>
                <a:cubicBezTo>
                  <a:pt x="2" y="60"/>
                  <a:pt x="4" y="56"/>
                  <a:pt x="5" y="55"/>
                </a:cubicBezTo>
                <a:cubicBezTo>
                  <a:pt x="6" y="53"/>
                  <a:pt x="0" y="51"/>
                  <a:pt x="1" y="48"/>
                </a:cubicBezTo>
                <a:cubicBezTo>
                  <a:pt x="2" y="45"/>
                  <a:pt x="4" y="40"/>
                  <a:pt x="5" y="38"/>
                </a:cubicBezTo>
                <a:cubicBezTo>
                  <a:pt x="6" y="36"/>
                  <a:pt x="3" y="30"/>
                  <a:pt x="4" y="28"/>
                </a:cubicBezTo>
                <a:cubicBezTo>
                  <a:pt x="6" y="26"/>
                  <a:pt x="7" y="25"/>
                  <a:pt x="7" y="24"/>
                </a:cubicBezTo>
                <a:cubicBezTo>
                  <a:pt x="6" y="22"/>
                  <a:pt x="4" y="17"/>
                  <a:pt x="2" y="1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3" name="Freeform 54"/>
          <p:cNvSpPr>
            <a:spLocks/>
          </p:cNvSpPr>
          <p:nvPr>
            <p:custDataLst>
              <p:tags r:id="rId49"/>
            </p:custDataLst>
          </p:nvPr>
        </p:nvSpPr>
        <p:spPr bwMode="auto">
          <a:xfrm>
            <a:off x="4167807" y="3755634"/>
            <a:ext cx="310829" cy="293268"/>
          </a:xfrm>
          <a:custGeom>
            <a:avLst/>
            <a:gdLst>
              <a:gd name="T0" fmla="*/ 0 w 104"/>
              <a:gd name="T1" fmla="*/ 75747 h 91"/>
              <a:gd name="T2" fmla="*/ 8105 w 104"/>
              <a:gd name="T3" fmla="*/ 49527 h 91"/>
              <a:gd name="T4" fmla="*/ 16211 w 104"/>
              <a:gd name="T5" fmla="*/ 37873 h 91"/>
              <a:gd name="T6" fmla="*/ 29720 w 104"/>
              <a:gd name="T7" fmla="*/ 26220 h 91"/>
              <a:gd name="T8" fmla="*/ 32422 w 104"/>
              <a:gd name="T9" fmla="*/ 43700 h 91"/>
              <a:gd name="T10" fmla="*/ 24316 w 104"/>
              <a:gd name="T11" fmla="*/ 61180 h 91"/>
              <a:gd name="T12" fmla="*/ 27018 w 104"/>
              <a:gd name="T13" fmla="*/ 72833 h 91"/>
              <a:gd name="T14" fmla="*/ 40527 w 104"/>
              <a:gd name="T15" fmla="*/ 78660 h 91"/>
              <a:gd name="T16" fmla="*/ 48633 w 104"/>
              <a:gd name="T17" fmla="*/ 69920 h 91"/>
              <a:gd name="T18" fmla="*/ 51334 w 104"/>
              <a:gd name="T19" fmla="*/ 52440 h 91"/>
              <a:gd name="T20" fmla="*/ 45931 w 104"/>
              <a:gd name="T21" fmla="*/ 40787 h 91"/>
              <a:gd name="T22" fmla="*/ 56738 w 104"/>
              <a:gd name="T23" fmla="*/ 26220 h 91"/>
              <a:gd name="T24" fmla="*/ 67545 w 104"/>
              <a:gd name="T25" fmla="*/ 0 h 91"/>
              <a:gd name="T26" fmla="*/ 78352 w 104"/>
              <a:gd name="T27" fmla="*/ 20393 h 91"/>
              <a:gd name="T28" fmla="*/ 94563 w 104"/>
              <a:gd name="T29" fmla="*/ 26220 h 91"/>
              <a:gd name="T30" fmla="*/ 108072 w 104"/>
              <a:gd name="T31" fmla="*/ 43700 h 91"/>
              <a:gd name="T32" fmla="*/ 143196 w 104"/>
              <a:gd name="T33" fmla="*/ 40787 h 91"/>
              <a:gd name="T34" fmla="*/ 159407 w 104"/>
              <a:gd name="T35" fmla="*/ 52440 h 91"/>
              <a:gd name="T36" fmla="*/ 183723 w 104"/>
              <a:gd name="T37" fmla="*/ 49527 h 91"/>
              <a:gd name="T38" fmla="*/ 199934 w 104"/>
              <a:gd name="T39" fmla="*/ 37873 h 91"/>
              <a:gd name="T40" fmla="*/ 235057 w 104"/>
              <a:gd name="T41" fmla="*/ 40787 h 91"/>
              <a:gd name="T42" fmla="*/ 237759 w 104"/>
              <a:gd name="T43" fmla="*/ 55353 h 91"/>
              <a:gd name="T44" fmla="*/ 256672 w 104"/>
              <a:gd name="T45" fmla="*/ 69920 h 91"/>
              <a:gd name="T46" fmla="*/ 262075 w 104"/>
              <a:gd name="T47" fmla="*/ 84487 h 91"/>
              <a:gd name="T48" fmla="*/ 280988 w 104"/>
              <a:gd name="T49" fmla="*/ 93227 h 91"/>
              <a:gd name="T50" fmla="*/ 270181 w 104"/>
              <a:gd name="T51" fmla="*/ 107793 h 91"/>
              <a:gd name="T52" fmla="*/ 259374 w 104"/>
              <a:gd name="T53" fmla="*/ 125273 h 91"/>
              <a:gd name="T54" fmla="*/ 245865 w 104"/>
              <a:gd name="T55" fmla="*/ 151493 h 91"/>
              <a:gd name="T56" fmla="*/ 256672 w 104"/>
              <a:gd name="T57" fmla="*/ 166060 h 91"/>
              <a:gd name="T58" fmla="*/ 256672 w 104"/>
              <a:gd name="T59" fmla="*/ 177713 h 91"/>
              <a:gd name="T60" fmla="*/ 216145 w 104"/>
              <a:gd name="T61" fmla="*/ 195193 h 91"/>
              <a:gd name="T62" fmla="*/ 175618 w 104"/>
              <a:gd name="T63" fmla="*/ 186453 h 91"/>
              <a:gd name="T64" fmla="*/ 189127 w 104"/>
              <a:gd name="T65" fmla="*/ 218500 h 91"/>
              <a:gd name="T66" fmla="*/ 197232 w 104"/>
              <a:gd name="T67" fmla="*/ 238893 h 91"/>
              <a:gd name="T68" fmla="*/ 148599 w 104"/>
              <a:gd name="T69" fmla="*/ 265113 h 91"/>
              <a:gd name="T70" fmla="*/ 129687 w 104"/>
              <a:gd name="T71" fmla="*/ 244720 h 91"/>
              <a:gd name="T72" fmla="*/ 124283 w 104"/>
              <a:gd name="T73" fmla="*/ 233066 h 91"/>
              <a:gd name="T74" fmla="*/ 116178 w 104"/>
              <a:gd name="T75" fmla="*/ 221413 h 91"/>
              <a:gd name="T76" fmla="*/ 124283 w 104"/>
              <a:gd name="T77" fmla="*/ 203933 h 91"/>
              <a:gd name="T78" fmla="*/ 116178 w 104"/>
              <a:gd name="T79" fmla="*/ 192280 h 91"/>
              <a:gd name="T80" fmla="*/ 116178 w 104"/>
              <a:gd name="T81" fmla="*/ 166060 h 91"/>
              <a:gd name="T82" fmla="*/ 118880 w 104"/>
              <a:gd name="T83" fmla="*/ 142753 h 91"/>
              <a:gd name="T84" fmla="*/ 83756 w 104"/>
              <a:gd name="T85" fmla="*/ 145666 h 91"/>
              <a:gd name="T86" fmla="*/ 64843 w 104"/>
              <a:gd name="T87" fmla="*/ 128187 h 91"/>
              <a:gd name="T88" fmla="*/ 27018 w 104"/>
              <a:gd name="T89" fmla="*/ 125273 h 91"/>
              <a:gd name="T90" fmla="*/ 16211 w 104"/>
              <a:gd name="T91" fmla="*/ 101967 h 91"/>
              <a:gd name="T92" fmla="*/ 0 w 104"/>
              <a:gd name="T93" fmla="*/ 75747 h 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4" h="91">
                <a:moveTo>
                  <a:pt x="0" y="26"/>
                </a:moveTo>
                <a:cubicBezTo>
                  <a:pt x="0" y="25"/>
                  <a:pt x="2" y="20"/>
                  <a:pt x="3" y="17"/>
                </a:cubicBezTo>
                <a:cubicBezTo>
                  <a:pt x="4" y="13"/>
                  <a:pt x="6" y="13"/>
                  <a:pt x="6" y="13"/>
                </a:cubicBezTo>
                <a:cubicBezTo>
                  <a:pt x="11" y="9"/>
                  <a:pt x="11" y="9"/>
                  <a:pt x="11" y="9"/>
                </a:cubicBezTo>
                <a:cubicBezTo>
                  <a:pt x="11" y="11"/>
                  <a:pt x="12" y="14"/>
                  <a:pt x="12" y="15"/>
                </a:cubicBezTo>
                <a:cubicBezTo>
                  <a:pt x="11" y="16"/>
                  <a:pt x="9" y="20"/>
                  <a:pt x="9" y="21"/>
                </a:cubicBezTo>
                <a:cubicBezTo>
                  <a:pt x="9" y="22"/>
                  <a:pt x="10" y="24"/>
                  <a:pt x="10" y="25"/>
                </a:cubicBezTo>
                <a:cubicBezTo>
                  <a:pt x="11" y="27"/>
                  <a:pt x="13" y="28"/>
                  <a:pt x="15" y="27"/>
                </a:cubicBezTo>
                <a:cubicBezTo>
                  <a:pt x="17" y="26"/>
                  <a:pt x="18" y="25"/>
                  <a:pt x="18" y="24"/>
                </a:cubicBezTo>
                <a:cubicBezTo>
                  <a:pt x="20" y="22"/>
                  <a:pt x="19" y="19"/>
                  <a:pt x="19" y="18"/>
                </a:cubicBezTo>
                <a:cubicBezTo>
                  <a:pt x="18" y="17"/>
                  <a:pt x="17" y="15"/>
                  <a:pt x="17" y="14"/>
                </a:cubicBezTo>
                <a:cubicBezTo>
                  <a:pt x="17" y="13"/>
                  <a:pt x="20" y="10"/>
                  <a:pt x="21" y="9"/>
                </a:cubicBezTo>
                <a:cubicBezTo>
                  <a:pt x="23" y="9"/>
                  <a:pt x="24" y="0"/>
                  <a:pt x="25" y="0"/>
                </a:cubicBezTo>
                <a:cubicBezTo>
                  <a:pt x="26" y="0"/>
                  <a:pt x="28" y="6"/>
                  <a:pt x="29" y="7"/>
                </a:cubicBezTo>
                <a:cubicBezTo>
                  <a:pt x="30" y="9"/>
                  <a:pt x="32" y="8"/>
                  <a:pt x="35" y="9"/>
                </a:cubicBezTo>
                <a:cubicBezTo>
                  <a:pt x="37" y="10"/>
                  <a:pt x="39" y="13"/>
                  <a:pt x="40" y="15"/>
                </a:cubicBezTo>
                <a:cubicBezTo>
                  <a:pt x="41" y="17"/>
                  <a:pt x="51" y="14"/>
                  <a:pt x="53" y="14"/>
                </a:cubicBezTo>
                <a:cubicBezTo>
                  <a:pt x="54" y="14"/>
                  <a:pt x="57" y="16"/>
                  <a:pt x="59" y="18"/>
                </a:cubicBezTo>
                <a:cubicBezTo>
                  <a:pt x="61" y="20"/>
                  <a:pt x="65" y="17"/>
                  <a:pt x="68" y="17"/>
                </a:cubicBezTo>
                <a:cubicBezTo>
                  <a:pt x="72" y="16"/>
                  <a:pt x="70" y="13"/>
                  <a:pt x="74" y="13"/>
                </a:cubicBezTo>
                <a:cubicBezTo>
                  <a:pt x="78" y="13"/>
                  <a:pt x="87" y="13"/>
                  <a:pt x="87" y="14"/>
                </a:cubicBezTo>
                <a:cubicBezTo>
                  <a:pt x="87" y="15"/>
                  <a:pt x="86" y="18"/>
                  <a:pt x="88" y="19"/>
                </a:cubicBezTo>
                <a:cubicBezTo>
                  <a:pt x="90" y="21"/>
                  <a:pt x="93" y="23"/>
                  <a:pt x="95" y="24"/>
                </a:cubicBezTo>
                <a:cubicBezTo>
                  <a:pt x="97" y="25"/>
                  <a:pt x="95" y="29"/>
                  <a:pt x="97" y="29"/>
                </a:cubicBezTo>
                <a:cubicBezTo>
                  <a:pt x="98" y="30"/>
                  <a:pt x="101" y="30"/>
                  <a:pt x="104" y="32"/>
                </a:cubicBezTo>
                <a:cubicBezTo>
                  <a:pt x="100" y="37"/>
                  <a:pt x="100" y="37"/>
                  <a:pt x="100" y="37"/>
                </a:cubicBezTo>
                <a:cubicBezTo>
                  <a:pt x="99" y="38"/>
                  <a:pt x="97" y="41"/>
                  <a:pt x="96" y="43"/>
                </a:cubicBezTo>
                <a:cubicBezTo>
                  <a:pt x="94" y="44"/>
                  <a:pt x="90" y="50"/>
                  <a:pt x="91" y="52"/>
                </a:cubicBezTo>
                <a:cubicBezTo>
                  <a:pt x="92" y="53"/>
                  <a:pt x="94" y="55"/>
                  <a:pt x="95" y="57"/>
                </a:cubicBezTo>
                <a:cubicBezTo>
                  <a:pt x="96" y="59"/>
                  <a:pt x="96" y="60"/>
                  <a:pt x="95" y="61"/>
                </a:cubicBezTo>
                <a:cubicBezTo>
                  <a:pt x="94" y="62"/>
                  <a:pt x="80" y="67"/>
                  <a:pt x="80" y="67"/>
                </a:cubicBezTo>
                <a:cubicBezTo>
                  <a:pt x="78" y="67"/>
                  <a:pt x="65" y="63"/>
                  <a:pt x="65" y="64"/>
                </a:cubicBezTo>
                <a:cubicBezTo>
                  <a:pt x="64" y="66"/>
                  <a:pt x="69" y="74"/>
                  <a:pt x="70" y="75"/>
                </a:cubicBezTo>
                <a:cubicBezTo>
                  <a:pt x="71" y="77"/>
                  <a:pt x="76" y="80"/>
                  <a:pt x="73" y="82"/>
                </a:cubicBezTo>
                <a:cubicBezTo>
                  <a:pt x="71" y="83"/>
                  <a:pt x="56" y="91"/>
                  <a:pt x="55" y="91"/>
                </a:cubicBezTo>
                <a:cubicBezTo>
                  <a:pt x="53" y="91"/>
                  <a:pt x="48" y="85"/>
                  <a:pt x="48" y="84"/>
                </a:cubicBezTo>
                <a:cubicBezTo>
                  <a:pt x="48" y="83"/>
                  <a:pt x="47" y="81"/>
                  <a:pt x="46" y="80"/>
                </a:cubicBezTo>
                <a:cubicBezTo>
                  <a:pt x="44" y="78"/>
                  <a:pt x="43" y="76"/>
                  <a:pt x="43" y="76"/>
                </a:cubicBezTo>
                <a:cubicBezTo>
                  <a:pt x="43" y="75"/>
                  <a:pt x="46" y="71"/>
                  <a:pt x="46" y="70"/>
                </a:cubicBezTo>
                <a:cubicBezTo>
                  <a:pt x="46" y="69"/>
                  <a:pt x="44" y="68"/>
                  <a:pt x="43" y="66"/>
                </a:cubicBezTo>
                <a:cubicBezTo>
                  <a:pt x="42" y="65"/>
                  <a:pt x="42" y="60"/>
                  <a:pt x="43" y="57"/>
                </a:cubicBezTo>
                <a:cubicBezTo>
                  <a:pt x="43" y="54"/>
                  <a:pt x="45" y="50"/>
                  <a:pt x="44" y="49"/>
                </a:cubicBezTo>
                <a:cubicBezTo>
                  <a:pt x="42" y="48"/>
                  <a:pt x="34" y="50"/>
                  <a:pt x="31" y="50"/>
                </a:cubicBezTo>
                <a:cubicBezTo>
                  <a:pt x="28" y="50"/>
                  <a:pt x="27" y="46"/>
                  <a:pt x="24" y="44"/>
                </a:cubicBezTo>
                <a:cubicBezTo>
                  <a:pt x="21" y="42"/>
                  <a:pt x="12" y="43"/>
                  <a:pt x="10" y="43"/>
                </a:cubicBezTo>
                <a:cubicBezTo>
                  <a:pt x="9" y="42"/>
                  <a:pt x="6" y="38"/>
                  <a:pt x="6" y="35"/>
                </a:cubicBezTo>
                <a:cubicBezTo>
                  <a:pt x="6" y="33"/>
                  <a:pt x="0" y="27"/>
                  <a:pt x="0" y="2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4" name="Freeform 56"/>
          <p:cNvSpPr>
            <a:spLocks/>
          </p:cNvSpPr>
          <p:nvPr>
            <p:custDataLst>
              <p:tags r:id="rId50"/>
            </p:custDataLst>
          </p:nvPr>
        </p:nvSpPr>
        <p:spPr bwMode="auto">
          <a:xfrm>
            <a:off x="4274929" y="5501196"/>
            <a:ext cx="84293" cy="87805"/>
          </a:xfrm>
          <a:custGeom>
            <a:avLst/>
            <a:gdLst>
              <a:gd name="T0" fmla="*/ 8164 w 28"/>
              <a:gd name="T1" fmla="*/ 5880 h 27"/>
              <a:gd name="T2" fmla="*/ 16329 w 28"/>
              <a:gd name="T3" fmla="*/ 26458 h 27"/>
              <a:gd name="T4" fmla="*/ 43543 w 28"/>
              <a:gd name="T5" fmla="*/ 47037 h 27"/>
              <a:gd name="T6" fmla="*/ 73479 w 28"/>
              <a:gd name="T7" fmla="*/ 55856 h 27"/>
              <a:gd name="T8" fmla="*/ 76200 w 28"/>
              <a:gd name="T9" fmla="*/ 55856 h 27"/>
              <a:gd name="T10" fmla="*/ 68036 w 28"/>
              <a:gd name="T11" fmla="*/ 67616 h 27"/>
              <a:gd name="T12" fmla="*/ 51707 w 28"/>
              <a:gd name="T13" fmla="*/ 70556 h 27"/>
              <a:gd name="T14" fmla="*/ 46264 w 28"/>
              <a:gd name="T15" fmla="*/ 79375 h 27"/>
              <a:gd name="T16" fmla="*/ 27214 w 28"/>
              <a:gd name="T17" fmla="*/ 70556 h 27"/>
              <a:gd name="T18" fmla="*/ 0 w 28"/>
              <a:gd name="T19" fmla="*/ 67616 h 27"/>
              <a:gd name="T20" fmla="*/ 0 w 28"/>
              <a:gd name="T21" fmla="*/ 67616 h 27"/>
              <a:gd name="T22" fmla="*/ 0 w 28"/>
              <a:gd name="T23" fmla="*/ 0 h 27"/>
              <a:gd name="T24" fmla="*/ 8164 w 28"/>
              <a:gd name="T25" fmla="*/ 588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7">
                <a:moveTo>
                  <a:pt x="3" y="2"/>
                </a:moveTo>
                <a:cubicBezTo>
                  <a:pt x="4" y="3"/>
                  <a:pt x="5" y="6"/>
                  <a:pt x="6" y="9"/>
                </a:cubicBezTo>
                <a:cubicBezTo>
                  <a:pt x="8" y="11"/>
                  <a:pt x="12" y="13"/>
                  <a:pt x="16" y="16"/>
                </a:cubicBezTo>
                <a:cubicBezTo>
                  <a:pt x="18" y="19"/>
                  <a:pt x="23" y="19"/>
                  <a:pt x="27" y="19"/>
                </a:cubicBezTo>
                <a:cubicBezTo>
                  <a:pt x="27" y="19"/>
                  <a:pt x="28" y="18"/>
                  <a:pt x="28" y="19"/>
                </a:cubicBezTo>
                <a:cubicBezTo>
                  <a:pt x="28" y="20"/>
                  <a:pt x="27" y="23"/>
                  <a:pt x="25" y="23"/>
                </a:cubicBezTo>
                <a:cubicBezTo>
                  <a:pt x="24" y="24"/>
                  <a:pt x="20" y="24"/>
                  <a:pt x="19" y="24"/>
                </a:cubicBezTo>
                <a:cubicBezTo>
                  <a:pt x="18" y="25"/>
                  <a:pt x="18" y="27"/>
                  <a:pt x="17" y="27"/>
                </a:cubicBezTo>
                <a:cubicBezTo>
                  <a:pt x="16" y="27"/>
                  <a:pt x="12" y="25"/>
                  <a:pt x="10" y="24"/>
                </a:cubicBezTo>
                <a:cubicBezTo>
                  <a:pt x="7" y="24"/>
                  <a:pt x="3" y="23"/>
                  <a:pt x="0" y="23"/>
                </a:cubicBezTo>
                <a:cubicBezTo>
                  <a:pt x="0" y="23"/>
                  <a:pt x="0" y="23"/>
                  <a:pt x="0" y="23"/>
                </a:cubicBezTo>
                <a:cubicBezTo>
                  <a:pt x="0" y="0"/>
                  <a:pt x="0" y="0"/>
                  <a:pt x="0" y="0"/>
                </a:cubicBezTo>
                <a:cubicBezTo>
                  <a:pt x="1" y="0"/>
                  <a:pt x="2" y="1"/>
                  <a:pt x="3" y="2"/>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5" name="Freeform 57"/>
          <p:cNvSpPr>
            <a:spLocks/>
          </p:cNvSpPr>
          <p:nvPr>
            <p:custDataLst>
              <p:tags r:id="rId51"/>
            </p:custDataLst>
          </p:nvPr>
        </p:nvSpPr>
        <p:spPr bwMode="auto">
          <a:xfrm>
            <a:off x="4164295" y="4614366"/>
            <a:ext cx="460097" cy="867512"/>
          </a:xfrm>
          <a:custGeom>
            <a:avLst/>
            <a:gdLst>
              <a:gd name="T0" fmla="*/ 0 w 153"/>
              <a:gd name="T1" fmla="*/ 711612 h 270"/>
              <a:gd name="T2" fmla="*/ 19029 w 153"/>
              <a:gd name="T3" fmla="*/ 685471 h 270"/>
              <a:gd name="T4" fmla="*/ 38058 w 153"/>
              <a:gd name="T5" fmla="*/ 630285 h 270"/>
              <a:gd name="T6" fmla="*/ 48932 w 153"/>
              <a:gd name="T7" fmla="*/ 569289 h 270"/>
              <a:gd name="T8" fmla="*/ 38058 w 153"/>
              <a:gd name="T9" fmla="*/ 528626 h 270"/>
              <a:gd name="T10" fmla="*/ 38058 w 153"/>
              <a:gd name="T11" fmla="*/ 456012 h 270"/>
              <a:gd name="T12" fmla="*/ 51651 w 153"/>
              <a:gd name="T13" fmla="*/ 403731 h 270"/>
              <a:gd name="T14" fmla="*/ 62525 w 153"/>
              <a:gd name="T15" fmla="*/ 342735 h 270"/>
              <a:gd name="T16" fmla="*/ 73399 w 153"/>
              <a:gd name="T17" fmla="*/ 275931 h 270"/>
              <a:gd name="T18" fmla="*/ 73399 w 153"/>
              <a:gd name="T19" fmla="*/ 197509 h 270"/>
              <a:gd name="T20" fmla="*/ 103302 w 153"/>
              <a:gd name="T21" fmla="*/ 121991 h 270"/>
              <a:gd name="T22" fmla="*/ 106020 w 153"/>
              <a:gd name="T23" fmla="*/ 66804 h 270"/>
              <a:gd name="T24" fmla="*/ 133205 w 153"/>
              <a:gd name="T25" fmla="*/ 20332 h 270"/>
              <a:gd name="T26" fmla="*/ 173982 w 153"/>
              <a:gd name="T27" fmla="*/ 5809 h 270"/>
              <a:gd name="T28" fmla="*/ 209322 w 153"/>
              <a:gd name="T29" fmla="*/ 5809 h 270"/>
              <a:gd name="T30" fmla="*/ 225633 w 153"/>
              <a:gd name="T31" fmla="*/ 11618 h 270"/>
              <a:gd name="T32" fmla="*/ 328934 w 153"/>
              <a:gd name="T33" fmla="*/ 87136 h 270"/>
              <a:gd name="T34" fmla="*/ 345245 w 153"/>
              <a:gd name="T35" fmla="*/ 133609 h 270"/>
              <a:gd name="T36" fmla="*/ 391459 w 153"/>
              <a:gd name="T37" fmla="*/ 90041 h 270"/>
              <a:gd name="T38" fmla="*/ 413207 w 153"/>
              <a:gd name="T39" fmla="*/ 107468 h 270"/>
              <a:gd name="T40" fmla="*/ 369711 w 153"/>
              <a:gd name="T41" fmla="*/ 156845 h 270"/>
              <a:gd name="T42" fmla="*/ 328934 w 153"/>
              <a:gd name="T43" fmla="*/ 200413 h 270"/>
              <a:gd name="T44" fmla="*/ 312623 w 153"/>
              <a:gd name="T45" fmla="*/ 293358 h 270"/>
              <a:gd name="T46" fmla="*/ 334371 w 153"/>
              <a:gd name="T47" fmla="*/ 319499 h 270"/>
              <a:gd name="T48" fmla="*/ 347963 w 153"/>
              <a:gd name="T49" fmla="*/ 354354 h 270"/>
              <a:gd name="T50" fmla="*/ 328934 w 153"/>
              <a:gd name="T51" fmla="*/ 397922 h 270"/>
              <a:gd name="T52" fmla="*/ 236506 w 153"/>
              <a:gd name="T53" fmla="*/ 421158 h 270"/>
              <a:gd name="T54" fmla="*/ 225633 w 153"/>
              <a:gd name="T55" fmla="*/ 473440 h 270"/>
              <a:gd name="T56" fmla="*/ 173982 w 153"/>
              <a:gd name="T57" fmla="*/ 467630 h 270"/>
              <a:gd name="T58" fmla="*/ 179419 w 153"/>
              <a:gd name="T59" fmla="*/ 502485 h 270"/>
              <a:gd name="T60" fmla="*/ 203885 w 153"/>
              <a:gd name="T61" fmla="*/ 517008 h 270"/>
              <a:gd name="T62" fmla="*/ 173982 w 153"/>
              <a:gd name="T63" fmla="*/ 537339 h 270"/>
              <a:gd name="T64" fmla="*/ 165826 w 153"/>
              <a:gd name="T65" fmla="*/ 580907 h 270"/>
              <a:gd name="T66" fmla="*/ 127768 w 153"/>
              <a:gd name="T67" fmla="*/ 595430 h 270"/>
              <a:gd name="T68" fmla="*/ 157671 w 153"/>
              <a:gd name="T69" fmla="*/ 638998 h 270"/>
              <a:gd name="T70" fmla="*/ 127768 w 153"/>
              <a:gd name="T71" fmla="*/ 691280 h 270"/>
              <a:gd name="T72" fmla="*/ 89709 w 153"/>
              <a:gd name="T73" fmla="*/ 740657 h 270"/>
              <a:gd name="T74" fmla="*/ 95146 w 153"/>
              <a:gd name="T75" fmla="*/ 784225 h 270"/>
              <a:gd name="T76" fmla="*/ 29903 w 153"/>
              <a:gd name="T77" fmla="*/ 778416 h 270"/>
              <a:gd name="T78" fmla="*/ 24466 w 153"/>
              <a:gd name="T79" fmla="*/ 740657 h 27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53" h="270">
                <a:moveTo>
                  <a:pt x="2" y="254"/>
                </a:moveTo>
                <a:cubicBezTo>
                  <a:pt x="1" y="253"/>
                  <a:pt x="0" y="247"/>
                  <a:pt x="0" y="245"/>
                </a:cubicBezTo>
                <a:cubicBezTo>
                  <a:pt x="0" y="243"/>
                  <a:pt x="1" y="240"/>
                  <a:pt x="2" y="239"/>
                </a:cubicBezTo>
                <a:cubicBezTo>
                  <a:pt x="4" y="238"/>
                  <a:pt x="7" y="237"/>
                  <a:pt x="7" y="236"/>
                </a:cubicBezTo>
                <a:cubicBezTo>
                  <a:pt x="8" y="234"/>
                  <a:pt x="8" y="227"/>
                  <a:pt x="9" y="225"/>
                </a:cubicBezTo>
                <a:cubicBezTo>
                  <a:pt x="11" y="223"/>
                  <a:pt x="13" y="220"/>
                  <a:pt x="14" y="217"/>
                </a:cubicBezTo>
                <a:cubicBezTo>
                  <a:pt x="14" y="215"/>
                  <a:pt x="13" y="207"/>
                  <a:pt x="14" y="206"/>
                </a:cubicBezTo>
                <a:cubicBezTo>
                  <a:pt x="16" y="205"/>
                  <a:pt x="18" y="198"/>
                  <a:pt x="18" y="196"/>
                </a:cubicBezTo>
                <a:cubicBezTo>
                  <a:pt x="18" y="195"/>
                  <a:pt x="13" y="194"/>
                  <a:pt x="13" y="193"/>
                </a:cubicBezTo>
                <a:cubicBezTo>
                  <a:pt x="13" y="191"/>
                  <a:pt x="15" y="183"/>
                  <a:pt x="14" y="182"/>
                </a:cubicBezTo>
                <a:cubicBezTo>
                  <a:pt x="10" y="177"/>
                  <a:pt x="16" y="175"/>
                  <a:pt x="16" y="173"/>
                </a:cubicBezTo>
                <a:cubicBezTo>
                  <a:pt x="16" y="171"/>
                  <a:pt x="14" y="160"/>
                  <a:pt x="14" y="157"/>
                </a:cubicBezTo>
                <a:cubicBezTo>
                  <a:pt x="15" y="155"/>
                  <a:pt x="15" y="148"/>
                  <a:pt x="17" y="146"/>
                </a:cubicBezTo>
                <a:cubicBezTo>
                  <a:pt x="18" y="144"/>
                  <a:pt x="20" y="141"/>
                  <a:pt x="19" y="139"/>
                </a:cubicBezTo>
                <a:cubicBezTo>
                  <a:pt x="18" y="136"/>
                  <a:pt x="16" y="125"/>
                  <a:pt x="18" y="123"/>
                </a:cubicBezTo>
                <a:cubicBezTo>
                  <a:pt x="20" y="122"/>
                  <a:pt x="23" y="120"/>
                  <a:pt x="23" y="118"/>
                </a:cubicBezTo>
                <a:cubicBezTo>
                  <a:pt x="23" y="116"/>
                  <a:pt x="27" y="104"/>
                  <a:pt x="27" y="102"/>
                </a:cubicBezTo>
                <a:cubicBezTo>
                  <a:pt x="27" y="100"/>
                  <a:pt x="28" y="97"/>
                  <a:pt x="27" y="95"/>
                </a:cubicBezTo>
                <a:cubicBezTo>
                  <a:pt x="26" y="92"/>
                  <a:pt x="21" y="79"/>
                  <a:pt x="23" y="77"/>
                </a:cubicBezTo>
                <a:cubicBezTo>
                  <a:pt x="25" y="75"/>
                  <a:pt x="27" y="69"/>
                  <a:pt x="27" y="68"/>
                </a:cubicBezTo>
                <a:cubicBezTo>
                  <a:pt x="28" y="66"/>
                  <a:pt x="27" y="59"/>
                  <a:pt x="29" y="56"/>
                </a:cubicBezTo>
                <a:cubicBezTo>
                  <a:pt x="30" y="53"/>
                  <a:pt x="37" y="44"/>
                  <a:pt x="38" y="42"/>
                </a:cubicBezTo>
                <a:cubicBezTo>
                  <a:pt x="39" y="41"/>
                  <a:pt x="38" y="33"/>
                  <a:pt x="38" y="31"/>
                </a:cubicBezTo>
                <a:cubicBezTo>
                  <a:pt x="38" y="29"/>
                  <a:pt x="36" y="24"/>
                  <a:pt x="39" y="23"/>
                </a:cubicBezTo>
                <a:cubicBezTo>
                  <a:pt x="41" y="21"/>
                  <a:pt x="46" y="18"/>
                  <a:pt x="47" y="18"/>
                </a:cubicBezTo>
                <a:cubicBezTo>
                  <a:pt x="49" y="7"/>
                  <a:pt x="49" y="7"/>
                  <a:pt x="49" y="7"/>
                </a:cubicBezTo>
                <a:cubicBezTo>
                  <a:pt x="51" y="6"/>
                  <a:pt x="53" y="3"/>
                  <a:pt x="55" y="1"/>
                </a:cubicBezTo>
                <a:cubicBezTo>
                  <a:pt x="56" y="0"/>
                  <a:pt x="61" y="1"/>
                  <a:pt x="64" y="2"/>
                </a:cubicBezTo>
                <a:cubicBezTo>
                  <a:pt x="67" y="2"/>
                  <a:pt x="68" y="8"/>
                  <a:pt x="69" y="8"/>
                </a:cubicBezTo>
                <a:cubicBezTo>
                  <a:pt x="71" y="8"/>
                  <a:pt x="75" y="2"/>
                  <a:pt x="77" y="2"/>
                </a:cubicBezTo>
                <a:cubicBezTo>
                  <a:pt x="79" y="2"/>
                  <a:pt x="81" y="2"/>
                  <a:pt x="82" y="3"/>
                </a:cubicBezTo>
                <a:cubicBezTo>
                  <a:pt x="83" y="3"/>
                  <a:pt x="83" y="4"/>
                  <a:pt x="83" y="4"/>
                </a:cubicBezTo>
                <a:cubicBezTo>
                  <a:pt x="83" y="7"/>
                  <a:pt x="97" y="17"/>
                  <a:pt x="99" y="18"/>
                </a:cubicBezTo>
                <a:cubicBezTo>
                  <a:pt x="103" y="20"/>
                  <a:pt x="121" y="29"/>
                  <a:pt x="121" y="30"/>
                </a:cubicBezTo>
                <a:cubicBezTo>
                  <a:pt x="121" y="32"/>
                  <a:pt x="111" y="42"/>
                  <a:pt x="113" y="44"/>
                </a:cubicBezTo>
                <a:cubicBezTo>
                  <a:pt x="115" y="46"/>
                  <a:pt x="123" y="46"/>
                  <a:pt x="127" y="46"/>
                </a:cubicBezTo>
                <a:cubicBezTo>
                  <a:pt x="131" y="46"/>
                  <a:pt x="137" y="41"/>
                  <a:pt x="139" y="40"/>
                </a:cubicBezTo>
                <a:cubicBezTo>
                  <a:pt x="141" y="39"/>
                  <a:pt x="143" y="33"/>
                  <a:pt x="144" y="31"/>
                </a:cubicBezTo>
                <a:cubicBezTo>
                  <a:pt x="146" y="31"/>
                  <a:pt x="149" y="31"/>
                  <a:pt x="149" y="31"/>
                </a:cubicBezTo>
                <a:cubicBezTo>
                  <a:pt x="151" y="31"/>
                  <a:pt x="153" y="35"/>
                  <a:pt x="152" y="37"/>
                </a:cubicBezTo>
                <a:cubicBezTo>
                  <a:pt x="151" y="38"/>
                  <a:pt x="151" y="43"/>
                  <a:pt x="149" y="44"/>
                </a:cubicBezTo>
                <a:cubicBezTo>
                  <a:pt x="146" y="45"/>
                  <a:pt x="140" y="51"/>
                  <a:pt x="136" y="54"/>
                </a:cubicBezTo>
                <a:cubicBezTo>
                  <a:pt x="133" y="57"/>
                  <a:pt x="128" y="62"/>
                  <a:pt x="124" y="66"/>
                </a:cubicBezTo>
                <a:cubicBezTo>
                  <a:pt x="123" y="68"/>
                  <a:pt x="122" y="69"/>
                  <a:pt x="121" y="69"/>
                </a:cubicBezTo>
                <a:cubicBezTo>
                  <a:pt x="119" y="71"/>
                  <a:pt x="118" y="75"/>
                  <a:pt x="118" y="77"/>
                </a:cubicBezTo>
                <a:cubicBezTo>
                  <a:pt x="118" y="80"/>
                  <a:pt x="115" y="101"/>
                  <a:pt x="115" y="101"/>
                </a:cubicBezTo>
                <a:cubicBezTo>
                  <a:pt x="114" y="101"/>
                  <a:pt x="115" y="101"/>
                  <a:pt x="115" y="104"/>
                </a:cubicBezTo>
                <a:cubicBezTo>
                  <a:pt x="115" y="108"/>
                  <a:pt x="120" y="108"/>
                  <a:pt x="123" y="110"/>
                </a:cubicBezTo>
                <a:cubicBezTo>
                  <a:pt x="126" y="112"/>
                  <a:pt x="123" y="114"/>
                  <a:pt x="123" y="117"/>
                </a:cubicBezTo>
                <a:cubicBezTo>
                  <a:pt x="123" y="121"/>
                  <a:pt x="128" y="120"/>
                  <a:pt x="128" y="122"/>
                </a:cubicBezTo>
                <a:cubicBezTo>
                  <a:pt x="129" y="124"/>
                  <a:pt x="127" y="127"/>
                  <a:pt x="125" y="129"/>
                </a:cubicBezTo>
                <a:cubicBezTo>
                  <a:pt x="123" y="130"/>
                  <a:pt x="122" y="135"/>
                  <a:pt x="121" y="137"/>
                </a:cubicBezTo>
                <a:cubicBezTo>
                  <a:pt x="119" y="139"/>
                  <a:pt x="107" y="142"/>
                  <a:pt x="104" y="143"/>
                </a:cubicBezTo>
                <a:cubicBezTo>
                  <a:pt x="101" y="145"/>
                  <a:pt x="87" y="144"/>
                  <a:pt x="87" y="145"/>
                </a:cubicBezTo>
                <a:cubicBezTo>
                  <a:pt x="87" y="146"/>
                  <a:pt x="87" y="157"/>
                  <a:pt x="87" y="159"/>
                </a:cubicBezTo>
                <a:cubicBezTo>
                  <a:pt x="87" y="162"/>
                  <a:pt x="85" y="161"/>
                  <a:pt x="83" y="163"/>
                </a:cubicBezTo>
                <a:cubicBezTo>
                  <a:pt x="81" y="164"/>
                  <a:pt x="75" y="164"/>
                  <a:pt x="73" y="164"/>
                </a:cubicBezTo>
                <a:cubicBezTo>
                  <a:pt x="71" y="164"/>
                  <a:pt x="66" y="161"/>
                  <a:pt x="64" y="161"/>
                </a:cubicBezTo>
                <a:cubicBezTo>
                  <a:pt x="62" y="162"/>
                  <a:pt x="64" y="167"/>
                  <a:pt x="64" y="168"/>
                </a:cubicBezTo>
                <a:cubicBezTo>
                  <a:pt x="64" y="170"/>
                  <a:pt x="65" y="172"/>
                  <a:pt x="66" y="173"/>
                </a:cubicBezTo>
                <a:cubicBezTo>
                  <a:pt x="67" y="174"/>
                  <a:pt x="72" y="172"/>
                  <a:pt x="74" y="172"/>
                </a:cubicBezTo>
                <a:cubicBezTo>
                  <a:pt x="75" y="173"/>
                  <a:pt x="75" y="176"/>
                  <a:pt x="75" y="178"/>
                </a:cubicBezTo>
                <a:cubicBezTo>
                  <a:pt x="75" y="179"/>
                  <a:pt x="72" y="181"/>
                  <a:pt x="71" y="181"/>
                </a:cubicBezTo>
                <a:cubicBezTo>
                  <a:pt x="69" y="181"/>
                  <a:pt x="66" y="184"/>
                  <a:pt x="64" y="185"/>
                </a:cubicBezTo>
                <a:cubicBezTo>
                  <a:pt x="62" y="187"/>
                  <a:pt x="62" y="191"/>
                  <a:pt x="62" y="195"/>
                </a:cubicBezTo>
                <a:cubicBezTo>
                  <a:pt x="62" y="198"/>
                  <a:pt x="62" y="200"/>
                  <a:pt x="61" y="200"/>
                </a:cubicBezTo>
                <a:cubicBezTo>
                  <a:pt x="60" y="201"/>
                  <a:pt x="58" y="200"/>
                  <a:pt x="55" y="200"/>
                </a:cubicBezTo>
                <a:cubicBezTo>
                  <a:pt x="53" y="200"/>
                  <a:pt x="50" y="202"/>
                  <a:pt x="47" y="205"/>
                </a:cubicBezTo>
                <a:cubicBezTo>
                  <a:pt x="45" y="209"/>
                  <a:pt x="45" y="213"/>
                  <a:pt x="48" y="216"/>
                </a:cubicBezTo>
                <a:cubicBezTo>
                  <a:pt x="51" y="219"/>
                  <a:pt x="56" y="219"/>
                  <a:pt x="58" y="220"/>
                </a:cubicBezTo>
                <a:cubicBezTo>
                  <a:pt x="60" y="221"/>
                  <a:pt x="59" y="224"/>
                  <a:pt x="59" y="227"/>
                </a:cubicBezTo>
                <a:cubicBezTo>
                  <a:pt x="59" y="230"/>
                  <a:pt x="49" y="236"/>
                  <a:pt x="47" y="238"/>
                </a:cubicBezTo>
                <a:cubicBezTo>
                  <a:pt x="45" y="241"/>
                  <a:pt x="43" y="246"/>
                  <a:pt x="43" y="249"/>
                </a:cubicBezTo>
                <a:cubicBezTo>
                  <a:pt x="42" y="251"/>
                  <a:pt x="35" y="252"/>
                  <a:pt x="33" y="255"/>
                </a:cubicBezTo>
                <a:cubicBezTo>
                  <a:pt x="32" y="257"/>
                  <a:pt x="33" y="263"/>
                  <a:pt x="35" y="266"/>
                </a:cubicBezTo>
                <a:cubicBezTo>
                  <a:pt x="37" y="268"/>
                  <a:pt x="37" y="270"/>
                  <a:pt x="35" y="270"/>
                </a:cubicBezTo>
                <a:cubicBezTo>
                  <a:pt x="34" y="270"/>
                  <a:pt x="29" y="268"/>
                  <a:pt x="29" y="269"/>
                </a:cubicBezTo>
                <a:cubicBezTo>
                  <a:pt x="11" y="268"/>
                  <a:pt x="11" y="268"/>
                  <a:pt x="11" y="268"/>
                </a:cubicBezTo>
                <a:cubicBezTo>
                  <a:pt x="9" y="267"/>
                  <a:pt x="8" y="265"/>
                  <a:pt x="8" y="263"/>
                </a:cubicBezTo>
                <a:cubicBezTo>
                  <a:pt x="8" y="262"/>
                  <a:pt x="11" y="257"/>
                  <a:pt x="9" y="255"/>
                </a:cubicBezTo>
                <a:cubicBezTo>
                  <a:pt x="7" y="254"/>
                  <a:pt x="4" y="255"/>
                  <a:pt x="2" y="25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6" name="Freeform 59"/>
          <p:cNvSpPr>
            <a:spLocks/>
          </p:cNvSpPr>
          <p:nvPr>
            <p:custDataLst>
              <p:tags r:id="rId52"/>
            </p:custDataLst>
          </p:nvPr>
        </p:nvSpPr>
        <p:spPr bwMode="auto">
          <a:xfrm>
            <a:off x="4206440" y="5497684"/>
            <a:ext cx="70244" cy="84293"/>
          </a:xfrm>
          <a:custGeom>
            <a:avLst/>
            <a:gdLst>
              <a:gd name="T0" fmla="*/ 8283 w 23"/>
              <a:gd name="T1" fmla="*/ 73269 h 26"/>
              <a:gd name="T2" fmla="*/ 0 w 23"/>
              <a:gd name="T3" fmla="*/ 58615 h 26"/>
              <a:gd name="T4" fmla="*/ 35891 w 23"/>
              <a:gd name="T5" fmla="*/ 52754 h 26"/>
              <a:gd name="T6" fmla="*/ 33130 w 23"/>
              <a:gd name="T7" fmla="*/ 41031 h 26"/>
              <a:gd name="T8" fmla="*/ 46935 w 23"/>
              <a:gd name="T9" fmla="*/ 26377 h 26"/>
              <a:gd name="T10" fmla="*/ 30370 w 23"/>
              <a:gd name="T11" fmla="*/ 23446 h 26"/>
              <a:gd name="T12" fmla="*/ 27609 w 23"/>
              <a:gd name="T13" fmla="*/ 17585 h 26"/>
              <a:gd name="T14" fmla="*/ 41413 w 23"/>
              <a:gd name="T15" fmla="*/ 5862 h 26"/>
              <a:gd name="T16" fmla="*/ 60739 w 23"/>
              <a:gd name="T17" fmla="*/ 0 h 26"/>
              <a:gd name="T18" fmla="*/ 63500 w 23"/>
              <a:gd name="T19" fmla="*/ 2931 h 26"/>
              <a:gd name="T20" fmla="*/ 63500 w 23"/>
              <a:gd name="T21" fmla="*/ 70338 h 26"/>
              <a:gd name="T22" fmla="*/ 63500 w 23"/>
              <a:gd name="T23" fmla="*/ 70338 h 26"/>
              <a:gd name="T24" fmla="*/ 60739 w 23"/>
              <a:gd name="T25" fmla="*/ 70338 h 26"/>
              <a:gd name="T26" fmla="*/ 8283 w 23"/>
              <a:gd name="T27" fmla="*/ 73269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3" h="26">
                <a:moveTo>
                  <a:pt x="3" y="25"/>
                </a:moveTo>
                <a:cubicBezTo>
                  <a:pt x="1" y="24"/>
                  <a:pt x="0" y="22"/>
                  <a:pt x="0" y="20"/>
                </a:cubicBezTo>
                <a:cubicBezTo>
                  <a:pt x="0" y="18"/>
                  <a:pt x="12" y="18"/>
                  <a:pt x="13" y="18"/>
                </a:cubicBezTo>
                <a:cubicBezTo>
                  <a:pt x="13" y="18"/>
                  <a:pt x="12" y="15"/>
                  <a:pt x="12" y="14"/>
                </a:cubicBezTo>
                <a:cubicBezTo>
                  <a:pt x="12" y="13"/>
                  <a:pt x="18" y="13"/>
                  <a:pt x="17" y="9"/>
                </a:cubicBezTo>
                <a:cubicBezTo>
                  <a:pt x="17" y="7"/>
                  <a:pt x="13" y="8"/>
                  <a:pt x="11" y="8"/>
                </a:cubicBezTo>
                <a:cubicBezTo>
                  <a:pt x="9" y="8"/>
                  <a:pt x="10" y="8"/>
                  <a:pt x="10" y="6"/>
                </a:cubicBezTo>
                <a:cubicBezTo>
                  <a:pt x="10" y="5"/>
                  <a:pt x="12" y="3"/>
                  <a:pt x="15" y="2"/>
                </a:cubicBezTo>
                <a:cubicBezTo>
                  <a:pt x="19" y="1"/>
                  <a:pt x="21" y="0"/>
                  <a:pt x="22" y="0"/>
                </a:cubicBezTo>
                <a:cubicBezTo>
                  <a:pt x="22" y="0"/>
                  <a:pt x="22" y="0"/>
                  <a:pt x="23" y="1"/>
                </a:cubicBezTo>
                <a:cubicBezTo>
                  <a:pt x="23" y="24"/>
                  <a:pt x="23" y="24"/>
                  <a:pt x="23" y="24"/>
                </a:cubicBezTo>
                <a:cubicBezTo>
                  <a:pt x="23" y="24"/>
                  <a:pt x="23" y="24"/>
                  <a:pt x="23" y="24"/>
                </a:cubicBezTo>
                <a:cubicBezTo>
                  <a:pt x="23" y="24"/>
                  <a:pt x="22" y="24"/>
                  <a:pt x="22" y="24"/>
                </a:cubicBezTo>
                <a:cubicBezTo>
                  <a:pt x="20" y="24"/>
                  <a:pt x="5" y="26"/>
                  <a:pt x="3" y="25"/>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7" name="Freeform 60"/>
          <p:cNvSpPr>
            <a:spLocks/>
          </p:cNvSpPr>
          <p:nvPr>
            <p:custDataLst>
              <p:tags r:id="rId53"/>
            </p:custDataLst>
          </p:nvPr>
        </p:nvSpPr>
        <p:spPr bwMode="auto">
          <a:xfrm>
            <a:off x="4118635" y="5220221"/>
            <a:ext cx="35122" cy="47415"/>
          </a:xfrm>
          <a:custGeom>
            <a:avLst/>
            <a:gdLst>
              <a:gd name="T0" fmla="*/ 11545 w 11"/>
              <a:gd name="T1" fmla="*/ 27555 h 14"/>
              <a:gd name="T2" fmla="*/ 0 w 11"/>
              <a:gd name="T3" fmla="*/ 18370 h 14"/>
              <a:gd name="T4" fmla="*/ 11545 w 11"/>
              <a:gd name="T5" fmla="*/ 12247 h 14"/>
              <a:gd name="T6" fmla="*/ 17318 w 11"/>
              <a:gd name="T7" fmla="*/ 0 h 14"/>
              <a:gd name="T8" fmla="*/ 31750 w 11"/>
              <a:gd name="T9" fmla="*/ 0 h 14"/>
              <a:gd name="T10" fmla="*/ 28864 w 11"/>
              <a:gd name="T11" fmla="*/ 21432 h 14"/>
              <a:gd name="T12" fmla="*/ 25977 w 11"/>
              <a:gd name="T13" fmla="*/ 33678 h 14"/>
              <a:gd name="T14" fmla="*/ 20205 w 11"/>
              <a:gd name="T15" fmla="*/ 42863 h 14"/>
              <a:gd name="T16" fmla="*/ 5773 w 11"/>
              <a:gd name="T17" fmla="*/ 39801 h 14"/>
              <a:gd name="T18" fmla="*/ 11545 w 11"/>
              <a:gd name="T19" fmla="*/ 27555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 h="14">
                <a:moveTo>
                  <a:pt x="4" y="9"/>
                </a:moveTo>
                <a:cubicBezTo>
                  <a:pt x="4" y="8"/>
                  <a:pt x="0" y="8"/>
                  <a:pt x="0" y="6"/>
                </a:cubicBezTo>
                <a:cubicBezTo>
                  <a:pt x="0" y="5"/>
                  <a:pt x="4" y="5"/>
                  <a:pt x="4" y="4"/>
                </a:cubicBezTo>
                <a:cubicBezTo>
                  <a:pt x="5" y="3"/>
                  <a:pt x="6" y="0"/>
                  <a:pt x="6" y="0"/>
                </a:cubicBezTo>
                <a:cubicBezTo>
                  <a:pt x="7" y="0"/>
                  <a:pt x="11" y="0"/>
                  <a:pt x="11" y="0"/>
                </a:cubicBezTo>
                <a:cubicBezTo>
                  <a:pt x="11" y="1"/>
                  <a:pt x="11" y="6"/>
                  <a:pt x="10" y="7"/>
                </a:cubicBezTo>
                <a:cubicBezTo>
                  <a:pt x="10" y="8"/>
                  <a:pt x="9" y="10"/>
                  <a:pt x="9" y="11"/>
                </a:cubicBezTo>
                <a:cubicBezTo>
                  <a:pt x="8" y="12"/>
                  <a:pt x="8" y="14"/>
                  <a:pt x="7" y="14"/>
                </a:cubicBezTo>
                <a:cubicBezTo>
                  <a:pt x="5" y="13"/>
                  <a:pt x="2" y="14"/>
                  <a:pt x="2" y="13"/>
                </a:cubicBezTo>
                <a:cubicBezTo>
                  <a:pt x="2" y="12"/>
                  <a:pt x="5" y="9"/>
                  <a:pt x="4" y="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8" name="Freeform 61"/>
          <p:cNvSpPr>
            <a:spLocks/>
          </p:cNvSpPr>
          <p:nvPr>
            <p:custDataLst>
              <p:tags r:id="rId54"/>
            </p:custDataLst>
          </p:nvPr>
        </p:nvSpPr>
        <p:spPr bwMode="auto">
          <a:xfrm>
            <a:off x="4113368" y="4507244"/>
            <a:ext cx="198439" cy="1046634"/>
          </a:xfrm>
          <a:custGeom>
            <a:avLst/>
            <a:gdLst>
              <a:gd name="T0" fmla="*/ 5436 w 66"/>
              <a:gd name="T1" fmla="*/ 829701 h 325"/>
              <a:gd name="T2" fmla="*/ 5436 w 66"/>
              <a:gd name="T3" fmla="*/ 812233 h 325"/>
              <a:gd name="T4" fmla="*/ 0 w 66"/>
              <a:gd name="T5" fmla="*/ 768565 h 325"/>
              <a:gd name="T6" fmla="*/ 29898 w 66"/>
              <a:gd name="T7" fmla="*/ 736541 h 325"/>
              <a:gd name="T8" fmla="*/ 5436 w 66"/>
              <a:gd name="T9" fmla="*/ 730719 h 325"/>
              <a:gd name="T10" fmla="*/ 10872 w 66"/>
              <a:gd name="T11" fmla="*/ 710340 h 325"/>
              <a:gd name="T12" fmla="*/ 40770 w 66"/>
              <a:gd name="T13" fmla="*/ 707429 h 325"/>
              <a:gd name="T14" fmla="*/ 48924 w 66"/>
              <a:gd name="T15" fmla="*/ 675406 h 325"/>
              <a:gd name="T16" fmla="*/ 51642 w 66"/>
              <a:gd name="T17" fmla="*/ 646293 h 325"/>
              <a:gd name="T18" fmla="*/ 67950 w 66"/>
              <a:gd name="T19" fmla="*/ 602625 h 325"/>
              <a:gd name="T20" fmla="*/ 48924 w 66"/>
              <a:gd name="T21" fmla="*/ 605536 h 325"/>
              <a:gd name="T22" fmla="*/ 27180 w 66"/>
              <a:gd name="T23" fmla="*/ 631737 h 325"/>
              <a:gd name="T24" fmla="*/ 32616 w 66"/>
              <a:gd name="T25" fmla="*/ 596802 h 325"/>
              <a:gd name="T26" fmla="*/ 38052 w 66"/>
              <a:gd name="T27" fmla="*/ 579335 h 325"/>
              <a:gd name="T28" fmla="*/ 48924 w 66"/>
              <a:gd name="T29" fmla="*/ 529844 h 325"/>
              <a:gd name="T30" fmla="*/ 38052 w 66"/>
              <a:gd name="T31" fmla="*/ 471619 h 325"/>
              <a:gd name="T32" fmla="*/ 54360 w 66"/>
              <a:gd name="T33" fmla="*/ 451241 h 325"/>
              <a:gd name="T34" fmla="*/ 81540 w 66"/>
              <a:gd name="T35" fmla="*/ 352259 h 325"/>
              <a:gd name="T36" fmla="*/ 86976 w 66"/>
              <a:gd name="T37" fmla="*/ 299857 h 325"/>
              <a:gd name="T38" fmla="*/ 84258 w 66"/>
              <a:gd name="T39" fmla="*/ 264922 h 325"/>
              <a:gd name="T40" fmla="*/ 103284 w 66"/>
              <a:gd name="T41" fmla="*/ 189230 h 325"/>
              <a:gd name="T42" fmla="*/ 114156 w 66"/>
              <a:gd name="T43" fmla="*/ 81514 h 325"/>
              <a:gd name="T44" fmla="*/ 122310 w 66"/>
              <a:gd name="T45" fmla="*/ 11645 h 325"/>
              <a:gd name="T46" fmla="*/ 141336 w 66"/>
              <a:gd name="T47" fmla="*/ 23290 h 325"/>
              <a:gd name="T48" fmla="*/ 149490 w 66"/>
              <a:gd name="T49" fmla="*/ 66958 h 325"/>
              <a:gd name="T50" fmla="*/ 176670 w 66"/>
              <a:gd name="T51" fmla="*/ 119360 h 325"/>
              <a:gd name="T52" fmla="*/ 173952 w 66"/>
              <a:gd name="T53" fmla="*/ 148473 h 325"/>
              <a:gd name="T54" fmla="*/ 149490 w 66"/>
              <a:gd name="T55" fmla="*/ 186319 h 325"/>
              <a:gd name="T56" fmla="*/ 125028 w 66"/>
              <a:gd name="T57" fmla="*/ 259100 h 325"/>
              <a:gd name="T58" fmla="*/ 108720 w 66"/>
              <a:gd name="T59" fmla="*/ 320235 h 325"/>
              <a:gd name="T60" fmla="*/ 119592 w 66"/>
              <a:gd name="T61" fmla="*/ 393016 h 325"/>
              <a:gd name="T62" fmla="*/ 95130 w 66"/>
              <a:gd name="T63" fmla="*/ 454152 h 325"/>
              <a:gd name="T64" fmla="*/ 92412 w 66"/>
              <a:gd name="T65" fmla="*/ 521110 h 325"/>
              <a:gd name="T66" fmla="*/ 89694 w 66"/>
              <a:gd name="T67" fmla="*/ 599714 h 325"/>
              <a:gd name="T68" fmla="*/ 81540 w 66"/>
              <a:gd name="T69" fmla="*/ 657938 h 325"/>
              <a:gd name="T70" fmla="*/ 84258 w 66"/>
              <a:gd name="T71" fmla="*/ 695784 h 325"/>
              <a:gd name="T72" fmla="*/ 70668 w 66"/>
              <a:gd name="T73" fmla="*/ 751098 h 325"/>
              <a:gd name="T74" fmla="*/ 51642 w 66"/>
              <a:gd name="T75" fmla="*/ 791855 h 325"/>
              <a:gd name="T76" fmla="*/ 51642 w 66"/>
              <a:gd name="T77" fmla="*/ 835523 h 325"/>
              <a:gd name="T78" fmla="*/ 67950 w 66"/>
              <a:gd name="T79" fmla="*/ 861724 h 325"/>
              <a:gd name="T80" fmla="*/ 125028 w 66"/>
              <a:gd name="T81" fmla="*/ 879192 h 325"/>
              <a:gd name="T82" fmla="*/ 97848 w 66"/>
              <a:gd name="T83" fmla="*/ 896659 h 325"/>
              <a:gd name="T84" fmla="*/ 92412 w 66"/>
              <a:gd name="T85" fmla="*/ 934505 h 325"/>
              <a:gd name="T86" fmla="*/ 48924 w 66"/>
              <a:gd name="T87" fmla="*/ 928683 h 325"/>
              <a:gd name="T88" fmla="*/ 19026 w 66"/>
              <a:gd name="T89" fmla="*/ 905393 h 325"/>
              <a:gd name="T90" fmla="*/ 43488 w 66"/>
              <a:gd name="T91" fmla="*/ 902482 h 325"/>
              <a:gd name="T92" fmla="*/ 13590 w 66"/>
              <a:gd name="T93" fmla="*/ 879192 h 325"/>
              <a:gd name="T94" fmla="*/ 8154 w 66"/>
              <a:gd name="T95" fmla="*/ 861724 h 325"/>
              <a:gd name="T96" fmla="*/ 10872 w 66"/>
              <a:gd name="T97" fmla="*/ 841346 h 3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6" h="325">
                <a:moveTo>
                  <a:pt x="4" y="289"/>
                </a:moveTo>
                <a:cubicBezTo>
                  <a:pt x="2" y="289"/>
                  <a:pt x="2" y="287"/>
                  <a:pt x="2" y="285"/>
                </a:cubicBezTo>
                <a:cubicBezTo>
                  <a:pt x="2" y="283"/>
                  <a:pt x="6" y="281"/>
                  <a:pt x="6" y="280"/>
                </a:cubicBezTo>
                <a:cubicBezTo>
                  <a:pt x="6" y="280"/>
                  <a:pt x="4" y="279"/>
                  <a:pt x="2" y="279"/>
                </a:cubicBezTo>
                <a:cubicBezTo>
                  <a:pt x="0" y="278"/>
                  <a:pt x="1" y="276"/>
                  <a:pt x="0" y="274"/>
                </a:cubicBezTo>
                <a:cubicBezTo>
                  <a:pt x="0" y="272"/>
                  <a:pt x="0" y="265"/>
                  <a:pt x="0" y="264"/>
                </a:cubicBezTo>
                <a:cubicBezTo>
                  <a:pt x="1" y="263"/>
                  <a:pt x="4" y="260"/>
                  <a:pt x="6" y="259"/>
                </a:cubicBezTo>
                <a:cubicBezTo>
                  <a:pt x="7" y="259"/>
                  <a:pt x="10" y="255"/>
                  <a:pt x="11" y="253"/>
                </a:cubicBezTo>
                <a:cubicBezTo>
                  <a:pt x="11" y="252"/>
                  <a:pt x="10" y="250"/>
                  <a:pt x="9" y="250"/>
                </a:cubicBezTo>
                <a:cubicBezTo>
                  <a:pt x="7" y="250"/>
                  <a:pt x="4" y="250"/>
                  <a:pt x="2" y="251"/>
                </a:cubicBezTo>
                <a:cubicBezTo>
                  <a:pt x="1" y="251"/>
                  <a:pt x="0" y="250"/>
                  <a:pt x="0" y="248"/>
                </a:cubicBezTo>
                <a:cubicBezTo>
                  <a:pt x="0" y="247"/>
                  <a:pt x="3" y="245"/>
                  <a:pt x="4" y="244"/>
                </a:cubicBezTo>
                <a:cubicBezTo>
                  <a:pt x="6" y="242"/>
                  <a:pt x="7" y="240"/>
                  <a:pt x="8" y="241"/>
                </a:cubicBezTo>
                <a:cubicBezTo>
                  <a:pt x="10" y="242"/>
                  <a:pt x="14" y="244"/>
                  <a:pt x="15" y="243"/>
                </a:cubicBezTo>
                <a:cubicBezTo>
                  <a:pt x="16" y="241"/>
                  <a:pt x="15" y="238"/>
                  <a:pt x="16" y="236"/>
                </a:cubicBezTo>
                <a:cubicBezTo>
                  <a:pt x="17" y="235"/>
                  <a:pt x="16" y="232"/>
                  <a:pt x="18" y="232"/>
                </a:cubicBezTo>
                <a:cubicBezTo>
                  <a:pt x="20" y="232"/>
                  <a:pt x="21" y="229"/>
                  <a:pt x="21" y="227"/>
                </a:cubicBezTo>
                <a:cubicBezTo>
                  <a:pt x="21" y="226"/>
                  <a:pt x="19" y="224"/>
                  <a:pt x="19" y="222"/>
                </a:cubicBezTo>
                <a:cubicBezTo>
                  <a:pt x="20" y="221"/>
                  <a:pt x="21" y="215"/>
                  <a:pt x="22" y="213"/>
                </a:cubicBezTo>
                <a:cubicBezTo>
                  <a:pt x="23" y="212"/>
                  <a:pt x="24" y="208"/>
                  <a:pt x="25" y="207"/>
                </a:cubicBezTo>
                <a:cubicBezTo>
                  <a:pt x="25" y="207"/>
                  <a:pt x="22" y="205"/>
                  <a:pt x="20" y="205"/>
                </a:cubicBezTo>
                <a:cubicBezTo>
                  <a:pt x="18" y="205"/>
                  <a:pt x="18" y="207"/>
                  <a:pt x="18" y="208"/>
                </a:cubicBezTo>
                <a:cubicBezTo>
                  <a:pt x="18" y="209"/>
                  <a:pt x="16" y="214"/>
                  <a:pt x="15" y="216"/>
                </a:cubicBezTo>
                <a:cubicBezTo>
                  <a:pt x="14" y="217"/>
                  <a:pt x="12" y="217"/>
                  <a:pt x="10" y="217"/>
                </a:cubicBezTo>
                <a:cubicBezTo>
                  <a:pt x="8" y="217"/>
                  <a:pt x="8" y="215"/>
                  <a:pt x="8" y="214"/>
                </a:cubicBezTo>
                <a:cubicBezTo>
                  <a:pt x="9" y="213"/>
                  <a:pt x="12" y="207"/>
                  <a:pt x="12" y="205"/>
                </a:cubicBezTo>
                <a:cubicBezTo>
                  <a:pt x="12" y="204"/>
                  <a:pt x="15" y="204"/>
                  <a:pt x="15" y="203"/>
                </a:cubicBezTo>
                <a:cubicBezTo>
                  <a:pt x="16" y="202"/>
                  <a:pt x="14" y="200"/>
                  <a:pt x="14" y="199"/>
                </a:cubicBezTo>
                <a:cubicBezTo>
                  <a:pt x="14" y="198"/>
                  <a:pt x="13" y="191"/>
                  <a:pt x="14" y="190"/>
                </a:cubicBezTo>
                <a:cubicBezTo>
                  <a:pt x="14" y="188"/>
                  <a:pt x="17" y="184"/>
                  <a:pt x="18" y="182"/>
                </a:cubicBezTo>
                <a:cubicBezTo>
                  <a:pt x="19" y="180"/>
                  <a:pt x="16" y="175"/>
                  <a:pt x="16" y="172"/>
                </a:cubicBezTo>
                <a:cubicBezTo>
                  <a:pt x="14" y="170"/>
                  <a:pt x="13" y="163"/>
                  <a:pt x="14" y="162"/>
                </a:cubicBezTo>
                <a:cubicBezTo>
                  <a:pt x="14" y="160"/>
                  <a:pt x="18" y="162"/>
                  <a:pt x="18" y="161"/>
                </a:cubicBezTo>
                <a:cubicBezTo>
                  <a:pt x="19" y="160"/>
                  <a:pt x="20" y="158"/>
                  <a:pt x="20" y="155"/>
                </a:cubicBezTo>
                <a:cubicBezTo>
                  <a:pt x="22" y="152"/>
                  <a:pt x="25" y="142"/>
                  <a:pt x="27" y="137"/>
                </a:cubicBezTo>
                <a:cubicBezTo>
                  <a:pt x="29" y="133"/>
                  <a:pt x="30" y="127"/>
                  <a:pt x="30" y="121"/>
                </a:cubicBezTo>
                <a:cubicBezTo>
                  <a:pt x="32" y="115"/>
                  <a:pt x="29" y="106"/>
                  <a:pt x="29" y="105"/>
                </a:cubicBezTo>
                <a:cubicBezTo>
                  <a:pt x="29" y="103"/>
                  <a:pt x="32" y="103"/>
                  <a:pt x="32" y="103"/>
                </a:cubicBezTo>
                <a:cubicBezTo>
                  <a:pt x="32" y="102"/>
                  <a:pt x="33" y="98"/>
                  <a:pt x="33" y="97"/>
                </a:cubicBezTo>
                <a:cubicBezTo>
                  <a:pt x="33" y="95"/>
                  <a:pt x="30" y="93"/>
                  <a:pt x="31" y="91"/>
                </a:cubicBezTo>
                <a:cubicBezTo>
                  <a:pt x="32" y="90"/>
                  <a:pt x="34" y="85"/>
                  <a:pt x="35" y="83"/>
                </a:cubicBezTo>
                <a:cubicBezTo>
                  <a:pt x="36" y="80"/>
                  <a:pt x="37" y="68"/>
                  <a:pt x="38" y="65"/>
                </a:cubicBezTo>
                <a:cubicBezTo>
                  <a:pt x="39" y="61"/>
                  <a:pt x="39" y="48"/>
                  <a:pt x="40" y="44"/>
                </a:cubicBezTo>
                <a:cubicBezTo>
                  <a:pt x="41" y="41"/>
                  <a:pt x="42" y="33"/>
                  <a:pt x="42" y="28"/>
                </a:cubicBezTo>
                <a:cubicBezTo>
                  <a:pt x="43" y="24"/>
                  <a:pt x="41" y="6"/>
                  <a:pt x="40" y="6"/>
                </a:cubicBezTo>
                <a:cubicBezTo>
                  <a:pt x="45" y="4"/>
                  <a:pt x="45" y="4"/>
                  <a:pt x="45" y="4"/>
                </a:cubicBezTo>
                <a:cubicBezTo>
                  <a:pt x="45" y="3"/>
                  <a:pt x="46" y="2"/>
                  <a:pt x="47" y="0"/>
                </a:cubicBezTo>
                <a:cubicBezTo>
                  <a:pt x="52" y="8"/>
                  <a:pt x="52" y="8"/>
                  <a:pt x="52" y="8"/>
                </a:cubicBezTo>
                <a:cubicBezTo>
                  <a:pt x="53" y="10"/>
                  <a:pt x="55" y="12"/>
                  <a:pt x="56" y="14"/>
                </a:cubicBezTo>
                <a:cubicBezTo>
                  <a:pt x="56" y="16"/>
                  <a:pt x="54" y="20"/>
                  <a:pt x="55" y="23"/>
                </a:cubicBezTo>
                <a:cubicBezTo>
                  <a:pt x="56" y="26"/>
                  <a:pt x="58" y="39"/>
                  <a:pt x="58" y="40"/>
                </a:cubicBezTo>
                <a:cubicBezTo>
                  <a:pt x="58" y="42"/>
                  <a:pt x="64" y="41"/>
                  <a:pt x="65" y="41"/>
                </a:cubicBezTo>
                <a:cubicBezTo>
                  <a:pt x="65" y="41"/>
                  <a:pt x="66" y="41"/>
                  <a:pt x="66" y="40"/>
                </a:cubicBezTo>
                <a:cubicBezTo>
                  <a:pt x="64" y="51"/>
                  <a:pt x="64" y="51"/>
                  <a:pt x="64" y="51"/>
                </a:cubicBezTo>
                <a:cubicBezTo>
                  <a:pt x="63" y="51"/>
                  <a:pt x="58" y="54"/>
                  <a:pt x="56" y="56"/>
                </a:cubicBezTo>
                <a:cubicBezTo>
                  <a:pt x="53" y="57"/>
                  <a:pt x="55" y="62"/>
                  <a:pt x="55" y="64"/>
                </a:cubicBezTo>
                <a:cubicBezTo>
                  <a:pt x="55" y="66"/>
                  <a:pt x="56" y="74"/>
                  <a:pt x="55" y="75"/>
                </a:cubicBezTo>
                <a:cubicBezTo>
                  <a:pt x="54" y="77"/>
                  <a:pt x="47" y="86"/>
                  <a:pt x="46" y="89"/>
                </a:cubicBezTo>
                <a:cubicBezTo>
                  <a:pt x="44" y="92"/>
                  <a:pt x="45" y="99"/>
                  <a:pt x="44" y="101"/>
                </a:cubicBezTo>
                <a:cubicBezTo>
                  <a:pt x="44" y="102"/>
                  <a:pt x="42" y="108"/>
                  <a:pt x="40" y="110"/>
                </a:cubicBezTo>
                <a:cubicBezTo>
                  <a:pt x="38" y="112"/>
                  <a:pt x="43" y="125"/>
                  <a:pt x="44" y="128"/>
                </a:cubicBezTo>
                <a:cubicBezTo>
                  <a:pt x="45" y="130"/>
                  <a:pt x="44" y="133"/>
                  <a:pt x="44" y="135"/>
                </a:cubicBezTo>
                <a:cubicBezTo>
                  <a:pt x="44" y="137"/>
                  <a:pt x="40" y="149"/>
                  <a:pt x="40" y="151"/>
                </a:cubicBezTo>
                <a:cubicBezTo>
                  <a:pt x="40" y="153"/>
                  <a:pt x="37" y="155"/>
                  <a:pt x="35" y="156"/>
                </a:cubicBezTo>
                <a:cubicBezTo>
                  <a:pt x="33" y="158"/>
                  <a:pt x="35" y="169"/>
                  <a:pt x="36" y="172"/>
                </a:cubicBezTo>
                <a:cubicBezTo>
                  <a:pt x="37" y="174"/>
                  <a:pt x="35" y="177"/>
                  <a:pt x="34" y="179"/>
                </a:cubicBezTo>
                <a:cubicBezTo>
                  <a:pt x="32" y="181"/>
                  <a:pt x="32" y="188"/>
                  <a:pt x="31" y="190"/>
                </a:cubicBezTo>
                <a:cubicBezTo>
                  <a:pt x="31" y="193"/>
                  <a:pt x="33" y="204"/>
                  <a:pt x="33" y="206"/>
                </a:cubicBezTo>
                <a:cubicBezTo>
                  <a:pt x="33" y="208"/>
                  <a:pt x="27" y="210"/>
                  <a:pt x="31" y="215"/>
                </a:cubicBezTo>
                <a:cubicBezTo>
                  <a:pt x="32" y="216"/>
                  <a:pt x="30" y="224"/>
                  <a:pt x="30" y="226"/>
                </a:cubicBezTo>
                <a:cubicBezTo>
                  <a:pt x="30" y="227"/>
                  <a:pt x="35" y="228"/>
                  <a:pt x="35" y="229"/>
                </a:cubicBezTo>
                <a:cubicBezTo>
                  <a:pt x="35" y="231"/>
                  <a:pt x="33" y="238"/>
                  <a:pt x="31" y="239"/>
                </a:cubicBezTo>
                <a:cubicBezTo>
                  <a:pt x="30" y="240"/>
                  <a:pt x="31" y="248"/>
                  <a:pt x="31" y="250"/>
                </a:cubicBezTo>
                <a:cubicBezTo>
                  <a:pt x="30" y="253"/>
                  <a:pt x="28" y="256"/>
                  <a:pt x="26" y="258"/>
                </a:cubicBezTo>
                <a:cubicBezTo>
                  <a:pt x="25" y="260"/>
                  <a:pt x="25" y="267"/>
                  <a:pt x="24" y="269"/>
                </a:cubicBezTo>
                <a:cubicBezTo>
                  <a:pt x="24" y="270"/>
                  <a:pt x="21" y="271"/>
                  <a:pt x="19" y="272"/>
                </a:cubicBezTo>
                <a:cubicBezTo>
                  <a:pt x="18" y="273"/>
                  <a:pt x="17" y="276"/>
                  <a:pt x="17" y="278"/>
                </a:cubicBezTo>
                <a:cubicBezTo>
                  <a:pt x="17" y="280"/>
                  <a:pt x="18" y="286"/>
                  <a:pt x="19" y="287"/>
                </a:cubicBezTo>
                <a:cubicBezTo>
                  <a:pt x="21" y="288"/>
                  <a:pt x="24" y="287"/>
                  <a:pt x="26" y="288"/>
                </a:cubicBezTo>
                <a:cubicBezTo>
                  <a:pt x="28" y="290"/>
                  <a:pt x="25" y="295"/>
                  <a:pt x="25" y="296"/>
                </a:cubicBezTo>
                <a:cubicBezTo>
                  <a:pt x="25" y="298"/>
                  <a:pt x="26" y="300"/>
                  <a:pt x="28" y="301"/>
                </a:cubicBezTo>
                <a:cubicBezTo>
                  <a:pt x="46" y="302"/>
                  <a:pt x="46" y="302"/>
                  <a:pt x="46" y="302"/>
                </a:cubicBezTo>
                <a:cubicBezTo>
                  <a:pt x="46" y="303"/>
                  <a:pt x="46" y="306"/>
                  <a:pt x="44" y="306"/>
                </a:cubicBezTo>
                <a:cubicBezTo>
                  <a:pt x="41" y="307"/>
                  <a:pt x="37" y="308"/>
                  <a:pt x="36" y="308"/>
                </a:cubicBezTo>
                <a:cubicBezTo>
                  <a:pt x="36" y="308"/>
                  <a:pt x="36" y="312"/>
                  <a:pt x="36" y="314"/>
                </a:cubicBezTo>
                <a:cubicBezTo>
                  <a:pt x="36" y="316"/>
                  <a:pt x="36" y="319"/>
                  <a:pt x="34" y="321"/>
                </a:cubicBezTo>
                <a:cubicBezTo>
                  <a:pt x="32" y="323"/>
                  <a:pt x="24" y="325"/>
                  <a:pt x="22" y="325"/>
                </a:cubicBezTo>
                <a:cubicBezTo>
                  <a:pt x="21" y="324"/>
                  <a:pt x="20" y="319"/>
                  <a:pt x="18" y="319"/>
                </a:cubicBezTo>
                <a:cubicBezTo>
                  <a:pt x="16" y="319"/>
                  <a:pt x="14" y="317"/>
                  <a:pt x="13" y="316"/>
                </a:cubicBezTo>
                <a:cubicBezTo>
                  <a:pt x="12" y="315"/>
                  <a:pt x="6" y="311"/>
                  <a:pt x="7" y="311"/>
                </a:cubicBezTo>
                <a:cubicBezTo>
                  <a:pt x="8" y="310"/>
                  <a:pt x="15" y="313"/>
                  <a:pt x="16" y="313"/>
                </a:cubicBezTo>
                <a:cubicBezTo>
                  <a:pt x="17" y="313"/>
                  <a:pt x="16" y="311"/>
                  <a:pt x="16" y="310"/>
                </a:cubicBezTo>
                <a:cubicBezTo>
                  <a:pt x="15" y="309"/>
                  <a:pt x="10" y="305"/>
                  <a:pt x="9" y="304"/>
                </a:cubicBezTo>
                <a:cubicBezTo>
                  <a:pt x="8" y="304"/>
                  <a:pt x="6" y="304"/>
                  <a:pt x="5" y="302"/>
                </a:cubicBezTo>
                <a:cubicBezTo>
                  <a:pt x="5" y="301"/>
                  <a:pt x="8" y="300"/>
                  <a:pt x="7" y="296"/>
                </a:cubicBezTo>
                <a:cubicBezTo>
                  <a:pt x="7" y="295"/>
                  <a:pt x="3" y="297"/>
                  <a:pt x="3" y="296"/>
                </a:cubicBezTo>
                <a:cubicBezTo>
                  <a:pt x="3" y="294"/>
                  <a:pt x="6" y="293"/>
                  <a:pt x="6" y="291"/>
                </a:cubicBezTo>
                <a:cubicBezTo>
                  <a:pt x="6" y="290"/>
                  <a:pt x="5" y="290"/>
                  <a:pt x="4" y="28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9" name="Freeform 62"/>
          <p:cNvSpPr>
            <a:spLocks/>
          </p:cNvSpPr>
          <p:nvPr>
            <p:custDataLst>
              <p:tags r:id="rId55"/>
            </p:custDataLst>
          </p:nvPr>
        </p:nvSpPr>
        <p:spPr bwMode="auto">
          <a:xfrm>
            <a:off x="4037856" y="3752123"/>
            <a:ext cx="268683" cy="412683"/>
          </a:xfrm>
          <a:custGeom>
            <a:avLst/>
            <a:gdLst>
              <a:gd name="T0" fmla="*/ 19104 w 89"/>
              <a:gd name="T1" fmla="*/ 262310 h 128"/>
              <a:gd name="T2" fmla="*/ 0 w 89"/>
              <a:gd name="T3" fmla="*/ 253566 h 128"/>
              <a:gd name="T4" fmla="*/ 8187 w 89"/>
              <a:gd name="T5" fmla="*/ 227335 h 128"/>
              <a:gd name="T6" fmla="*/ 24562 w 89"/>
              <a:gd name="T7" fmla="*/ 224421 h 128"/>
              <a:gd name="T8" fmla="*/ 38207 w 89"/>
              <a:gd name="T9" fmla="*/ 201104 h 128"/>
              <a:gd name="T10" fmla="*/ 27291 w 89"/>
              <a:gd name="T11" fmla="*/ 189446 h 128"/>
              <a:gd name="T12" fmla="*/ 30020 w 89"/>
              <a:gd name="T13" fmla="*/ 166130 h 128"/>
              <a:gd name="T14" fmla="*/ 30020 w 89"/>
              <a:gd name="T15" fmla="*/ 136984 h 128"/>
              <a:gd name="T16" fmla="*/ 19104 w 89"/>
              <a:gd name="T17" fmla="*/ 122411 h 128"/>
              <a:gd name="T18" fmla="*/ 32749 w 89"/>
              <a:gd name="T19" fmla="*/ 110753 h 128"/>
              <a:gd name="T20" fmla="*/ 35478 w 89"/>
              <a:gd name="T21" fmla="*/ 90351 h 128"/>
              <a:gd name="T22" fmla="*/ 40936 w 89"/>
              <a:gd name="T23" fmla="*/ 93266 h 128"/>
              <a:gd name="T24" fmla="*/ 65498 w 89"/>
              <a:gd name="T25" fmla="*/ 72864 h 128"/>
              <a:gd name="T26" fmla="*/ 68227 w 89"/>
              <a:gd name="T27" fmla="*/ 55377 h 128"/>
              <a:gd name="T28" fmla="*/ 79143 w 89"/>
              <a:gd name="T29" fmla="*/ 34975 h 128"/>
              <a:gd name="T30" fmla="*/ 106434 w 89"/>
              <a:gd name="T31" fmla="*/ 29146 h 128"/>
              <a:gd name="T32" fmla="*/ 144641 w 89"/>
              <a:gd name="T33" fmla="*/ 2915 h 128"/>
              <a:gd name="T34" fmla="*/ 161016 w 89"/>
              <a:gd name="T35" fmla="*/ 8744 h 128"/>
              <a:gd name="T36" fmla="*/ 150099 w 89"/>
              <a:gd name="T37" fmla="*/ 23316 h 128"/>
              <a:gd name="T38" fmla="*/ 147370 w 89"/>
              <a:gd name="T39" fmla="*/ 29146 h 128"/>
              <a:gd name="T40" fmla="*/ 133725 w 89"/>
              <a:gd name="T41" fmla="*/ 40804 h 128"/>
              <a:gd name="T42" fmla="*/ 125538 w 89"/>
              <a:gd name="T43" fmla="*/ 52462 h 128"/>
              <a:gd name="T44" fmla="*/ 117350 w 89"/>
              <a:gd name="T45" fmla="*/ 78693 h 128"/>
              <a:gd name="T46" fmla="*/ 133725 w 89"/>
              <a:gd name="T47" fmla="*/ 104924 h 128"/>
              <a:gd name="T48" fmla="*/ 144641 w 89"/>
              <a:gd name="T49" fmla="*/ 128240 h 128"/>
              <a:gd name="T50" fmla="*/ 182848 w 89"/>
              <a:gd name="T51" fmla="*/ 131155 h 128"/>
              <a:gd name="T52" fmla="*/ 201952 w 89"/>
              <a:gd name="T53" fmla="*/ 148642 h 128"/>
              <a:gd name="T54" fmla="*/ 237430 w 89"/>
              <a:gd name="T55" fmla="*/ 145728 h 128"/>
              <a:gd name="T56" fmla="*/ 234701 w 89"/>
              <a:gd name="T57" fmla="*/ 169044 h 128"/>
              <a:gd name="T58" fmla="*/ 234701 w 89"/>
              <a:gd name="T59" fmla="*/ 195275 h 128"/>
              <a:gd name="T60" fmla="*/ 242888 w 89"/>
              <a:gd name="T61" fmla="*/ 206933 h 128"/>
              <a:gd name="T62" fmla="*/ 234701 w 89"/>
              <a:gd name="T63" fmla="*/ 224421 h 128"/>
              <a:gd name="T64" fmla="*/ 242888 w 89"/>
              <a:gd name="T65" fmla="*/ 236079 h 128"/>
              <a:gd name="T66" fmla="*/ 226514 w 89"/>
              <a:gd name="T67" fmla="*/ 247737 h 128"/>
              <a:gd name="T68" fmla="*/ 191036 w 89"/>
              <a:gd name="T69" fmla="*/ 250652 h 128"/>
              <a:gd name="T70" fmla="*/ 185577 w 89"/>
              <a:gd name="T71" fmla="*/ 288541 h 128"/>
              <a:gd name="T72" fmla="*/ 201952 w 89"/>
              <a:gd name="T73" fmla="*/ 320601 h 128"/>
              <a:gd name="T74" fmla="*/ 188306 w 89"/>
              <a:gd name="T75" fmla="*/ 373063 h 128"/>
              <a:gd name="T76" fmla="*/ 169203 w 89"/>
              <a:gd name="T77" fmla="*/ 364319 h 128"/>
              <a:gd name="T78" fmla="*/ 174661 w 89"/>
              <a:gd name="T79" fmla="*/ 341003 h 128"/>
              <a:gd name="T80" fmla="*/ 128267 w 89"/>
              <a:gd name="T81" fmla="*/ 341003 h 128"/>
              <a:gd name="T82" fmla="*/ 87331 w 89"/>
              <a:gd name="T83" fmla="*/ 291455 h 128"/>
              <a:gd name="T84" fmla="*/ 68227 w 89"/>
              <a:gd name="T85" fmla="*/ 282712 h 128"/>
              <a:gd name="T86" fmla="*/ 57311 w 89"/>
              <a:gd name="T87" fmla="*/ 282712 h 128"/>
              <a:gd name="T88" fmla="*/ 32749 w 89"/>
              <a:gd name="T89" fmla="*/ 273968 h 128"/>
              <a:gd name="T90" fmla="*/ 19104 w 89"/>
              <a:gd name="T91" fmla="*/ 262310 h 1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9" h="128">
                <a:moveTo>
                  <a:pt x="7" y="90"/>
                </a:moveTo>
                <a:cubicBezTo>
                  <a:pt x="0" y="87"/>
                  <a:pt x="0" y="87"/>
                  <a:pt x="0" y="87"/>
                </a:cubicBezTo>
                <a:cubicBezTo>
                  <a:pt x="1" y="84"/>
                  <a:pt x="2" y="79"/>
                  <a:pt x="3" y="78"/>
                </a:cubicBezTo>
                <a:cubicBezTo>
                  <a:pt x="4" y="76"/>
                  <a:pt x="8" y="78"/>
                  <a:pt x="9" y="77"/>
                </a:cubicBezTo>
                <a:cubicBezTo>
                  <a:pt x="11" y="76"/>
                  <a:pt x="13" y="70"/>
                  <a:pt x="14" y="69"/>
                </a:cubicBezTo>
                <a:cubicBezTo>
                  <a:pt x="15" y="68"/>
                  <a:pt x="9" y="66"/>
                  <a:pt x="10" y="65"/>
                </a:cubicBezTo>
                <a:cubicBezTo>
                  <a:pt x="11" y="64"/>
                  <a:pt x="11" y="59"/>
                  <a:pt x="11" y="57"/>
                </a:cubicBezTo>
                <a:cubicBezTo>
                  <a:pt x="11" y="56"/>
                  <a:pt x="11" y="49"/>
                  <a:pt x="11" y="47"/>
                </a:cubicBezTo>
                <a:cubicBezTo>
                  <a:pt x="11" y="46"/>
                  <a:pt x="9" y="44"/>
                  <a:pt x="7" y="42"/>
                </a:cubicBezTo>
                <a:cubicBezTo>
                  <a:pt x="12" y="38"/>
                  <a:pt x="12" y="38"/>
                  <a:pt x="12" y="38"/>
                </a:cubicBezTo>
                <a:cubicBezTo>
                  <a:pt x="13" y="31"/>
                  <a:pt x="13" y="31"/>
                  <a:pt x="13" y="31"/>
                </a:cubicBezTo>
                <a:cubicBezTo>
                  <a:pt x="14" y="32"/>
                  <a:pt x="14" y="32"/>
                  <a:pt x="15" y="32"/>
                </a:cubicBezTo>
                <a:cubicBezTo>
                  <a:pt x="17" y="32"/>
                  <a:pt x="24" y="27"/>
                  <a:pt x="24" y="25"/>
                </a:cubicBezTo>
                <a:cubicBezTo>
                  <a:pt x="24" y="24"/>
                  <a:pt x="25" y="21"/>
                  <a:pt x="25" y="19"/>
                </a:cubicBezTo>
                <a:cubicBezTo>
                  <a:pt x="25" y="16"/>
                  <a:pt x="27" y="14"/>
                  <a:pt x="29" y="12"/>
                </a:cubicBezTo>
                <a:cubicBezTo>
                  <a:pt x="32" y="11"/>
                  <a:pt x="35" y="10"/>
                  <a:pt x="39" y="10"/>
                </a:cubicBezTo>
                <a:cubicBezTo>
                  <a:pt x="47" y="11"/>
                  <a:pt x="51" y="2"/>
                  <a:pt x="53" y="1"/>
                </a:cubicBezTo>
                <a:cubicBezTo>
                  <a:pt x="55" y="1"/>
                  <a:pt x="58" y="0"/>
                  <a:pt x="59" y="3"/>
                </a:cubicBezTo>
                <a:cubicBezTo>
                  <a:pt x="61" y="6"/>
                  <a:pt x="58" y="7"/>
                  <a:pt x="55" y="8"/>
                </a:cubicBezTo>
                <a:cubicBezTo>
                  <a:pt x="55" y="8"/>
                  <a:pt x="54" y="9"/>
                  <a:pt x="54" y="10"/>
                </a:cubicBezTo>
                <a:cubicBezTo>
                  <a:pt x="49" y="14"/>
                  <a:pt x="49" y="14"/>
                  <a:pt x="49" y="14"/>
                </a:cubicBezTo>
                <a:cubicBezTo>
                  <a:pt x="49" y="14"/>
                  <a:pt x="47" y="14"/>
                  <a:pt x="46" y="18"/>
                </a:cubicBezTo>
                <a:cubicBezTo>
                  <a:pt x="45" y="21"/>
                  <a:pt x="43" y="26"/>
                  <a:pt x="43" y="27"/>
                </a:cubicBezTo>
                <a:cubicBezTo>
                  <a:pt x="43" y="28"/>
                  <a:pt x="49" y="34"/>
                  <a:pt x="49" y="36"/>
                </a:cubicBezTo>
                <a:cubicBezTo>
                  <a:pt x="49" y="39"/>
                  <a:pt x="52" y="43"/>
                  <a:pt x="53" y="44"/>
                </a:cubicBezTo>
                <a:cubicBezTo>
                  <a:pt x="55" y="44"/>
                  <a:pt x="64" y="43"/>
                  <a:pt x="67" y="45"/>
                </a:cubicBezTo>
                <a:cubicBezTo>
                  <a:pt x="70" y="47"/>
                  <a:pt x="71" y="51"/>
                  <a:pt x="74" y="51"/>
                </a:cubicBezTo>
                <a:cubicBezTo>
                  <a:pt x="77" y="51"/>
                  <a:pt x="85" y="49"/>
                  <a:pt x="87" y="50"/>
                </a:cubicBezTo>
                <a:cubicBezTo>
                  <a:pt x="88" y="51"/>
                  <a:pt x="86" y="55"/>
                  <a:pt x="86" y="58"/>
                </a:cubicBezTo>
                <a:cubicBezTo>
                  <a:pt x="85" y="61"/>
                  <a:pt x="85" y="66"/>
                  <a:pt x="86" y="67"/>
                </a:cubicBezTo>
                <a:cubicBezTo>
                  <a:pt x="87" y="69"/>
                  <a:pt x="89" y="70"/>
                  <a:pt x="89" y="71"/>
                </a:cubicBezTo>
                <a:cubicBezTo>
                  <a:pt x="89" y="72"/>
                  <a:pt x="86" y="76"/>
                  <a:pt x="86" y="77"/>
                </a:cubicBezTo>
                <a:cubicBezTo>
                  <a:pt x="86" y="77"/>
                  <a:pt x="87" y="79"/>
                  <a:pt x="89" y="81"/>
                </a:cubicBezTo>
                <a:cubicBezTo>
                  <a:pt x="83" y="85"/>
                  <a:pt x="83" y="85"/>
                  <a:pt x="83" y="85"/>
                </a:cubicBezTo>
                <a:cubicBezTo>
                  <a:pt x="81" y="85"/>
                  <a:pt x="71" y="84"/>
                  <a:pt x="70" y="86"/>
                </a:cubicBezTo>
                <a:cubicBezTo>
                  <a:pt x="69" y="87"/>
                  <a:pt x="67" y="97"/>
                  <a:pt x="68" y="99"/>
                </a:cubicBezTo>
                <a:cubicBezTo>
                  <a:pt x="70" y="101"/>
                  <a:pt x="74" y="107"/>
                  <a:pt x="74" y="110"/>
                </a:cubicBezTo>
                <a:cubicBezTo>
                  <a:pt x="73" y="112"/>
                  <a:pt x="71" y="123"/>
                  <a:pt x="69" y="128"/>
                </a:cubicBezTo>
                <a:cubicBezTo>
                  <a:pt x="62" y="125"/>
                  <a:pt x="62" y="125"/>
                  <a:pt x="62" y="125"/>
                </a:cubicBezTo>
                <a:cubicBezTo>
                  <a:pt x="62" y="125"/>
                  <a:pt x="66" y="118"/>
                  <a:pt x="64" y="117"/>
                </a:cubicBezTo>
                <a:cubicBezTo>
                  <a:pt x="62" y="115"/>
                  <a:pt x="51" y="119"/>
                  <a:pt x="47" y="117"/>
                </a:cubicBezTo>
                <a:cubicBezTo>
                  <a:pt x="44" y="115"/>
                  <a:pt x="35" y="102"/>
                  <a:pt x="32" y="100"/>
                </a:cubicBezTo>
                <a:cubicBezTo>
                  <a:pt x="31" y="98"/>
                  <a:pt x="28" y="97"/>
                  <a:pt x="25" y="97"/>
                </a:cubicBezTo>
                <a:cubicBezTo>
                  <a:pt x="24" y="97"/>
                  <a:pt x="22" y="97"/>
                  <a:pt x="21" y="97"/>
                </a:cubicBezTo>
                <a:cubicBezTo>
                  <a:pt x="19" y="96"/>
                  <a:pt x="13" y="97"/>
                  <a:pt x="12" y="94"/>
                </a:cubicBezTo>
                <a:cubicBezTo>
                  <a:pt x="10" y="92"/>
                  <a:pt x="9" y="91"/>
                  <a:pt x="7" y="9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0" name="Freeform 63"/>
          <p:cNvSpPr>
            <a:spLocks/>
          </p:cNvSpPr>
          <p:nvPr>
            <p:custDataLst>
              <p:tags r:id="rId56"/>
            </p:custDataLst>
          </p:nvPr>
        </p:nvSpPr>
        <p:spPr bwMode="auto">
          <a:xfrm>
            <a:off x="3990441" y="4033099"/>
            <a:ext cx="126439" cy="159805"/>
          </a:xfrm>
          <a:custGeom>
            <a:avLst/>
            <a:gdLst>
              <a:gd name="T0" fmla="*/ 0 w 41"/>
              <a:gd name="T1" fmla="*/ 78010 h 50"/>
              <a:gd name="T2" fmla="*/ 0 w 41"/>
              <a:gd name="T3" fmla="*/ 57785 h 50"/>
              <a:gd name="T4" fmla="*/ 11151 w 41"/>
              <a:gd name="T5" fmla="*/ 40450 h 50"/>
              <a:gd name="T6" fmla="*/ 13939 w 41"/>
              <a:gd name="T7" fmla="*/ 14446 h 50"/>
              <a:gd name="T8" fmla="*/ 39029 w 41"/>
              <a:gd name="T9" fmla="*/ 2889 h 50"/>
              <a:gd name="T10" fmla="*/ 41817 w 41"/>
              <a:gd name="T11" fmla="*/ 0 h 50"/>
              <a:gd name="T12" fmla="*/ 61332 w 41"/>
              <a:gd name="T13" fmla="*/ 8668 h 50"/>
              <a:gd name="T14" fmla="*/ 75271 w 41"/>
              <a:gd name="T15" fmla="*/ 20225 h 50"/>
              <a:gd name="T16" fmla="*/ 100361 w 41"/>
              <a:gd name="T17" fmla="*/ 28893 h 50"/>
              <a:gd name="T18" fmla="*/ 111512 w 41"/>
              <a:gd name="T19" fmla="*/ 28893 h 50"/>
              <a:gd name="T20" fmla="*/ 111512 w 41"/>
              <a:gd name="T21" fmla="*/ 43339 h 50"/>
              <a:gd name="T22" fmla="*/ 114300 w 41"/>
              <a:gd name="T23" fmla="*/ 60674 h 50"/>
              <a:gd name="T24" fmla="*/ 94785 w 41"/>
              <a:gd name="T25" fmla="*/ 86678 h 50"/>
              <a:gd name="T26" fmla="*/ 58544 w 41"/>
              <a:gd name="T27" fmla="*/ 106903 h 50"/>
              <a:gd name="T28" fmla="*/ 39029 w 41"/>
              <a:gd name="T29" fmla="*/ 141574 h 50"/>
              <a:gd name="T30" fmla="*/ 27878 w 41"/>
              <a:gd name="T31" fmla="*/ 132906 h 50"/>
              <a:gd name="T32" fmla="*/ 13939 w 41"/>
              <a:gd name="T33" fmla="*/ 121349 h 50"/>
              <a:gd name="T34" fmla="*/ 11151 w 41"/>
              <a:gd name="T35" fmla="*/ 109792 h 50"/>
              <a:gd name="T36" fmla="*/ 16727 w 41"/>
              <a:gd name="T37" fmla="*/ 106903 h 50"/>
              <a:gd name="T38" fmla="*/ 22302 w 41"/>
              <a:gd name="T39" fmla="*/ 86678 h 50"/>
              <a:gd name="T40" fmla="*/ 13939 w 41"/>
              <a:gd name="T41" fmla="*/ 86678 h 50"/>
              <a:gd name="T42" fmla="*/ 0 w 41"/>
              <a:gd name="T43" fmla="*/ 7801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1" h="50">
                <a:moveTo>
                  <a:pt x="0" y="27"/>
                </a:moveTo>
                <a:cubicBezTo>
                  <a:pt x="0" y="26"/>
                  <a:pt x="0" y="22"/>
                  <a:pt x="0" y="20"/>
                </a:cubicBezTo>
                <a:cubicBezTo>
                  <a:pt x="0" y="18"/>
                  <a:pt x="3" y="16"/>
                  <a:pt x="4" y="14"/>
                </a:cubicBezTo>
                <a:cubicBezTo>
                  <a:pt x="6" y="11"/>
                  <a:pt x="4" y="6"/>
                  <a:pt x="5" y="5"/>
                </a:cubicBezTo>
                <a:cubicBezTo>
                  <a:pt x="5" y="4"/>
                  <a:pt x="12" y="1"/>
                  <a:pt x="14" y="1"/>
                </a:cubicBezTo>
                <a:cubicBezTo>
                  <a:pt x="14" y="0"/>
                  <a:pt x="14" y="0"/>
                  <a:pt x="15" y="0"/>
                </a:cubicBezTo>
                <a:cubicBezTo>
                  <a:pt x="22" y="3"/>
                  <a:pt x="22" y="3"/>
                  <a:pt x="22" y="3"/>
                </a:cubicBezTo>
                <a:cubicBezTo>
                  <a:pt x="24" y="4"/>
                  <a:pt x="25" y="5"/>
                  <a:pt x="27" y="7"/>
                </a:cubicBezTo>
                <a:cubicBezTo>
                  <a:pt x="28" y="10"/>
                  <a:pt x="34" y="9"/>
                  <a:pt x="36" y="10"/>
                </a:cubicBezTo>
                <a:cubicBezTo>
                  <a:pt x="37" y="10"/>
                  <a:pt x="39" y="10"/>
                  <a:pt x="40" y="10"/>
                </a:cubicBezTo>
                <a:cubicBezTo>
                  <a:pt x="40" y="10"/>
                  <a:pt x="40" y="13"/>
                  <a:pt x="40" y="15"/>
                </a:cubicBezTo>
                <a:cubicBezTo>
                  <a:pt x="40" y="15"/>
                  <a:pt x="41" y="19"/>
                  <a:pt x="41" y="21"/>
                </a:cubicBezTo>
                <a:cubicBezTo>
                  <a:pt x="41" y="24"/>
                  <a:pt x="36" y="28"/>
                  <a:pt x="34" y="30"/>
                </a:cubicBezTo>
                <a:cubicBezTo>
                  <a:pt x="31" y="33"/>
                  <a:pt x="23" y="35"/>
                  <a:pt x="21" y="37"/>
                </a:cubicBezTo>
                <a:cubicBezTo>
                  <a:pt x="20" y="39"/>
                  <a:pt x="15" y="48"/>
                  <a:pt x="14" y="49"/>
                </a:cubicBezTo>
                <a:cubicBezTo>
                  <a:pt x="13" y="50"/>
                  <a:pt x="11" y="47"/>
                  <a:pt x="10" y="46"/>
                </a:cubicBezTo>
                <a:cubicBezTo>
                  <a:pt x="9" y="45"/>
                  <a:pt x="6" y="45"/>
                  <a:pt x="5" y="42"/>
                </a:cubicBezTo>
                <a:cubicBezTo>
                  <a:pt x="4" y="38"/>
                  <a:pt x="4" y="38"/>
                  <a:pt x="4" y="38"/>
                </a:cubicBezTo>
                <a:cubicBezTo>
                  <a:pt x="5" y="37"/>
                  <a:pt x="5" y="37"/>
                  <a:pt x="6" y="37"/>
                </a:cubicBezTo>
                <a:cubicBezTo>
                  <a:pt x="10" y="37"/>
                  <a:pt x="9" y="34"/>
                  <a:pt x="8" y="30"/>
                </a:cubicBezTo>
                <a:cubicBezTo>
                  <a:pt x="8" y="27"/>
                  <a:pt x="6" y="31"/>
                  <a:pt x="5" y="30"/>
                </a:cubicBezTo>
                <a:cubicBezTo>
                  <a:pt x="4" y="30"/>
                  <a:pt x="0" y="29"/>
                  <a:pt x="0" y="2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1" name="Freeform 64"/>
          <p:cNvSpPr>
            <a:spLocks/>
          </p:cNvSpPr>
          <p:nvPr>
            <p:custDataLst>
              <p:tags r:id="rId57"/>
            </p:custDataLst>
          </p:nvPr>
        </p:nvSpPr>
        <p:spPr bwMode="auto">
          <a:xfrm>
            <a:off x="3979903" y="4064707"/>
            <a:ext cx="296780" cy="460098"/>
          </a:xfrm>
          <a:custGeom>
            <a:avLst/>
            <a:gdLst>
              <a:gd name="T0" fmla="*/ 0 w 98"/>
              <a:gd name="T1" fmla="*/ 104708 h 143"/>
              <a:gd name="T2" fmla="*/ 5475 w 98"/>
              <a:gd name="T3" fmla="*/ 93074 h 143"/>
              <a:gd name="T4" fmla="*/ 21901 w 98"/>
              <a:gd name="T5" fmla="*/ 81440 h 143"/>
              <a:gd name="T6" fmla="*/ 24639 w 98"/>
              <a:gd name="T7" fmla="*/ 93074 h 143"/>
              <a:gd name="T8" fmla="*/ 38327 w 98"/>
              <a:gd name="T9" fmla="*/ 104708 h 143"/>
              <a:gd name="T10" fmla="*/ 49277 w 98"/>
              <a:gd name="T11" fmla="*/ 113434 h 143"/>
              <a:gd name="T12" fmla="*/ 68441 w 98"/>
              <a:gd name="T13" fmla="*/ 78531 h 143"/>
              <a:gd name="T14" fmla="*/ 104030 w 98"/>
              <a:gd name="T15" fmla="*/ 58171 h 143"/>
              <a:gd name="T16" fmla="*/ 123193 w 98"/>
              <a:gd name="T17" fmla="*/ 31994 h 143"/>
              <a:gd name="T18" fmla="*/ 120456 w 98"/>
              <a:gd name="T19" fmla="*/ 14543 h 143"/>
              <a:gd name="T20" fmla="*/ 120456 w 98"/>
              <a:gd name="T21" fmla="*/ 0 h 143"/>
              <a:gd name="T22" fmla="*/ 139619 w 98"/>
              <a:gd name="T23" fmla="*/ 8726 h 143"/>
              <a:gd name="T24" fmla="*/ 180684 w 98"/>
              <a:gd name="T25" fmla="*/ 58171 h 143"/>
              <a:gd name="T26" fmla="*/ 227224 w 98"/>
              <a:gd name="T27" fmla="*/ 58171 h 143"/>
              <a:gd name="T28" fmla="*/ 221748 w 98"/>
              <a:gd name="T29" fmla="*/ 81440 h 143"/>
              <a:gd name="T30" fmla="*/ 240912 w 98"/>
              <a:gd name="T31" fmla="*/ 90166 h 143"/>
              <a:gd name="T32" fmla="*/ 235436 w 98"/>
              <a:gd name="T33" fmla="*/ 98891 h 143"/>
              <a:gd name="T34" fmla="*/ 188897 w 98"/>
              <a:gd name="T35" fmla="*/ 110526 h 143"/>
              <a:gd name="T36" fmla="*/ 169733 w 98"/>
              <a:gd name="T37" fmla="*/ 130885 h 143"/>
              <a:gd name="T38" fmla="*/ 175208 w 98"/>
              <a:gd name="T39" fmla="*/ 148337 h 143"/>
              <a:gd name="T40" fmla="*/ 158783 w 98"/>
              <a:gd name="T41" fmla="*/ 162880 h 143"/>
              <a:gd name="T42" fmla="*/ 172471 w 98"/>
              <a:gd name="T43" fmla="*/ 209417 h 143"/>
              <a:gd name="T44" fmla="*/ 197110 w 98"/>
              <a:gd name="T45" fmla="*/ 223960 h 143"/>
              <a:gd name="T46" fmla="*/ 224486 w 98"/>
              <a:gd name="T47" fmla="*/ 209417 h 143"/>
              <a:gd name="T48" fmla="*/ 229961 w 98"/>
              <a:gd name="T49" fmla="*/ 244320 h 143"/>
              <a:gd name="T50" fmla="*/ 249125 w 98"/>
              <a:gd name="T51" fmla="*/ 247228 h 143"/>
              <a:gd name="T52" fmla="*/ 254600 w 98"/>
              <a:gd name="T53" fmla="*/ 253045 h 143"/>
              <a:gd name="T54" fmla="*/ 268288 w 98"/>
              <a:gd name="T55" fmla="*/ 282131 h 143"/>
              <a:gd name="T56" fmla="*/ 260075 w 98"/>
              <a:gd name="T57" fmla="*/ 293765 h 143"/>
              <a:gd name="T58" fmla="*/ 262813 w 98"/>
              <a:gd name="T59" fmla="*/ 322851 h 143"/>
              <a:gd name="T60" fmla="*/ 251862 w 98"/>
              <a:gd name="T61" fmla="*/ 351937 h 143"/>
              <a:gd name="T62" fmla="*/ 262813 w 98"/>
              <a:gd name="T63" fmla="*/ 372297 h 143"/>
              <a:gd name="T64" fmla="*/ 249125 w 98"/>
              <a:gd name="T65" fmla="*/ 398474 h 143"/>
              <a:gd name="T66" fmla="*/ 243649 w 98"/>
              <a:gd name="T67" fmla="*/ 410108 h 143"/>
              <a:gd name="T68" fmla="*/ 229961 w 98"/>
              <a:gd name="T69" fmla="*/ 415925 h 143"/>
              <a:gd name="T70" fmla="*/ 199847 w 98"/>
              <a:gd name="T71" fmla="*/ 386839 h 143"/>
              <a:gd name="T72" fmla="*/ 136882 w 98"/>
              <a:gd name="T73" fmla="*/ 351937 h 143"/>
              <a:gd name="T74" fmla="*/ 104030 w 98"/>
              <a:gd name="T75" fmla="*/ 319942 h 143"/>
              <a:gd name="T76" fmla="*/ 106768 w 98"/>
              <a:gd name="T77" fmla="*/ 296674 h 143"/>
              <a:gd name="T78" fmla="*/ 79391 w 98"/>
              <a:gd name="T79" fmla="*/ 253045 h 143"/>
              <a:gd name="T80" fmla="*/ 30114 w 98"/>
              <a:gd name="T81" fmla="*/ 154154 h 143"/>
              <a:gd name="T82" fmla="*/ 5475 w 98"/>
              <a:gd name="T83" fmla="*/ 139611 h 143"/>
              <a:gd name="T84" fmla="*/ 0 w 98"/>
              <a:gd name="T85" fmla="*/ 125068 h 143"/>
              <a:gd name="T86" fmla="*/ 8213 w 98"/>
              <a:gd name="T87" fmla="*/ 119251 h 143"/>
              <a:gd name="T88" fmla="*/ 0 w 98"/>
              <a:gd name="T89" fmla="*/ 104708 h 14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8" h="143">
                <a:moveTo>
                  <a:pt x="0" y="36"/>
                </a:moveTo>
                <a:cubicBezTo>
                  <a:pt x="0" y="35"/>
                  <a:pt x="1" y="33"/>
                  <a:pt x="2" y="32"/>
                </a:cubicBezTo>
                <a:cubicBezTo>
                  <a:pt x="3" y="31"/>
                  <a:pt x="6" y="28"/>
                  <a:pt x="8" y="28"/>
                </a:cubicBezTo>
                <a:cubicBezTo>
                  <a:pt x="9" y="32"/>
                  <a:pt x="9" y="32"/>
                  <a:pt x="9" y="32"/>
                </a:cubicBezTo>
                <a:cubicBezTo>
                  <a:pt x="10" y="35"/>
                  <a:pt x="13" y="35"/>
                  <a:pt x="14" y="36"/>
                </a:cubicBezTo>
                <a:cubicBezTo>
                  <a:pt x="15" y="37"/>
                  <a:pt x="17" y="40"/>
                  <a:pt x="18" y="39"/>
                </a:cubicBezTo>
                <a:cubicBezTo>
                  <a:pt x="19" y="38"/>
                  <a:pt x="24" y="29"/>
                  <a:pt x="25" y="27"/>
                </a:cubicBezTo>
                <a:cubicBezTo>
                  <a:pt x="27" y="25"/>
                  <a:pt x="35" y="23"/>
                  <a:pt x="38" y="20"/>
                </a:cubicBezTo>
                <a:cubicBezTo>
                  <a:pt x="40" y="18"/>
                  <a:pt x="45" y="14"/>
                  <a:pt x="45" y="11"/>
                </a:cubicBezTo>
                <a:cubicBezTo>
                  <a:pt x="45" y="9"/>
                  <a:pt x="44" y="5"/>
                  <a:pt x="44" y="5"/>
                </a:cubicBezTo>
                <a:cubicBezTo>
                  <a:pt x="44" y="3"/>
                  <a:pt x="44" y="0"/>
                  <a:pt x="44" y="0"/>
                </a:cubicBezTo>
                <a:cubicBezTo>
                  <a:pt x="47" y="0"/>
                  <a:pt x="50" y="1"/>
                  <a:pt x="51" y="3"/>
                </a:cubicBezTo>
                <a:cubicBezTo>
                  <a:pt x="54" y="5"/>
                  <a:pt x="63" y="18"/>
                  <a:pt x="66" y="20"/>
                </a:cubicBezTo>
                <a:cubicBezTo>
                  <a:pt x="70" y="22"/>
                  <a:pt x="81" y="18"/>
                  <a:pt x="83" y="20"/>
                </a:cubicBezTo>
                <a:cubicBezTo>
                  <a:pt x="85" y="21"/>
                  <a:pt x="81" y="28"/>
                  <a:pt x="81" y="28"/>
                </a:cubicBezTo>
                <a:cubicBezTo>
                  <a:pt x="88" y="31"/>
                  <a:pt x="88" y="31"/>
                  <a:pt x="88" y="31"/>
                </a:cubicBezTo>
                <a:cubicBezTo>
                  <a:pt x="87" y="32"/>
                  <a:pt x="87" y="34"/>
                  <a:pt x="86" y="34"/>
                </a:cubicBezTo>
                <a:cubicBezTo>
                  <a:pt x="85" y="34"/>
                  <a:pt x="72" y="36"/>
                  <a:pt x="69" y="38"/>
                </a:cubicBezTo>
                <a:cubicBezTo>
                  <a:pt x="66" y="39"/>
                  <a:pt x="63" y="43"/>
                  <a:pt x="62" y="45"/>
                </a:cubicBezTo>
                <a:cubicBezTo>
                  <a:pt x="61" y="46"/>
                  <a:pt x="65" y="49"/>
                  <a:pt x="64" y="51"/>
                </a:cubicBezTo>
                <a:cubicBezTo>
                  <a:pt x="63" y="53"/>
                  <a:pt x="60" y="53"/>
                  <a:pt x="58" y="56"/>
                </a:cubicBezTo>
                <a:cubicBezTo>
                  <a:pt x="56" y="60"/>
                  <a:pt x="62" y="69"/>
                  <a:pt x="63" y="72"/>
                </a:cubicBezTo>
                <a:cubicBezTo>
                  <a:pt x="65" y="74"/>
                  <a:pt x="69" y="76"/>
                  <a:pt x="72" y="77"/>
                </a:cubicBezTo>
                <a:cubicBezTo>
                  <a:pt x="74" y="79"/>
                  <a:pt x="81" y="72"/>
                  <a:pt x="82" y="72"/>
                </a:cubicBezTo>
                <a:cubicBezTo>
                  <a:pt x="83" y="73"/>
                  <a:pt x="82" y="84"/>
                  <a:pt x="84" y="84"/>
                </a:cubicBezTo>
                <a:cubicBezTo>
                  <a:pt x="85" y="84"/>
                  <a:pt x="89" y="84"/>
                  <a:pt x="91" y="85"/>
                </a:cubicBezTo>
                <a:cubicBezTo>
                  <a:pt x="91" y="85"/>
                  <a:pt x="92" y="86"/>
                  <a:pt x="93" y="87"/>
                </a:cubicBezTo>
                <a:cubicBezTo>
                  <a:pt x="95" y="90"/>
                  <a:pt x="97" y="95"/>
                  <a:pt x="98" y="97"/>
                </a:cubicBezTo>
                <a:cubicBezTo>
                  <a:pt x="98" y="98"/>
                  <a:pt x="97" y="99"/>
                  <a:pt x="95" y="101"/>
                </a:cubicBezTo>
                <a:cubicBezTo>
                  <a:pt x="94" y="103"/>
                  <a:pt x="97" y="109"/>
                  <a:pt x="96" y="111"/>
                </a:cubicBezTo>
                <a:cubicBezTo>
                  <a:pt x="95" y="113"/>
                  <a:pt x="93" y="118"/>
                  <a:pt x="92" y="121"/>
                </a:cubicBezTo>
                <a:cubicBezTo>
                  <a:pt x="91" y="124"/>
                  <a:pt x="97" y="126"/>
                  <a:pt x="96" y="128"/>
                </a:cubicBezTo>
                <a:cubicBezTo>
                  <a:pt x="95" y="129"/>
                  <a:pt x="93" y="133"/>
                  <a:pt x="91" y="137"/>
                </a:cubicBezTo>
                <a:cubicBezTo>
                  <a:pt x="90" y="139"/>
                  <a:pt x="89" y="140"/>
                  <a:pt x="89" y="141"/>
                </a:cubicBezTo>
                <a:cubicBezTo>
                  <a:pt x="84" y="143"/>
                  <a:pt x="84" y="143"/>
                  <a:pt x="84" y="143"/>
                </a:cubicBezTo>
                <a:cubicBezTo>
                  <a:pt x="84" y="142"/>
                  <a:pt x="76" y="134"/>
                  <a:pt x="73" y="133"/>
                </a:cubicBezTo>
                <a:cubicBezTo>
                  <a:pt x="70" y="131"/>
                  <a:pt x="54" y="123"/>
                  <a:pt x="50" y="121"/>
                </a:cubicBezTo>
                <a:cubicBezTo>
                  <a:pt x="45" y="119"/>
                  <a:pt x="39" y="111"/>
                  <a:pt x="38" y="110"/>
                </a:cubicBezTo>
                <a:cubicBezTo>
                  <a:pt x="37" y="108"/>
                  <a:pt x="39" y="103"/>
                  <a:pt x="39" y="102"/>
                </a:cubicBezTo>
                <a:cubicBezTo>
                  <a:pt x="38" y="100"/>
                  <a:pt x="30" y="90"/>
                  <a:pt x="29" y="87"/>
                </a:cubicBezTo>
                <a:cubicBezTo>
                  <a:pt x="28" y="83"/>
                  <a:pt x="13" y="57"/>
                  <a:pt x="11" y="53"/>
                </a:cubicBezTo>
                <a:cubicBezTo>
                  <a:pt x="9" y="50"/>
                  <a:pt x="3" y="49"/>
                  <a:pt x="2" y="48"/>
                </a:cubicBezTo>
                <a:cubicBezTo>
                  <a:pt x="0" y="48"/>
                  <a:pt x="0" y="44"/>
                  <a:pt x="0" y="43"/>
                </a:cubicBezTo>
                <a:cubicBezTo>
                  <a:pt x="0" y="42"/>
                  <a:pt x="3" y="42"/>
                  <a:pt x="3" y="41"/>
                </a:cubicBezTo>
                <a:cubicBezTo>
                  <a:pt x="3" y="39"/>
                  <a:pt x="0" y="37"/>
                  <a:pt x="0" y="3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2" name="Freeform 108"/>
          <p:cNvSpPr>
            <a:spLocks/>
          </p:cNvSpPr>
          <p:nvPr>
            <p:custDataLst>
              <p:tags r:id="rId58"/>
            </p:custDataLst>
          </p:nvPr>
        </p:nvSpPr>
        <p:spPr bwMode="auto">
          <a:xfrm>
            <a:off x="4041367" y="3602854"/>
            <a:ext cx="68488" cy="38634"/>
          </a:xfrm>
          <a:custGeom>
            <a:avLst/>
            <a:gdLst>
              <a:gd name="T0" fmla="*/ 0 w 23"/>
              <a:gd name="T1" fmla="*/ 8731 h 12"/>
              <a:gd name="T2" fmla="*/ 59221 w 23"/>
              <a:gd name="T3" fmla="*/ 14552 h 12"/>
              <a:gd name="T4" fmla="*/ 48454 w 23"/>
              <a:gd name="T5" fmla="*/ 23283 h 12"/>
              <a:gd name="T6" fmla="*/ 37686 w 23"/>
              <a:gd name="T7" fmla="*/ 32015 h 12"/>
              <a:gd name="T8" fmla="*/ 13459 w 23"/>
              <a:gd name="T9" fmla="*/ 20373 h 12"/>
              <a:gd name="T10" fmla="*/ 0 w 23"/>
              <a:gd name="T11" fmla="*/ 8731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 h="12">
                <a:moveTo>
                  <a:pt x="0" y="3"/>
                </a:moveTo>
                <a:cubicBezTo>
                  <a:pt x="0" y="0"/>
                  <a:pt x="20" y="4"/>
                  <a:pt x="22" y="5"/>
                </a:cubicBezTo>
                <a:cubicBezTo>
                  <a:pt x="23" y="7"/>
                  <a:pt x="19" y="8"/>
                  <a:pt x="18" y="8"/>
                </a:cubicBezTo>
                <a:cubicBezTo>
                  <a:pt x="16" y="8"/>
                  <a:pt x="17" y="10"/>
                  <a:pt x="14" y="11"/>
                </a:cubicBezTo>
                <a:cubicBezTo>
                  <a:pt x="11" y="12"/>
                  <a:pt x="6" y="9"/>
                  <a:pt x="5" y="7"/>
                </a:cubicBezTo>
                <a:cubicBezTo>
                  <a:pt x="5" y="6"/>
                  <a:pt x="0" y="5"/>
                  <a:pt x="0" y="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3" name="Freeform 109"/>
          <p:cNvSpPr>
            <a:spLocks/>
          </p:cNvSpPr>
          <p:nvPr>
            <p:custDataLst>
              <p:tags r:id="rId59"/>
            </p:custDataLst>
          </p:nvPr>
        </p:nvSpPr>
        <p:spPr bwMode="auto">
          <a:xfrm>
            <a:off x="3944783" y="3822366"/>
            <a:ext cx="131707" cy="70244"/>
          </a:xfrm>
          <a:custGeom>
            <a:avLst/>
            <a:gdLst>
              <a:gd name="T0" fmla="*/ 0 w 44"/>
              <a:gd name="T1" fmla="*/ 37523 h 22"/>
              <a:gd name="T2" fmla="*/ 5412 w 44"/>
              <a:gd name="T3" fmla="*/ 0 h 22"/>
              <a:gd name="T4" fmla="*/ 32472 w 44"/>
              <a:gd name="T5" fmla="*/ 23091 h 22"/>
              <a:gd name="T6" fmla="*/ 73061 w 44"/>
              <a:gd name="T7" fmla="*/ 8659 h 22"/>
              <a:gd name="T8" fmla="*/ 110945 w 44"/>
              <a:gd name="T9" fmla="*/ 23091 h 22"/>
              <a:gd name="T10" fmla="*/ 119063 w 44"/>
              <a:gd name="T11" fmla="*/ 28864 h 22"/>
              <a:gd name="T12" fmla="*/ 116357 w 44"/>
              <a:gd name="T13" fmla="*/ 49068 h 22"/>
              <a:gd name="T14" fmla="*/ 102827 w 44"/>
              <a:gd name="T15" fmla="*/ 60614 h 22"/>
              <a:gd name="T16" fmla="*/ 102827 w 44"/>
              <a:gd name="T17" fmla="*/ 60614 h 22"/>
              <a:gd name="T18" fmla="*/ 94709 w 44"/>
              <a:gd name="T19" fmla="*/ 51955 h 22"/>
              <a:gd name="T20" fmla="*/ 100121 w 44"/>
              <a:gd name="T21" fmla="*/ 37523 h 22"/>
              <a:gd name="T22" fmla="*/ 78473 w 44"/>
              <a:gd name="T23" fmla="*/ 23091 h 22"/>
              <a:gd name="T24" fmla="*/ 67649 w 44"/>
              <a:gd name="T25" fmla="*/ 31750 h 22"/>
              <a:gd name="T26" fmla="*/ 54120 w 44"/>
              <a:gd name="T27" fmla="*/ 40409 h 22"/>
              <a:gd name="T28" fmla="*/ 59532 w 44"/>
              <a:gd name="T29" fmla="*/ 57727 h 22"/>
              <a:gd name="T30" fmla="*/ 43296 w 44"/>
              <a:gd name="T31" fmla="*/ 63500 h 22"/>
              <a:gd name="T32" fmla="*/ 32472 w 44"/>
              <a:gd name="T33" fmla="*/ 51955 h 22"/>
              <a:gd name="T34" fmla="*/ 16236 w 44"/>
              <a:gd name="T35" fmla="*/ 40409 h 22"/>
              <a:gd name="T36" fmla="*/ 0 w 44"/>
              <a:gd name="T37" fmla="*/ 37523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4" h="22">
                <a:moveTo>
                  <a:pt x="0" y="13"/>
                </a:moveTo>
                <a:cubicBezTo>
                  <a:pt x="2" y="0"/>
                  <a:pt x="2" y="0"/>
                  <a:pt x="2" y="0"/>
                </a:cubicBezTo>
                <a:cubicBezTo>
                  <a:pt x="5" y="3"/>
                  <a:pt x="10" y="7"/>
                  <a:pt x="12" y="8"/>
                </a:cubicBezTo>
                <a:cubicBezTo>
                  <a:pt x="15" y="11"/>
                  <a:pt x="23" y="3"/>
                  <a:pt x="27" y="3"/>
                </a:cubicBezTo>
                <a:cubicBezTo>
                  <a:pt x="32" y="2"/>
                  <a:pt x="38" y="5"/>
                  <a:pt x="41" y="8"/>
                </a:cubicBezTo>
                <a:cubicBezTo>
                  <a:pt x="42" y="9"/>
                  <a:pt x="43" y="10"/>
                  <a:pt x="44" y="10"/>
                </a:cubicBezTo>
                <a:cubicBezTo>
                  <a:pt x="43" y="17"/>
                  <a:pt x="43" y="17"/>
                  <a:pt x="43" y="17"/>
                </a:cubicBezTo>
                <a:cubicBezTo>
                  <a:pt x="38" y="21"/>
                  <a:pt x="38" y="21"/>
                  <a:pt x="38" y="21"/>
                </a:cubicBezTo>
                <a:cubicBezTo>
                  <a:pt x="38" y="21"/>
                  <a:pt x="38" y="21"/>
                  <a:pt x="38" y="21"/>
                </a:cubicBezTo>
                <a:cubicBezTo>
                  <a:pt x="37" y="20"/>
                  <a:pt x="35" y="18"/>
                  <a:pt x="35" y="18"/>
                </a:cubicBezTo>
                <a:cubicBezTo>
                  <a:pt x="34" y="17"/>
                  <a:pt x="37" y="14"/>
                  <a:pt x="37" y="13"/>
                </a:cubicBezTo>
                <a:cubicBezTo>
                  <a:pt x="37" y="12"/>
                  <a:pt x="31" y="8"/>
                  <a:pt x="29" y="8"/>
                </a:cubicBezTo>
                <a:cubicBezTo>
                  <a:pt x="27" y="8"/>
                  <a:pt x="26" y="10"/>
                  <a:pt x="25" y="11"/>
                </a:cubicBezTo>
                <a:cubicBezTo>
                  <a:pt x="24" y="11"/>
                  <a:pt x="20" y="13"/>
                  <a:pt x="20" y="14"/>
                </a:cubicBezTo>
                <a:cubicBezTo>
                  <a:pt x="18" y="15"/>
                  <a:pt x="24" y="19"/>
                  <a:pt x="22" y="20"/>
                </a:cubicBezTo>
                <a:cubicBezTo>
                  <a:pt x="21" y="20"/>
                  <a:pt x="17" y="22"/>
                  <a:pt x="16" y="22"/>
                </a:cubicBezTo>
                <a:cubicBezTo>
                  <a:pt x="14" y="22"/>
                  <a:pt x="14" y="19"/>
                  <a:pt x="12" y="18"/>
                </a:cubicBezTo>
                <a:cubicBezTo>
                  <a:pt x="11" y="17"/>
                  <a:pt x="8" y="14"/>
                  <a:pt x="6" y="14"/>
                </a:cubicBezTo>
                <a:cubicBezTo>
                  <a:pt x="5" y="14"/>
                  <a:pt x="2" y="14"/>
                  <a:pt x="0" y="1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4" name="Freeform 110"/>
          <p:cNvSpPr>
            <a:spLocks/>
          </p:cNvSpPr>
          <p:nvPr>
            <p:custDataLst>
              <p:tags r:id="rId60"/>
            </p:custDataLst>
          </p:nvPr>
        </p:nvSpPr>
        <p:spPr bwMode="auto">
          <a:xfrm>
            <a:off x="3904391" y="3488708"/>
            <a:ext cx="245854" cy="91317"/>
          </a:xfrm>
          <a:custGeom>
            <a:avLst/>
            <a:gdLst>
              <a:gd name="T0" fmla="*/ 5488 w 81"/>
              <a:gd name="T1" fmla="*/ 35379 h 28"/>
              <a:gd name="T2" fmla="*/ 5488 w 81"/>
              <a:gd name="T3" fmla="*/ 32430 h 28"/>
              <a:gd name="T4" fmla="*/ 2744 w 81"/>
              <a:gd name="T5" fmla="*/ 26534 h 28"/>
              <a:gd name="T6" fmla="*/ 13719 w 81"/>
              <a:gd name="T7" fmla="*/ 11793 h 28"/>
              <a:gd name="T8" fmla="*/ 68596 w 81"/>
              <a:gd name="T9" fmla="*/ 0 h 28"/>
              <a:gd name="T10" fmla="*/ 76827 w 81"/>
              <a:gd name="T11" fmla="*/ 0 h 28"/>
              <a:gd name="T12" fmla="*/ 96034 w 81"/>
              <a:gd name="T13" fmla="*/ 0 h 28"/>
              <a:gd name="T14" fmla="*/ 115241 w 81"/>
              <a:gd name="T15" fmla="*/ 14741 h 28"/>
              <a:gd name="T16" fmla="*/ 139935 w 81"/>
              <a:gd name="T17" fmla="*/ 17689 h 28"/>
              <a:gd name="T18" fmla="*/ 178349 w 81"/>
              <a:gd name="T19" fmla="*/ 44223 h 28"/>
              <a:gd name="T20" fmla="*/ 222250 w 81"/>
              <a:gd name="T21" fmla="*/ 67809 h 28"/>
              <a:gd name="T22" fmla="*/ 203043 w 81"/>
              <a:gd name="T23" fmla="*/ 76654 h 28"/>
              <a:gd name="T24" fmla="*/ 145423 w 81"/>
              <a:gd name="T25" fmla="*/ 82550 h 28"/>
              <a:gd name="T26" fmla="*/ 156398 w 81"/>
              <a:gd name="T27" fmla="*/ 58964 h 28"/>
              <a:gd name="T28" fmla="*/ 134448 w 81"/>
              <a:gd name="T29" fmla="*/ 53068 h 28"/>
              <a:gd name="T30" fmla="*/ 126216 w 81"/>
              <a:gd name="T31" fmla="*/ 38327 h 28"/>
              <a:gd name="T32" fmla="*/ 101522 w 81"/>
              <a:gd name="T33" fmla="*/ 32430 h 28"/>
              <a:gd name="T34" fmla="*/ 65852 w 81"/>
              <a:gd name="T35" fmla="*/ 26534 h 28"/>
              <a:gd name="T36" fmla="*/ 43901 w 81"/>
              <a:gd name="T37" fmla="*/ 20638 h 28"/>
              <a:gd name="T38" fmla="*/ 21951 w 81"/>
              <a:gd name="T39" fmla="*/ 29482 h 28"/>
              <a:gd name="T40" fmla="*/ 5488 w 81"/>
              <a:gd name="T41" fmla="*/ 35379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1" h="28">
                <a:moveTo>
                  <a:pt x="2" y="12"/>
                </a:moveTo>
                <a:cubicBezTo>
                  <a:pt x="2" y="11"/>
                  <a:pt x="2" y="11"/>
                  <a:pt x="2" y="11"/>
                </a:cubicBezTo>
                <a:cubicBezTo>
                  <a:pt x="1" y="10"/>
                  <a:pt x="1" y="9"/>
                  <a:pt x="1" y="9"/>
                </a:cubicBezTo>
                <a:cubicBezTo>
                  <a:pt x="0" y="8"/>
                  <a:pt x="3" y="5"/>
                  <a:pt x="5" y="4"/>
                </a:cubicBezTo>
                <a:cubicBezTo>
                  <a:pt x="7" y="3"/>
                  <a:pt x="22" y="0"/>
                  <a:pt x="25" y="0"/>
                </a:cubicBezTo>
                <a:cubicBezTo>
                  <a:pt x="25" y="0"/>
                  <a:pt x="27" y="0"/>
                  <a:pt x="28" y="0"/>
                </a:cubicBezTo>
                <a:cubicBezTo>
                  <a:pt x="31" y="0"/>
                  <a:pt x="33" y="0"/>
                  <a:pt x="35" y="0"/>
                </a:cubicBezTo>
                <a:cubicBezTo>
                  <a:pt x="37" y="1"/>
                  <a:pt x="39" y="4"/>
                  <a:pt x="42" y="5"/>
                </a:cubicBezTo>
                <a:cubicBezTo>
                  <a:pt x="44" y="5"/>
                  <a:pt x="47" y="4"/>
                  <a:pt x="51" y="6"/>
                </a:cubicBezTo>
                <a:cubicBezTo>
                  <a:pt x="55" y="9"/>
                  <a:pt x="63" y="14"/>
                  <a:pt x="65" y="15"/>
                </a:cubicBezTo>
                <a:cubicBezTo>
                  <a:pt x="68" y="16"/>
                  <a:pt x="81" y="21"/>
                  <a:pt x="81" y="23"/>
                </a:cubicBezTo>
                <a:cubicBezTo>
                  <a:pt x="81" y="24"/>
                  <a:pt x="77" y="26"/>
                  <a:pt x="74" y="26"/>
                </a:cubicBezTo>
                <a:cubicBezTo>
                  <a:pt x="71" y="26"/>
                  <a:pt x="55" y="28"/>
                  <a:pt x="53" y="28"/>
                </a:cubicBezTo>
                <a:cubicBezTo>
                  <a:pt x="51" y="27"/>
                  <a:pt x="59" y="21"/>
                  <a:pt x="57" y="20"/>
                </a:cubicBezTo>
                <a:cubicBezTo>
                  <a:pt x="55" y="18"/>
                  <a:pt x="51" y="20"/>
                  <a:pt x="49" y="18"/>
                </a:cubicBezTo>
                <a:cubicBezTo>
                  <a:pt x="47" y="17"/>
                  <a:pt x="49" y="13"/>
                  <a:pt x="46" y="13"/>
                </a:cubicBezTo>
                <a:cubicBezTo>
                  <a:pt x="44" y="12"/>
                  <a:pt x="40" y="13"/>
                  <a:pt x="37" y="11"/>
                </a:cubicBezTo>
                <a:cubicBezTo>
                  <a:pt x="33" y="10"/>
                  <a:pt x="25" y="10"/>
                  <a:pt x="24" y="9"/>
                </a:cubicBezTo>
                <a:cubicBezTo>
                  <a:pt x="23" y="9"/>
                  <a:pt x="19" y="6"/>
                  <a:pt x="16" y="7"/>
                </a:cubicBezTo>
                <a:cubicBezTo>
                  <a:pt x="13" y="8"/>
                  <a:pt x="10" y="9"/>
                  <a:pt x="8" y="10"/>
                </a:cubicBezTo>
                <a:cubicBezTo>
                  <a:pt x="6" y="10"/>
                  <a:pt x="3" y="12"/>
                  <a:pt x="2" y="12"/>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5" name="Freeform 111"/>
          <p:cNvSpPr>
            <a:spLocks/>
          </p:cNvSpPr>
          <p:nvPr>
            <p:custDataLst>
              <p:tags r:id="rId61"/>
            </p:custDataLst>
          </p:nvPr>
        </p:nvSpPr>
        <p:spPr bwMode="auto">
          <a:xfrm>
            <a:off x="3872782" y="3794268"/>
            <a:ext cx="77268" cy="70244"/>
          </a:xfrm>
          <a:custGeom>
            <a:avLst/>
            <a:gdLst>
              <a:gd name="T0" fmla="*/ 21492 w 26"/>
              <a:gd name="T1" fmla="*/ 42333 h 21"/>
              <a:gd name="T2" fmla="*/ 5373 w 26"/>
              <a:gd name="T3" fmla="*/ 27214 h 21"/>
              <a:gd name="T4" fmla="*/ 8060 w 26"/>
              <a:gd name="T5" fmla="*/ 6048 h 21"/>
              <a:gd name="T6" fmla="*/ 5373 w 26"/>
              <a:gd name="T7" fmla="*/ 0 h 21"/>
              <a:gd name="T8" fmla="*/ 48358 w 26"/>
              <a:gd name="T9" fmla="*/ 0 h 21"/>
              <a:gd name="T10" fmla="*/ 69850 w 26"/>
              <a:gd name="T11" fmla="*/ 24190 h 21"/>
              <a:gd name="T12" fmla="*/ 64477 w 26"/>
              <a:gd name="T13" fmla="*/ 63500 h 21"/>
              <a:gd name="T14" fmla="*/ 53731 w 26"/>
              <a:gd name="T15" fmla="*/ 60476 h 21"/>
              <a:gd name="T16" fmla="*/ 48358 w 26"/>
              <a:gd name="T17" fmla="*/ 45357 h 21"/>
              <a:gd name="T18" fmla="*/ 26865 w 26"/>
              <a:gd name="T19" fmla="*/ 24190 h 21"/>
              <a:gd name="T20" fmla="*/ 21492 w 26"/>
              <a:gd name="T21" fmla="*/ 42333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1">
                <a:moveTo>
                  <a:pt x="8" y="14"/>
                </a:moveTo>
                <a:cubicBezTo>
                  <a:pt x="7" y="13"/>
                  <a:pt x="4" y="11"/>
                  <a:pt x="2" y="9"/>
                </a:cubicBezTo>
                <a:cubicBezTo>
                  <a:pt x="0" y="7"/>
                  <a:pt x="3" y="3"/>
                  <a:pt x="3" y="2"/>
                </a:cubicBezTo>
                <a:cubicBezTo>
                  <a:pt x="3" y="2"/>
                  <a:pt x="3" y="1"/>
                  <a:pt x="2" y="0"/>
                </a:cubicBezTo>
                <a:cubicBezTo>
                  <a:pt x="18" y="0"/>
                  <a:pt x="18" y="0"/>
                  <a:pt x="18" y="0"/>
                </a:cubicBezTo>
                <a:cubicBezTo>
                  <a:pt x="18" y="1"/>
                  <a:pt x="22" y="5"/>
                  <a:pt x="26" y="8"/>
                </a:cubicBezTo>
                <a:cubicBezTo>
                  <a:pt x="24" y="21"/>
                  <a:pt x="24" y="21"/>
                  <a:pt x="24" y="21"/>
                </a:cubicBezTo>
                <a:cubicBezTo>
                  <a:pt x="22" y="21"/>
                  <a:pt x="21" y="20"/>
                  <a:pt x="20" y="20"/>
                </a:cubicBezTo>
                <a:cubicBezTo>
                  <a:pt x="19" y="19"/>
                  <a:pt x="20" y="16"/>
                  <a:pt x="18" y="15"/>
                </a:cubicBezTo>
                <a:cubicBezTo>
                  <a:pt x="17" y="13"/>
                  <a:pt x="11" y="8"/>
                  <a:pt x="10" y="8"/>
                </a:cubicBezTo>
                <a:cubicBezTo>
                  <a:pt x="9" y="7"/>
                  <a:pt x="9" y="15"/>
                  <a:pt x="8" y="1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6" name="Freeform 112"/>
          <p:cNvSpPr>
            <a:spLocks/>
          </p:cNvSpPr>
          <p:nvPr>
            <p:custDataLst>
              <p:tags r:id="rId62"/>
            </p:custDataLst>
          </p:nvPr>
        </p:nvSpPr>
        <p:spPr bwMode="auto">
          <a:xfrm>
            <a:off x="3841172" y="3690659"/>
            <a:ext cx="100098" cy="103610"/>
          </a:xfrm>
          <a:custGeom>
            <a:avLst/>
            <a:gdLst>
              <a:gd name="T0" fmla="*/ 0 w 33"/>
              <a:gd name="T1" fmla="*/ 53927 h 33"/>
              <a:gd name="T2" fmla="*/ 16452 w 33"/>
              <a:gd name="T3" fmla="*/ 48251 h 33"/>
              <a:gd name="T4" fmla="*/ 19194 w 33"/>
              <a:gd name="T5" fmla="*/ 31221 h 33"/>
              <a:gd name="T6" fmla="*/ 43873 w 33"/>
              <a:gd name="T7" fmla="*/ 22706 h 33"/>
              <a:gd name="T8" fmla="*/ 54841 w 33"/>
              <a:gd name="T9" fmla="*/ 11353 h 33"/>
              <a:gd name="T10" fmla="*/ 71294 w 33"/>
              <a:gd name="T11" fmla="*/ 11353 h 33"/>
              <a:gd name="T12" fmla="*/ 87746 w 33"/>
              <a:gd name="T13" fmla="*/ 0 h 33"/>
              <a:gd name="T14" fmla="*/ 90488 w 33"/>
              <a:gd name="T15" fmla="*/ 22706 h 33"/>
              <a:gd name="T16" fmla="*/ 82262 w 33"/>
              <a:gd name="T17" fmla="*/ 34059 h 33"/>
              <a:gd name="T18" fmla="*/ 82262 w 33"/>
              <a:gd name="T19" fmla="*/ 62442 h 33"/>
              <a:gd name="T20" fmla="*/ 76778 w 33"/>
              <a:gd name="T21" fmla="*/ 93663 h 33"/>
              <a:gd name="T22" fmla="*/ 32905 w 33"/>
              <a:gd name="T23" fmla="*/ 93663 h 33"/>
              <a:gd name="T24" fmla="*/ 27421 w 33"/>
              <a:gd name="T25" fmla="*/ 87986 h 33"/>
              <a:gd name="T26" fmla="*/ 0 w 33"/>
              <a:gd name="T27" fmla="*/ 59604 h 33"/>
              <a:gd name="T28" fmla="*/ 0 w 33"/>
              <a:gd name="T29" fmla="*/ 53927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3">
                <a:moveTo>
                  <a:pt x="0" y="19"/>
                </a:moveTo>
                <a:cubicBezTo>
                  <a:pt x="6" y="17"/>
                  <a:pt x="6" y="17"/>
                  <a:pt x="6" y="17"/>
                </a:cubicBezTo>
                <a:cubicBezTo>
                  <a:pt x="7" y="15"/>
                  <a:pt x="5" y="12"/>
                  <a:pt x="7" y="11"/>
                </a:cubicBezTo>
                <a:cubicBezTo>
                  <a:pt x="8" y="11"/>
                  <a:pt x="15" y="9"/>
                  <a:pt x="16" y="8"/>
                </a:cubicBezTo>
                <a:cubicBezTo>
                  <a:pt x="17" y="8"/>
                  <a:pt x="18" y="4"/>
                  <a:pt x="20" y="4"/>
                </a:cubicBezTo>
                <a:cubicBezTo>
                  <a:pt x="21" y="3"/>
                  <a:pt x="26" y="4"/>
                  <a:pt x="26" y="4"/>
                </a:cubicBezTo>
                <a:cubicBezTo>
                  <a:pt x="32" y="0"/>
                  <a:pt x="32" y="0"/>
                  <a:pt x="32" y="0"/>
                </a:cubicBezTo>
                <a:cubicBezTo>
                  <a:pt x="33" y="1"/>
                  <a:pt x="33" y="5"/>
                  <a:pt x="33" y="8"/>
                </a:cubicBezTo>
                <a:cubicBezTo>
                  <a:pt x="33" y="10"/>
                  <a:pt x="30" y="11"/>
                  <a:pt x="30" y="12"/>
                </a:cubicBezTo>
                <a:cubicBezTo>
                  <a:pt x="30" y="14"/>
                  <a:pt x="30" y="20"/>
                  <a:pt x="30" y="22"/>
                </a:cubicBezTo>
                <a:cubicBezTo>
                  <a:pt x="30" y="25"/>
                  <a:pt x="28" y="29"/>
                  <a:pt x="28" y="33"/>
                </a:cubicBezTo>
                <a:cubicBezTo>
                  <a:pt x="12" y="33"/>
                  <a:pt x="12" y="33"/>
                  <a:pt x="12" y="33"/>
                </a:cubicBezTo>
                <a:cubicBezTo>
                  <a:pt x="12" y="32"/>
                  <a:pt x="11" y="31"/>
                  <a:pt x="10" y="31"/>
                </a:cubicBezTo>
                <a:cubicBezTo>
                  <a:pt x="9" y="30"/>
                  <a:pt x="2" y="21"/>
                  <a:pt x="0" y="21"/>
                </a:cubicBezTo>
                <a:cubicBezTo>
                  <a:pt x="0" y="21"/>
                  <a:pt x="0" y="20"/>
                  <a:pt x="0" y="1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7" name="Freeform 113"/>
          <p:cNvSpPr>
            <a:spLocks/>
          </p:cNvSpPr>
          <p:nvPr>
            <p:custDataLst>
              <p:tags r:id="rId63"/>
            </p:custDataLst>
          </p:nvPr>
        </p:nvSpPr>
        <p:spPr bwMode="auto">
          <a:xfrm>
            <a:off x="3799025" y="3669585"/>
            <a:ext cx="138732" cy="80780"/>
          </a:xfrm>
          <a:custGeom>
            <a:avLst/>
            <a:gdLst>
              <a:gd name="T0" fmla="*/ 0 w 46"/>
              <a:gd name="T1" fmla="*/ 32131 h 25"/>
              <a:gd name="T2" fmla="*/ 2726 w 46"/>
              <a:gd name="T3" fmla="*/ 26289 h 25"/>
              <a:gd name="T4" fmla="*/ 21811 w 46"/>
              <a:gd name="T5" fmla="*/ 5842 h 25"/>
              <a:gd name="T6" fmla="*/ 38169 w 46"/>
              <a:gd name="T7" fmla="*/ 5842 h 25"/>
              <a:gd name="T8" fmla="*/ 70886 w 46"/>
              <a:gd name="T9" fmla="*/ 0 h 25"/>
              <a:gd name="T10" fmla="*/ 103602 w 46"/>
              <a:gd name="T11" fmla="*/ 2921 h 25"/>
              <a:gd name="T12" fmla="*/ 125413 w 46"/>
              <a:gd name="T13" fmla="*/ 17526 h 25"/>
              <a:gd name="T14" fmla="*/ 109055 w 46"/>
              <a:gd name="T15" fmla="*/ 29210 h 25"/>
              <a:gd name="T16" fmla="*/ 92697 w 46"/>
              <a:gd name="T17" fmla="*/ 29210 h 25"/>
              <a:gd name="T18" fmla="*/ 81791 w 46"/>
              <a:gd name="T19" fmla="*/ 40894 h 25"/>
              <a:gd name="T20" fmla="*/ 57254 w 46"/>
              <a:gd name="T21" fmla="*/ 49657 h 25"/>
              <a:gd name="T22" fmla="*/ 54527 w 46"/>
              <a:gd name="T23" fmla="*/ 67183 h 25"/>
              <a:gd name="T24" fmla="*/ 38169 w 46"/>
              <a:gd name="T25" fmla="*/ 73025 h 25"/>
              <a:gd name="T26" fmla="*/ 35443 w 46"/>
              <a:gd name="T27" fmla="*/ 64262 h 25"/>
              <a:gd name="T28" fmla="*/ 29990 w 46"/>
              <a:gd name="T29" fmla="*/ 61341 h 25"/>
              <a:gd name="T30" fmla="*/ 32716 w 46"/>
              <a:gd name="T31" fmla="*/ 40894 h 25"/>
              <a:gd name="T32" fmla="*/ 0 w 46"/>
              <a:gd name="T33" fmla="*/ 32131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25">
                <a:moveTo>
                  <a:pt x="0" y="11"/>
                </a:moveTo>
                <a:cubicBezTo>
                  <a:pt x="0" y="10"/>
                  <a:pt x="1" y="9"/>
                  <a:pt x="1" y="9"/>
                </a:cubicBezTo>
                <a:cubicBezTo>
                  <a:pt x="3" y="7"/>
                  <a:pt x="8" y="2"/>
                  <a:pt x="8" y="2"/>
                </a:cubicBezTo>
                <a:cubicBezTo>
                  <a:pt x="10" y="2"/>
                  <a:pt x="13" y="2"/>
                  <a:pt x="14" y="2"/>
                </a:cubicBezTo>
                <a:cubicBezTo>
                  <a:pt x="16" y="2"/>
                  <a:pt x="23" y="0"/>
                  <a:pt x="26" y="0"/>
                </a:cubicBezTo>
                <a:cubicBezTo>
                  <a:pt x="30" y="0"/>
                  <a:pt x="35" y="0"/>
                  <a:pt x="38" y="1"/>
                </a:cubicBezTo>
                <a:cubicBezTo>
                  <a:pt x="40" y="1"/>
                  <a:pt x="44" y="4"/>
                  <a:pt x="46" y="6"/>
                </a:cubicBezTo>
                <a:cubicBezTo>
                  <a:pt x="40" y="10"/>
                  <a:pt x="40" y="10"/>
                  <a:pt x="40" y="10"/>
                </a:cubicBezTo>
                <a:cubicBezTo>
                  <a:pt x="40" y="10"/>
                  <a:pt x="35" y="9"/>
                  <a:pt x="34" y="10"/>
                </a:cubicBezTo>
                <a:cubicBezTo>
                  <a:pt x="32" y="10"/>
                  <a:pt x="31" y="14"/>
                  <a:pt x="30" y="14"/>
                </a:cubicBezTo>
                <a:cubicBezTo>
                  <a:pt x="29" y="15"/>
                  <a:pt x="22" y="17"/>
                  <a:pt x="21" y="17"/>
                </a:cubicBezTo>
                <a:cubicBezTo>
                  <a:pt x="19" y="18"/>
                  <a:pt x="21" y="21"/>
                  <a:pt x="20" y="23"/>
                </a:cubicBezTo>
                <a:cubicBezTo>
                  <a:pt x="14" y="25"/>
                  <a:pt x="14" y="25"/>
                  <a:pt x="14" y="25"/>
                </a:cubicBezTo>
                <a:cubicBezTo>
                  <a:pt x="14" y="24"/>
                  <a:pt x="14" y="23"/>
                  <a:pt x="13" y="22"/>
                </a:cubicBezTo>
                <a:cubicBezTo>
                  <a:pt x="13" y="21"/>
                  <a:pt x="12" y="21"/>
                  <a:pt x="11" y="21"/>
                </a:cubicBezTo>
                <a:cubicBezTo>
                  <a:pt x="11" y="21"/>
                  <a:pt x="14" y="16"/>
                  <a:pt x="12" y="14"/>
                </a:cubicBezTo>
                <a:cubicBezTo>
                  <a:pt x="11" y="13"/>
                  <a:pt x="0" y="11"/>
                  <a:pt x="0" y="1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8" name="Freeform 114"/>
          <p:cNvSpPr>
            <a:spLocks/>
          </p:cNvSpPr>
          <p:nvPr>
            <p:custDataLst>
              <p:tags r:id="rId64"/>
            </p:custDataLst>
          </p:nvPr>
        </p:nvSpPr>
        <p:spPr bwMode="auto">
          <a:xfrm>
            <a:off x="3784978" y="3706463"/>
            <a:ext cx="56195" cy="33366"/>
          </a:xfrm>
          <a:custGeom>
            <a:avLst/>
            <a:gdLst>
              <a:gd name="T0" fmla="*/ 0 w 19"/>
              <a:gd name="T1" fmla="*/ 19195 h 11"/>
              <a:gd name="T2" fmla="*/ 13368 w 19"/>
              <a:gd name="T3" fmla="*/ 0 h 11"/>
              <a:gd name="T4" fmla="*/ 45453 w 19"/>
              <a:gd name="T5" fmla="*/ 8226 h 11"/>
              <a:gd name="T6" fmla="*/ 42779 w 19"/>
              <a:gd name="T7" fmla="*/ 27421 h 11"/>
              <a:gd name="T8" fmla="*/ 24063 w 19"/>
              <a:gd name="T9" fmla="*/ 30163 h 11"/>
              <a:gd name="T10" fmla="*/ 0 w 19"/>
              <a:gd name="T11" fmla="*/ 19195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1">
                <a:moveTo>
                  <a:pt x="0" y="7"/>
                </a:moveTo>
                <a:cubicBezTo>
                  <a:pt x="2" y="5"/>
                  <a:pt x="4" y="2"/>
                  <a:pt x="5" y="0"/>
                </a:cubicBezTo>
                <a:cubicBezTo>
                  <a:pt x="5" y="0"/>
                  <a:pt x="16" y="2"/>
                  <a:pt x="17" y="3"/>
                </a:cubicBezTo>
                <a:cubicBezTo>
                  <a:pt x="19" y="5"/>
                  <a:pt x="16" y="10"/>
                  <a:pt x="16" y="10"/>
                </a:cubicBezTo>
                <a:cubicBezTo>
                  <a:pt x="14" y="11"/>
                  <a:pt x="12" y="11"/>
                  <a:pt x="9" y="11"/>
                </a:cubicBezTo>
                <a:cubicBezTo>
                  <a:pt x="6" y="10"/>
                  <a:pt x="3" y="8"/>
                  <a:pt x="0" y="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69" name="Freeform 115"/>
          <p:cNvSpPr>
            <a:spLocks/>
          </p:cNvSpPr>
          <p:nvPr>
            <p:custDataLst>
              <p:tags r:id="rId65"/>
            </p:custDataLst>
          </p:nvPr>
        </p:nvSpPr>
        <p:spPr bwMode="auto">
          <a:xfrm>
            <a:off x="3795513" y="3602854"/>
            <a:ext cx="40390" cy="70244"/>
          </a:xfrm>
          <a:custGeom>
            <a:avLst/>
            <a:gdLst>
              <a:gd name="T0" fmla="*/ 2809 w 13"/>
              <a:gd name="T1" fmla="*/ 60614 h 22"/>
              <a:gd name="T2" fmla="*/ 2809 w 13"/>
              <a:gd name="T3" fmla="*/ 20205 h 22"/>
              <a:gd name="T4" fmla="*/ 22470 w 13"/>
              <a:gd name="T5" fmla="*/ 0 h 22"/>
              <a:gd name="T6" fmla="*/ 36513 w 13"/>
              <a:gd name="T7" fmla="*/ 5773 h 22"/>
              <a:gd name="T8" fmla="*/ 28087 w 13"/>
              <a:gd name="T9" fmla="*/ 37523 h 22"/>
              <a:gd name="T10" fmla="*/ 19661 w 13"/>
              <a:gd name="T11" fmla="*/ 54841 h 22"/>
              <a:gd name="T12" fmla="*/ 2809 w 13"/>
              <a:gd name="T13" fmla="*/ 60614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22">
                <a:moveTo>
                  <a:pt x="1" y="21"/>
                </a:moveTo>
                <a:cubicBezTo>
                  <a:pt x="0" y="21"/>
                  <a:pt x="1" y="7"/>
                  <a:pt x="1" y="7"/>
                </a:cubicBezTo>
                <a:cubicBezTo>
                  <a:pt x="8" y="0"/>
                  <a:pt x="8" y="0"/>
                  <a:pt x="8" y="0"/>
                </a:cubicBezTo>
                <a:cubicBezTo>
                  <a:pt x="13" y="2"/>
                  <a:pt x="13" y="2"/>
                  <a:pt x="13" y="2"/>
                </a:cubicBezTo>
                <a:cubicBezTo>
                  <a:pt x="12" y="5"/>
                  <a:pt x="11" y="11"/>
                  <a:pt x="10" y="13"/>
                </a:cubicBezTo>
                <a:cubicBezTo>
                  <a:pt x="9" y="15"/>
                  <a:pt x="7" y="17"/>
                  <a:pt x="7" y="19"/>
                </a:cubicBezTo>
                <a:cubicBezTo>
                  <a:pt x="7" y="19"/>
                  <a:pt x="2" y="22"/>
                  <a:pt x="1" y="2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0" name="Freeform 116"/>
          <p:cNvSpPr>
            <a:spLocks/>
          </p:cNvSpPr>
          <p:nvPr>
            <p:custDataLst>
              <p:tags r:id="rId66"/>
            </p:custDataLst>
          </p:nvPr>
        </p:nvSpPr>
        <p:spPr bwMode="auto">
          <a:xfrm>
            <a:off x="3727027" y="3623927"/>
            <a:ext cx="96585" cy="103610"/>
          </a:xfrm>
          <a:custGeom>
            <a:avLst/>
            <a:gdLst>
              <a:gd name="T0" fmla="*/ 0 w 32"/>
              <a:gd name="T1" fmla="*/ 70247 h 32"/>
              <a:gd name="T2" fmla="*/ 8186 w 32"/>
              <a:gd name="T3" fmla="*/ 58539 h 32"/>
              <a:gd name="T4" fmla="*/ 16371 w 32"/>
              <a:gd name="T5" fmla="*/ 43905 h 32"/>
              <a:gd name="T6" fmla="*/ 38199 w 32"/>
              <a:gd name="T7" fmla="*/ 38051 h 32"/>
              <a:gd name="T8" fmla="*/ 38199 w 32"/>
              <a:gd name="T9" fmla="*/ 23416 h 32"/>
              <a:gd name="T10" fmla="*/ 24557 w 32"/>
              <a:gd name="T11" fmla="*/ 8781 h 32"/>
              <a:gd name="T12" fmla="*/ 24557 w 32"/>
              <a:gd name="T13" fmla="*/ 0 h 32"/>
              <a:gd name="T14" fmla="*/ 65485 w 32"/>
              <a:gd name="T15" fmla="*/ 0 h 32"/>
              <a:gd name="T16" fmla="*/ 65485 w 32"/>
              <a:gd name="T17" fmla="*/ 40978 h 32"/>
              <a:gd name="T18" fmla="*/ 81856 w 32"/>
              <a:gd name="T19" fmla="*/ 35124 h 32"/>
              <a:gd name="T20" fmla="*/ 81856 w 32"/>
              <a:gd name="T21" fmla="*/ 43905 h 32"/>
              <a:gd name="T22" fmla="*/ 87313 w 32"/>
              <a:gd name="T23" fmla="*/ 46832 h 32"/>
              <a:gd name="T24" fmla="*/ 68213 w 32"/>
              <a:gd name="T25" fmla="*/ 67320 h 32"/>
              <a:gd name="T26" fmla="*/ 65485 w 32"/>
              <a:gd name="T27" fmla="*/ 73174 h 32"/>
              <a:gd name="T28" fmla="*/ 51842 w 32"/>
              <a:gd name="T29" fmla="*/ 93663 h 32"/>
              <a:gd name="T30" fmla="*/ 43657 w 32"/>
              <a:gd name="T31" fmla="*/ 90736 h 32"/>
              <a:gd name="T32" fmla="*/ 24557 w 32"/>
              <a:gd name="T33" fmla="*/ 87809 h 32"/>
              <a:gd name="T34" fmla="*/ 0 w 32"/>
              <a:gd name="T35" fmla="*/ 702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2">
                <a:moveTo>
                  <a:pt x="0" y="24"/>
                </a:moveTo>
                <a:cubicBezTo>
                  <a:pt x="3" y="20"/>
                  <a:pt x="3" y="20"/>
                  <a:pt x="3" y="20"/>
                </a:cubicBezTo>
                <a:cubicBezTo>
                  <a:pt x="6" y="15"/>
                  <a:pt x="6" y="15"/>
                  <a:pt x="6" y="15"/>
                </a:cubicBezTo>
                <a:cubicBezTo>
                  <a:pt x="14" y="13"/>
                  <a:pt x="14" y="13"/>
                  <a:pt x="14" y="13"/>
                </a:cubicBezTo>
                <a:cubicBezTo>
                  <a:pt x="14" y="8"/>
                  <a:pt x="14" y="8"/>
                  <a:pt x="14" y="8"/>
                </a:cubicBezTo>
                <a:cubicBezTo>
                  <a:pt x="9" y="3"/>
                  <a:pt x="9" y="3"/>
                  <a:pt x="9" y="3"/>
                </a:cubicBezTo>
                <a:cubicBezTo>
                  <a:pt x="9" y="0"/>
                  <a:pt x="9" y="0"/>
                  <a:pt x="9" y="0"/>
                </a:cubicBezTo>
                <a:cubicBezTo>
                  <a:pt x="24" y="0"/>
                  <a:pt x="24" y="0"/>
                  <a:pt x="24" y="0"/>
                </a:cubicBezTo>
                <a:cubicBezTo>
                  <a:pt x="24" y="0"/>
                  <a:pt x="23" y="14"/>
                  <a:pt x="24" y="14"/>
                </a:cubicBezTo>
                <a:cubicBezTo>
                  <a:pt x="25" y="15"/>
                  <a:pt x="30" y="12"/>
                  <a:pt x="30" y="12"/>
                </a:cubicBezTo>
                <a:cubicBezTo>
                  <a:pt x="29" y="14"/>
                  <a:pt x="28" y="14"/>
                  <a:pt x="30" y="15"/>
                </a:cubicBezTo>
                <a:cubicBezTo>
                  <a:pt x="30" y="15"/>
                  <a:pt x="31" y="16"/>
                  <a:pt x="32" y="16"/>
                </a:cubicBezTo>
                <a:cubicBezTo>
                  <a:pt x="32" y="16"/>
                  <a:pt x="27" y="21"/>
                  <a:pt x="25" y="23"/>
                </a:cubicBezTo>
                <a:cubicBezTo>
                  <a:pt x="25" y="23"/>
                  <a:pt x="24" y="24"/>
                  <a:pt x="24" y="25"/>
                </a:cubicBezTo>
                <a:cubicBezTo>
                  <a:pt x="23" y="27"/>
                  <a:pt x="21" y="30"/>
                  <a:pt x="19" y="32"/>
                </a:cubicBezTo>
                <a:cubicBezTo>
                  <a:pt x="18" y="32"/>
                  <a:pt x="17" y="31"/>
                  <a:pt x="16" y="31"/>
                </a:cubicBezTo>
                <a:cubicBezTo>
                  <a:pt x="14" y="30"/>
                  <a:pt x="12" y="31"/>
                  <a:pt x="9" y="30"/>
                </a:cubicBezTo>
                <a:cubicBezTo>
                  <a:pt x="7" y="30"/>
                  <a:pt x="2" y="25"/>
                  <a:pt x="0" y="2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1" name="Freeform 117"/>
          <p:cNvSpPr>
            <a:spLocks/>
          </p:cNvSpPr>
          <p:nvPr>
            <p:custDataLst>
              <p:tags r:id="rId67"/>
            </p:custDataLst>
          </p:nvPr>
        </p:nvSpPr>
        <p:spPr bwMode="auto">
          <a:xfrm>
            <a:off x="3158051" y="3223538"/>
            <a:ext cx="709463" cy="477659"/>
          </a:xfrm>
          <a:custGeom>
            <a:avLst/>
            <a:gdLst>
              <a:gd name="T0" fmla="*/ 0 w 236"/>
              <a:gd name="T1" fmla="*/ 8753 h 148"/>
              <a:gd name="T2" fmla="*/ 48917 w 236"/>
              <a:gd name="T3" fmla="*/ 0 h 148"/>
              <a:gd name="T4" fmla="*/ 125009 w 236"/>
              <a:gd name="T5" fmla="*/ 40846 h 148"/>
              <a:gd name="T6" fmla="*/ 184796 w 236"/>
              <a:gd name="T7" fmla="*/ 29176 h 148"/>
              <a:gd name="T8" fmla="*/ 244583 w 236"/>
              <a:gd name="T9" fmla="*/ 52516 h 148"/>
              <a:gd name="T10" fmla="*/ 288064 w 236"/>
              <a:gd name="T11" fmla="*/ 96280 h 148"/>
              <a:gd name="T12" fmla="*/ 331545 w 236"/>
              <a:gd name="T13" fmla="*/ 81692 h 148"/>
              <a:gd name="T14" fmla="*/ 402203 w 236"/>
              <a:gd name="T15" fmla="*/ 175054 h 148"/>
              <a:gd name="T16" fmla="*/ 418508 w 236"/>
              <a:gd name="T17" fmla="*/ 169219 h 148"/>
              <a:gd name="T18" fmla="*/ 404920 w 236"/>
              <a:gd name="T19" fmla="*/ 212982 h 148"/>
              <a:gd name="T20" fmla="*/ 415790 w 236"/>
              <a:gd name="T21" fmla="*/ 271334 h 148"/>
              <a:gd name="T22" fmla="*/ 429378 w 236"/>
              <a:gd name="T23" fmla="*/ 312180 h 148"/>
              <a:gd name="T24" fmla="*/ 464707 w 236"/>
              <a:gd name="T25" fmla="*/ 344273 h 148"/>
              <a:gd name="T26" fmla="*/ 513624 w 236"/>
              <a:gd name="T27" fmla="*/ 344273 h 148"/>
              <a:gd name="T28" fmla="*/ 551670 w 236"/>
              <a:gd name="T29" fmla="*/ 309262 h 148"/>
              <a:gd name="T30" fmla="*/ 597869 w 236"/>
              <a:gd name="T31" fmla="*/ 271334 h 148"/>
              <a:gd name="T32" fmla="*/ 630480 w 236"/>
              <a:gd name="T33" fmla="*/ 274251 h 148"/>
              <a:gd name="T34" fmla="*/ 616892 w 236"/>
              <a:gd name="T35" fmla="*/ 318015 h 148"/>
              <a:gd name="T36" fmla="*/ 597869 w 236"/>
              <a:gd name="T37" fmla="*/ 341355 h 148"/>
              <a:gd name="T38" fmla="*/ 538082 w 236"/>
              <a:gd name="T39" fmla="*/ 361778 h 148"/>
              <a:gd name="T40" fmla="*/ 551670 w 236"/>
              <a:gd name="T41" fmla="*/ 385119 h 148"/>
              <a:gd name="T42" fmla="*/ 529929 w 236"/>
              <a:gd name="T43" fmla="*/ 405542 h 148"/>
              <a:gd name="T44" fmla="*/ 513624 w 236"/>
              <a:gd name="T45" fmla="*/ 431800 h 148"/>
              <a:gd name="T46" fmla="*/ 442966 w 236"/>
              <a:gd name="T47" fmla="*/ 405542 h 148"/>
              <a:gd name="T48" fmla="*/ 350568 w 236"/>
              <a:gd name="T49" fmla="*/ 382201 h 148"/>
              <a:gd name="T50" fmla="*/ 263606 w 236"/>
              <a:gd name="T51" fmla="*/ 332603 h 148"/>
              <a:gd name="T52" fmla="*/ 241865 w 236"/>
              <a:gd name="T53" fmla="*/ 300509 h 148"/>
              <a:gd name="T54" fmla="*/ 236430 w 236"/>
              <a:gd name="T55" fmla="*/ 253828 h 148"/>
              <a:gd name="T56" fmla="*/ 160338 w 236"/>
              <a:gd name="T57" fmla="*/ 177972 h 148"/>
              <a:gd name="T58" fmla="*/ 144032 w 236"/>
              <a:gd name="T59" fmla="*/ 142961 h 148"/>
              <a:gd name="T60" fmla="*/ 122291 w 236"/>
              <a:gd name="T61" fmla="*/ 116703 h 148"/>
              <a:gd name="T62" fmla="*/ 84245 w 236"/>
              <a:gd name="T63" fmla="*/ 43764 h 148"/>
              <a:gd name="T64" fmla="*/ 48917 w 236"/>
              <a:gd name="T65" fmla="*/ 46681 h 148"/>
              <a:gd name="T66" fmla="*/ 67940 w 236"/>
              <a:gd name="T67" fmla="*/ 84609 h 148"/>
              <a:gd name="T68" fmla="*/ 103268 w 236"/>
              <a:gd name="T69" fmla="*/ 137126 h 148"/>
              <a:gd name="T70" fmla="*/ 127726 w 236"/>
              <a:gd name="T71" fmla="*/ 180889 h 148"/>
              <a:gd name="T72" fmla="*/ 149467 w 236"/>
              <a:gd name="T73" fmla="*/ 212982 h 148"/>
              <a:gd name="T74" fmla="*/ 146750 w 236"/>
              <a:gd name="T75" fmla="*/ 247993 h 148"/>
              <a:gd name="T76" fmla="*/ 127726 w 236"/>
              <a:gd name="T77" fmla="*/ 218818 h 148"/>
              <a:gd name="T78" fmla="*/ 103268 w 236"/>
              <a:gd name="T79" fmla="*/ 175054 h 148"/>
              <a:gd name="T80" fmla="*/ 59787 w 236"/>
              <a:gd name="T81" fmla="*/ 148796 h 148"/>
              <a:gd name="T82" fmla="*/ 57069 w 236"/>
              <a:gd name="T83" fmla="*/ 125455 h 148"/>
              <a:gd name="T84" fmla="*/ 29893 w 236"/>
              <a:gd name="T85" fmla="*/ 78774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6" h="148">
                <a:moveTo>
                  <a:pt x="4" y="12"/>
                </a:moveTo>
                <a:cubicBezTo>
                  <a:pt x="3" y="10"/>
                  <a:pt x="1" y="6"/>
                  <a:pt x="0" y="3"/>
                </a:cubicBezTo>
                <a:cubicBezTo>
                  <a:pt x="7" y="2"/>
                  <a:pt x="7" y="2"/>
                  <a:pt x="7" y="2"/>
                </a:cubicBezTo>
                <a:cubicBezTo>
                  <a:pt x="18" y="0"/>
                  <a:pt x="18" y="0"/>
                  <a:pt x="18" y="0"/>
                </a:cubicBezTo>
                <a:cubicBezTo>
                  <a:pt x="18" y="3"/>
                  <a:pt x="18" y="3"/>
                  <a:pt x="18" y="3"/>
                </a:cubicBezTo>
                <a:cubicBezTo>
                  <a:pt x="46" y="14"/>
                  <a:pt x="46" y="14"/>
                  <a:pt x="46" y="14"/>
                </a:cubicBezTo>
                <a:cubicBezTo>
                  <a:pt x="68" y="15"/>
                  <a:pt x="68" y="15"/>
                  <a:pt x="68" y="15"/>
                </a:cubicBezTo>
                <a:cubicBezTo>
                  <a:pt x="68" y="10"/>
                  <a:pt x="68" y="10"/>
                  <a:pt x="68" y="10"/>
                </a:cubicBezTo>
                <a:cubicBezTo>
                  <a:pt x="82" y="10"/>
                  <a:pt x="82" y="10"/>
                  <a:pt x="82" y="10"/>
                </a:cubicBezTo>
                <a:cubicBezTo>
                  <a:pt x="82" y="10"/>
                  <a:pt x="88" y="16"/>
                  <a:pt x="90" y="18"/>
                </a:cubicBezTo>
                <a:cubicBezTo>
                  <a:pt x="93" y="19"/>
                  <a:pt x="94" y="21"/>
                  <a:pt x="95" y="25"/>
                </a:cubicBezTo>
                <a:cubicBezTo>
                  <a:pt x="96" y="29"/>
                  <a:pt x="102" y="31"/>
                  <a:pt x="106" y="33"/>
                </a:cubicBezTo>
                <a:cubicBezTo>
                  <a:pt x="110" y="34"/>
                  <a:pt x="110" y="27"/>
                  <a:pt x="112" y="26"/>
                </a:cubicBezTo>
                <a:cubicBezTo>
                  <a:pt x="114" y="26"/>
                  <a:pt x="117" y="26"/>
                  <a:pt x="122" y="28"/>
                </a:cubicBezTo>
                <a:cubicBezTo>
                  <a:pt x="126" y="30"/>
                  <a:pt x="137" y="54"/>
                  <a:pt x="138" y="55"/>
                </a:cubicBezTo>
                <a:cubicBezTo>
                  <a:pt x="139" y="56"/>
                  <a:pt x="148" y="60"/>
                  <a:pt x="148" y="60"/>
                </a:cubicBezTo>
                <a:cubicBezTo>
                  <a:pt x="153" y="58"/>
                  <a:pt x="153" y="58"/>
                  <a:pt x="153" y="58"/>
                </a:cubicBezTo>
                <a:cubicBezTo>
                  <a:pt x="154" y="58"/>
                  <a:pt x="154" y="58"/>
                  <a:pt x="154" y="58"/>
                </a:cubicBezTo>
                <a:cubicBezTo>
                  <a:pt x="154" y="59"/>
                  <a:pt x="154" y="59"/>
                  <a:pt x="154" y="60"/>
                </a:cubicBezTo>
                <a:cubicBezTo>
                  <a:pt x="154" y="63"/>
                  <a:pt x="149" y="70"/>
                  <a:pt x="149" y="73"/>
                </a:cubicBezTo>
                <a:cubicBezTo>
                  <a:pt x="148" y="75"/>
                  <a:pt x="148" y="84"/>
                  <a:pt x="148" y="87"/>
                </a:cubicBezTo>
                <a:cubicBezTo>
                  <a:pt x="148" y="89"/>
                  <a:pt x="152" y="92"/>
                  <a:pt x="153" y="93"/>
                </a:cubicBezTo>
                <a:cubicBezTo>
                  <a:pt x="154" y="95"/>
                  <a:pt x="151" y="96"/>
                  <a:pt x="151" y="98"/>
                </a:cubicBezTo>
                <a:cubicBezTo>
                  <a:pt x="151" y="99"/>
                  <a:pt x="155" y="103"/>
                  <a:pt x="158" y="107"/>
                </a:cubicBezTo>
                <a:cubicBezTo>
                  <a:pt x="161" y="110"/>
                  <a:pt x="159" y="111"/>
                  <a:pt x="161" y="115"/>
                </a:cubicBezTo>
                <a:cubicBezTo>
                  <a:pt x="164" y="118"/>
                  <a:pt x="168" y="116"/>
                  <a:pt x="171" y="118"/>
                </a:cubicBezTo>
                <a:cubicBezTo>
                  <a:pt x="173" y="120"/>
                  <a:pt x="173" y="122"/>
                  <a:pt x="176" y="121"/>
                </a:cubicBezTo>
                <a:cubicBezTo>
                  <a:pt x="178" y="120"/>
                  <a:pt x="186" y="119"/>
                  <a:pt x="189" y="118"/>
                </a:cubicBezTo>
                <a:cubicBezTo>
                  <a:pt x="192" y="118"/>
                  <a:pt x="198" y="116"/>
                  <a:pt x="200" y="114"/>
                </a:cubicBezTo>
                <a:cubicBezTo>
                  <a:pt x="202" y="112"/>
                  <a:pt x="203" y="108"/>
                  <a:pt x="203" y="106"/>
                </a:cubicBezTo>
                <a:cubicBezTo>
                  <a:pt x="203" y="105"/>
                  <a:pt x="204" y="99"/>
                  <a:pt x="206" y="97"/>
                </a:cubicBezTo>
                <a:cubicBezTo>
                  <a:pt x="208" y="95"/>
                  <a:pt x="216" y="94"/>
                  <a:pt x="220" y="93"/>
                </a:cubicBezTo>
                <a:cubicBezTo>
                  <a:pt x="224" y="93"/>
                  <a:pt x="226" y="92"/>
                  <a:pt x="229" y="93"/>
                </a:cubicBezTo>
                <a:cubicBezTo>
                  <a:pt x="230" y="93"/>
                  <a:pt x="231" y="94"/>
                  <a:pt x="232" y="94"/>
                </a:cubicBezTo>
                <a:cubicBezTo>
                  <a:pt x="236" y="96"/>
                  <a:pt x="231" y="100"/>
                  <a:pt x="230" y="102"/>
                </a:cubicBezTo>
                <a:cubicBezTo>
                  <a:pt x="229" y="103"/>
                  <a:pt x="227" y="108"/>
                  <a:pt x="227" y="109"/>
                </a:cubicBezTo>
                <a:cubicBezTo>
                  <a:pt x="227" y="111"/>
                  <a:pt x="225" y="116"/>
                  <a:pt x="225" y="119"/>
                </a:cubicBezTo>
                <a:cubicBezTo>
                  <a:pt x="220" y="117"/>
                  <a:pt x="220" y="117"/>
                  <a:pt x="220" y="117"/>
                </a:cubicBezTo>
                <a:cubicBezTo>
                  <a:pt x="213" y="124"/>
                  <a:pt x="213" y="124"/>
                  <a:pt x="213" y="124"/>
                </a:cubicBezTo>
                <a:cubicBezTo>
                  <a:pt x="198" y="124"/>
                  <a:pt x="198" y="124"/>
                  <a:pt x="198" y="124"/>
                </a:cubicBezTo>
                <a:cubicBezTo>
                  <a:pt x="198" y="127"/>
                  <a:pt x="198" y="127"/>
                  <a:pt x="198" y="127"/>
                </a:cubicBezTo>
                <a:cubicBezTo>
                  <a:pt x="203" y="132"/>
                  <a:pt x="203" y="132"/>
                  <a:pt x="203" y="132"/>
                </a:cubicBezTo>
                <a:cubicBezTo>
                  <a:pt x="203" y="137"/>
                  <a:pt x="203" y="137"/>
                  <a:pt x="203" y="137"/>
                </a:cubicBezTo>
                <a:cubicBezTo>
                  <a:pt x="195" y="139"/>
                  <a:pt x="195" y="139"/>
                  <a:pt x="195" y="139"/>
                </a:cubicBezTo>
                <a:cubicBezTo>
                  <a:pt x="192" y="144"/>
                  <a:pt x="192" y="144"/>
                  <a:pt x="192" y="144"/>
                </a:cubicBezTo>
                <a:cubicBezTo>
                  <a:pt x="189" y="148"/>
                  <a:pt x="189" y="148"/>
                  <a:pt x="189" y="148"/>
                </a:cubicBezTo>
                <a:cubicBezTo>
                  <a:pt x="188" y="147"/>
                  <a:pt x="177" y="137"/>
                  <a:pt x="173" y="136"/>
                </a:cubicBezTo>
                <a:cubicBezTo>
                  <a:pt x="169" y="134"/>
                  <a:pt x="166" y="138"/>
                  <a:pt x="163" y="139"/>
                </a:cubicBezTo>
                <a:cubicBezTo>
                  <a:pt x="161" y="141"/>
                  <a:pt x="157" y="141"/>
                  <a:pt x="153" y="140"/>
                </a:cubicBezTo>
                <a:cubicBezTo>
                  <a:pt x="149" y="139"/>
                  <a:pt x="132" y="132"/>
                  <a:pt x="129" y="131"/>
                </a:cubicBezTo>
                <a:cubicBezTo>
                  <a:pt x="127" y="131"/>
                  <a:pt x="115" y="124"/>
                  <a:pt x="113" y="123"/>
                </a:cubicBezTo>
                <a:cubicBezTo>
                  <a:pt x="110" y="123"/>
                  <a:pt x="101" y="117"/>
                  <a:pt x="97" y="114"/>
                </a:cubicBezTo>
                <a:cubicBezTo>
                  <a:pt x="93" y="112"/>
                  <a:pt x="91" y="109"/>
                  <a:pt x="89" y="108"/>
                </a:cubicBezTo>
                <a:cubicBezTo>
                  <a:pt x="88" y="106"/>
                  <a:pt x="87" y="103"/>
                  <a:pt x="89" y="103"/>
                </a:cubicBezTo>
                <a:cubicBezTo>
                  <a:pt x="90" y="102"/>
                  <a:pt x="91" y="99"/>
                  <a:pt x="91" y="97"/>
                </a:cubicBezTo>
                <a:cubicBezTo>
                  <a:pt x="91" y="95"/>
                  <a:pt x="89" y="89"/>
                  <a:pt x="87" y="87"/>
                </a:cubicBezTo>
                <a:cubicBezTo>
                  <a:pt x="86" y="84"/>
                  <a:pt x="74" y="72"/>
                  <a:pt x="71" y="70"/>
                </a:cubicBezTo>
                <a:cubicBezTo>
                  <a:pt x="68" y="68"/>
                  <a:pt x="61" y="62"/>
                  <a:pt x="59" y="61"/>
                </a:cubicBezTo>
                <a:cubicBezTo>
                  <a:pt x="57" y="61"/>
                  <a:pt x="61" y="57"/>
                  <a:pt x="59" y="54"/>
                </a:cubicBezTo>
                <a:cubicBezTo>
                  <a:pt x="59" y="52"/>
                  <a:pt x="54" y="49"/>
                  <a:pt x="53" y="49"/>
                </a:cubicBezTo>
                <a:cubicBezTo>
                  <a:pt x="51" y="48"/>
                  <a:pt x="51" y="44"/>
                  <a:pt x="51" y="43"/>
                </a:cubicBezTo>
                <a:cubicBezTo>
                  <a:pt x="51" y="41"/>
                  <a:pt x="46" y="41"/>
                  <a:pt x="45" y="40"/>
                </a:cubicBezTo>
                <a:cubicBezTo>
                  <a:pt x="43" y="39"/>
                  <a:pt x="36" y="29"/>
                  <a:pt x="35" y="27"/>
                </a:cubicBezTo>
                <a:cubicBezTo>
                  <a:pt x="34" y="26"/>
                  <a:pt x="32" y="16"/>
                  <a:pt x="31" y="15"/>
                </a:cubicBezTo>
                <a:cubicBezTo>
                  <a:pt x="30" y="15"/>
                  <a:pt x="19" y="10"/>
                  <a:pt x="18" y="10"/>
                </a:cubicBezTo>
                <a:cubicBezTo>
                  <a:pt x="17" y="10"/>
                  <a:pt x="18" y="14"/>
                  <a:pt x="18" y="16"/>
                </a:cubicBezTo>
                <a:cubicBezTo>
                  <a:pt x="18" y="17"/>
                  <a:pt x="19" y="22"/>
                  <a:pt x="20" y="24"/>
                </a:cubicBezTo>
                <a:cubicBezTo>
                  <a:pt x="21" y="26"/>
                  <a:pt x="23" y="27"/>
                  <a:pt x="25" y="29"/>
                </a:cubicBezTo>
                <a:cubicBezTo>
                  <a:pt x="27" y="31"/>
                  <a:pt x="30" y="35"/>
                  <a:pt x="31" y="36"/>
                </a:cubicBezTo>
                <a:cubicBezTo>
                  <a:pt x="32" y="38"/>
                  <a:pt x="36" y="45"/>
                  <a:pt x="38" y="47"/>
                </a:cubicBezTo>
                <a:cubicBezTo>
                  <a:pt x="40" y="49"/>
                  <a:pt x="41" y="51"/>
                  <a:pt x="43" y="54"/>
                </a:cubicBezTo>
                <a:cubicBezTo>
                  <a:pt x="44" y="56"/>
                  <a:pt x="45" y="60"/>
                  <a:pt x="47" y="62"/>
                </a:cubicBezTo>
                <a:cubicBezTo>
                  <a:pt x="48" y="65"/>
                  <a:pt x="49" y="67"/>
                  <a:pt x="50" y="69"/>
                </a:cubicBezTo>
                <a:cubicBezTo>
                  <a:pt x="51" y="72"/>
                  <a:pt x="54" y="71"/>
                  <a:pt x="55" y="73"/>
                </a:cubicBezTo>
                <a:cubicBezTo>
                  <a:pt x="56" y="76"/>
                  <a:pt x="60" y="77"/>
                  <a:pt x="60" y="80"/>
                </a:cubicBezTo>
                <a:cubicBezTo>
                  <a:pt x="59" y="82"/>
                  <a:pt x="55" y="85"/>
                  <a:pt x="54" y="85"/>
                </a:cubicBezTo>
                <a:cubicBezTo>
                  <a:pt x="52" y="84"/>
                  <a:pt x="52" y="80"/>
                  <a:pt x="51" y="79"/>
                </a:cubicBezTo>
                <a:cubicBezTo>
                  <a:pt x="51" y="78"/>
                  <a:pt x="47" y="76"/>
                  <a:pt x="47" y="75"/>
                </a:cubicBezTo>
                <a:cubicBezTo>
                  <a:pt x="46" y="74"/>
                  <a:pt x="39" y="72"/>
                  <a:pt x="38" y="71"/>
                </a:cubicBezTo>
                <a:cubicBezTo>
                  <a:pt x="37" y="69"/>
                  <a:pt x="39" y="63"/>
                  <a:pt x="38" y="60"/>
                </a:cubicBezTo>
                <a:cubicBezTo>
                  <a:pt x="37" y="57"/>
                  <a:pt x="33" y="57"/>
                  <a:pt x="31" y="54"/>
                </a:cubicBezTo>
                <a:cubicBezTo>
                  <a:pt x="29" y="52"/>
                  <a:pt x="26" y="52"/>
                  <a:pt x="22" y="51"/>
                </a:cubicBezTo>
                <a:cubicBezTo>
                  <a:pt x="19" y="49"/>
                  <a:pt x="14" y="43"/>
                  <a:pt x="15" y="43"/>
                </a:cubicBezTo>
                <a:cubicBezTo>
                  <a:pt x="16" y="43"/>
                  <a:pt x="20" y="43"/>
                  <a:pt x="21" y="43"/>
                </a:cubicBezTo>
                <a:cubicBezTo>
                  <a:pt x="23" y="43"/>
                  <a:pt x="24" y="40"/>
                  <a:pt x="23" y="37"/>
                </a:cubicBezTo>
                <a:cubicBezTo>
                  <a:pt x="23" y="35"/>
                  <a:pt x="13" y="29"/>
                  <a:pt x="11" y="27"/>
                </a:cubicBezTo>
                <a:cubicBezTo>
                  <a:pt x="9" y="25"/>
                  <a:pt x="6" y="16"/>
                  <a:pt x="4" y="12"/>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2" name="Freeform 118"/>
          <p:cNvSpPr>
            <a:spLocks/>
          </p:cNvSpPr>
          <p:nvPr>
            <p:custDataLst>
              <p:tags r:id="rId68"/>
            </p:custDataLst>
          </p:nvPr>
        </p:nvSpPr>
        <p:spPr bwMode="auto">
          <a:xfrm>
            <a:off x="4304782" y="3604611"/>
            <a:ext cx="45659" cy="22829"/>
          </a:xfrm>
          <a:custGeom>
            <a:avLst/>
            <a:gdLst>
              <a:gd name="T0" fmla="*/ 7739 w 16"/>
              <a:gd name="T1" fmla="*/ 20638 h 7"/>
              <a:gd name="T2" fmla="*/ 5159 w 16"/>
              <a:gd name="T3" fmla="*/ 2948 h 7"/>
              <a:gd name="T4" fmla="*/ 23217 w 16"/>
              <a:gd name="T5" fmla="*/ 0 h 7"/>
              <a:gd name="T6" fmla="*/ 41275 w 16"/>
              <a:gd name="T7" fmla="*/ 5897 h 7"/>
              <a:gd name="T8" fmla="*/ 28377 w 16"/>
              <a:gd name="T9" fmla="*/ 20638 h 7"/>
              <a:gd name="T10" fmla="*/ 7739 w 16"/>
              <a:gd name="T11" fmla="*/ 20638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7">
                <a:moveTo>
                  <a:pt x="3" y="7"/>
                </a:moveTo>
                <a:cubicBezTo>
                  <a:pt x="2" y="6"/>
                  <a:pt x="0" y="3"/>
                  <a:pt x="2" y="1"/>
                </a:cubicBezTo>
                <a:cubicBezTo>
                  <a:pt x="3" y="0"/>
                  <a:pt x="6" y="0"/>
                  <a:pt x="9" y="0"/>
                </a:cubicBezTo>
                <a:cubicBezTo>
                  <a:pt x="9" y="0"/>
                  <a:pt x="16" y="1"/>
                  <a:pt x="16" y="2"/>
                </a:cubicBezTo>
                <a:cubicBezTo>
                  <a:pt x="15" y="4"/>
                  <a:pt x="13" y="7"/>
                  <a:pt x="11" y="7"/>
                </a:cubicBezTo>
                <a:cubicBezTo>
                  <a:pt x="11" y="7"/>
                  <a:pt x="3" y="7"/>
                  <a:pt x="3" y="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3" name="Freeform 121"/>
          <p:cNvSpPr>
            <a:spLocks/>
          </p:cNvSpPr>
          <p:nvPr>
            <p:custDataLst>
              <p:tags r:id="rId69"/>
            </p:custDataLst>
          </p:nvPr>
        </p:nvSpPr>
        <p:spPr bwMode="auto">
          <a:xfrm>
            <a:off x="4204684" y="3569489"/>
            <a:ext cx="79024" cy="61463"/>
          </a:xfrm>
          <a:custGeom>
            <a:avLst/>
            <a:gdLst>
              <a:gd name="T0" fmla="*/ 19233 w 26"/>
              <a:gd name="T1" fmla="*/ 40941 h 19"/>
              <a:gd name="T2" fmla="*/ 2748 w 26"/>
              <a:gd name="T3" fmla="*/ 55563 h 19"/>
              <a:gd name="T4" fmla="*/ 0 w 26"/>
              <a:gd name="T5" fmla="*/ 55563 h 19"/>
              <a:gd name="T6" fmla="*/ 2748 w 26"/>
              <a:gd name="T7" fmla="*/ 5849 h 19"/>
              <a:gd name="T8" fmla="*/ 21981 w 26"/>
              <a:gd name="T9" fmla="*/ 0 h 19"/>
              <a:gd name="T10" fmla="*/ 38467 w 26"/>
              <a:gd name="T11" fmla="*/ 8773 h 19"/>
              <a:gd name="T12" fmla="*/ 49457 w 26"/>
              <a:gd name="T13" fmla="*/ 17546 h 19"/>
              <a:gd name="T14" fmla="*/ 71438 w 26"/>
              <a:gd name="T15" fmla="*/ 29244 h 19"/>
              <a:gd name="T16" fmla="*/ 63195 w 26"/>
              <a:gd name="T17" fmla="*/ 43866 h 19"/>
              <a:gd name="T18" fmla="*/ 43962 w 26"/>
              <a:gd name="T19" fmla="*/ 38017 h 19"/>
              <a:gd name="T20" fmla="*/ 19233 w 26"/>
              <a:gd name="T21" fmla="*/ 4094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9">
                <a:moveTo>
                  <a:pt x="7" y="14"/>
                </a:moveTo>
                <a:cubicBezTo>
                  <a:pt x="5" y="15"/>
                  <a:pt x="3" y="19"/>
                  <a:pt x="1" y="19"/>
                </a:cubicBezTo>
                <a:cubicBezTo>
                  <a:pt x="1" y="19"/>
                  <a:pt x="0" y="19"/>
                  <a:pt x="0" y="19"/>
                </a:cubicBezTo>
                <a:cubicBezTo>
                  <a:pt x="1" y="2"/>
                  <a:pt x="1" y="2"/>
                  <a:pt x="1" y="2"/>
                </a:cubicBezTo>
                <a:cubicBezTo>
                  <a:pt x="3" y="2"/>
                  <a:pt x="6" y="0"/>
                  <a:pt x="8" y="0"/>
                </a:cubicBezTo>
                <a:cubicBezTo>
                  <a:pt x="10" y="0"/>
                  <a:pt x="14" y="2"/>
                  <a:pt x="14" y="3"/>
                </a:cubicBezTo>
                <a:cubicBezTo>
                  <a:pt x="15" y="3"/>
                  <a:pt x="16" y="6"/>
                  <a:pt x="18" y="6"/>
                </a:cubicBezTo>
                <a:cubicBezTo>
                  <a:pt x="19" y="6"/>
                  <a:pt x="26" y="9"/>
                  <a:pt x="26" y="10"/>
                </a:cubicBezTo>
                <a:cubicBezTo>
                  <a:pt x="26" y="11"/>
                  <a:pt x="24" y="14"/>
                  <a:pt x="23" y="15"/>
                </a:cubicBezTo>
                <a:cubicBezTo>
                  <a:pt x="22" y="15"/>
                  <a:pt x="18" y="13"/>
                  <a:pt x="16" y="13"/>
                </a:cubicBezTo>
                <a:cubicBezTo>
                  <a:pt x="13" y="13"/>
                  <a:pt x="9" y="14"/>
                  <a:pt x="7" y="1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4" name="Freeform 122"/>
          <p:cNvSpPr>
            <a:spLocks/>
          </p:cNvSpPr>
          <p:nvPr>
            <p:custDataLst>
              <p:tags r:id="rId70"/>
            </p:custDataLst>
          </p:nvPr>
        </p:nvSpPr>
        <p:spPr bwMode="auto">
          <a:xfrm>
            <a:off x="4143221" y="3567732"/>
            <a:ext cx="63219" cy="63220"/>
          </a:xfrm>
          <a:custGeom>
            <a:avLst/>
            <a:gdLst>
              <a:gd name="T0" fmla="*/ 57150 w 21"/>
              <a:gd name="T1" fmla="*/ 8573 h 20"/>
              <a:gd name="T2" fmla="*/ 54429 w 21"/>
              <a:gd name="T3" fmla="*/ 57150 h 20"/>
              <a:gd name="T4" fmla="*/ 40821 w 21"/>
              <a:gd name="T5" fmla="*/ 51435 h 20"/>
              <a:gd name="T6" fmla="*/ 16329 w 21"/>
              <a:gd name="T7" fmla="*/ 51435 h 20"/>
              <a:gd name="T8" fmla="*/ 0 w 21"/>
              <a:gd name="T9" fmla="*/ 37148 h 20"/>
              <a:gd name="T10" fmla="*/ 32657 w 21"/>
              <a:gd name="T11" fmla="*/ 34290 h 20"/>
              <a:gd name="T12" fmla="*/ 27214 w 21"/>
              <a:gd name="T13" fmla="*/ 17145 h 20"/>
              <a:gd name="T14" fmla="*/ 16329 w 21"/>
              <a:gd name="T15" fmla="*/ 5715 h 20"/>
              <a:gd name="T16" fmla="*/ 35379 w 21"/>
              <a:gd name="T17" fmla="*/ 0 h 20"/>
              <a:gd name="T18" fmla="*/ 54429 w 21"/>
              <a:gd name="T19" fmla="*/ 8573 h 20"/>
              <a:gd name="T20" fmla="*/ 57150 w 21"/>
              <a:gd name="T21" fmla="*/ 8573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20">
                <a:moveTo>
                  <a:pt x="21" y="3"/>
                </a:moveTo>
                <a:cubicBezTo>
                  <a:pt x="21" y="3"/>
                  <a:pt x="20" y="20"/>
                  <a:pt x="20" y="20"/>
                </a:cubicBezTo>
                <a:cubicBezTo>
                  <a:pt x="20" y="20"/>
                  <a:pt x="17" y="18"/>
                  <a:pt x="15" y="18"/>
                </a:cubicBezTo>
                <a:cubicBezTo>
                  <a:pt x="14" y="18"/>
                  <a:pt x="8" y="18"/>
                  <a:pt x="6" y="18"/>
                </a:cubicBezTo>
                <a:cubicBezTo>
                  <a:pt x="3" y="18"/>
                  <a:pt x="0" y="15"/>
                  <a:pt x="0" y="13"/>
                </a:cubicBezTo>
                <a:cubicBezTo>
                  <a:pt x="0" y="11"/>
                  <a:pt x="12" y="14"/>
                  <a:pt x="12" y="12"/>
                </a:cubicBezTo>
                <a:cubicBezTo>
                  <a:pt x="12" y="10"/>
                  <a:pt x="12" y="6"/>
                  <a:pt x="10" y="6"/>
                </a:cubicBezTo>
                <a:cubicBezTo>
                  <a:pt x="9" y="5"/>
                  <a:pt x="6" y="3"/>
                  <a:pt x="6" y="2"/>
                </a:cubicBezTo>
                <a:cubicBezTo>
                  <a:pt x="7" y="1"/>
                  <a:pt x="12" y="0"/>
                  <a:pt x="13" y="0"/>
                </a:cubicBezTo>
                <a:cubicBezTo>
                  <a:pt x="14" y="0"/>
                  <a:pt x="18" y="3"/>
                  <a:pt x="20" y="3"/>
                </a:cubicBezTo>
                <a:cubicBezTo>
                  <a:pt x="20" y="3"/>
                  <a:pt x="20" y="3"/>
                  <a:pt x="21" y="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5" name="Freeform 125"/>
          <p:cNvSpPr>
            <a:spLocks/>
          </p:cNvSpPr>
          <p:nvPr>
            <p:custDataLst>
              <p:tags r:id="rId71"/>
            </p:custDataLst>
          </p:nvPr>
        </p:nvSpPr>
        <p:spPr bwMode="auto">
          <a:xfrm>
            <a:off x="7688781" y="3831147"/>
            <a:ext cx="54439" cy="89561"/>
          </a:xfrm>
          <a:custGeom>
            <a:avLst/>
            <a:gdLst>
              <a:gd name="T0" fmla="*/ 46479 w 18"/>
              <a:gd name="T1" fmla="*/ 60722 h 28"/>
              <a:gd name="T2" fmla="*/ 19138 w 18"/>
              <a:gd name="T3" fmla="*/ 80963 h 28"/>
              <a:gd name="T4" fmla="*/ 5468 w 18"/>
              <a:gd name="T5" fmla="*/ 75180 h 28"/>
              <a:gd name="T6" fmla="*/ 2734 w 18"/>
              <a:gd name="T7" fmla="*/ 52048 h 28"/>
              <a:gd name="T8" fmla="*/ 8202 w 18"/>
              <a:gd name="T9" fmla="*/ 2892 h 28"/>
              <a:gd name="T10" fmla="*/ 27341 w 18"/>
              <a:gd name="T11" fmla="*/ 20241 h 28"/>
              <a:gd name="T12" fmla="*/ 46479 w 18"/>
              <a:gd name="T13" fmla="*/ 60722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28">
                <a:moveTo>
                  <a:pt x="17" y="21"/>
                </a:moveTo>
                <a:cubicBezTo>
                  <a:pt x="16" y="24"/>
                  <a:pt x="12" y="28"/>
                  <a:pt x="7" y="28"/>
                </a:cubicBezTo>
                <a:cubicBezTo>
                  <a:pt x="3" y="28"/>
                  <a:pt x="2" y="28"/>
                  <a:pt x="2" y="26"/>
                </a:cubicBezTo>
                <a:cubicBezTo>
                  <a:pt x="1" y="24"/>
                  <a:pt x="1" y="18"/>
                  <a:pt x="1" y="18"/>
                </a:cubicBezTo>
                <a:cubicBezTo>
                  <a:pt x="0" y="13"/>
                  <a:pt x="2" y="2"/>
                  <a:pt x="3" y="1"/>
                </a:cubicBezTo>
                <a:cubicBezTo>
                  <a:pt x="4" y="0"/>
                  <a:pt x="10" y="4"/>
                  <a:pt x="10" y="7"/>
                </a:cubicBezTo>
                <a:cubicBezTo>
                  <a:pt x="11" y="11"/>
                  <a:pt x="18" y="18"/>
                  <a:pt x="17" y="2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6" name="Freeform 126"/>
          <p:cNvSpPr>
            <a:spLocks/>
          </p:cNvSpPr>
          <p:nvPr>
            <p:custDataLst>
              <p:tags r:id="rId72"/>
            </p:custDataLst>
          </p:nvPr>
        </p:nvSpPr>
        <p:spPr bwMode="auto">
          <a:xfrm>
            <a:off x="7876682" y="3402660"/>
            <a:ext cx="110634" cy="133463"/>
          </a:xfrm>
          <a:custGeom>
            <a:avLst/>
            <a:gdLst>
              <a:gd name="T0" fmla="*/ 18921 w 37"/>
              <a:gd name="T1" fmla="*/ 28726 h 42"/>
              <a:gd name="T2" fmla="*/ 8109 w 37"/>
              <a:gd name="T3" fmla="*/ 14363 h 42"/>
              <a:gd name="T4" fmla="*/ 16218 w 37"/>
              <a:gd name="T5" fmla="*/ 2873 h 42"/>
              <a:gd name="T6" fmla="*/ 37843 w 37"/>
              <a:gd name="T7" fmla="*/ 11490 h 42"/>
              <a:gd name="T8" fmla="*/ 40546 w 37"/>
              <a:gd name="T9" fmla="*/ 28726 h 42"/>
              <a:gd name="T10" fmla="*/ 91904 w 37"/>
              <a:gd name="T11" fmla="*/ 31599 h 42"/>
              <a:gd name="T12" fmla="*/ 81092 w 37"/>
              <a:gd name="T13" fmla="*/ 48835 h 42"/>
              <a:gd name="T14" fmla="*/ 70279 w 37"/>
              <a:gd name="T15" fmla="*/ 60325 h 42"/>
              <a:gd name="T16" fmla="*/ 83795 w 37"/>
              <a:gd name="T17" fmla="*/ 71815 h 42"/>
              <a:gd name="T18" fmla="*/ 91904 w 37"/>
              <a:gd name="T19" fmla="*/ 68943 h 42"/>
              <a:gd name="T20" fmla="*/ 97310 w 37"/>
              <a:gd name="T21" fmla="*/ 103414 h 42"/>
              <a:gd name="T22" fmla="*/ 100013 w 37"/>
              <a:gd name="T23" fmla="*/ 117777 h 42"/>
              <a:gd name="T24" fmla="*/ 86498 w 37"/>
              <a:gd name="T25" fmla="*/ 120650 h 42"/>
              <a:gd name="T26" fmla="*/ 83795 w 37"/>
              <a:gd name="T27" fmla="*/ 117777 h 42"/>
              <a:gd name="T28" fmla="*/ 75686 w 37"/>
              <a:gd name="T29" fmla="*/ 89051 h 42"/>
              <a:gd name="T30" fmla="*/ 56764 w 37"/>
              <a:gd name="T31" fmla="*/ 74688 h 42"/>
              <a:gd name="T32" fmla="*/ 51358 w 37"/>
              <a:gd name="T33" fmla="*/ 97669 h 42"/>
              <a:gd name="T34" fmla="*/ 29734 w 37"/>
              <a:gd name="T35" fmla="*/ 109160 h 42"/>
              <a:gd name="T36" fmla="*/ 21624 w 37"/>
              <a:gd name="T37" fmla="*/ 109160 h 42"/>
              <a:gd name="T38" fmla="*/ 21624 w 37"/>
              <a:gd name="T39" fmla="*/ 109160 h 42"/>
              <a:gd name="T40" fmla="*/ 21624 w 37"/>
              <a:gd name="T41" fmla="*/ 91924 h 42"/>
              <a:gd name="T42" fmla="*/ 16218 w 37"/>
              <a:gd name="T43" fmla="*/ 71815 h 42"/>
              <a:gd name="T44" fmla="*/ 13515 w 37"/>
              <a:gd name="T45" fmla="*/ 54580 h 42"/>
              <a:gd name="T46" fmla="*/ 0 w 37"/>
              <a:gd name="T47" fmla="*/ 43089 h 42"/>
              <a:gd name="T48" fmla="*/ 18921 w 37"/>
              <a:gd name="T49" fmla="*/ 28726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2">
                <a:moveTo>
                  <a:pt x="7" y="10"/>
                </a:moveTo>
                <a:cubicBezTo>
                  <a:pt x="7" y="9"/>
                  <a:pt x="2" y="6"/>
                  <a:pt x="3" y="5"/>
                </a:cubicBezTo>
                <a:cubicBezTo>
                  <a:pt x="3" y="5"/>
                  <a:pt x="5" y="1"/>
                  <a:pt x="6" y="1"/>
                </a:cubicBezTo>
                <a:cubicBezTo>
                  <a:pt x="7" y="0"/>
                  <a:pt x="14" y="3"/>
                  <a:pt x="14" y="4"/>
                </a:cubicBezTo>
                <a:cubicBezTo>
                  <a:pt x="15" y="4"/>
                  <a:pt x="14" y="10"/>
                  <a:pt x="15" y="10"/>
                </a:cubicBezTo>
                <a:cubicBezTo>
                  <a:pt x="17" y="10"/>
                  <a:pt x="33" y="10"/>
                  <a:pt x="34" y="11"/>
                </a:cubicBezTo>
                <a:cubicBezTo>
                  <a:pt x="35" y="12"/>
                  <a:pt x="31" y="17"/>
                  <a:pt x="30" y="17"/>
                </a:cubicBezTo>
                <a:cubicBezTo>
                  <a:pt x="29" y="18"/>
                  <a:pt x="25" y="20"/>
                  <a:pt x="26" y="21"/>
                </a:cubicBezTo>
                <a:cubicBezTo>
                  <a:pt x="27" y="23"/>
                  <a:pt x="29" y="25"/>
                  <a:pt x="31" y="25"/>
                </a:cubicBezTo>
                <a:cubicBezTo>
                  <a:pt x="32" y="25"/>
                  <a:pt x="33" y="24"/>
                  <a:pt x="34" y="24"/>
                </a:cubicBezTo>
                <a:cubicBezTo>
                  <a:pt x="34" y="24"/>
                  <a:pt x="35" y="31"/>
                  <a:pt x="36" y="36"/>
                </a:cubicBezTo>
                <a:cubicBezTo>
                  <a:pt x="36" y="38"/>
                  <a:pt x="37" y="41"/>
                  <a:pt x="37" y="41"/>
                </a:cubicBezTo>
                <a:cubicBezTo>
                  <a:pt x="32" y="42"/>
                  <a:pt x="32" y="42"/>
                  <a:pt x="32" y="42"/>
                </a:cubicBezTo>
                <a:cubicBezTo>
                  <a:pt x="31" y="42"/>
                  <a:pt x="31" y="41"/>
                  <a:pt x="31" y="41"/>
                </a:cubicBezTo>
                <a:cubicBezTo>
                  <a:pt x="31" y="39"/>
                  <a:pt x="30" y="32"/>
                  <a:pt x="28" y="31"/>
                </a:cubicBezTo>
                <a:cubicBezTo>
                  <a:pt x="26" y="30"/>
                  <a:pt x="21" y="27"/>
                  <a:pt x="21" y="26"/>
                </a:cubicBezTo>
                <a:cubicBezTo>
                  <a:pt x="20" y="24"/>
                  <a:pt x="20" y="32"/>
                  <a:pt x="19" y="34"/>
                </a:cubicBezTo>
                <a:cubicBezTo>
                  <a:pt x="18" y="36"/>
                  <a:pt x="13" y="38"/>
                  <a:pt x="11" y="38"/>
                </a:cubicBezTo>
                <a:cubicBezTo>
                  <a:pt x="10" y="38"/>
                  <a:pt x="9" y="38"/>
                  <a:pt x="8" y="38"/>
                </a:cubicBezTo>
                <a:cubicBezTo>
                  <a:pt x="8" y="38"/>
                  <a:pt x="8" y="38"/>
                  <a:pt x="8" y="38"/>
                </a:cubicBezTo>
                <a:cubicBezTo>
                  <a:pt x="8" y="32"/>
                  <a:pt x="8" y="32"/>
                  <a:pt x="8" y="32"/>
                </a:cubicBezTo>
                <a:cubicBezTo>
                  <a:pt x="8" y="30"/>
                  <a:pt x="7" y="26"/>
                  <a:pt x="6" y="25"/>
                </a:cubicBezTo>
                <a:cubicBezTo>
                  <a:pt x="5" y="23"/>
                  <a:pt x="5" y="21"/>
                  <a:pt x="5" y="19"/>
                </a:cubicBezTo>
                <a:cubicBezTo>
                  <a:pt x="5" y="17"/>
                  <a:pt x="0" y="16"/>
                  <a:pt x="0" y="15"/>
                </a:cubicBezTo>
                <a:cubicBezTo>
                  <a:pt x="0" y="13"/>
                  <a:pt x="7" y="11"/>
                  <a:pt x="7" y="1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7" name="Freeform 127"/>
          <p:cNvSpPr>
            <a:spLocks/>
          </p:cNvSpPr>
          <p:nvPr>
            <p:custDataLst>
              <p:tags r:id="rId73"/>
            </p:custDataLst>
          </p:nvPr>
        </p:nvSpPr>
        <p:spPr bwMode="auto">
          <a:xfrm>
            <a:off x="7901267" y="3351732"/>
            <a:ext cx="72000" cy="40390"/>
          </a:xfrm>
          <a:custGeom>
            <a:avLst/>
            <a:gdLst>
              <a:gd name="T0" fmla="*/ 10848 w 24"/>
              <a:gd name="T1" fmla="*/ 33704 h 13"/>
              <a:gd name="T2" fmla="*/ 2712 w 24"/>
              <a:gd name="T3" fmla="*/ 28087 h 13"/>
              <a:gd name="T4" fmla="*/ 0 w 24"/>
              <a:gd name="T5" fmla="*/ 19661 h 13"/>
              <a:gd name="T6" fmla="*/ 8136 w 24"/>
              <a:gd name="T7" fmla="*/ 8426 h 13"/>
              <a:gd name="T8" fmla="*/ 27120 w 24"/>
              <a:gd name="T9" fmla="*/ 0 h 13"/>
              <a:gd name="T10" fmla="*/ 51528 w 24"/>
              <a:gd name="T11" fmla="*/ 2809 h 13"/>
              <a:gd name="T12" fmla="*/ 59664 w 24"/>
              <a:gd name="T13" fmla="*/ 14043 h 13"/>
              <a:gd name="T14" fmla="*/ 65088 w 24"/>
              <a:gd name="T15" fmla="*/ 11235 h 13"/>
              <a:gd name="T16" fmla="*/ 62376 w 24"/>
              <a:gd name="T17" fmla="*/ 28087 h 13"/>
              <a:gd name="T18" fmla="*/ 62376 w 24"/>
              <a:gd name="T19" fmla="*/ 36513 h 13"/>
              <a:gd name="T20" fmla="*/ 46104 w 24"/>
              <a:gd name="T21" fmla="*/ 36513 h 13"/>
              <a:gd name="T22" fmla="*/ 10848 w 24"/>
              <a:gd name="T23" fmla="*/ 33704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13">
                <a:moveTo>
                  <a:pt x="4" y="12"/>
                </a:moveTo>
                <a:cubicBezTo>
                  <a:pt x="2" y="12"/>
                  <a:pt x="1" y="10"/>
                  <a:pt x="1" y="10"/>
                </a:cubicBezTo>
                <a:cubicBezTo>
                  <a:pt x="0" y="7"/>
                  <a:pt x="0" y="7"/>
                  <a:pt x="0" y="7"/>
                </a:cubicBezTo>
                <a:cubicBezTo>
                  <a:pt x="2" y="8"/>
                  <a:pt x="2" y="4"/>
                  <a:pt x="3" y="3"/>
                </a:cubicBezTo>
                <a:cubicBezTo>
                  <a:pt x="4" y="1"/>
                  <a:pt x="8" y="0"/>
                  <a:pt x="10" y="0"/>
                </a:cubicBezTo>
                <a:cubicBezTo>
                  <a:pt x="12" y="0"/>
                  <a:pt x="17" y="1"/>
                  <a:pt x="19" y="1"/>
                </a:cubicBezTo>
                <a:cubicBezTo>
                  <a:pt x="20" y="1"/>
                  <a:pt x="20" y="4"/>
                  <a:pt x="22" y="5"/>
                </a:cubicBezTo>
                <a:cubicBezTo>
                  <a:pt x="22" y="5"/>
                  <a:pt x="23" y="4"/>
                  <a:pt x="24" y="4"/>
                </a:cubicBezTo>
                <a:cubicBezTo>
                  <a:pt x="23" y="10"/>
                  <a:pt x="23" y="10"/>
                  <a:pt x="23" y="10"/>
                </a:cubicBezTo>
                <a:cubicBezTo>
                  <a:pt x="23" y="10"/>
                  <a:pt x="24" y="13"/>
                  <a:pt x="23" y="13"/>
                </a:cubicBezTo>
                <a:cubicBezTo>
                  <a:pt x="22" y="13"/>
                  <a:pt x="19" y="13"/>
                  <a:pt x="17" y="13"/>
                </a:cubicBezTo>
                <a:cubicBezTo>
                  <a:pt x="15" y="13"/>
                  <a:pt x="6" y="12"/>
                  <a:pt x="4" y="12"/>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8" name="Freeform 128"/>
          <p:cNvSpPr>
            <a:spLocks/>
          </p:cNvSpPr>
          <p:nvPr>
            <p:custDataLst>
              <p:tags r:id="rId74"/>
            </p:custDataLst>
          </p:nvPr>
        </p:nvSpPr>
        <p:spPr bwMode="auto">
          <a:xfrm>
            <a:off x="7695804" y="3293780"/>
            <a:ext cx="184390" cy="105366"/>
          </a:xfrm>
          <a:custGeom>
            <a:avLst/>
            <a:gdLst>
              <a:gd name="T0" fmla="*/ 40989 w 61"/>
              <a:gd name="T1" fmla="*/ 63500 h 33"/>
              <a:gd name="T2" fmla="*/ 5465 w 61"/>
              <a:gd name="T3" fmla="*/ 46182 h 33"/>
              <a:gd name="T4" fmla="*/ 0 w 61"/>
              <a:gd name="T5" fmla="*/ 37523 h 33"/>
              <a:gd name="T6" fmla="*/ 5465 w 61"/>
              <a:gd name="T7" fmla="*/ 20205 h 33"/>
              <a:gd name="T8" fmla="*/ 16396 w 61"/>
              <a:gd name="T9" fmla="*/ 5773 h 33"/>
              <a:gd name="T10" fmla="*/ 19128 w 61"/>
              <a:gd name="T11" fmla="*/ 8659 h 33"/>
              <a:gd name="T12" fmla="*/ 27326 w 61"/>
              <a:gd name="T13" fmla="*/ 0 h 33"/>
              <a:gd name="T14" fmla="*/ 40989 w 61"/>
              <a:gd name="T15" fmla="*/ 0 h 33"/>
              <a:gd name="T16" fmla="*/ 54652 w 61"/>
              <a:gd name="T17" fmla="*/ 14432 h 33"/>
              <a:gd name="T18" fmla="*/ 68315 w 61"/>
              <a:gd name="T19" fmla="*/ 25977 h 33"/>
              <a:gd name="T20" fmla="*/ 84710 w 61"/>
              <a:gd name="T21" fmla="*/ 28864 h 33"/>
              <a:gd name="T22" fmla="*/ 98373 w 61"/>
              <a:gd name="T23" fmla="*/ 46182 h 33"/>
              <a:gd name="T24" fmla="*/ 128432 w 61"/>
              <a:gd name="T25" fmla="*/ 57727 h 33"/>
              <a:gd name="T26" fmla="*/ 163955 w 61"/>
              <a:gd name="T27" fmla="*/ 63500 h 33"/>
              <a:gd name="T28" fmla="*/ 161223 w 61"/>
              <a:gd name="T29" fmla="*/ 95250 h 33"/>
              <a:gd name="T30" fmla="*/ 131164 w 61"/>
              <a:gd name="T31" fmla="*/ 92364 h 33"/>
              <a:gd name="T32" fmla="*/ 101106 w 61"/>
              <a:gd name="T33" fmla="*/ 86591 h 33"/>
              <a:gd name="T34" fmla="*/ 92908 w 61"/>
              <a:gd name="T35" fmla="*/ 72159 h 33"/>
              <a:gd name="T36" fmla="*/ 68315 w 61"/>
              <a:gd name="T37" fmla="*/ 72159 h 33"/>
              <a:gd name="T38" fmla="*/ 40989 w 61"/>
              <a:gd name="T39" fmla="*/ 63500 h 3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1" h="33">
                <a:moveTo>
                  <a:pt x="15" y="22"/>
                </a:moveTo>
                <a:cubicBezTo>
                  <a:pt x="13" y="21"/>
                  <a:pt x="3" y="17"/>
                  <a:pt x="2" y="16"/>
                </a:cubicBezTo>
                <a:cubicBezTo>
                  <a:pt x="1" y="16"/>
                  <a:pt x="0" y="14"/>
                  <a:pt x="0" y="13"/>
                </a:cubicBezTo>
                <a:cubicBezTo>
                  <a:pt x="0" y="12"/>
                  <a:pt x="2" y="7"/>
                  <a:pt x="2" y="7"/>
                </a:cubicBezTo>
                <a:cubicBezTo>
                  <a:pt x="6" y="2"/>
                  <a:pt x="6" y="2"/>
                  <a:pt x="6" y="2"/>
                </a:cubicBezTo>
                <a:cubicBezTo>
                  <a:pt x="7" y="2"/>
                  <a:pt x="7" y="3"/>
                  <a:pt x="7" y="3"/>
                </a:cubicBezTo>
                <a:cubicBezTo>
                  <a:pt x="10" y="0"/>
                  <a:pt x="10" y="0"/>
                  <a:pt x="10" y="0"/>
                </a:cubicBezTo>
                <a:cubicBezTo>
                  <a:pt x="15" y="0"/>
                  <a:pt x="15" y="0"/>
                  <a:pt x="15" y="0"/>
                </a:cubicBezTo>
                <a:cubicBezTo>
                  <a:pt x="15" y="0"/>
                  <a:pt x="18" y="4"/>
                  <a:pt x="20" y="5"/>
                </a:cubicBezTo>
                <a:cubicBezTo>
                  <a:pt x="22" y="6"/>
                  <a:pt x="25" y="9"/>
                  <a:pt x="25" y="9"/>
                </a:cubicBezTo>
                <a:cubicBezTo>
                  <a:pt x="31" y="10"/>
                  <a:pt x="31" y="10"/>
                  <a:pt x="31" y="10"/>
                </a:cubicBezTo>
                <a:cubicBezTo>
                  <a:pt x="31" y="10"/>
                  <a:pt x="33" y="14"/>
                  <a:pt x="36" y="16"/>
                </a:cubicBezTo>
                <a:cubicBezTo>
                  <a:pt x="39" y="18"/>
                  <a:pt x="44" y="19"/>
                  <a:pt x="47" y="20"/>
                </a:cubicBezTo>
                <a:cubicBezTo>
                  <a:pt x="51" y="21"/>
                  <a:pt x="55" y="22"/>
                  <a:pt x="60" y="22"/>
                </a:cubicBezTo>
                <a:cubicBezTo>
                  <a:pt x="60" y="22"/>
                  <a:pt x="61" y="33"/>
                  <a:pt x="59" y="33"/>
                </a:cubicBezTo>
                <a:cubicBezTo>
                  <a:pt x="56" y="33"/>
                  <a:pt x="49" y="33"/>
                  <a:pt x="48" y="32"/>
                </a:cubicBezTo>
                <a:cubicBezTo>
                  <a:pt x="46" y="32"/>
                  <a:pt x="38" y="31"/>
                  <a:pt x="37" y="30"/>
                </a:cubicBezTo>
                <a:cubicBezTo>
                  <a:pt x="36" y="28"/>
                  <a:pt x="36" y="25"/>
                  <a:pt x="34" y="25"/>
                </a:cubicBezTo>
                <a:cubicBezTo>
                  <a:pt x="33" y="24"/>
                  <a:pt x="28" y="25"/>
                  <a:pt x="25" y="25"/>
                </a:cubicBezTo>
                <a:cubicBezTo>
                  <a:pt x="22" y="25"/>
                  <a:pt x="17" y="23"/>
                  <a:pt x="15" y="22"/>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9" name="Freeform 130"/>
          <p:cNvSpPr>
            <a:spLocks/>
          </p:cNvSpPr>
          <p:nvPr>
            <p:custDataLst>
              <p:tags r:id="rId75"/>
            </p:custDataLst>
          </p:nvPr>
        </p:nvSpPr>
        <p:spPr bwMode="auto">
          <a:xfrm>
            <a:off x="7427122" y="3153293"/>
            <a:ext cx="667317" cy="720000"/>
          </a:xfrm>
          <a:custGeom>
            <a:avLst/>
            <a:gdLst>
              <a:gd name="T0" fmla="*/ 13648 w 221"/>
              <a:gd name="T1" fmla="*/ 323978 h 223"/>
              <a:gd name="T2" fmla="*/ 13648 w 221"/>
              <a:gd name="T3" fmla="*/ 300628 h 223"/>
              <a:gd name="T4" fmla="*/ 10919 w 221"/>
              <a:gd name="T5" fmla="*/ 277279 h 223"/>
              <a:gd name="T6" fmla="*/ 46404 w 221"/>
              <a:gd name="T7" fmla="*/ 242254 h 223"/>
              <a:gd name="T8" fmla="*/ 43674 w 221"/>
              <a:gd name="T9" fmla="*/ 186798 h 223"/>
              <a:gd name="T10" fmla="*/ 73700 w 221"/>
              <a:gd name="T11" fmla="*/ 189717 h 223"/>
              <a:gd name="T12" fmla="*/ 125563 w 221"/>
              <a:gd name="T13" fmla="*/ 113830 h 223"/>
              <a:gd name="T14" fmla="*/ 147400 w 221"/>
              <a:gd name="T15" fmla="*/ 81724 h 223"/>
              <a:gd name="T16" fmla="*/ 117374 w 221"/>
              <a:gd name="T17" fmla="*/ 26268 h 223"/>
              <a:gd name="T18" fmla="*/ 188345 w 221"/>
              <a:gd name="T19" fmla="*/ 14594 h 223"/>
              <a:gd name="T20" fmla="*/ 191075 w 221"/>
              <a:gd name="T21" fmla="*/ 0 h 223"/>
              <a:gd name="T22" fmla="*/ 207452 w 221"/>
              <a:gd name="T23" fmla="*/ 26268 h 223"/>
              <a:gd name="T24" fmla="*/ 210182 w 221"/>
              <a:gd name="T25" fmla="*/ 26268 h 223"/>
              <a:gd name="T26" fmla="*/ 232019 w 221"/>
              <a:gd name="T27" fmla="*/ 70049 h 223"/>
              <a:gd name="T28" fmla="*/ 218371 w 221"/>
              <a:gd name="T29" fmla="*/ 102155 h 223"/>
              <a:gd name="T30" fmla="*/ 248397 w 221"/>
              <a:gd name="T31" fmla="*/ 145936 h 223"/>
              <a:gd name="T32" fmla="*/ 248397 w 221"/>
              <a:gd name="T33" fmla="*/ 172205 h 223"/>
              <a:gd name="T34" fmla="*/ 311179 w 221"/>
              <a:gd name="T35" fmla="*/ 198473 h 223"/>
              <a:gd name="T36" fmla="*/ 343934 w 221"/>
              <a:gd name="T37" fmla="*/ 213067 h 223"/>
              <a:gd name="T38" fmla="*/ 403986 w 221"/>
              <a:gd name="T39" fmla="*/ 221823 h 223"/>
              <a:gd name="T40" fmla="*/ 423094 w 221"/>
              <a:gd name="T41" fmla="*/ 180961 h 223"/>
              <a:gd name="T42" fmla="*/ 431283 w 221"/>
              <a:gd name="T43" fmla="*/ 207229 h 223"/>
              <a:gd name="T44" fmla="*/ 474957 w 221"/>
              <a:gd name="T45" fmla="*/ 215985 h 223"/>
              <a:gd name="T46" fmla="*/ 491335 w 221"/>
              <a:gd name="T47" fmla="*/ 207229 h 223"/>
              <a:gd name="T48" fmla="*/ 518631 w 221"/>
              <a:gd name="T49" fmla="*/ 178042 h 223"/>
              <a:gd name="T50" fmla="*/ 556846 w 221"/>
              <a:gd name="T51" fmla="*/ 157611 h 223"/>
              <a:gd name="T52" fmla="*/ 581413 w 221"/>
              <a:gd name="T53" fmla="*/ 178042 h 223"/>
              <a:gd name="T54" fmla="*/ 603250 w 221"/>
              <a:gd name="T55" fmla="*/ 192636 h 223"/>
              <a:gd name="T56" fmla="*/ 581413 w 221"/>
              <a:gd name="T57" fmla="*/ 204311 h 223"/>
              <a:gd name="T58" fmla="*/ 556846 w 221"/>
              <a:gd name="T59" fmla="*/ 239335 h 223"/>
              <a:gd name="T60" fmla="*/ 524090 w 221"/>
              <a:gd name="T61" fmla="*/ 283116 h 223"/>
              <a:gd name="T62" fmla="*/ 504983 w 221"/>
              <a:gd name="T63" fmla="*/ 329816 h 223"/>
              <a:gd name="T64" fmla="*/ 491335 w 221"/>
              <a:gd name="T65" fmla="*/ 297710 h 223"/>
              <a:gd name="T66" fmla="*/ 488605 w 221"/>
              <a:gd name="T67" fmla="*/ 274360 h 223"/>
              <a:gd name="T68" fmla="*/ 447661 w 221"/>
              <a:gd name="T69" fmla="*/ 253929 h 223"/>
              <a:gd name="T70" fmla="*/ 423094 w 221"/>
              <a:gd name="T71" fmla="*/ 227660 h 223"/>
              <a:gd name="T72" fmla="*/ 425824 w 221"/>
              <a:gd name="T73" fmla="*/ 253929 h 223"/>
              <a:gd name="T74" fmla="*/ 420364 w 221"/>
              <a:gd name="T75" fmla="*/ 280197 h 223"/>
              <a:gd name="T76" fmla="*/ 428553 w 221"/>
              <a:gd name="T77" fmla="*/ 318141 h 223"/>
              <a:gd name="T78" fmla="*/ 428553 w 221"/>
              <a:gd name="T79" fmla="*/ 335653 h 223"/>
              <a:gd name="T80" fmla="*/ 382149 w 221"/>
              <a:gd name="T81" fmla="*/ 347328 h 223"/>
              <a:gd name="T82" fmla="*/ 354853 w 221"/>
              <a:gd name="T83" fmla="*/ 388190 h 223"/>
              <a:gd name="T84" fmla="*/ 294801 w 221"/>
              <a:gd name="T85" fmla="*/ 443646 h 223"/>
              <a:gd name="T86" fmla="*/ 245667 w 221"/>
              <a:gd name="T87" fmla="*/ 478670 h 223"/>
              <a:gd name="T88" fmla="*/ 237479 w 221"/>
              <a:gd name="T89" fmla="*/ 566232 h 223"/>
              <a:gd name="T90" fmla="*/ 226560 w 221"/>
              <a:gd name="T91" fmla="*/ 604175 h 223"/>
              <a:gd name="T92" fmla="*/ 204723 w 221"/>
              <a:gd name="T93" fmla="*/ 630444 h 223"/>
              <a:gd name="T94" fmla="*/ 177426 w 221"/>
              <a:gd name="T95" fmla="*/ 636281 h 223"/>
              <a:gd name="T96" fmla="*/ 133752 w 221"/>
              <a:gd name="T97" fmla="*/ 531207 h 223"/>
              <a:gd name="T98" fmla="*/ 98267 w 221"/>
              <a:gd name="T99" fmla="*/ 429052 h 223"/>
              <a:gd name="T100" fmla="*/ 84619 w 221"/>
              <a:gd name="T101" fmla="*/ 323978 h 223"/>
              <a:gd name="T102" fmla="*/ 49133 w 221"/>
              <a:gd name="T103" fmla="*/ 359003 h 22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21" h="223">
                <a:moveTo>
                  <a:pt x="18" y="123"/>
                </a:moveTo>
                <a:cubicBezTo>
                  <a:pt x="16" y="121"/>
                  <a:pt x="5" y="113"/>
                  <a:pt x="5" y="111"/>
                </a:cubicBezTo>
                <a:cubicBezTo>
                  <a:pt x="5" y="109"/>
                  <a:pt x="15" y="108"/>
                  <a:pt x="15" y="107"/>
                </a:cubicBezTo>
                <a:cubicBezTo>
                  <a:pt x="15" y="105"/>
                  <a:pt x="7" y="104"/>
                  <a:pt x="5" y="103"/>
                </a:cubicBezTo>
                <a:cubicBezTo>
                  <a:pt x="3" y="102"/>
                  <a:pt x="3" y="102"/>
                  <a:pt x="0" y="100"/>
                </a:cubicBezTo>
                <a:cubicBezTo>
                  <a:pt x="4" y="95"/>
                  <a:pt x="4" y="95"/>
                  <a:pt x="4" y="95"/>
                </a:cubicBezTo>
                <a:cubicBezTo>
                  <a:pt x="5" y="94"/>
                  <a:pt x="17" y="95"/>
                  <a:pt x="19" y="94"/>
                </a:cubicBezTo>
                <a:cubicBezTo>
                  <a:pt x="21" y="93"/>
                  <a:pt x="19" y="86"/>
                  <a:pt x="17" y="83"/>
                </a:cubicBezTo>
                <a:cubicBezTo>
                  <a:pt x="15" y="81"/>
                  <a:pt x="7" y="75"/>
                  <a:pt x="8" y="73"/>
                </a:cubicBezTo>
                <a:cubicBezTo>
                  <a:pt x="9" y="71"/>
                  <a:pt x="15" y="64"/>
                  <a:pt x="16" y="64"/>
                </a:cubicBezTo>
                <a:cubicBezTo>
                  <a:pt x="18" y="64"/>
                  <a:pt x="19" y="67"/>
                  <a:pt x="21" y="67"/>
                </a:cubicBezTo>
                <a:cubicBezTo>
                  <a:pt x="22" y="67"/>
                  <a:pt x="26" y="65"/>
                  <a:pt x="27" y="65"/>
                </a:cubicBezTo>
                <a:cubicBezTo>
                  <a:pt x="28" y="64"/>
                  <a:pt x="36" y="52"/>
                  <a:pt x="37" y="50"/>
                </a:cubicBezTo>
                <a:cubicBezTo>
                  <a:pt x="38" y="49"/>
                  <a:pt x="46" y="41"/>
                  <a:pt x="46" y="39"/>
                </a:cubicBezTo>
                <a:cubicBezTo>
                  <a:pt x="47" y="37"/>
                  <a:pt x="47" y="35"/>
                  <a:pt x="47" y="34"/>
                </a:cubicBezTo>
                <a:cubicBezTo>
                  <a:pt x="47" y="33"/>
                  <a:pt x="54" y="33"/>
                  <a:pt x="54" y="28"/>
                </a:cubicBezTo>
                <a:cubicBezTo>
                  <a:pt x="54" y="24"/>
                  <a:pt x="46" y="24"/>
                  <a:pt x="46" y="23"/>
                </a:cubicBezTo>
                <a:cubicBezTo>
                  <a:pt x="45" y="22"/>
                  <a:pt x="41" y="10"/>
                  <a:pt x="43" y="9"/>
                </a:cubicBezTo>
                <a:cubicBezTo>
                  <a:pt x="44" y="8"/>
                  <a:pt x="53" y="10"/>
                  <a:pt x="55" y="10"/>
                </a:cubicBezTo>
                <a:cubicBezTo>
                  <a:pt x="57" y="10"/>
                  <a:pt x="68" y="5"/>
                  <a:pt x="69" y="5"/>
                </a:cubicBezTo>
                <a:cubicBezTo>
                  <a:pt x="70" y="0"/>
                  <a:pt x="70" y="0"/>
                  <a:pt x="70" y="0"/>
                </a:cubicBezTo>
                <a:cubicBezTo>
                  <a:pt x="70" y="0"/>
                  <a:pt x="70" y="0"/>
                  <a:pt x="70" y="0"/>
                </a:cubicBezTo>
                <a:cubicBezTo>
                  <a:pt x="72" y="0"/>
                  <a:pt x="74" y="0"/>
                  <a:pt x="74" y="1"/>
                </a:cubicBezTo>
                <a:cubicBezTo>
                  <a:pt x="74" y="2"/>
                  <a:pt x="75" y="7"/>
                  <a:pt x="76" y="9"/>
                </a:cubicBezTo>
                <a:cubicBezTo>
                  <a:pt x="77" y="9"/>
                  <a:pt x="76" y="8"/>
                  <a:pt x="76" y="8"/>
                </a:cubicBezTo>
                <a:cubicBezTo>
                  <a:pt x="76" y="8"/>
                  <a:pt x="76" y="8"/>
                  <a:pt x="77" y="9"/>
                </a:cubicBezTo>
                <a:cubicBezTo>
                  <a:pt x="79" y="12"/>
                  <a:pt x="80" y="15"/>
                  <a:pt x="80" y="15"/>
                </a:cubicBezTo>
                <a:cubicBezTo>
                  <a:pt x="80" y="15"/>
                  <a:pt x="85" y="23"/>
                  <a:pt x="85" y="24"/>
                </a:cubicBezTo>
                <a:cubicBezTo>
                  <a:pt x="84" y="25"/>
                  <a:pt x="77" y="26"/>
                  <a:pt x="77" y="26"/>
                </a:cubicBezTo>
                <a:cubicBezTo>
                  <a:pt x="77" y="26"/>
                  <a:pt x="80" y="34"/>
                  <a:pt x="80" y="35"/>
                </a:cubicBezTo>
                <a:cubicBezTo>
                  <a:pt x="80" y="36"/>
                  <a:pt x="92" y="43"/>
                  <a:pt x="95" y="45"/>
                </a:cubicBezTo>
                <a:cubicBezTo>
                  <a:pt x="91" y="50"/>
                  <a:pt x="91" y="50"/>
                  <a:pt x="91" y="50"/>
                </a:cubicBezTo>
                <a:cubicBezTo>
                  <a:pt x="91" y="50"/>
                  <a:pt x="89" y="55"/>
                  <a:pt x="89" y="56"/>
                </a:cubicBezTo>
                <a:cubicBezTo>
                  <a:pt x="89" y="57"/>
                  <a:pt x="90" y="59"/>
                  <a:pt x="91" y="59"/>
                </a:cubicBezTo>
                <a:cubicBezTo>
                  <a:pt x="92" y="60"/>
                  <a:pt x="102" y="64"/>
                  <a:pt x="104" y="65"/>
                </a:cubicBezTo>
                <a:cubicBezTo>
                  <a:pt x="106" y="66"/>
                  <a:pt x="111" y="68"/>
                  <a:pt x="114" y="68"/>
                </a:cubicBezTo>
                <a:cubicBezTo>
                  <a:pt x="117" y="68"/>
                  <a:pt x="122" y="67"/>
                  <a:pt x="123" y="68"/>
                </a:cubicBezTo>
                <a:cubicBezTo>
                  <a:pt x="125" y="68"/>
                  <a:pt x="125" y="71"/>
                  <a:pt x="126" y="73"/>
                </a:cubicBezTo>
                <a:cubicBezTo>
                  <a:pt x="127" y="74"/>
                  <a:pt x="135" y="75"/>
                  <a:pt x="137" y="75"/>
                </a:cubicBezTo>
                <a:cubicBezTo>
                  <a:pt x="138" y="76"/>
                  <a:pt x="145" y="76"/>
                  <a:pt x="148" y="76"/>
                </a:cubicBezTo>
                <a:cubicBezTo>
                  <a:pt x="150" y="76"/>
                  <a:pt x="149" y="65"/>
                  <a:pt x="149" y="65"/>
                </a:cubicBezTo>
                <a:cubicBezTo>
                  <a:pt x="153" y="65"/>
                  <a:pt x="152" y="62"/>
                  <a:pt x="155" y="62"/>
                </a:cubicBezTo>
                <a:cubicBezTo>
                  <a:pt x="157" y="63"/>
                  <a:pt x="155" y="67"/>
                  <a:pt x="157" y="68"/>
                </a:cubicBezTo>
                <a:cubicBezTo>
                  <a:pt x="158" y="71"/>
                  <a:pt x="158" y="71"/>
                  <a:pt x="158" y="71"/>
                </a:cubicBezTo>
                <a:cubicBezTo>
                  <a:pt x="158" y="71"/>
                  <a:pt x="159" y="73"/>
                  <a:pt x="161" y="73"/>
                </a:cubicBezTo>
                <a:cubicBezTo>
                  <a:pt x="163" y="73"/>
                  <a:pt x="172" y="74"/>
                  <a:pt x="174" y="74"/>
                </a:cubicBezTo>
                <a:cubicBezTo>
                  <a:pt x="176" y="74"/>
                  <a:pt x="179" y="74"/>
                  <a:pt x="180" y="74"/>
                </a:cubicBezTo>
                <a:cubicBezTo>
                  <a:pt x="181" y="74"/>
                  <a:pt x="180" y="71"/>
                  <a:pt x="180" y="71"/>
                </a:cubicBezTo>
                <a:cubicBezTo>
                  <a:pt x="181" y="65"/>
                  <a:pt x="181" y="65"/>
                  <a:pt x="181" y="65"/>
                </a:cubicBezTo>
                <a:cubicBezTo>
                  <a:pt x="183" y="64"/>
                  <a:pt x="188" y="61"/>
                  <a:pt x="190" y="61"/>
                </a:cubicBezTo>
                <a:cubicBezTo>
                  <a:pt x="193" y="60"/>
                  <a:pt x="197" y="55"/>
                  <a:pt x="199" y="54"/>
                </a:cubicBezTo>
                <a:cubicBezTo>
                  <a:pt x="201" y="53"/>
                  <a:pt x="202" y="53"/>
                  <a:pt x="204" y="54"/>
                </a:cubicBezTo>
                <a:cubicBezTo>
                  <a:pt x="206" y="55"/>
                  <a:pt x="211" y="52"/>
                  <a:pt x="212" y="53"/>
                </a:cubicBezTo>
                <a:cubicBezTo>
                  <a:pt x="214" y="54"/>
                  <a:pt x="212" y="60"/>
                  <a:pt x="213" y="61"/>
                </a:cubicBezTo>
                <a:cubicBezTo>
                  <a:pt x="214" y="62"/>
                  <a:pt x="218" y="62"/>
                  <a:pt x="220" y="62"/>
                </a:cubicBezTo>
                <a:cubicBezTo>
                  <a:pt x="221" y="66"/>
                  <a:pt x="221" y="66"/>
                  <a:pt x="221" y="66"/>
                </a:cubicBezTo>
                <a:cubicBezTo>
                  <a:pt x="221" y="66"/>
                  <a:pt x="219" y="70"/>
                  <a:pt x="218" y="71"/>
                </a:cubicBezTo>
                <a:cubicBezTo>
                  <a:pt x="217" y="72"/>
                  <a:pt x="214" y="70"/>
                  <a:pt x="213" y="70"/>
                </a:cubicBezTo>
                <a:cubicBezTo>
                  <a:pt x="212" y="70"/>
                  <a:pt x="206" y="75"/>
                  <a:pt x="205" y="76"/>
                </a:cubicBezTo>
                <a:cubicBezTo>
                  <a:pt x="203" y="76"/>
                  <a:pt x="204" y="80"/>
                  <a:pt x="204" y="82"/>
                </a:cubicBezTo>
                <a:cubicBezTo>
                  <a:pt x="204" y="83"/>
                  <a:pt x="198" y="97"/>
                  <a:pt x="197" y="97"/>
                </a:cubicBezTo>
                <a:cubicBezTo>
                  <a:pt x="196" y="97"/>
                  <a:pt x="192" y="96"/>
                  <a:pt x="192" y="97"/>
                </a:cubicBezTo>
                <a:cubicBezTo>
                  <a:pt x="191" y="98"/>
                  <a:pt x="189" y="112"/>
                  <a:pt x="189" y="112"/>
                </a:cubicBezTo>
                <a:cubicBezTo>
                  <a:pt x="185" y="113"/>
                  <a:pt x="185" y="113"/>
                  <a:pt x="185" y="113"/>
                </a:cubicBezTo>
                <a:cubicBezTo>
                  <a:pt x="184" y="108"/>
                  <a:pt x="183" y="101"/>
                  <a:pt x="183" y="101"/>
                </a:cubicBezTo>
                <a:cubicBezTo>
                  <a:pt x="182" y="101"/>
                  <a:pt x="181" y="102"/>
                  <a:pt x="180" y="102"/>
                </a:cubicBezTo>
                <a:cubicBezTo>
                  <a:pt x="178" y="102"/>
                  <a:pt x="176" y="100"/>
                  <a:pt x="175" y="98"/>
                </a:cubicBezTo>
                <a:cubicBezTo>
                  <a:pt x="174" y="97"/>
                  <a:pt x="178" y="95"/>
                  <a:pt x="179" y="94"/>
                </a:cubicBezTo>
                <a:cubicBezTo>
                  <a:pt x="180" y="94"/>
                  <a:pt x="184" y="89"/>
                  <a:pt x="183" y="88"/>
                </a:cubicBezTo>
                <a:cubicBezTo>
                  <a:pt x="182" y="87"/>
                  <a:pt x="166" y="87"/>
                  <a:pt x="164" y="87"/>
                </a:cubicBezTo>
                <a:cubicBezTo>
                  <a:pt x="163" y="87"/>
                  <a:pt x="164" y="81"/>
                  <a:pt x="163" y="81"/>
                </a:cubicBezTo>
                <a:cubicBezTo>
                  <a:pt x="163" y="80"/>
                  <a:pt x="156" y="77"/>
                  <a:pt x="155" y="78"/>
                </a:cubicBezTo>
                <a:cubicBezTo>
                  <a:pt x="154" y="78"/>
                  <a:pt x="152" y="82"/>
                  <a:pt x="152" y="82"/>
                </a:cubicBezTo>
                <a:cubicBezTo>
                  <a:pt x="151" y="83"/>
                  <a:pt x="156" y="86"/>
                  <a:pt x="156" y="87"/>
                </a:cubicBezTo>
                <a:cubicBezTo>
                  <a:pt x="156" y="88"/>
                  <a:pt x="149" y="90"/>
                  <a:pt x="149" y="92"/>
                </a:cubicBezTo>
                <a:cubicBezTo>
                  <a:pt x="149" y="93"/>
                  <a:pt x="154" y="94"/>
                  <a:pt x="154" y="96"/>
                </a:cubicBezTo>
                <a:cubicBezTo>
                  <a:pt x="154" y="98"/>
                  <a:pt x="154" y="100"/>
                  <a:pt x="155" y="102"/>
                </a:cubicBezTo>
                <a:cubicBezTo>
                  <a:pt x="156" y="103"/>
                  <a:pt x="157" y="107"/>
                  <a:pt x="157" y="109"/>
                </a:cubicBezTo>
                <a:cubicBezTo>
                  <a:pt x="157" y="115"/>
                  <a:pt x="157" y="115"/>
                  <a:pt x="157" y="115"/>
                </a:cubicBezTo>
                <a:cubicBezTo>
                  <a:pt x="157" y="115"/>
                  <a:pt x="157" y="115"/>
                  <a:pt x="157" y="115"/>
                </a:cubicBezTo>
                <a:cubicBezTo>
                  <a:pt x="155" y="115"/>
                  <a:pt x="152" y="115"/>
                  <a:pt x="151" y="114"/>
                </a:cubicBezTo>
                <a:cubicBezTo>
                  <a:pt x="149" y="114"/>
                  <a:pt x="140" y="116"/>
                  <a:pt x="140" y="119"/>
                </a:cubicBezTo>
                <a:cubicBezTo>
                  <a:pt x="140" y="122"/>
                  <a:pt x="143" y="123"/>
                  <a:pt x="142" y="124"/>
                </a:cubicBezTo>
                <a:cubicBezTo>
                  <a:pt x="141" y="126"/>
                  <a:pt x="131" y="130"/>
                  <a:pt x="130" y="133"/>
                </a:cubicBezTo>
                <a:cubicBezTo>
                  <a:pt x="128" y="135"/>
                  <a:pt x="121" y="141"/>
                  <a:pt x="119" y="144"/>
                </a:cubicBezTo>
                <a:cubicBezTo>
                  <a:pt x="116" y="146"/>
                  <a:pt x="109" y="150"/>
                  <a:pt x="108" y="152"/>
                </a:cubicBezTo>
                <a:cubicBezTo>
                  <a:pt x="107" y="153"/>
                  <a:pt x="107" y="157"/>
                  <a:pt x="105" y="157"/>
                </a:cubicBezTo>
                <a:cubicBezTo>
                  <a:pt x="102" y="157"/>
                  <a:pt x="91" y="161"/>
                  <a:pt x="90" y="164"/>
                </a:cubicBezTo>
                <a:cubicBezTo>
                  <a:pt x="90" y="167"/>
                  <a:pt x="92" y="182"/>
                  <a:pt x="91" y="183"/>
                </a:cubicBezTo>
                <a:cubicBezTo>
                  <a:pt x="90" y="185"/>
                  <a:pt x="87" y="192"/>
                  <a:pt x="87" y="194"/>
                </a:cubicBezTo>
                <a:cubicBezTo>
                  <a:pt x="88" y="196"/>
                  <a:pt x="89" y="203"/>
                  <a:pt x="88" y="204"/>
                </a:cubicBezTo>
                <a:cubicBezTo>
                  <a:pt x="88" y="205"/>
                  <a:pt x="85" y="205"/>
                  <a:pt x="83" y="207"/>
                </a:cubicBezTo>
                <a:cubicBezTo>
                  <a:pt x="82" y="208"/>
                  <a:pt x="80" y="212"/>
                  <a:pt x="80" y="213"/>
                </a:cubicBezTo>
                <a:cubicBezTo>
                  <a:pt x="80" y="214"/>
                  <a:pt x="75" y="214"/>
                  <a:pt x="75" y="216"/>
                </a:cubicBezTo>
                <a:cubicBezTo>
                  <a:pt x="75" y="218"/>
                  <a:pt x="75" y="223"/>
                  <a:pt x="71" y="223"/>
                </a:cubicBezTo>
                <a:cubicBezTo>
                  <a:pt x="67" y="223"/>
                  <a:pt x="66" y="222"/>
                  <a:pt x="65" y="218"/>
                </a:cubicBezTo>
                <a:cubicBezTo>
                  <a:pt x="64" y="214"/>
                  <a:pt x="60" y="206"/>
                  <a:pt x="57" y="200"/>
                </a:cubicBezTo>
                <a:cubicBezTo>
                  <a:pt x="54" y="193"/>
                  <a:pt x="50" y="189"/>
                  <a:pt x="49" y="182"/>
                </a:cubicBezTo>
                <a:cubicBezTo>
                  <a:pt x="48" y="176"/>
                  <a:pt x="46" y="172"/>
                  <a:pt x="43" y="168"/>
                </a:cubicBezTo>
                <a:cubicBezTo>
                  <a:pt x="40" y="164"/>
                  <a:pt x="36" y="152"/>
                  <a:pt x="36" y="147"/>
                </a:cubicBezTo>
                <a:cubicBezTo>
                  <a:pt x="35" y="141"/>
                  <a:pt x="34" y="118"/>
                  <a:pt x="33" y="115"/>
                </a:cubicBezTo>
                <a:cubicBezTo>
                  <a:pt x="33" y="113"/>
                  <a:pt x="32" y="111"/>
                  <a:pt x="31" y="111"/>
                </a:cubicBezTo>
                <a:cubicBezTo>
                  <a:pt x="30" y="111"/>
                  <a:pt x="29" y="118"/>
                  <a:pt x="28" y="118"/>
                </a:cubicBezTo>
                <a:cubicBezTo>
                  <a:pt x="27" y="119"/>
                  <a:pt x="20" y="124"/>
                  <a:pt x="18" y="123"/>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0" name="Freeform 132"/>
          <p:cNvSpPr>
            <a:spLocks/>
          </p:cNvSpPr>
          <p:nvPr>
            <p:custDataLst>
              <p:tags r:id="rId76"/>
            </p:custDataLst>
          </p:nvPr>
        </p:nvSpPr>
        <p:spPr bwMode="auto">
          <a:xfrm>
            <a:off x="9067316" y="2856513"/>
            <a:ext cx="138732" cy="126439"/>
          </a:xfrm>
          <a:custGeom>
            <a:avLst/>
            <a:gdLst>
              <a:gd name="T0" fmla="*/ 2726 w 46"/>
              <a:gd name="T1" fmla="*/ 90854 h 39"/>
              <a:gd name="T2" fmla="*/ 16358 w 46"/>
              <a:gd name="T3" fmla="*/ 67408 h 39"/>
              <a:gd name="T4" fmla="*/ 38169 w 46"/>
              <a:gd name="T5" fmla="*/ 58615 h 39"/>
              <a:gd name="T6" fmla="*/ 46348 w 46"/>
              <a:gd name="T7" fmla="*/ 23446 h 39"/>
              <a:gd name="T8" fmla="*/ 40896 w 46"/>
              <a:gd name="T9" fmla="*/ 5862 h 39"/>
              <a:gd name="T10" fmla="*/ 51801 w 46"/>
              <a:gd name="T11" fmla="*/ 5862 h 39"/>
              <a:gd name="T12" fmla="*/ 68159 w 46"/>
              <a:gd name="T13" fmla="*/ 26377 h 39"/>
              <a:gd name="T14" fmla="*/ 100876 w 46"/>
              <a:gd name="T15" fmla="*/ 38100 h 39"/>
              <a:gd name="T16" fmla="*/ 119960 w 46"/>
              <a:gd name="T17" fmla="*/ 35169 h 39"/>
              <a:gd name="T18" fmla="*/ 117234 w 46"/>
              <a:gd name="T19" fmla="*/ 52754 h 39"/>
              <a:gd name="T20" fmla="*/ 122687 w 46"/>
              <a:gd name="T21" fmla="*/ 67408 h 39"/>
              <a:gd name="T22" fmla="*/ 92697 w 46"/>
              <a:gd name="T23" fmla="*/ 76200 h 39"/>
              <a:gd name="T24" fmla="*/ 73612 w 46"/>
              <a:gd name="T25" fmla="*/ 99646 h 39"/>
              <a:gd name="T26" fmla="*/ 43622 w 46"/>
              <a:gd name="T27" fmla="*/ 82062 h 39"/>
              <a:gd name="T28" fmla="*/ 24537 w 46"/>
              <a:gd name="T29" fmla="*/ 87923 h 39"/>
              <a:gd name="T30" fmla="*/ 32716 w 46"/>
              <a:gd name="T31" fmla="*/ 102577 h 39"/>
              <a:gd name="T32" fmla="*/ 8179 w 46"/>
              <a:gd name="T33" fmla="*/ 111369 h 39"/>
              <a:gd name="T34" fmla="*/ 2726 w 46"/>
              <a:gd name="T35" fmla="*/ 90854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9">
                <a:moveTo>
                  <a:pt x="1" y="31"/>
                </a:moveTo>
                <a:cubicBezTo>
                  <a:pt x="0" y="29"/>
                  <a:pt x="5" y="26"/>
                  <a:pt x="6" y="23"/>
                </a:cubicBezTo>
                <a:cubicBezTo>
                  <a:pt x="7" y="20"/>
                  <a:pt x="13" y="23"/>
                  <a:pt x="14" y="20"/>
                </a:cubicBezTo>
                <a:cubicBezTo>
                  <a:pt x="15" y="16"/>
                  <a:pt x="17" y="10"/>
                  <a:pt x="17" y="8"/>
                </a:cubicBezTo>
                <a:cubicBezTo>
                  <a:pt x="16" y="6"/>
                  <a:pt x="13" y="4"/>
                  <a:pt x="15" y="2"/>
                </a:cubicBezTo>
                <a:cubicBezTo>
                  <a:pt x="17" y="0"/>
                  <a:pt x="17" y="2"/>
                  <a:pt x="19" y="2"/>
                </a:cubicBezTo>
                <a:cubicBezTo>
                  <a:pt x="21" y="2"/>
                  <a:pt x="25" y="9"/>
                  <a:pt x="25" y="9"/>
                </a:cubicBezTo>
                <a:cubicBezTo>
                  <a:pt x="30" y="12"/>
                  <a:pt x="34" y="13"/>
                  <a:pt x="37" y="13"/>
                </a:cubicBezTo>
                <a:cubicBezTo>
                  <a:pt x="40" y="13"/>
                  <a:pt x="42" y="11"/>
                  <a:pt x="44" y="12"/>
                </a:cubicBezTo>
                <a:cubicBezTo>
                  <a:pt x="45" y="12"/>
                  <a:pt x="42" y="16"/>
                  <a:pt x="43" y="18"/>
                </a:cubicBezTo>
                <a:cubicBezTo>
                  <a:pt x="44" y="20"/>
                  <a:pt x="45" y="22"/>
                  <a:pt x="45" y="23"/>
                </a:cubicBezTo>
                <a:cubicBezTo>
                  <a:pt x="46" y="24"/>
                  <a:pt x="36" y="24"/>
                  <a:pt x="34" y="26"/>
                </a:cubicBezTo>
                <a:cubicBezTo>
                  <a:pt x="32" y="28"/>
                  <a:pt x="29" y="34"/>
                  <a:pt x="27" y="34"/>
                </a:cubicBezTo>
                <a:cubicBezTo>
                  <a:pt x="26" y="34"/>
                  <a:pt x="18" y="28"/>
                  <a:pt x="16" y="28"/>
                </a:cubicBezTo>
                <a:cubicBezTo>
                  <a:pt x="14" y="28"/>
                  <a:pt x="9" y="28"/>
                  <a:pt x="9" y="30"/>
                </a:cubicBezTo>
                <a:cubicBezTo>
                  <a:pt x="8" y="31"/>
                  <a:pt x="13" y="35"/>
                  <a:pt x="12" y="35"/>
                </a:cubicBezTo>
                <a:cubicBezTo>
                  <a:pt x="10" y="36"/>
                  <a:pt x="5" y="37"/>
                  <a:pt x="3" y="38"/>
                </a:cubicBezTo>
                <a:cubicBezTo>
                  <a:pt x="1" y="39"/>
                  <a:pt x="1" y="32"/>
                  <a:pt x="1" y="31"/>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1" name="Freeform 133"/>
          <p:cNvSpPr>
            <a:spLocks/>
          </p:cNvSpPr>
          <p:nvPr>
            <p:custDataLst>
              <p:tags r:id="rId77"/>
            </p:custDataLst>
          </p:nvPr>
        </p:nvSpPr>
        <p:spPr bwMode="auto">
          <a:xfrm>
            <a:off x="8837268" y="3202463"/>
            <a:ext cx="56195" cy="79024"/>
          </a:xfrm>
          <a:custGeom>
            <a:avLst/>
            <a:gdLst>
              <a:gd name="T0" fmla="*/ 42779 w 19"/>
              <a:gd name="T1" fmla="*/ 31433 h 25"/>
              <a:gd name="T2" fmla="*/ 34758 w 19"/>
              <a:gd name="T3" fmla="*/ 54293 h 25"/>
              <a:gd name="T4" fmla="*/ 18716 w 19"/>
              <a:gd name="T5" fmla="*/ 71438 h 25"/>
              <a:gd name="T6" fmla="*/ 10695 w 19"/>
              <a:gd name="T7" fmla="*/ 57150 h 25"/>
              <a:gd name="T8" fmla="*/ 13368 w 19"/>
              <a:gd name="T9" fmla="*/ 28575 h 25"/>
              <a:gd name="T10" fmla="*/ 0 w 19"/>
              <a:gd name="T11" fmla="*/ 14288 h 25"/>
              <a:gd name="T12" fmla="*/ 13368 w 19"/>
              <a:gd name="T13" fmla="*/ 0 h 25"/>
              <a:gd name="T14" fmla="*/ 29411 w 19"/>
              <a:gd name="T15" fmla="*/ 11430 h 25"/>
              <a:gd name="T16" fmla="*/ 48126 w 19"/>
              <a:gd name="T17" fmla="*/ 17145 h 25"/>
              <a:gd name="T18" fmla="*/ 42779 w 19"/>
              <a:gd name="T19" fmla="*/ 31433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25">
                <a:moveTo>
                  <a:pt x="16" y="11"/>
                </a:moveTo>
                <a:cubicBezTo>
                  <a:pt x="16" y="14"/>
                  <a:pt x="15" y="18"/>
                  <a:pt x="13" y="19"/>
                </a:cubicBezTo>
                <a:cubicBezTo>
                  <a:pt x="10" y="22"/>
                  <a:pt x="8" y="25"/>
                  <a:pt x="7" y="25"/>
                </a:cubicBezTo>
                <a:cubicBezTo>
                  <a:pt x="6" y="24"/>
                  <a:pt x="4" y="22"/>
                  <a:pt x="4" y="20"/>
                </a:cubicBezTo>
                <a:cubicBezTo>
                  <a:pt x="4" y="17"/>
                  <a:pt x="7" y="12"/>
                  <a:pt x="5" y="10"/>
                </a:cubicBezTo>
                <a:cubicBezTo>
                  <a:pt x="4" y="8"/>
                  <a:pt x="0" y="9"/>
                  <a:pt x="0" y="5"/>
                </a:cubicBezTo>
                <a:cubicBezTo>
                  <a:pt x="0" y="3"/>
                  <a:pt x="2" y="0"/>
                  <a:pt x="5" y="0"/>
                </a:cubicBezTo>
                <a:cubicBezTo>
                  <a:pt x="6" y="0"/>
                  <a:pt x="10" y="4"/>
                  <a:pt x="11" y="4"/>
                </a:cubicBezTo>
                <a:cubicBezTo>
                  <a:pt x="12" y="5"/>
                  <a:pt x="17" y="3"/>
                  <a:pt x="18" y="6"/>
                </a:cubicBezTo>
                <a:cubicBezTo>
                  <a:pt x="19" y="8"/>
                  <a:pt x="16" y="11"/>
                  <a:pt x="16" y="11"/>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2" name="Freeform 134"/>
          <p:cNvSpPr>
            <a:spLocks/>
          </p:cNvSpPr>
          <p:nvPr>
            <p:custDataLst>
              <p:tags r:id="rId78"/>
            </p:custDataLst>
          </p:nvPr>
        </p:nvSpPr>
        <p:spPr bwMode="auto">
          <a:xfrm>
            <a:off x="8867121" y="2991732"/>
            <a:ext cx="256390" cy="212488"/>
          </a:xfrm>
          <a:custGeom>
            <a:avLst/>
            <a:gdLst>
              <a:gd name="T0" fmla="*/ 51809 w 85"/>
              <a:gd name="T1" fmla="*/ 174625 h 66"/>
              <a:gd name="T2" fmla="*/ 8180 w 85"/>
              <a:gd name="T3" fmla="*/ 183357 h 66"/>
              <a:gd name="T4" fmla="*/ 8180 w 85"/>
              <a:gd name="T5" fmla="*/ 171715 h 66"/>
              <a:gd name="T6" fmla="*/ 38175 w 85"/>
              <a:gd name="T7" fmla="*/ 142611 h 66"/>
              <a:gd name="T8" fmla="*/ 87256 w 85"/>
              <a:gd name="T9" fmla="*/ 139700 h 66"/>
              <a:gd name="T10" fmla="*/ 103617 w 85"/>
              <a:gd name="T11" fmla="*/ 142611 h 66"/>
              <a:gd name="T12" fmla="*/ 119978 w 85"/>
              <a:gd name="T13" fmla="*/ 101865 h 66"/>
              <a:gd name="T14" fmla="*/ 133611 w 85"/>
              <a:gd name="T15" fmla="*/ 96044 h 66"/>
              <a:gd name="T16" fmla="*/ 139065 w 85"/>
              <a:gd name="T17" fmla="*/ 110596 h 66"/>
              <a:gd name="T18" fmla="*/ 160879 w 85"/>
              <a:gd name="T19" fmla="*/ 96044 h 66"/>
              <a:gd name="T20" fmla="*/ 174513 w 85"/>
              <a:gd name="T21" fmla="*/ 78581 h 66"/>
              <a:gd name="T22" fmla="*/ 188147 w 85"/>
              <a:gd name="T23" fmla="*/ 43656 h 66"/>
              <a:gd name="T24" fmla="*/ 188147 w 85"/>
              <a:gd name="T25" fmla="*/ 14552 h 66"/>
              <a:gd name="T26" fmla="*/ 199054 w 85"/>
              <a:gd name="T27" fmla="*/ 2910 h 66"/>
              <a:gd name="T28" fmla="*/ 215414 w 85"/>
              <a:gd name="T29" fmla="*/ 2910 h 66"/>
              <a:gd name="T30" fmla="*/ 223595 w 85"/>
              <a:gd name="T31" fmla="*/ 20373 h 66"/>
              <a:gd name="T32" fmla="*/ 226321 w 85"/>
              <a:gd name="T33" fmla="*/ 61119 h 66"/>
              <a:gd name="T34" fmla="*/ 207234 w 85"/>
              <a:gd name="T35" fmla="*/ 81492 h 66"/>
              <a:gd name="T36" fmla="*/ 201781 w 85"/>
              <a:gd name="T37" fmla="*/ 116417 h 66"/>
              <a:gd name="T38" fmla="*/ 207234 w 85"/>
              <a:gd name="T39" fmla="*/ 142611 h 66"/>
              <a:gd name="T40" fmla="*/ 188147 w 85"/>
              <a:gd name="T41" fmla="*/ 162984 h 66"/>
              <a:gd name="T42" fmla="*/ 136338 w 85"/>
              <a:gd name="T43" fmla="*/ 162984 h 66"/>
              <a:gd name="T44" fmla="*/ 122704 w 85"/>
              <a:gd name="T45" fmla="*/ 162984 h 66"/>
              <a:gd name="T46" fmla="*/ 106344 w 85"/>
              <a:gd name="T47" fmla="*/ 192088 h 66"/>
              <a:gd name="T48" fmla="*/ 103617 w 85"/>
              <a:gd name="T49" fmla="*/ 192088 h 66"/>
              <a:gd name="T50" fmla="*/ 87256 w 85"/>
              <a:gd name="T51" fmla="*/ 183357 h 66"/>
              <a:gd name="T52" fmla="*/ 92710 w 85"/>
              <a:gd name="T53" fmla="*/ 168805 h 66"/>
              <a:gd name="T54" fmla="*/ 73623 w 85"/>
              <a:gd name="T55" fmla="*/ 168805 h 66"/>
              <a:gd name="T56" fmla="*/ 51809 w 85"/>
              <a:gd name="T57" fmla="*/ 174625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5" h="66">
                <a:moveTo>
                  <a:pt x="19" y="60"/>
                </a:moveTo>
                <a:cubicBezTo>
                  <a:pt x="16" y="61"/>
                  <a:pt x="7" y="64"/>
                  <a:pt x="3" y="63"/>
                </a:cubicBezTo>
                <a:cubicBezTo>
                  <a:pt x="0" y="62"/>
                  <a:pt x="2" y="60"/>
                  <a:pt x="3" y="59"/>
                </a:cubicBezTo>
                <a:cubicBezTo>
                  <a:pt x="7" y="55"/>
                  <a:pt x="11" y="50"/>
                  <a:pt x="14" y="49"/>
                </a:cubicBezTo>
                <a:cubicBezTo>
                  <a:pt x="18" y="48"/>
                  <a:pt x="30" y="49"/>
                  <a:pt x="32" y="48"/>
                </a:cubicBezTo>
                <a:cubicBezTo>
                  <a:pt x="34" y="48"/>
                  <a:pt x="35" y="51"/>
                  <a:pt x="38" y="49"/>
                </a:cubicBezTo>
                <a:cubicBezTo>
                  <a:pt x="40" y="47"/>
                  <a:pt x="43" y="38"/>
                  <a:pt x="44" y="35"/>
                </a:cubicBezTo>
                <a:cubicBezTo>
                  <a:pt x="46" y="32"/>
                  <a:pt x="48" y="33"/>
                  <a:pt x="49" y="33"/>
                </a:cubicBezTo>
                <a:cubicBezTo>
                  <a:pt x="50" y="33"/>
                  <a:pt x="47" y="38"/>
                  <a:pt x="51" y="38"/>
                </a:cubicBezTo>
                <a:cubicBezTo>
                  <a:pt x="55" y="38"/>
                  <a:pt x="59" y="33"/>
                  <a:pt x="59" y="33"/>
                </a:cubicBezTo>
                <a:cubicBezTo>
                  <a:pt x="64" y="27"/>
                  <a:pt x="64" y="27"/>
                  <a:pt x="64" y="27"/>
                </a:cubicBezTo>
                <a:cubicBezTo>
                  <a:pt x="67" y="22"/>
                  <a:pt x="69" y="18"/>
                  <a:pt x="69" y="15"/>
                </a:cubicBezTo>
                <a:cubicBezTo>
                  <a:pt x="69" y="12"/>
                  <a:pt x="68" y="6"/>
                  <a:pt x="69" y="5"/>
                </a:cubicBezTo>
                <a:cubicBezTo>
                  <a:pt x="70" y="5"/>
                  <a:pt x="73" y="1"/>
                  <a:pt x="73" y="1"/>
                </a:cubicBezTo>
                <a:cubicBezTo>
                  <a:pt x="73" y="1"/>
                  <a:pt x="79" y="0"/>
                  <a:pt x="79" y="1"/>
                </a:cubicBezTo>
                <a:cubicBezTo>
                  <a:pt x="79" y="2"/>
                  <a:pt x="81" y="5"/>
                  <a:pt x="82" y="7"/>
                </a:cubicBezTo>
                <a:cubicBezTo>
                  <a:pt x="84" y="10"/>
                  <a:pt x="85" y="18"/>
                  <a:pt x="83" y="21"/>
                </a:cubicBezTo>
                <a:cubicBezTo>
                  <a:pt x="80" y="25"/>
                  <a:pt x="76" y="24"/>
                  <a:pt x="76" y="28"/>
                </a:cubicBezTo>
                <a:cubicBezTo>
                  <a:pt x="76" y="32"/>
                  <a:pt x="75" y="37"/>
                  <a:pt x="74" y="40"/>
                </a:cubicBezTo>
                <a:cubicBezTo>
                  <a:pt x="73" y="43"/>
                  <a:pt x="77" y="48"/>
                  <a:pt x="76" y="49"/>
                </a:cubicBezTo>
                <a:cubicBezTo>
                  <a:pt x="75" y="50"/>
                  <a:pt x="71" y="56"/>
                  <a:pt x="69" y="56"/>
                </a:cubicBezTo>
                <a:cubicBezTo>
                  <a:pt x="66" y="56"/>
                  <a:pt x="52" y="56"/>
                  <a:pt x="50" y="56"/>
                </a:cubicBezTo>
                <a:cubicBezTo>
                  <a:pt x="48" y="56"/>
                  <a:pt x="47" y="54"/>
                  <a:pt x="45" y="56"/>
                </a:cubicBezTo>
                <a:cubicBezTo>
                  <a:pt x="43" y="58"/>
                  <a:pt x="42" y="64"/>
                  <a:pt x="39" y="66"/>
                </a:cubicBezTo>
                <a:cubicBezTo>
                  <a:pt x="39" y="66"/>
                  <a:pt x="38" y="66"/>
                  <a:pt x="38" y="66"/>
                </a:cubicBezTo>
                <a:cubicBezTo>
                  <a:pt x="36" y="66"/>
                  <a:pt x="32" y="66"/>
                  <a:pt x="32" y="63"/>
                </a:cubicBezTo>
                <a:cubicBezTo>
                  <a:pt x="32" y="61"/>
                  <a:pt x="36" y="60"/>
                  <a:pt x="34" y="58"/>
                </a:cubicBezTo>
                <a:cubicBezTo>
                  <a:pt x="33" y="56"/>
                  <a:pt x="28" y="57"/>
                  <a:pt x="27" y="58"/>
                </a:cubicBezTo>
                <a:cubicBezTo>
                  <a:pt x="25" y="58"/>
                  <a:pt x="19" y="60"/>
                  <a:pt x="19" y="60"/>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3" name="Freeform 135"/>
          <p:cNvSpPr>
            <a:spLocks/>
          </p:cNvSpPr>
          <p:nvPr>
            <p:custDataLst>
              <p:tags r:id="rId79"/>
            </p:custDataLst>
          </p:nvPr>
        </p:nvSpPr>
        <p:spPr bwMode="auto">
          <a:xfrm>
            <a:off x="8909268" y="3198951"/>
            <a:ext cx="45659" cy="38634"/>
          </a:xfrm>
          <a:custGeom>
            <a:avLst/>
            <a:gdLst>
              <a:gd name="T0" fmla="*/ 2752 w 15"/>
              <a:gd name="T1" fmla="*/ 11642 h 12"/>
              <a:gd name="T2" fmla="*/ 30268 w 15"/>
              <a:gd name="T3" fmla="*/ 0 h 12"/>
              <a:gd name="T4" fmla="*/ 38523 w 15"/>
              <a:gd name="T5" fmla="*/ 20373 h 12"/>
              <a:gd name="T6" fmla="*/ 24765 w 15"/>
              <a:gd name="T7" fmla="*/ 17463 h 12"/>
              <a:gd name="T8" fmla="*/ 2752 w 15"/>
              <a:gd name="T9" fmla="*/ 34925 h 12"/>
              <a:gd name="T10" fmla="*/ 0 w 15"/>
              <a:gd name="T11" fmla="*/ 20373 h 12"/>
              <a:gd name="T12" fmla="*/ 2752 w 15"/>
              <a:gd name="T13" fmla="*/ 11642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12">
                <a:moveTo>
                  <a:pt x="1" y="4"/>
                </a:moveTo>
                <a:cubicBezTo>
                  <a:pt x="1" y="3"/>
                  <a:pt x="9" y="0"/>
                  <a:pt x="11" y="0"/>
                </a:cubicBezTo>
                <a:cubicBezTo>
                  <a:pt x="13" y="1"/>
                  <a:pt x="15" y="7"/>
                  <a:pt x="14" y="7"/>
                </a:cubicBezTo>
                <a:cubicBezTo>
                  <a:pt x="13" y="8"/>
                  <a:pt x="11" y="7"/>
                  <a:pt x="9" y="6"/>
                </a:cubicBezTo>
                <a:cubicBezTo>
                  <a:pt x="7" y="6"/>
                  <a:pt x="3" y="12"/>
                  <a:pt x="1" y="12"/>
                </a:cubicBezTo>
                <a:cubicBezTo>
                  <a:pt x="0" y="12"/>
                  <a:pt x="0" y="9"/>
                  <a:pt x="0" y="7"/>
                </a:cubicBezTo>
                <a:cubicBezTo>
                  <a:pt x="0" y="6"/>
                  <a:pt x="1" y="4"/>
                  <a:pt x="1" y="4"/>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4" name="Freeform 137"/>
          <p:cNvSpPr>
            <a:spLocks/>
          </p:cNvSpPr>
          <p:nvPr>
            <p:custDataLst>
              <p:tags r:id="rId80"/>
            </p:custDataLst>
          </p:nvPr>
        </p:nvSpPr>
        <p:spPr bwMode="auto">
          <a:xfrm>
            <a:off x="8619511" y="3436025"/>
            <a:ext cx="43902" cy="87805"/>
          </a:xfrm>
          <a:custGeom>
            <a:avLst/>
            <a:gdLst>
              <a:gd name="T0" fmla="*/ 0 w 15"/>
              <a:gd name="T1" fmla="*/ 49977 h 27"/>
              <a:gd name="T2" fmla="*/ 23813 w 15"/>
              <a:gd name="T3" fmla="*/ 0 h 27"/>
              <a:gd name="T4" fmla="*/ 37042 w 15"/>
              <a:gd name="T5" fmla="*/ 5880 h 27"/>
              <a:gd name="T6" fmla="*/ 23813 w 15"/>
              <a:gd name="T7" fmla="*/ 49977 h 27"/>
              <a:gd name="T8" fmla="*/ 15875 w 15"/>
              <a:gd name="T9" fmla="*/ 79375 h 27"/>
              <a:gd name="T10" fmla="*/ 0 w 15"/>
              <a:gd name="T11" fmla="*/ 4997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27">
                <a:moveTo>
                  <a:pt x="0" y="17"/>
                </a:moveTo>
                <a:cubicBezTo>
                  <a:pt x="0" y="14"/>
                  <a:pt x="6" y="2"/>
                  <a:pt x="9" y="0"/>
                </a:cubicBezTo>
                <a:cubicBezTo>
                  <a:pt x="9" y="0"/>
                  <a:pt x="14" y="0"/>
                  <a:pt x="14" y="2"/>
                </a:cubicBezTo>
                <a:cubicBezTo>
                  <a:pt x="15" y="4"/>
                  <a:pt x="12" y="15"/>
                  <a:pt x="9" y="17"/>
                </a:cubicBezTo>
                <a:cubicBezTo>
                  <a:pt x="7" y="19"/>
                  <a:pt x="8" y="26"/>
                  <a:pt x="6" y="27"/>
                </a:cubicBezTo>
                <a:cubicBezTo>
                  <a:pt x="4" y="27"/>
                  <a:pt x="1" y="19"/>
                  <a:pt x="0" y="17"/>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5" name="Freeform 138"/>
          <p:cNvSpPr>
            <a:spLocks/>
          </p:cNvSpPr>
          <p:nvPr>
            <p:custDataLst>
              <p:tags r:id="rId81"/>
            </p:custDataLst>
          </p:nvPr>
        </p:nvSpPr>
        <p:spPr bwMode="auto">
          <a:xfrm>
            <a:off x="7878439" y="2652805"/>
            <a:ext cx="741073" cy="326634"/>
          </a:xfrm>
          <a:custGeom>
            <a:avLst/>
            <a:gdLst>
              <a:gd name="T0" fmla="*/ 0 w 246"/>
              <a:gd name="T1" fmla="*/ 89740 h 102"/>
              <a:gd name="T2" fmla="*/ 16340 w 246"/>
              <a:gd name="T3" fmla="*/ 78161 h 102"/>
              <a:gd name="T4" fmla="*/ 43572 w 246"/>
              <a:gd name="T5" fmla="*/ 60792 h 102"/>
              <a:gd name="T6" fmla="*/ 87145 w 246"/>
              <a:gd name="T7" fmla="*/ 46318 h 102"/>
              <a:gd name="T8" fmla="*/ 125271 w 246"/>
              <a:gd name="T9" fmla="*/ 43423 h 102"/>
              <a:gd name="T10" fmla="*/ 141610 w 246"/>
              <a:gd name="T11" fmla="*/ 60792 h 102"/>
              <a:gd name="T12" fmla="*/ 190629 w 246"/>
              <a:gd name="T13" fmla="*/ 69476 h 102"/>
              <a:gd name="T14" fmla="*/ 215139 w 246"/>
              <a:gd name="T15" fmla="*/ 60792 h 102"/>
              <a:gd name="T16" fmla="*/ 209692 w 246"/>
              <a:gd name="T17" fmla="*/ 28949 h 102"/>
              <a:gd name="T18" fmla="*/ 228755 w 246"/>
              <a:gd name="T19" fmla="*/ 0 h 102"/>
              <a:gd name="T20" fmla="*/ 296837 w 246"/>
              <a:gd name="T21" fmla="*/ 23159 h 102"/>
              <a:gd name="T22" fmla="*/ 299560 w 246"/>
              <a:gd name="T23" fmla="*/ 43423 h 102"/>
              <a:gd name="T24" fmla="*/ 332239 w 246"/>
              <a:gd name="T25" fmla="*/ 57897 h 102"/>
              <a:gd name="T26" fmla="*/ 367642 w 246"/>
              <a:gd name="T27" fmla="*/ 49213 h 102"/>
              <a:gd name="T28" fmla="*/ 411214 w 246"/>
              <a:gd name="T29" fmla="*/ 60792 h 102"/>
              <a:gd name="T30" fmla="*/ 427554 w 246"/>
              <a:gd name="T31" fmla="*/ 81056 h 102"/>
              <a:gd name="T32" fmla="*/ 484742 w 246"/>
              <a:gd name="T33" fmla="*/ 86846 h 102"/>
              <a:gd name="T34" fmla="*/ 531038 w 246"/>
              <a:gd name="T35" fmla="*/ 66582 h 102"/>
              <a:gd name="T36" fmla="*/ 574610 w 246"/>
              <a:gd name="T37" fmla="*/ 60792 h 102"/>
              <a:gd name="T38" fmla="*/ 596397 w 246"/>
              <a:gd name="T39" fmla="*/ 69476 h 102"/>
              <a:gd name="T40" fmla="*/ 571887 w 246"/>
              <a:gd name="T41" fmla="*/ 115794 h 102"/>
              <a:gd name="T42" fmla="*/ 582780 w 246"/>
              <a:gd name="T43" fmla="*/ 130268 h 102"/>
              <a:gd name="T44" fmla="*/ 607290 w 246"/>
              <a:gd name="T45" fmla="*/ 130268 h 102"/>
              <a:gd name="T46" fmla="*/ 631799 w 246"/>
              <a:gd name="T47" fmla="*/ 118689 h 102"/>
              <a:gd name="T48" fmla="*/ 664478 w 246"/>
              <a:gd name="T49" fmla="*/ 138953 h 102"/>
              <a:gd name="T50" fmla="*/ 667202 w 246"/>
              <a:gd name="T51" fmla="*/ 156322 h 102"/>
              <a:gd name="T52" fmla="*/ 661755 w 246"/>
              <a:gd name="T53" fmla="*/ 165007 h 102"/>
              <a:gd name="T54" fmla="*/ 642692 w 246"/>
              <a:gd name="T55" fmla="*/ 153427 h 102"/>
              <a:gd name="T56" fmla="*/ 615460 w 246"/>
              <a:gd name="T57" fmla="*/ 159217 h 102"/>
              <a:gd name="T58" fmla="*/ 585504 w 246"/>
              <a:gd name="T59" fmla="*/ 185271 h 102"/>
              <a:gd name="T60" fmla="*/ 544654 w 246"/>
              <a:gd name="T61" fmla="*/ 208429 h 102"/>
              <a:gd name="T62" fmla="*/ 506529 w 246"/>
              <a:gd name="T63" fmla="*/ 199745 h 102"/>
              <a:gd name="T64" fmla="*/ 487466 w 246"/>
              <a:gd name="T65" fmla="*/ 217114 h 102"/>
              <a:gd name="T66" fmla="*/ 498359 w 246"/>
              <a:gd name="T67" fmla="*/ 237378 h 102"/>
              <a:gd name="T68" fmla="*/ 457510 w 246"/>
              <a:gd name="T69" fmla="*/ 269221 h 102"/>
              <a:gd name="T70" fmla="*/ 405768 w 246"/>
              <a:gd name="T71" fmla="*/ 275011 h 102"/>
              <a:gd name="T72" fmla="*/ 351302 w 246"/>
              <a:gd name="T73" fmla="*/ 295275 h 102"/>
              <a:gd name="T74" fmla="*/ 272327 w 246"/>
              <a:gd name="T75" fmla="*/ 266326 h 102"/>
              <a:gd name="T76" fmla="*/ 174289 w 246"/>
              <a:gd name="T77" fmla="*/ 263432 h 102"/>
              <a:gd name="T78" fmla="*/ 147057 w 246"/>
              <a:gd name="T79" fmla="*/ 222904 h 102"/>
              <a:gd name="T80" fmla="*/ 111654 w 246"/>
              <a:gd name="T81" fmla="*/ 202640 h 102"/>
              <a:gd name="T82" fmla="*/ 62635 w 246"/>
              <a:gd name="T83" fmla="*/ 193955 h 102"/>
              <a:gd name="T84" fmla="*/ 65359 w 246"/>
              <a:gd name="T85" fmla="*/ 167901 h 102"/>
              <a:gd name="T86" fmla="*/ 43572 w 246"/>
              <a:gd name="T87" fmla="*/ 124479 h 102"/>
              <a:gd name="T88" fmla="*/ 13616 w 246"/>
              <a:gd name="T89" fmla="*/ 115794 h 102"/>
              <a:gd name="T90" fmla="*/ 0 w 246"/>
              <a:gd name="T91" fmla="*/ 89740 h 1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6" h="102">
                <a:moveTo>
                  <a:pt x="0" y="31"/>
                </a:moveTo>
                <a:cubicBezTo>
                  <a:pt x="6" y="27"/>
                  <a:pt x="6" y="27"/>
                  <a:pt x="6" y="27"/>
                </a:cubicBezTo>
                <a:cubicBezTo>
                  <a:pt x="6" y="27"/>
                  <a:pt x="14" y="23"/>
                  <a:pt x="16" y="21"/>
                </a:cubicBezTo>
                <a:cubicBezTo>
                  <a:pt x="19" y="20"/>
                  <a:pt x="28" y="17"/>
                  <a:pt x="32" y="16"/>
                </a:cubicBezTo>
                <a:cubicBezTo>
                  <a:pt x="35" y="15"/>
                  <a:pt x="46" y="14"/>
                  <a:pt x="46" y="15"/>
                </a:cubicBezTo>
                <a:cubicBezTo>
                  <a:pt x="47" y="16"/>
                  <a:pt x="50" y="19"/>
                  <a:pt x="52" y="21"/>
                </a:cubicBezTo>
                <a:cubicBezTo>
                  <a:pt x="54" y="23"/>
                  <a:pt x="66" y="23"/>
                  <a:pt x="70" y="24"/>
                </a:cubicBezTo>
                <a:cubicBezTo>
                  <a:pt x="74" y="25"/>
                  <a:pt x="76" y="23"/>
                  <a:pt x="79" y="21"/>
                </a:cubicBezTo>
                <a:cubicBezTo>
                  <a:pt x="81" y="19"/>
                  <a:pt x="77" y="12"/>
                  <a:pt x="77" y="10"/>
                </a:cubicBezTo>
                <a:cubicBezTo>
                  <a:pt x="77" y="7"/>
                  <a:pt x="82" y="0"/>
                  <a:pt x="84" y="0"/>
                </a:cubicBezTo>
                <a:cubicBezTo>
                  <a:pt x="86" y="1"/>
                  <a:pt x="109" y="6"/>
                  <a:pt x="109" y="8"/>
                </a:cubicBezTo>
                <a:cubicBezTo>
                  <a:pt x="110" y="10"/>
                  <a:pt x="109" y="12"/>
                  <a:pt x="110" y="15"/>
                </a:cubicBezTo>
                <a:cubicBezTo>
                  <a:pt x="111" y="17"/>
                  <a:pt x="118" y="20"/>
                  <a:pt x="122" y="20"/>
                </a:cubicBezTo>
                <a:cubicBezTo>
                  <a:pt x="125" y="20"/>
                  <a:pt x="132" y="17"/>
                  <a:pt x="135" y="17"/>
                </a:cubicBezTo>
                <a:cubicBezTo>
                  <a:pt x="137" y="18"/>
                  <a:pt x="149" y="20"/>
                  <a:pt x="151" y="21"/>
                </a:cubicBezTo>
                <a:cubicBezTo>
                  <a:pt x="153" y="21"/>
                  <a:pt x="155" y="27"/>
                  <a:pt x="157" y="28"/>
                </a:cubicBezTo>
                <a:cubicBezTo>
                  <a:pt x="160" y="30"/>
                  <a:pt x="174" y="30"/>
                  <a:pt x="178" y="30"/>
                </a:cubicBezTo>
                <a:cubicBezTo>
                  <a:pt x="183" y="29"/>
                  <a:pt x="189" y="28"/>
                  <a:pt x="195" y="23"/>
                </a:cubicBezTo>
                <a:cubicBezTo>
                  <a:pt x="200" y="18"/>
                  <a:pt x="208" y="21"/>
                  <a:pt x="211" y="21"/>
                </a:cubicBezTo>
                <a:cubicBezTo>
                  <a:pt x="219" y="24"/>
                  <a:pt x="219" y="24"/>
                  <a:pt x="219" y="24"/>
                </a:cubicBezTo>
                <a:cubicBezTo>
                  <a:pt x="219" y="25"/>
                  <a:pt x="209" y="39"/>
                  <a:pt x="210" y="40"/>
                </a:cubicBezTo>
                <a:cubicBezTo>
                  <a:pt x="210" y="41"/>
                  <a:pt x="213" y="45"/>
                  <a:pt x="214" y="45"/>
                </a:cubicBezTo>
                <a:cubicBezTo>
                  <a:pt x="215" y="45"/>
                  <a:pt x="221" y="45"/>
                  <a:pt x="223" y="45"/>
                </a:cubicBezTo>
                <a:cubicBezTo>
                  <a:pt x="224" y="45"/>
                  <a:pt x="229" y="41"/>
                  <a:pt x="232" y="41"/>
                </a:cubicBezTo>
                <a:cubicBezTo>
                  <a:pt x="235" y="41"/>
                  <a:pt x="242" y="46"/>
                  <a:pt x="244" y="48"/>
                </a:cubicBezTo>
                <a:cubicBezTo>
                  <a:pt x="246" y="50"/>
                  <a:pt x="246" y="54"/>
                  <a:pt x="245" y="54"/>
                </a:cubicBezTo>
                <a:cubicBezTo>
                  <a:pt x="245" y="55"/>
                  <a:pt x="244" y="57"/>
                  <a:pt x="243" y="57"/>
                </a:cubicBezTo>
                <a:cubicBezTo>
                  <a:pt x="242" y="58"/>
                  <a:pt x="238" y="53"/>
                  <a:pt x="236" y="53"/>
                </a:cubicBezTo>
                <a:cubicBezTo>
                  <a:pt x="234" y="53"/>
                  <a:pt x="227" y="55"/>
                  <a:pt x="226" y="55"/>
                </a:cubicBezTo>
                <a:cubicBezTo>
                  <a:pt x="224" y="56"/>
                  <a:pt x="216" y="63"/>
                  <a:pt x="215" y="64"/>
                </a:cubicBezTo>
                <a:cubicBezTo>
                  <a:pt x="214" y="66"/>
                  <a:pt x="203" y="70"/>
                  <a:pt x="200" y="72"/>
                </a:cubicBezTo>
                <a:cubicBezTo>
                  <a:pt x="196" y="73"/>
                  <a:pt x="189" y="69"/>
                  <a:pt x="186" y="69"/>
                </a:cubicBezTo>
                <a:cubicBezTo>
                  <a:pt x="183" y="69"/>
                  <a:pt x="181" y="72"/>
                  <a:pt x="179" y="75"/>
                </a:cubicBezTo>
                <a:cubicBezTo>
                  <a:pt x="178" y="78"/>
                  <a:pt x="183" y="79"/>
                  <a:pt x="183" y="82"/>
                </a:cubicBezTo>
                <a:cubicBezTo>
                  <a:pt x="184" y="85"/>
                  <a:pt x="172" y="91"/>
                  <a:pt x="168" y="93"/>
                </a:cubicBezTo>
                <a:cubicBezTo>
                  <a:pt x="165" y="95"/>
                  <a:pt x="151" y="95"/>
                  <a:pt x="149" y="95"/>
                </a:cubicBezTo>
                <a:cubicBezTo>
                  <a:pt x="146" y="95"/>
                  <a:pt x="132" y="101"/>
                  <a:pt x="129" y="102"/>
                </a:cubicBezTo>
                <a:cubicBezTo>
                  <a:pt x="126" y="102"/>
                  <a:pt x="102" y="94"/>
                  <a:pt x="100" y="92"/>
                </a:cubicBezTo>
                <a:cubicBezTo>
                  <a:pt x="98" y="91"/>
                  <a:pt x="64" y="92"/>
                  <a:pt x="64" y="91"/>
                </a:cubicBezTo>
                <a:cubicBezTo>
                  <a:pt x="64" y="90"/>
                  <a:pt x="57" y="79"/>
                  <a:pt x="54" y="77"/>
                </a:cubicBezTo>
                <a:cubicBezTo>
                  <a:pt x="52" y="75"/>
                  <a:pt x="44" y="71"/>
                  <a:pt x="41" y="70"/>
                </a:cubicBezTo>
                <a:cubicBezTo>
                  <a:pt x="39" y="70"/>
                  <a:pt x="26" y="69"/>
                  <a:pt x="23" y="67"/>
                </a:cubicBezTo>
                <a:cubicBezTo>
                  <a:pt x="20" y="64"/>
                  <a:pt x="23" y="61"/>
                  <a:pt x="24" y="58"/>
                </a:cubicBezTo>
                <a:cubicBezTo>
                  <a:pt x="24" y="55"/>
                  <a:pt x="18" y="45"/>
                  <a:pt x="16" y="43"/>
                </a:cubicBezTo>
                <a:cubicBezTo>
                  <a:pt x="14" y="41"/>
                  <a:pt x="7" y="41"/>
                  <a:pt x="5" y="40"/>
                </a:cubicBezTo>
                <a:cubicBezTo>
                  <a:pt x="3" y="38"/>
                  <a:pt x="0" y="31"/>
                  <a:pt x="0" y="3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6" name="Freeform 129"/>
          <p:cNvSpPr>
            <a:spLocks/>
          </p:cNvSpPr>
          <p:nvPr>
            <p:custDataLst>
              <p:tags r:id="rId82"/>
            </p:custDataLst>
          </p:nvPr>
        </p:nvSpPr>
        <p:spPr bwMode="auto">
          <a:xfrm>
            <a:off x="7650147" y="3144513"/>
            <a:ext cx="50927" cy="59707"/>
          </a:xfrm>
          <a:custGeom>
            <a:avLst/>
            <a:gdLst>
              <a:gd name="T0" fmla="*/ 0 w 17"/>
              <a:gd name="T1" fmla="*/ 11994 h 18"/>
              <a:gd name="T2" fmla="*/ 16249 w 17"/>
              <a:gd name="T3" fmla="*/ 0 h 18"/>
              <a:gd name="T4" fmla="*/ 27081 w 17"/>
              <a:gd name="T5" fmla="*/ 0 h 18"/>
              <a:gd name="T6" fmla="*/ 46038 w 17"/>
              <a:gd name="T7" fmla="*/ 8996 h 18"/>
              <a:gd name="T8" fmla="*/ 43330 w 17"/>
              <a:gd name="T9" fmla="*/ 29986 h 18"/>
              <a:gd name="T10" fmla="*/ 29789 w 17"/>
              <a:gd name="T11" fmla="*/ 50976 h 18"/>
              <a:gd name="T12" fmla="*/ 16249 w 17"/>
              <a:gd name="T13" fmla="*/ 53975 h 18"/>
              <a:gd name="T14" fmla="*/ 8124 w 17"/>
              <a:gd name="T15" fmla="*/ 35983 h 18"/>
              <a:gd name="T16" fmla="*/ 5416 w 17"/>
              <a:gd name="T17" fmla="*/ 32985 h 18"/>
              <a:gd name="T18" fmla="*/ 5416 w 17"/>
              <a:gd name="T19" fmla="*/ 35983 h 18"/>
              <a:gd name="T20" fmla="*/ 0 w 17"/>
              <a:gd name="T21" fmla="*/ 1199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18">
                <a:moveTo>
                  <a:pt x="0" y="4"/>
                </a:moveTo>
                <a:cubicBezTo>
                  <a:pt x="6" y="0"/>
                  <a:pt x="6" y="0"/>
                  <a:pt x="6" y="0"/>
                </a:cubicBezTo>
                <a:cubicBezTo>
                  <a:pt x="7" y="0"/>
                  <a:pt x="9" y="0"/>
                  <a:pt x="10" y="0"/>
                </a:cubicBezTo>
                <a:cubicBezTo>
                  <a:pt x="11" y="0"/>
                  <a:pt x="16" y="2"/>
                  <a:pt x="17" y="3"/>
                </a:cubicBezTo>
                <a:cubicBezTo>
                  <a:pt x="17" y="5"/>
                  <a:pt x="17" y="9"/>
                  <a:pt x="16" y="10"/>
                </a:cubicBezTo>
                <a:cubicBezTo>
                  <a:pt x="15" y="11"/>
                  <a:pt x="12" y="17"/>
                  <a:pt x="11" y="17"/>
                </a:cubicBezTo>
                <a:cubicBezTo>
                  <a:pt x="6" y="18"/>
                  <a:pt x="6" y="18"/>
                  <a:pt x="6" y="18"/>
                </a:cubicBezTo>
                <a:cubicBezTo>
                  <a:pt x="6" y="18"/>
                  <a:pt x="5" y="15"/>
                  <a:pt x="3" y="12"/>
                </a:cubicBezTo>
                <a:cubicBezTo>
                  <a:pt x="2" y="11"/>
                  <a:pt x="2" y="11"/>
                  <a:pt x="2" y="11"/>
                </a:cubicBezTo>
                <a:cubicBezTo>
                  <a:pt x="2" y="11"/>
                  <a:pt x="3" y="12"/>
                  <a:pt x="2" y="12"/>
                </a:cubicBezTo>
                <a:cubicBezTo>
                  <a:pt x="1" y="10"/>
                  <a:pt x="0" y="5"/>
                  <a:pt x="0" y="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7" name="Freeform 140"/>
          <p:cNvSpPr>
            <a:spLocks/>
          </p:cNvSpPr>
          <p:nvPr>
            <p:custDataLst>
              <p:tags r:id="rId83"/>
            </p:custDataLst>
          </p:nvPr>
        </p:nvSpPr>
        <p:spPr bwMode="auto">
          <a:xfrm>
            <a:off x="8352585" y="3573001"/>
            <a:ext cx="63219" cy="50927"/>
          </a:xfrm>
          <a:custGeom>
            <a:avLst/>
            <a:gdLst>
              <a:gd name="T0" fmla="*/ 29936 w 21"/>
              <a:gd name="T1" fmla="*/ 37406 h 16"/>
              <a:gd name="T2" fmla="*/ 8164 w 21"/>
              <a:gd name="T3" fmla="*/ 28774 h 16"/>
              <a:gd name="T4" fmla="*/ 19050 w 21"/>
              <a:gd name="T5" fmla="*/ 2877 h 16"/>
              <a:gd name="T6" fmla="*/ 54429 w 21"/>
              <a:gd name="T7" fmla="*/ 2877 h 16"/>
              <a:gd name="T8" fmla="*/ 29936 w 21"/>
              <a:gd name="T9" fmla="*/ 37406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16">
                <a:moveTo>
                  <a:pt x="11" y="13"/>
                </a:moveTo>
                <a:cubicBezTo>
                  <a:pt x="9" y="16"/>
                  <a:pt x="6" y="12"/>
                  <a:pt x="3" y="10"/>
                </a:cubicBezTo>
                <a:cubicBezTo>
                  <a:pt x="0" y="7"/>
                  <a:pt x="5" y="3"/>
                  <a:pt x="7" y="1"/>
                </a:cubicBezTo>
                <a:cubicBezTo>
                  <a:pt x="7" y="1"/>
                  <a:pt x="19" y="0"/>
                  <a:pt x="20" y="1"/>
                </a:cubicBezTo>
                <a:cubicBezTo>
                  <a:pt x="21" y="3"/>
                  <a:pt x="12" y="10"/>
                  <a:pt x="11" y="13"/>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8" name="Freeform 141"/>
          <p:cNvSpPr>
            <a:spLocks/>
          </p:cNvSpPr>
          <p:nvPr>
            <p:custDataLst>
              <p:tags r:id="rId84"/>
            </p:custDataLst>
          </p:nvPr>
        </p:nvSpPr>
        <p:spPr bwMode="auto">
          <a:xfrm>
            <a:off x="7546536" y="2600123"/>
            <a:ext cx="1408390" cy="960585"/>
          </a:xfrm>
          <a:custGeom>
            <a:avLst/>
            <a:gdLst>
              <a:gd name="T0" fmla="*/ 48968 w 468"/>
              <a:gd name="T1" fmla="*/ 378816 h 298"/>
              <a:gd name="T2" fmla="*/ 100657 w 468"/>
              <a:gd name="T3" fmla="*/ 355504 h 298"/>
              <a:gd name="T4" fmla="*/ 146905 w 468"/>
              <a:gd name="T5" fmla="*/ 297225 h 298"/>
              <a:gd name="T6" fmla="*/ 201314 w 468"/>
              <a:gd name="T7" fmla="*/ 189408 h 298"/>
              <a:gd name="T8" fmla="*/ 269325 w 468"/>
              <a:gd name="T9" fmla="*/ 151526 h 298"/>
              <a:gd name="T10" fmla="*/ 312853 w 468"/>
              <a:gd name="T11" fmla="*/ 163182 h 298"/>
              <a:gd name="T12" fmla="*/ 361821 w 468"/>
              <a:gd name="T13" fmla="*/ 241859 h 298"/>
              <a:gd name="T14" fmla="*/ 473360 w 468"/>
              <a:gd name="T15" fmla="*/ 311795 h 298"/>
              <a:gd name="T16" fmla="*/ 704599 w 468"/>
              <a:gd name="T17" fmla="*/ 323451 h 298"/>
              <a:gd name="T18" fmla="*/ 786213 w 468"/>
              <a:gd name="T19" fmla="*/ 265171 h 298"/>
              <a:gd name="T20" fmla="*/ 884149 w 468"/>
              <a:gd name="T21" fmla="*/ 233118 h 298"/>
              <a:gd name="T22" fmla="*/ 960322 w 468"/>
              <a:gd name="T23" fmla="*/ 212720 h 298"/>
              <a:gd name="T24" fmla="*/ 930397 w 468"/>
              <a:gd name="T25" fmla="*/ 166096 h 298"/>
              <a:gd name="T26" fmla="*/ 870547 w 468"/>
              <a:gd name="T27" fmla="*/ 163182 h 298"/>
              <a:gd name="T28" fmla="*/ 952161 w 468"/>
              <a:gd name="T29" fmla="*/ 101989 h 298"/>
              <a:gd name="T30" fmla="*/ 963043 w 468"/>
              <a:gd name="T31" fmla="*/ 32054 h 298"/>
              <a:gd name="T32" fmla="*/ 1088184 w 468"/>
              <a:gd name="T33" fmla="*/ 26226 h 298"/>
              <a:gd name="T34" fmla="*/ 1180679 w 468"/>
              <a:gd name="T35" fmla="*/ 139871 h 298"/>
              <a:gd name="T36" fmla="*/ 1267734 w 468"/>
              <a:gd name="T37" fmla="*/ 157354 h 298"/>
              <a:gd name="T38" fmla="*/ 1240529 w 468"/>
              <a:gd name="T39" fmla="*/ 250601 h 298"/>
              <a:gd name="T40" fmla="*/ 1188841 w 468"/>
              <a:gd name="T41" fmla="*/ 303053 h 298"/>
              <a:gd name="T42" fmla="*/ 1156195 w 468"/>
              <a:gd name="T43" fmla="*/ 326365 h 298"/>
              <a:gd name="T44" fmla="*/ 1101786 w 468"/>
              <a:gd name="T45" fmla="*/ 343848 h 298"/>
              <a:gd name="T46" fmla="*/ 1055538 w 468"/>
              <a:gd name="T47" fmla="*/ 390472 h 298"/>
              <a:gd name="T48" fmla="*/ 995688 w 468"/>
              <a:gd name="T49" fmla="*/ 405042 h 298"/>
              <a:gd name="T50" fmla="*/ 982086 w 468"/>
              <a:gd name="T51" fmla="*/ 367160 h 298"/>
              <a:gd name="T52" fmla="*/ 911354 w 468"/>
              <a:gd name="T53" fmla="*/ 422526 h 298"/>
              <a:gd name="T54" fmla="*/ 946720 w 468"/>
              <a:gd name="T55" fmla="*/ 457493 h 298"/>
              <a:gd name="T56" fmla="*/ 1020172 w 468"/>
              <a:gd name="T57" fmla="*/ 451665 h 298"/>
              <a:gd name="T58" fmla="*/ 952161 w 468"/>
              <a:gd name="T59" fmla="*/ 518687 h 298"/>
              <a:gd name="T60" fmla="*/ 1003850 w 468"/>
              <a:gd name="T61" fmla="*/ 594450 h 298"/>
              <a:gd name="T62" fmla="*/ 1012011 w 468"/>
              <a:gd name="T63" fmla="*/ 641073 h 298"/>
              <a:gd name="T64" fmla="*/ 960322 w 468"/>
              <a:gd name="T65" fmla="*/ 722665 h 298"/>
              <a:gd name="T66" fmla="*/ 897752 w 468"/>
              <a:gd name="T67" fmla="*/ 798428 h 298"/>
              <a:gd name="T68" fmla="*/ 827020 w 468"/>
              <a:gd name="T69" fmla="*/ 824653 h 298"/>
              <a:gd name="T70" fmla="*/ 767170 w 468"/>
              <a:gd name="T71" fmla="*/ 856707 h 298"/>
              <a:gd name="T72" fmla="*/ 750847 w 468"/>
              <a:gd name="T73" fmla="*/ 842137 h 298"/>
              <a:gd name="T74" fmla="*/ 688276 w 468"/>
              <a:gd name="T75" fmla="*/ 827567 h 298"/>
              <a:gd name="T76" fmla="*/ 658351 w 468"/>
              <a:gd name="T77" fmla="*/ 801342 h 298"/>
              <a:gd name="T78" fmla="*/ 587619 w 468"/>
              <a:gd name="T79" fmla="*/ 821739 h 298"/>
              <a:gd name="T80" fmla="*/ 571296 w 468"/>
              <a:gd name="T81" fmla="*/ 845051 h 298"/>
              <a:gd name="T82" fmla="*/ 535931 w 468"/>
              <a:gd name="T83" fmla="*/ 824653 h 298"/>
              <a:gd name="T84" fmla="*/ 516887 w 468"/>
              <a:gd name="T85" fmla="*/ 780944 h 298"/>
              <a:gd name="T86" fmla="*/ 522328 w 468"/>
              <a:gd name="T87" fmla="*/ 737234 h 298"/>
              <a:gd name="T88" fmla="*/ 503285 w 468"/>
              <a:gd name="T89" fmla="*/ 676041 h 298"/>
              <a:gd name="T90" fmla="*/ 470639 w 468"/>
              <a:gd name="T91" fmla="*/ 655643 h 298"/>
              <a:gd name="T92" fmla="*/ 410789 w 468"/>
              <a:gd name="T93" fmla="*/ 678955 h 298"/>
              <a:gd name="T94" fmla="*/ 372703 w 468"/>
              <a:gd name="T95" fmla="*/ 681869 h 298"/>
              <a:gd name="T96" fmla="*/ 321014 w 468"/>
              <a:gd name="T97" fmla="*/ 699353 h 298"/>
              <a:gd name="T98" fmla="*/ 263885 w 468"/>
              <a:gd name="T99" fmla="*/ 684783 h 298"/>
              <a:gd name="T100" fmla="*/ 204034 w 468"/>
              <a:gd name="T101" fmla="*/ 652729 h 298"/>
              <a:gd name="T102" fmla="*/ 163228 w 468"/>
              <a:gd name="T103" fmla="*/ 626504 h 298"/>
              <a:gd name="T104" fmla="*/ 111539 w 468"/>
              <a:gd name="T105" fmla="*/ 603192 h 298"/>
              <a:gd name="T106" fmla="*/ 111539 w 468"/>
              <a:gd name="T107" fmla="*/ 544912 h 298"/>
              <a:gd name="T108" fmla="*/ 141464 w 468"/>
              <a:gd name="T109" fmla="*/ 501203 h 298"/>
              <a:gd name="T110" fmla="*/ 95216 w 468"/>
              <a:gd name="T111" fmla="*/ 504117 h 298"/>
              <a:gd name="T112" fmla="*/ 51689 w 468"/>
              <a:gd name="T113" fmla="*/ 483719 h 298"/>
              <a:gd name="T114" fmla="*/ 29925 w 468"/>
              <a:gd name="T115" fmla="*/ 451665 h 298"/>
              <a:gd name="T116" fmla="*/ 2720 w 468"/>
              <a:gd name="T117" fmla="*/ 402128 h 29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68" h="298">
                <a:moveTo>
                  <a:pt x="2" y="136"/>
                </a:moveTo>
                <a:cubicBezTo>
                  <a:pt x="4" y="134"/>
                  <a:pt x="13" y="127"/>
                  <a:pt x="15" y="127"/>
                </a:cubicBezTo>
                <a:cubicBezTo>
                  <a:pt x="17" y="127"/>
                  <a:pt x="17" y="130"/>
                  <a:pt x="18" y="130"/>
                </a:cubicBezTo>
                <a:cubicBezTo>
                  <a:pt x="19" y="131"/>
                  <a:pt x="22" y="131"/>
                  <a:pt x="24" y="130"/>
                </a:cubicBezTo>
                <a:cubicBezTo>
                  <a:pt x="26" y="129"/>
                  <a:pt x="24" y="123"/>
                  <a:pt x="26" y="123"/>
                </a:cubicBezTo>
                <a:cubicBezTo>
                  <a:pt x="28" y="123"/>
                  <a:pt x="34" y="123"/>
                  <a:pt x="37" y="122"/>
                </a:cubicBezTo>
                <a:cubicBezTo>
                  <a:pt x="40" y="121"/>
                  <a:pt x="50" y="116"/>
                  <a:pt x="51" y="114"/>
                </a:cubicBezTo>
                <a:cubicBezTo>
                  <a:pt x="52" y="113"/>
                  <a:pt x="52" y="113"/>
                  <a:pt x="52" y="112"/>
                </a:cubicBezTo>
                <a:cubicBezTo>
                  <a:pt x="53" y="108"/>
                  <a:pt x="54" y="103"/>
                  <a:pt x="54" y="102"/>
                </a:cubicBezTo>
                <a:cubicBezTo>
                  <a:pt x="54" y="101"/>
                  <a:pt x="51" y="86"/>
                  <a:pt x="51" y="86"/>
                </a:cubicBezTo>
                <a:cubicBezTo>
                  <a:pt x="51" y="86"/>
                  <a:pt x="65" y="82"/>
                  <a:pt x="66" y="82"/>
                </a:cubicBezTo>
                <a:cubicBezTo>
                  <a:pt x="68" y="82"/>
                  <a:pt x="74" y="65"/>
                  <a:pt x="74" y="65"/>
                </a:cubicBezTo>
                <a:cubicBezTo>
                  <a:pt x="74" y="65"/>
                  <a:pt x="88" y="68"/>
                  <a:pt x="91" y="67"/>
                </a:cubicBezTo>
                <a:cubicBezTo>
                  <a:pt x="94" y="65"/>
                  <a:pt x="92" y="55"/>
                  <a:pt x="94" y="54"/>
                </a:cubicBezTo>
                <a:cubicBezTo>
                  <a:pt x="96" y="53"/>
                  <a:pt x="98" y="53"/>
                  <a:pt x="99" y="52"/>
                </a:cubicBezTo>
                <a:cubicBezTo>
                  <a:pt x="105" y="45"/>
                  <a:pt x="105" y="45"/>
                  <a:pt x="105" y="45"/>
                </a:cubicBezTo>
                <a:cubicBezTo>
                  <a:pt x="107" y="46"/>
                  <a:pt x="110" y="47"/>
                  <a:pt x="110" y="47"/>
                </a:cubicBezTo>
                <a:cubicBezTo>
                  <a:pt x="110" y="47"/>
                  <a:pt x="113" y="54"/>
                  <a:pt x="115" y="56"/>
                </a:cubicBezTo>
                <a:cubicBezTo>
                  <a:pt x="117" y="57"/>
                  <a:pt x="124" y="57"/>
                  <a:pt x="126" y="59"/>
                </a:cubicBezTo>
                <a:cubicBezTo>
                  <a:pt x="128" y="61"/>
                  <a:pt x="134" y="71"/>
                  <a:pt x="134" y="74"/>
                </a:cubicBezTo>
                <a:cubicBezTo>
                  <a:pt x="133" y="77"/>
                  <a:pt x="130" y="80"/>
                  <a:pt x="133" y="83"/>
                </a:cubicBezTo>
                <a:cubicBezTo>
                  <a:pt x="136" y="85"/>
                  <a:pt x="149" y="86"/>
                  <a:pt x="151" y="86"/>
                </a:cubicBezTo>
                <a:cubicBezTo>
                  <a:pt x="154" y="87"/>
                  <a:pt x="162" y="91"/>
                  <a:pt x="164" y="93"/>
                </a:cubicBezTo>
                <a:cubicBezTo>
                  <a:pt x="167" y="95"/>
                  <a:pt x="174" y="106"/>
                  <a:pt x="174" y="107"/>
                </a:cubicBezTo>
                <a:cubicBezTo>
                  <a:pt x="174" y="108"/>
                  <a:pt x="208" y="107"/>
                  <a:pt x="210" y="108"/>
                </a:cubicBezTo>
                <a:cubicBezTo>
                  <a:pt x="212" y="110"/>
                  <a:pt x="236" y="118"/>
                  <a:pt x="239" y="118"/>
                </a:cubicBezTo>
                <a:cubicBezTo>
                  <a:pt x="242" y="117"/>
                  <a:pt x="256" y="111"/>
                  <a:pt x="259" y="111"/>
                </a:cubicBezTo>
                <a:cubicBezTo>
                  <a:pt x="261" y="111"/>
                  <a:pt x="275" y="111"/>
                  <a:pt x="278" y="109"/>
                </a:cubicBezTo>
                <a:cubicBezTo>
                  <a:pt x="282" y="107"/>
                  <a:pt x="294" y="101"/>
                  <a:pt x="293" y="98"/>
                </a:cubicBezTo>
                <a:cubicBezTo>
                  <a:pt x="293" y="95"/>
                  <a:pt x="288" y="94"/>
                  <a:pt x="289" y="91"/>
                </a:cubicBezTo>
                <a:cubicBezTo>
                  <a:pt x="291" y="88"/>
                  <a:pt x="293" y="85"/>
                  <a:pt x="296" y="85"/>
                </a:cubicBezTo>
                <a:cubicBezTo>
                  <a:pt x="299" y="85"/>
                  <a:pt x="306" y="89"/>
                  <a:pt x="310" y="88"/>
                </a:cubicBezTo>
                <a:cubicBezTo>
                  <a:pt x="313" y="86"/>
                  <a:pt x="324" y="82"/>
                  <a:pt x="325" y="80"/>
                </a:cubicBezTo>
                <a:cubicBezTo>
                  <a:pt x="326" y="79"/>
                  <a:pt x="334" y="72"/>
                  <a:pt x="336" y="71"/>
                </a:cubicBezTo>
                <a:cubicBezTo>
                  <a:pt x="337" y="71"/>
                  <a:pt x="344" y="69"/>
                  <a:pt x="346" y="69"/>
                </a:cubicBezTo>
                <a:cubicBezTo>
                  <a:pt x="348" y="69"/>
                  <a:pt x="352" y="74"/>
                  <a:pt x="353" y="73"/>
                </a:cubicBezTo>
                <a:cubicBezTo>
                  <a:pt x="354" y="73"/>
                  <a:pt x="355" y="71"/>
                  <a:pt x="355" y="70"/>
                </a:cubicBezTo>
                <a:cubicBezTo>
                  <a:pt x="356" y="70"/>
                  <a:pt x="356" y="66"/>
                  <a:pt x="354" y="64"/>
                </a:cubicBezTo>
                <a:cubicBezTo>
                  <a:pt x="352" y="62"/>
                  <a:pt x="345" y="57"/>
                  <a:pt x="342" y="57"/>
                </a:cubicBezTo>
                <a:cubicBezTo>
                  <a:pt x="339" y="57"/>
                  <a:pt x="334" y="61"/>
                  <a:pt x="333" y="61"/>
                </a:cubicBezTo>
                <a:cubicBezTo>
                  <a:pt x="331" y="61"/>
                  <a:pt x="325" y="61"/>
                  <a:pt x="324" y="61"/>
                </a:cubicBezTo>
                <a:cubicBezTo>
                  <a:pt x="323" y="61"/>
                  <a:pt x="320" y="57"/>
                  <a:pt x="320" y="56"/>
                </a:cubicBezTo>
                <a:cubicBezTo>
                  <a:pt x="319" y="55"/>
                  <a:pt x="329" y="41"/>
                  <a:pt x="329" y="40"/>
                </a:cubicBezTo>
                <a:cubicBezTo>
                  <a:pt x="330" y="40"/>
                  <a:pt x="340" y="43"/>
                  <a:pt x="341" y="42"/>
                </a:cubicBezTo>
                <a:cubicBezTo>
                  <a:pt x="342" y="41"/>
                  <a:pt x="349" y="37"/>
                  <a:pt x="350" y="35"/>
                </a:cubicBezTo>
                <a:cubicBezTo>
                  <a:pt x="350" y="33"/>
                  <a:pt x="357" y="24"/>
                  <a:pt x="359" y="21"/>
                </a:cubicBezTo>
                <a:cubicBezTo>
                  <a:pt x="361" y="18"/>
                  <a:pt x="361" y="15"/>
                  <a:pt x="360" y="14"/>
                </a:cubicBezTo>
                <a:cubicBezTo>
                  <a:pt x="360" y="13"/>
                  <a:pt x="354" y="13"/>
                  <a:pt x="354" y="11"/>
                </a:cubicBezTo>
                <a:cubicBezTo>
                  <a:pt x="354" y="9"/>
                  <a:pt x="358" y="5"/>
                  <a:pt x="362" y="4"/>
                </a:cubicBezTo>
                <a:cubicBezTo>
                  <a:pt x="365" y="3"/>
                  <a:pt x="381" y="0"/>
                  <a:pt x="385" y="3"/>
                </a:cubicBezTo>
                <a:cubicBezTo>
                  <a:pt x="390" y="6"/>
                  <a:pt x="399" y="7"/>
                  <a:pt x="400" y="9"/>
                </a:cubicBezTo>
                <a:cubicBezTo>
                  <a:pt x="402" y="11"/>
                  <a:pt x="411" y="33"/>
                  <a:pt x="412" y="35"/>
                </a:cubicBezTo>
                <a:cubicBezTo>
                  <a:pt x="412" y="38"/>
                  <a:pt x="412" y="40"/>
                  <a:pt x="415" y="42"/>
                </a:cubicBezTo>
                <a:cubicBezTo>
                  <a:pt x="418" y="44"/>
                  <a:pt x="432" y="46"/>
                  <a:pt x="434" y="48"/>
                </a:cubicBezTo>
                <a:cubicBezTo>
                  <a:pt x="436" y="50"/>
                  <a:pt x="439" y="61"/>
                  <a:pt x="440" y="61"/>
                </a:cubicBezTo>
                <a:cubicBezTo>
                  <a:pt x="441" y="61"/>
                  <a:pt x="449" y="61"/>
                  <a:pt x="451" y="60"/>
                </a:cubicBezTo>
                <a:cubicBezTo>
                  <a:pt x="453" y="58"/>
                  <a:pt x="464" y="51"/>
                  <a:pt x="466" y="54"/>
                </a:cubicBezTo>
                <a:cubicBezTo>
                  <a:pt x="468" y="56"/>
                  <a:pt x="468" y="60"/>
                  <a:pt x="468" y="61"/>
                </a:cubicBezTo>
                <a:cubicBezTo>
                  <a:pt x="467" y="63"/>
                  <a:pt x="462" y="69"/>
                  <a:pt x="462" y="71"/>
                </a:cubicBezTo>
                <a:cubicBezTo>
                  <a:pt x="461" y="74"/>
                  <a:pt x="457" y="86"/>
                  <a:pt x="456" y="86"/>
                </a:cubicBezTo>
                <a:cubicBezTo>
                  <a:pt x="456" y="86"/>
                  <a:pt x="447" y="84"/>
                  <a:pt x="444" y="85"/>
                </a:cubicBezTo>
                <a:cubicBezTo>
                  <a:pt x="442" y="86"/>
                  <a:pt x="437" y="87"/>
                  <a:pt x="439" y="89"/>
                </a:cubicBezTo>
                <a:cubicBezTo>
                  <a:pt x="440" y="91"/>
                  <a:pt x="439" y="103"/>
                  <a:pt x="437" y="104"/>
                </a:cubicBezTo>
                <a:cubicBezTo>
                  <a:pt x="437" y="104"/>
                  <a:pt x="435" y="104"/>
                  <a:pt x="434" y="105"/>
                </a:cubicBezTo>
                <a:cubicBezTo>
                  <a:pt x="433" y="105"/>
                  <a:pt x="432" y="105"/>
                  <a:pt x="431" y="105"/>
                </a:cubicBezTo>
                <a:cubicBezTo>
                  <a:pt x="428" y="106"/>
                  <a:pt x="426" y="111"/>
                  <a:pt x="425" y="112"/>
                </a:cubicBezTo>
                <a:cubicBezTo>
                  <a:pt x="423" y="112"/>
                  <a:pt x="418" y="114"/>
                  <a:pt x="417" y="115"/>
                </a:cubicBezTo>
                <a:cubicBezTo>
                  <a:pt x="416" y="116"/>
                  <a:pt x="418" y="119"/>
                  <a:pt x="415" y="119"/>
                </a:cubicBezTo>
                <a:cubicBezTo>
                  <a:pt x="413" y="119"/>
                  <a:pt x="408" y="116"/>
                  <a:pt x="405" y="118"/>
                </a:cubicBezTo>
                <a:cubicBezTo>
                  <a:pt x="402" y="120"/>
                  <a:pt x="400" y="125"/>
                  <a:pt x="398" y="126"/>
                </a:cubicBezTo>
                <a:cubicBezTo>
                  <a:pt x="396" y="127"/>
                  <a:pt x="390" y="130"/>
                  <a:pt x="390" y="131"/>
                </a:cubicBezTo>
                <a:cubicBezTo>
                  <a:pt x="388" y="134"/>
                  <a:pt x="388" y="134"/>
                  <a:pt x="388" y="134"/>
                </a:cubicBezTo>
                <a:cubicBezTo>
                  <a:pt x="387" y="134"/>
                  <a:pt x="387" y="134"/>
                  <a:pt x="386" y="134"/>
                </a:cubicBezTo>
                <a:cubicBezTo>
                  <a:pt x="384" y="134"/>
                  <a:pt x="376" y="139"/>
                  <a:pt x="373" y="141"/>
                </a:cubicBezTo>
                <a:cubicBezTo>
                  <a:pt x="371" y="142"/>
                  <a:pt x="367" y="141"/>
                  <a:pt x="366" y="139"/>
                </a:cubicBezTo>
                <a:cubicBezTo>
                  <a:pt x="366" y="137"/>
                  <a:pt x="370" y="131"/>
                  <a:pt x="371" y="130"/>
                </a:cubicBezTo>
                <a:cubicBezTo>
                  <a:pt x="372" y="129"/>
                  <a:pt x="373" y="127"/>
                  <a:pt x="370" y="125"/>
                </a:cubicBezTo>
                <a:cubicBezTo>
                  <a:pt x="367" y="123"/>
                  <a:pt x="362" y="125"/>
                  <a:pt x="361" y="126"/>
                </a:cubicBezTo>
                <a:cubicBezTo>
                  <a:pt x="359" y="128"/>
                  <a:pt x="352" y="136"/>
                  <a:pt x="350" y="138"/>
                </a:cubicBezTo>
                <a:cubicBezTo>
                  <a:pt x="348" y="140"/>
                  <a:pt x="343" y="140"/>
                  <a:pt x="341" y="140"/>
                </a:cubicBezTo>
                <a:cubicBezTo>
                  <a:pt x="339" y="139"/>
                  <a:pt x="335" y="142"/>
                  <a:pt x="335" y="145"/>
                </a:cubicBezTo>
                <a:cubicBezTo>
                  <a:pt x="335" y="148"/>
                  <a:pt x="339" y="150"/>
                  <a:pt x="341" y="150"/>
                </a:cubicBezTo>
                <a:cubicBezTo>
                  <a:pt x="344" y="150"/>
                  <a:pt x="345" y="149"/>
                  <a:pt x="347" y="149"/>
                </a:cubicBezTo>
                <a:cubicBezTo>
                  <a:pt x="348" y="149"/>
                  <a:pt x="347" y="156"/>
                  <a:pt x="348" y="157"/>
                </a:cubicBezTo>
                <a:cubicBezTo>
                  <a:pt x="349" y="158"/>
                  <a:pt x="353" y="159"/>
                  <a:pt x="355" y="158"/>
                </a:cubicBezTo>
                <a:cubicBezTo>
                  <a:pt x="356" y="156"/>
                  <a:pt x="359" y="153"/>
                  <a:pt x="360" y="152"/>
                </a:cubicBezTo>
                <a:cubicBezTo>
                  <a:pt x="362" y="151"/>
                  <a:pt x="374" y="155"/>
                  <a:pt x="375" y="155"/>
                </a:cubicBezTo>
                <a:cubicBezTo>
                  <a:pt x="377" y="156"/>
                  <a:pt x="374" y="159"/>
                  <a:pt x="374" y="161"/>
                </a:cubicBezTo>
                <a:cubicBezTo>
                  <a:pt x="374" y="162"/>
                  <a:pt x="366" y="162"/>
                  <a:pt x="363" y="164"/>
                </a:cubicBezTo>
                <a:cubicBezTo>
                  <a:pt x="359" y="167"/>
                  <a:pt x="348" y="176"/>
                  <a:pt x="350" y="178"/>
                </a:cubicBezTo>
                <a:cubicBezTo>
                  <a:pt x="352" y="180"/>
                  <a:pt x="357" y="182"/>
                  <a:pt x="358" y="184"/>
                </a:cubicBezTo>
                <a:cubicBezTo>
                  <a:pt x="359" y="186"/>
                  <a:pt x="362" y="193"/>
                  <a:pt x="362" y="195"/>
                </a:cubicBezTo>
                <a:cubicBezTo>
                  <a:pt x="363" y="197"/>
                  <a:pt x="369" y="202"/>
                  <a:pt x="369" y="204"/>
                </a:cubicBezTo>
                <a:cubicBezTo>
                  <a:pt x="369" y="207"/>
                  <a:pt x="370" y="210"/>
                  <a:pt x="369" y="211"/>
                </a:cubicBezTo>
                <a:cubicBezTo>
                  <a:pt x="369" y="212"/>
                  <a:pt x="359" y="216"/>
                  <a:pt x="359" y="217"/>
                </a:cubicBezTo>
                <a:cubicBezTo>
                  <a:pt x="359" y="218"/>
                  <a:pt x="372" y="218"/>
                  <a:pt x="372" y="220"/>
                </a:cubicBezTo>
                <a:cubicBezTo>
                  <a:pt x="372" y="222"/>
                  <a:pt x="370" y="226"/>
                  <a:pt x="369" y="229"/>
                </a:cubicBezTo>
                <a:cubicBezTo>
                  <a:pt x="367" y="231"/>
                  <a:pt x="360" y="239"/>
                  <a:pt x="358" y="242"/>
                </a:cubicBezTo>
                <a:cubicBezTo>
                  <a:pt x="357" y="244"/>
                  <a:pt x="353" y="245"/>
                  <a:pt x="353" y="248"/>
                </a:cubicBezTo>
                <a:cubicBezTo>
                  <a:pt x="353" y="250"/>
                  <a:pt x="354" y="255"/>
                  <a:pt x="353" y="256"/>
                </a:cubicBezTo>
                <a:cubicBezTo>
                  <a:pt x="351" y="257"/>
                  <a:pt x="344" y="262"/>
                  <a:pt x="342" y="264"/>
                </a:cubicBezTo>
                <a:cubicBezTo>
                  <a:pt x="340" y="266"/>
                  <a:pt x="331" y="273"/>
                  <a:pt x="330" y="274"/>
                </a:cubicBezTo>
                <a:cubicBezTo>
                  <a:pt x="329" y="276"/>
                  <a:pt x="321" y="280"/>
                  <a:pt x="318" y="280"/>
                </a:cubicBezTo>
                <a:cubicBezTo>
                  <a:pt x="314" y="280"/>
                  <a:pt x="311" y="282"/>
                  <a:pt x="309" y="280"/>
                </a:cubicBezTo>
                <a:cubicBezTo>
                  <a:pt x="307" y="277"/>
                  <a:pt x="305" y="281"/>
                  <a:pt x="304" y="283"/>
                </a:cubicBezTo>
                <a:cubicBezTo>
                  <a:pt x="303" y="285"/>
                  <a:pt x="302" y="287"/>
                  <a:pt x="299" y="287"/>
                </a:cubicBezTo>
                <a:cubicBezTo>
                  <a:pt x="296" y="287"/>
                  <a:pt x="286" y="288"/>
                  <a:pt x="284" y="289"/>
                </a:cubicBezTo>
                <a:cubicBezTo>
                  <a:pt x="283" y="291"/>
                  <a:pt x="281" y="291"/>
                  <a:pt x="282" y="294"/>
                </a:cubicBezTo>
                <a:cubicBezTo>
                  <a:pt x="283" y="296"/>
                  <a:pt x="283" y="298"/>
                  <a:pt x="280" y="298"/>
                </a:cubicBezTo>
                <a:cubicBezTo>
                  <a:pt x="278" y="298"/>
                  <a:pt x="278" y="298"/>
                  <a:pt x="277" y="297"/>
                </a:cubicBezTo>
                <a:cubicBezTo>
                  <a:pt x="277" y="295"/>
                  <a:pt x="277" y="290"/>
                  <a:pt x="276" y="289"/>
                </a:cubicBezTo>
                <a:cubicBezTo>
                  <a:pt x="275" y="287"/>
                  <a:pt x="268" y="286"/>
                  <a:pt x="266" y="287"/>
                </a:cubicBezTo>
                <a:cubicBezTo>
                  <a:pt x="265" y="287"/>
                  <a:pt x="264" y="288"/>
                  <a:pt x="263" y="289"/>
                </a:cubicBezTo>
                <a:cubicBezTo>
                  <a:pt x="263" y="289"/>
                  <a:pt x="254" y="284"/>
                  <a:pt x="253" y="284"/>
                </a:cubicBezTo>
                <a:cubicBezTo>
                  <a:pt x="252" y="283"/>
                  <a:pt x="256" y="279"/>
                  <a:pt x="254" y="278"/>
                </a:cubicBezTo>
                <a:cubicBezTo>
                  <a:pt x="252" y="277"/>
                  <a:pt x="249" y="277"/>
                  <a:pt x="247" y="277"/>
                </a:cubicBezTo>
                <a:cubicBezTo>
                  <a:pt x="246" y="276"/>
                  <a:pt x="243" y="275"/>
                  <a:pt x="242" y="275"/>
                </a:cubicBezTo>
                <a:cubicBezTo>
                  <a:pt x="241" y="276"/>
                  <a:pt x="227" y="280"/>
                  <a:pt x="225" y="280"/>
                </a:cubicBezTo>
                <a:cubicBezTo>
                  <a:pt x="225" y="280"/>
                  <a:pt x="223" y="281"/>
                  <a:pt x="221" y="281"/>
                </a:cubicBezTo>
                <a:cubicBezTo>
                  <a:pt x="219" y="281"/>
                  <a:pt x="217" y="281"/>
                  <a:pt x="216" y="282"/>
                </a:cubicBezTo>
                <a:cubicBezTo>
                  <a:pt x="215" y="282"/>
                  <a:pt x="216" y="290"/>
                  <a:pt x="215" y="291"/>
                </a:cubicBezTo>
                <a:cubicBezTo>
                  <a:pt x="214" y="291"/>
                  <a:pt x="213" y="289"/>
                  <a:pt x="212" y="289"/>
                </a:cubicBezTo>
                <a:cubicBezTo>
                  <a:pt x="211" y="289"/>
                  <a:pt x="211" y="289"/>
                  <a:pt x="210" y="290"/>
                </a:cubicBezTo>
                <a:cubicBezTo>
                  <a:pt x="207" y="286"/>
                  <a:pt x="207" y="286"/>
                  <a:pt x="207" y="286"/>
                </a:cubicBezTo>
                <a:cubicBezTo>
                  <a:pt x="207" y="286"/>
                  <a:pt x="204" y="286"/>
                  <a:pt x="203" y="286"/>
                </a:cubicBezTo>
                <a:cubicBezTo>
                  <a:pt x="201" y="286"/>
                  <a:pt x="199" y="285"/>
                  <a:pt x="197" y="283"/>
                </a:cubicBezTo>
                <a:cubicBezTo>
                  <a:pt x="195" y="281"/>
                  <a:pt x="200" y="277"/>
                  <a:pt x="198" y="276"/>
                </a:cubicBezTo>
                <a:cubicBezTo>
                  <a:pt x="197" y="275"/>
                  <a:pt x="193" y="272"/>
                  <a:pt x="193" y="271"/>
                </a:cubicBezTo>
                <a:cubicBezTo>
                  <a:pt x="193" y="269"/>
                  <a:pt x="192" y="268"/>
                  <a:pt x="190" y="268"/>
                </a:cubicBezTo>
                <a:cubicBezTo>
                  <a:pt x="189" y="268"/>
                  <a:pt x="186" y="270"/>
                  <a:pt x="184" y="269"/>
                </a:cubicBezTo>
                <a:cubicBezTo>
                  <a:pt x="183" y="268"/>
                  <a:pt x="183" y="265"/>
                  <a:pt x="184" y="263"/>
                </a:cubicBezTo>
                <a:cubicBezTo>
                  <a:pt x="185" y="260"/>
                  <a:pt x="192" y="255"/>
                  <a:pt x="192" y="253"/>
                </a:cubicBezTo>
                <a:cubicBezTo>
                  <a:pt x="193" y="251"/>
                  <a:pt x="194" y="241"/>
                  <a:pt x="193" y="239"/>
                </a:cubicBezTo>
                <a:cubicBezTo>
                  <a:pt x="192" y="238"/>
                  <a:pt x="191" y="239"/>
                  <a:pt x="189" y="238"/>
                </a:cubicBezTo>
                <a:cubicBezTo>
                  <a:pt x="188" y="237"/>
                  <a:pt x="188" y="233"/>
                  <a:pt x="185" y="232"/>
                </a:cubicBezTo>
                <a:cubicBezTo>
                  <a:pt x="183" y="232"/>
                  <a:pt x="182" y="234"/>
                  <a:pt x="181" y="234"/>
                </a:cubicBezTo>
                <a:cubicBezTo>
                  <a:pt x="179" y="234"/>
                  <a:pt x="175" y="234"/>
                  <a:pt x="174" y="233"/>
                </a:cubicBezTo>
                <a:cubicBezTo>
                  <a:pt x="173" y="232"/>
                  <a:pt x="175" y="226"/>
                  <a:pt x="173" y="225"/>
                </a:cubicBezTo>
                <a:cubicBezTo>
                  <a:pt x="172" y="224"/>
                  <a:pt x="167" y="227"/>
                  <a:pt x="165" y="226"/>
                </a:cubicBezTo>
                <a:cubicBezTo>
                  <a:pt x="163" y="225"/>
                  <a:pt x="162" y="225"/>
                  <a:pt x="160" y="226"/>
                </a:cubicBezTo>
                <a:cubicBezTo>
                  <a:pt x="158" y="227"/>
                  <a:pt x="154" y="232"/>
                  <a:pt x="151" y="233"/>
                </a:cubicBezTo>
                <a:cubicBezTo>
                  <a:pt x="149" y="233"/>
                  <a:pt x="144" y="236"/>
                  <a:pt x="142" y="237"/>
                </a:cubicBezTo>
                <a:cubicBezTo>
                  <a:pt x="141" y="237"/>
                  <a:pt x="140" y="238"/>
                  <a:pt x="140" y="238"/>
                </a:cubicBezTo>
                <a:cubicBezTo>
                  <a:pt x="138" y="237"/>
                  <a:pt x="138" y="234"/>
                  <a:pt x="137" y="234"/>
                </a:cubicBezTo>
                <a:cubicBezTo>
                  <a:pt x="135" y="234"/>
                  <a:pt x="130" y="233"/>
                  <a:pt x="128" y="233"/>
                </a:cubicBezTo>
                <a:cubicBezTo>
                  <a:pt x="126" y="233"/>
                  <a:pt x="122" y="234"/>
                  <a:pt x="121" y="236"/>
                </a:cubicBezTo>
                <a:cubicBezTo>
                  <a:pt x="120" y="237"/>
                  <a:pt x="120" y="241"/>
                  <a:pt x="118" y="240"/>
                </a:cubicBezTo>
                <a:cubicBezTo>
                  <a:pt x="116" y="239"/>
                  <a:pt x="118" y="235"/>
                  <a:pt x="116" y="234"/>
                </a:cubicBezTo>
                <a:cubicBezTo>
                  <a:pt x="113" y="234"/>
                  <a:pt x="114" y="237"/>
                  <a:pt x="110" y="237"/>
                </a:cubicBezTo>
                <a:cubicBezTo>
                  <a:pt x="105" y="237"/>
                  <a:pt x="101" y="236"/>
                  <a:pt x="97" y="235"/>
                </a:cubicBezTo>
                <a:cubicBezTo>
                  <a:pt x="94" y="234"/>
                  <a:pt x="89" y="233"/>
                  <a:pt x="86" y="231"/>
                </a:cubicBezTo>
                <a:cubicBezTo>
                  <a:pt x="83" y="229"/>
                  <a:pt x="81" y="225"/>
                  <a:pt x="81" y="225"/>
                </a:cubicBezTo>
                <a:cubicBezTo>
                  <a:pt x="75" y="224"/>
                  <a:pt x="75" y="224"/>
                  <a:pt x="75" y="224"/>
                </a:cubicBezTo>
                <a:cubicBezTo>
                  <a:pt x="75" y="224"/>
                  <a:pt x="72" y="221"/>
                  <a:pt x="70" y="220"/>
                </a:cubicBezTo>
                <a:cubicBezTo>
                  <a:pt x="68" y="219"/>
                  <a:pt x="65" y="215"/>
                  <a:pt x="65" y="215"/>
                </a:cubicBezTo>
                <a:cubicBezTo>
                  <a:pt x="60" y="215"/>
                  <a:pt x="60" y="215"/>
                  <a:pt x="60" y="215"/>
                </a:cubicBezTo>
                <a:cubicBezTo>
                  <a:pt x="57" y="218"/>
                  <a:pt x="57" y="218"/>
                  <a:pt x="57" y="218"/>
                </a:cubicBezTo>
                <a:cubicBezTo>
                  <a:pt x="57" y="218"/>
                  <a:pt x="57" y="217"/>
                  <a:pt x="56" y="217"/>
                </a:cubicBezTo>
                <a:cubicBezTo>
                  <a:pt x="53" y="215"/>
                  <a:pt x="41" y="208"/>
                  <a:pt x="41" y="207"/>
                </a:cubicBezTo>
                <a:cubicBezTo>
                  <a:pt x="41" y="206"/>
                  <a:pt x="38" y="198"/>
                  <a:pt x="38" y="198"/>
                </a:cubicBezTo>
                <a:cubicBezTo>
                  <a:pt x="38" y="198"/>
                  <a:pt x="45" y="197"/>
                  <a:pt x="46" y="196"/>
                </a:cubicBezTo>
                <a:cubicBezTo>
                  <a:pt x="46" y="195"/>
                  <a:pt x="41" y="187"/>
                  <a:pt x="41" y="187"/>
                </a:cubicBezTo>
                <a:cubicBezTo>
                  <a:pt x="46" y="186"/>
                  <a:pt x="46" y="186"/>
                  <a:pt x="46" y="186"/>
                </a:cubicBezTo>
                <a:cubicBezTo>
                  <a:pt x="47" y="186"/>
                  <a:pt x="50" y="180"/>
                  <a:pt x="51" y="179"/>
                </a:cubicBezTo>
                <a:cubicBezTo>
                  <a:pt x="52" y="178"/>
                  <a:pt x="52" y="174"/>
                  <a:pt x="52" y="172"/>
                </a:cubicBezTo>
                <a:cubicBezTo>
                  <a:pt x="51" y="171"/>
                  <a:pt x="46" y="169"/>
                  <a:pt x="45" y="169"/>
                </a:cubicBezTo>
                <a:cubicBezTo>
                  <a:pt x="44" y="169"/>
                  <a:pt x="42" y="169"/>
                  <a:pt x="41" y="169"/>
                </a:cubicBezTo>
                <a:cubicBezTo>
                  <a:pt x="35" y="173"/>
                  <a:pt x="35" y="173"/>
                  <a:pt x="35" y="173"/>
                </a:cubicBezTo>
                <a:cubicBezTo>
                  <a:pt x="35" y="172"/>
                  <a:pt x="33" y="172"/>
                  <a:pt x="31" y="172"/>
                </a:cubicBezTo>
                <a:cubicBezTo>
                  <a:pt x="29" y="172"/>
                  <a:pt x="27" y="172"/>
                  <a:pt x="26" y="171"/>
                </a:cubicBezTo>
                <a:cubicBezTo>
                  <a:pt x="23" y="169"/>
                  <a:pt x="21" y="169"/>
                  <a:pt x="19" y="166"/>
                </a:cubicBezTo>
                <a:cubicBezTo>
                  <a:pt x="17" y="163"/>
                  <a:pt x="13" y="161"/>
                  <a:pt x="12" y="160"/>
                </a:cubicBezTo>
                <a:cubicBezTo>
                  <a:pt x="10" y="160"/>
                  <a:pt x="11" y="160"/>
                  <a:pt x="11" y="156"/>
                </a:cubicBezTo>
                <a:cubicBezTo>
                  <a:pt x="11" y="156"/>
                  <a:pt x="11" y="155"/>
                  <a:pt x="11" y="155"/>
                </a:cubicBezTo>
                <a:cubicBezTo>
                  <a:pt x="11" y="151"/>
                  <a:pt x="11" y="147"/>
                  <a:pt x="10" y="147"/>
                </a:cubicBezTo>
                <a:cubicBezTo>
                  <a:pt x="8" y="146"/>
                  <a:pt x="5" y="146"/>
                  <a:pt x="3" y="145"/>
                </a:cubicBezTo>
                <a:cubicBezTo>
                  <a:pt x="1" y="144"/>
                  <a:pt x="0" y="141"/>
                  <a:pt x="1" y="138"/>
                </a:cubicBezTo>
                <a:cubicBezTo>
                  <a:pt x="1" y="137"/>
                  <a:pt x="1" y="136"/>
                  <a:pt x="2" y="136"/>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89" name="Freeform 144"/>
          <p:cNvSpPr>
            <a:spLocks/>
          </p:cNvSpPr>
          <p:nvPr>
            <p:custDataLst>
              <p:tags r:id="rId85"/>
            </p:custDataLst>
          </p:nvPr>
        </p:nvSpPr>
        <p:spPr bwMode="auto">
          <a:xfrm>
            <a:off x="9938340" y="4473879"/>
            <a:ext cx="35122" cy="45659"/>
          </a:xfrm>
          <a:custGeom>
            <a:avLst/>
            <a:gdLst>
              <a:gd name="T0" fmla="*/ 26458 w 12"/>
              <a:gd name="T1" fmla="*/ 8845 h 14"/>
              <a:gd name="T2" fmla="*/ 26458 w 12"/>
              <a:gd name="T3" fmla="*/ 32430 h 14"/>
              <a:gd name="T4" fmla="*/ 10583 w 12"/>
              <a:gd name="T5" fmla="*/ 41275 h 14"/>
              <a:gd name="T6" fmla="*/ 0 w 12"/>
              <a:gd name="T7" fmla="*/ 26534 h 14"/>
              <a:gd name="T8" fmla="*/ 10583 w 12"/>
              <a:gd name="T9" fmla="*/ 14741 h 14"/>
              <a:gd name="T10" fmla="*/ 26458 w 12"/>
              <a:gd name="T11" fmla="*/ 8845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4">
                <a:moveTo>
                  <a:pt x="10" y="3"/>
                </a:moveTo>
                <a:cubicBezTo>
                  <a:pt x="12" y="6"/>
                  <a:pt x="10" y="9"/>
                  <a:pt x="10" y="11"/>
                </a:cubicBezTo>
                <a:cubicBezTo>
                  <a:pt x="10" y="13"/>
                  <a:pt x="7" y="14"/>
                  <a:pt x="4" y="14"/>
                </a:cubicBezTo>
                <a:cubicBezTo>
                  <a:pt x="1" y="14"/>
                  <a:pt x="0" y="11"/>
                  <a:pt x="0" y="9"/>
                </a:cubicBezTo>
                <a:cubicBezTo>
                  <a:pt x="0" y="8"/>
                  <a:pt x="2" y="6"/>
                  <a:pt x="4" y="5"/>
                </a:cubicBezTo>
                <a:cubicBezTo>
                  <a:pt x="4" y="5"/>
                  <a:pt x="10" y="0"/>
                  <a:pt x="10" y="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0" name="Freeform 146"/>
          <p:cNvSpPr>
            <a:spLocks/>
          </p:cNvSpPr>
          <p:nvPr>
            <p:custDataLst>
              <p:tags r:id="rId86"/>
            </p:custDataLst>
          </p:nvPr>
        </p:nvSpPr>
        <p:spPr bwMode="auto">
          <a:xfrm>
            <a:off x="9827706" y="4955050"/>
            <a:ext cx="136976" cy="200195"/>
          </a:xfrm>
          <a:custGeom>
            <a:avLst/>
            <a:gdLst>
              <a:gd name="T0" fmla="*/ 24227 w 46"/>
              <a:gd name="T1" fmla="*/ 122596 h 62"/>
              <a:gd name="T2" fmla="*/ 43070 w 46"/>
              <a:gd name="T3" fmla="*/ 110920 h 62"/>
              <a:gd name="T4" fmla="*/ 45761 w 46"/>
              <a:gd name="T5" fmla="*/ 84650 h 62"/>
              <a:gd name="T6" fmla="*/ 8076 w 46"/>
              <a:gd name="T7" fmla="*/ 17514 h 62"/>
              <a:gd name="T8" fmla="*/ 5384 w 46"/>
              <a:gd name="T9" fmla="*/ 0 h 62"/>
              <a:gd name="T10" fmla="*/ 34994 w 46"/>
              <a:gd name="T11" fmla="*/ 14595 h 62"/>
              <a:gd name="T12" fmla="*/ 53837 w 46"/>
              <a:gd name="T13" fmla="*/ 52541 h 62"/>
              <a:gd name="T14" fmla="*/ 67296 w 46"/>
              <a:gd name="T15" fmla="*/ 49622 h 62"/>
              <a:gd name="T16" fmla="*/ 75372 w 46"/>
              <a:gd name="T17" fmla="*/ 78812 h 62"/>
              <a:gd name="T18" fmla="*/ 96907 w 46"/>
              <a:gd name="T19" fmla="*/ 81731 h 62"/>
              <a:gd name="T20" fmla="*/ 118441 w 46"/>
              <a:gd name="T21" fmla="*/ 72974 h 62"/>
              <a:gd name="T22" fmla="*/ 118441 w 46"/>
              <a:gd name="T23" fmla="*/ 99244 h 62"/>
              <a:gd name="T24" fmla="*/ 107674 w 46"/>
              <a:gd name="T25" fmla="*/ 116758 h 62"/>
              <a:gd name="T26" fmla="*/ 86139 w 46"/>
              <a:gd name="T27" fmla="*/ 116758 h 62"/>
              <a:gd name="T28" fmla="*/ 91523 w 46"/>
              <a:gd name="T29" fmla="*/ 137191 h 62"/>
              <a:gd name="T30" fmla="*/ 67296 w 46"/>
              <a:gd name="T31" fmla="*/ 175137 h 62"/>
              <a:gd name="T32" fmla="*/ 53837 w 46"/>
              <a:gd name="T33" fmla="*/ 169299 h 62"/>
              <a:gd name="T34" fmla="*/ 45761 w 46"/>
              <a:gd name="T35" fmla="*/ 166380 h 62"/>
              <a:gd name="T36" fmla="*/ 53837 w 46"/>
              <a:gd name="T37" fmla="*/ 145948 h 62"/>
              <a:gd name="T38" fmla="*/ 24227 w 46"/>
              <a:gd name="T39" fmla="*/ 122596 h 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6" h="62">
                <a:moveTo>
                  <a:pt x="9" y="42"/>
                </a:moveTo>
                <a:cubicBezTo>
                  <a:pt x="9" y="39"/>
                  <a:pt x="16" y="39"/>
                  <a:pt x="16" y="38"/>
                </a:cubicBezTo>
                <a:cubicBezTo>
                  <a:pt x="16" y="37"/>
                  <a:pt x="18" y="30"/>
                  <a:pt x="17" y="29"/>
                </a:cubicBezTo>
                <a:cubicBezTo>
                  <a:pt x="17" y="28"/>
                  <a:pt x="4" y="7"/>
                  <a:pt x="3" y="6"/>
                </a:cubicBezTo>
                <a:cubicBezTo>
                  <a:pt x="2" y="4"/>
                  <a:pt x="0" y="0"/>
                  <a:pt x="2" y="0"/>
                </a:cubicBezTo>
                <a:cubicBezTo>
                  <a:pt x="5" y="0"/>
                  <a:pt x="11" y="4"/>
                  <a:pt x="13" y="5"/>
                </a:cubicBezTo>
                <a:cubicBezTo>
                  <a:pt x="14" y="7"/>
                  <a:pt x="19" y="18"/>
                  <a:pt x="20" y="18"/>
                </a:cubicBezTo>
                <a:cubicBezTo>
                  <a:pt x="20" y="18"/>
                  <a:pt x="24" y="15"/>
                  <a:pt x="25" y="17"/>
                </a:cubicBezTo>
                <a:cubicBezTo>
                  <a:pt x="27" y="19"/>
                  <a:pt x="26" y="26"/>
                  <a:pt x="28" y="27"/>
                </a:cubicBezTo>
                <a:cubicBezTo>
                  <a:pt x="30" y="27"/>
                  <a:pt x="35" y="30"/>
                  <a:pt x="36" y="28"/>
                </a:cubicBezTo>
                <a:cubicBezTo>
                  <a:pt x="37" y="27"/>
                  <a:pt x="42" y="24"/>
                  <a:pt x="44" y="25"/>
                </a:cubicBezTo>
                <a:cubicBezTo>
                  <a:pt x="46" y="26"/>
                  <a:pt x="45" y="32"/>
                  <a:pt x="44" y="34"/>
                </a:cubicBezTo>
                <a:cubicBezTo>
                  <a:pt x="43" y="35"/>
                  <a:pt x="43" y="41"/>
                  <a:pt x="40" y="40"/>
                </a:cubicBezTo>
                <a:cubicBezTo>
                  <a:pt x="38" y="39"/>
                  <a:pt x="35" y="38"/>
                  <a:pt x="32" y="40"/>
                </a:cubicBezTo>
                <a:cubicBezTo>
                  <a:pt x="30" y="43"/>
                  <a:pt x="35" y="45"/>
                  <a:pt x="34" y="47"/>
                </a:cubicBezTo>
                <a:cubicBezTo>
                  <a:pt x="33" y="48"/>
                  <a:pt x="28" y="58"/>
                  <a:pt x="25" y="60"/>
                </a:cubicBezTo>
                <a:cubicBezTo>
                  <a:pt x="23" y="62"/>
                  <a:pt x="23" y="61"/>
                  <a:pt x="20" y="58"/>
                </a:cubicBezTo>
                <a:cubicBezTo>
                  <a:pt x="19" y="57"/>
                  <a:pt x="17" y="58"/>
                  <a:pt x="17" y="57"/>
                </a:cubicBezTo>
                <a:cubicBezTo>
                  <a:pt x="17" y="56"/>
                  <a:pt x="22" y="54"/>
                  <a:pt x="20" y="50"/>
                </a:cubicBezTo>
                <a:cubicBezTo>
                  <a:pt x="18" y="46"/>
                  <a:pt x="10" y="45"/>
                  <a:pt x="9" y="42"/>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1" name="Freeform 147"/>
          <p:cNvSpPr>
            <a:spLocks/>
          </p:cNvSpPr>
          <p:nvPr>
            <p:custDataLst>
              <p:tags r:id="rId87"/>
            </p:custDataLst>
          </p:nvPr>
        </p:nvSpPr>
        <p:spPr bwMode="auto">
          <a:xfrm>
            <a:off x="9681950" y="5121878"/>
            <a:ext cx="186146" cy="186146"/>
          </a:xfrm>
          <a:custGeom>
            <a:avLst/>
            <a:gdLst>
              <a:gd name="T0" fmla="*/ 29855 w 62"/>
              <a:gd name="T1" fmla="*/ 156670 h 58"/>
              <a:gd name="T2" fmla="*/ 5428 w 62"/>
              <a:gd name="T3" fmla="*/ 150867 h 58"/>
              <a:gd name="T4" fmla="*/ 40712 w 62"/>
              <a:gd name="T5" fmla="*/ 95743 h 58"/>
              <a:gd name="T6" fmla="*/ 54282 w 62"/>
              <a:gd name="T7" fmla="*/ 92841 h 58"/>
              <a:gd name="T8" fmla="*/ 97708 w 62"/>
              <a:gd name="T9" fmla="*/ 60927 h 58"/>
              <a:gd name="T10" fmla="*/ 103136 w 62"/>
              <a:gd name="T11" fmla="*/ 34816 h 58"/>
              <a:gd name="T12" fmla="*/ 119421 w 62"/>
              <a:gd name="T13" fmla="*/ 26112 h 58"/>
              <a:gd name="T14" fmla="*/ 122135 w 62"/>
              <a:gd name="T15" fmla="*/ 2901 h 58"/>
              <a:gd name="T16" fmla="*/ 138420 w 62"/>
              <a:gd name="T17" fmla="*/ 2901 h 58"/>
              <a:gd name="T18" fmla="*/ 143848 w 62"/>
              <a:gd name="T19" fmla="*/ 23210 h 58"/>
              <a:gd name="T20" fmla="*/ 160133 w 62"/>
              <a:gd name="T21" fmla="*/ 11605 h 58"/>
              <a:gd name="T22" fmla="*/ 165561 w 62"/>
              <a:gd name="T23" fmla="*/ 37717 h 58"/>
              <a:gd name="T24" fmla="*/ 135706 w 62"/>
              <a:gd name="T25" fmla="*/ 72532 h 58"/>
              <a:gd name="T26" fmla="*/ 143848 w 62"/>
              <a:gd name="T27" fmla="*/ 92841 h 58"/>
              <a:gd name="T28" fmla="*/ 108565 w 62"/>
              <a:gd name="T29" fmla="*/ 98644 h 58"/>
              <a:gd name="T30" fmla="*/ 86852 w 62"/>
              <a:gd name="T31" fmla="*/ 147966 h 58"/>
              <a:gd name="T32" fmla="*/ 56996 w 62"/>
              <a:gd name="T33" fmla="*/ 168275 h 58"/>
              <a:gd name="T34" fmla="*/ 29855 w 62"/>
              <a:gd name="T35" fmla="*/ 15667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2" h="58">
                <a:moveTo>
                  <a:pt x="11" y="54"/>
                </a:moveTo>
                <a:cubicBezTo>
                  <a:pt x="9" y="54"/>
                  <a:pt x="2" y="55"/>
                  <a:pt x="2" y="52"/>
                </a:cubicBezTo>
                <a:cubicBezTo>
                  <a:pt x="0" y="47"/>
                  <a:pt x="13" y="34"/>
                  <a:pt x="15" y="33"/>
                </a:cubicBezTo>
                <a:cubicBezTo>
                  <a:pt x="16" y="32"/>
                  <a:pt x="18" y="33"/>
                  <a:pt x="20" y="32"/>
                </a:cubicBezTo>
                <a:cubicBezTo>
                  <a:pt x="21" y="32"/>
                  <a:pt x="35" y="23"/>
                  <a:pt x="36" y="21"/>
                </a:cubicBezTo>
                <a:cubicBezTo>
                  <a:pt x="37" y="19"/>
                  <a:pt x="38" y="13"/>
                  <a:pt x="38" y="12"/>
                </a:cubicBezTo>
                <a:cubicBezTo>
                  <a:pt x="39" y="11"/>
                  <a:pt x="43" y="11"/>
                  <a:pt x="44" y="9"/>
                </a:cubicBezTo>
                <a:cubicBezTo>
                  <a:pt x="44" y="8"/>
                  <a:pt x="44" y="2"/>
                  <a:pt x="45" y="1"/>
                </a:cubicBezTo>
                <a:cubicBezTo>
                  <a:pt x="46" y="1"/>
                  <a:pt x="49" y="1"/>
                  <a:pt x="51" y="1"/>
                </a:cubicBezTo>
                <a:cubicBezTo>
                  <a:pt x="53" y="0"/>
                  <a:pt x="50" y="8"/>
                  <a:pt x="53" y="8"/>
                </a:cubicBezTo>
                <a:cubicBezTo>
                  <a:pt x="55" y="8"/>
                  <a:pt x="58" y="4"/>
                  <a:pt x="59" y="4"/>
                </a:cubicBezTo>
                <a:cubicBezTo>
                  <a:pt x="60" y="4"/>
                  <a:pt x="61" y="11"/>
                  <a:pt x="61" y="13"/>
                </a:cubicBezTo>
                <a:cubicBezTo>
                  <a:pt x="62" y="14"/>
                  <a:pt x="50" y="23"/>
                  <a:pt x="50" y="25"/>
                </a:cubicBezTo>
                <a:cubicBezTo>
                  <a:pt x="49" y="26"/>
                  <a:pt x="54" y="31"/>
                  <a:pt x="53" y="32"/>
                </a:cubicBezTo>
                <a:cubicBezTo>
                  <a:pt x="51" y="34"/>
                  <a:pt x="43" y="32"/>
                  <a:pt x="40" y="34"/>
                </a:cubicBezTo>
                <a:cubicBezTo>
                  <a:pt x="38" y="37"/>
                  <a:pt x="35" y="49"/>
                  <a:pt x="32" y="51"/>
                </a:cubicBezTo>
                <a:cubicBezTo>
                  <a:pt x="30" y="54"/>
                  <a:pt x="25" y="58"/>
                  <a:pt x="21" y="58"/>
                </a:cubicBezTo>
                <a:cubicBezTo>
                  <a:pt x="17" y="57"/>
                  <a:pt x="12" y="54"/>
                  <a:pt x="11" y="54"/>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2" name="Freeform 148"/>
          <p:cNvSpPr>
            <a:spLocks/>
          </p:cNvSpPr>
          <p:nvPr>
            <p:custDataLst>
              <p:tags r:id="rId88"/>
            </p:custDataLst>
          </p:nvPr>
        </p:nvSpPr>
        <p:spPr bwMode="auto">
          <a:xfrm>
            <a:off x="9609951" y="4559927"/>
            <a:ext cx="98341" cy="79024"/>
          </a:xfrm>
          <a:custGeom>
            <a:avLst/>
            <a:gdLst>
              <a:gd name="T0" fmla="*/ 48491 w 33"/>
              <a:gd name="T1" fmla="*/ 20836 h 24"/>
              <a:gd name="T2" fmla="*/ 86206 w 33"/>
              <a:gd name="T3" fmla="*/ 56555 h 24"/>
              <a:gd name="T4" fmla="*/ 75430 w 33"/>
              <a:gd name="T5" fmla="*/ 71438 h 24"/>
              <a:gd name="T6" fmla="*/ 26939 w 33"/>
              <a:gd name="T7" fmla="*/ 38696 h 24"/>
              <a:gd name="T8" fmla="*/ 10776 w 33"/>
              <a:gd name="T9" fmla="*/ 0 h 24"/>
              <a:gd name="T10" fmla="*/ 48491 w 33"/>
              <a:gd name="T11" fmla="*/ 20836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24">
                <a:moveTo>
                  <a:pt x="18" y="7"/>
                </a:moveTo>
                <a:cubicBezTo>
                  <a:pt x="18" y="7"/>
                  <a:pt x="30" y="17"/>
                  <a:pt x="32" y="19"/>
                </a:cubicBezTo>
                <a:cubicBezTo>
                  <a:pt x="33" y="21"/>
                  <a:pt x="31" y="24"/>
                  <a:pt x="28" y="24"/>
                </a:cubicBezTo>
                <a:cubicBezTo>
                  <a:pt x="26" y="24"/>
                  <a:pt x="14" y="16"/>
                  <a:pt x="10" y="13"/>
                </a:cubicBezTo>
                <a:cubicBezTo>
                  <a:pt x="6" y="10"/>
                  <a:pt x="0" y="0"/>
                  <a:pt x="4" y="0"/>
                </a:cubicBezTo>
                <a:cubicBezTo>
                  <a:pt x="8" y="0"/>
                  <a:pt x="14" y="5"/>
                  <a:pt x="18" y="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3" name="Freeform 150"/>
          <p:cNvSpPr>
            <a:spLocks/>
          </p:cNvSpPr>
          <p:nvPr>
            <p:custDataLst>
              <p:tags r:id="rId89"/>
            </p:custDataLst>
          </p:nvPr>
        </p:nvSpPr>
        <p:spPr bwMode="auto">
          <a:xfrm>
            <a:off x="9413268" y="4189391"/>
            <a:ext cx="49171" cy="59707"/>
          </a:xfrm>
          <a:custGeom>
            <a:avLst/>
            <a:gdLst>
              <a:gd name="T0" fmla="*/ 11113 w 16"/>
              <a:gd name="T1" fmla="*/ 2999 h 18"/>
              <a:gd name="T2" fmla="*/ 33338 w 16"/>
              <a:gd name="T3" fmla="*/ 26988 h 18"/>
              <a:gd name="T4" fmla="*/ 44450 w 16"/>
              <a:gd name="T5" fmla="*/ 41981 h 18"/>
              <a:gd name="T6" fmla="*/ 33338 w 16"/>
              <a:gd name="T7" fmla="*/ 53975 h 18"/>
              <a:gd name="T8" fmla="*/ 11113 w 16"/>
              <a:gd name="T9" fmla="*/ 35983 h 18"/>
              <a:gd name="T10" fmla="*/ 5556 w 16"/>
              <a:gd name="T11" fmla="*/ 8996 h 18"/>
              <a:gd name="T12" fmla="*/ 11113 w 16"/>
              <a:gd name="T13" fmla="*/ 299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18">
                <a:moveTo>
                  <a:pt x="4" y="1"/>
                </a:moveTo>
                <a:cubicBezTo>
                  <a:pt x="6" y="2"/>
                  <a:pt x="8" y="5"/>
                  <a:pt x="12" y="9"/>
                </a:cubicBezTo>
                <a:cubicBezTo>
                  <a:pt x="14" y="12"/>
                  <a:pt x="16" y="10"/>
                  <a:pt x="16" y="14"/>
                </a:cubicBezTo>
                <a:cubicBezTo>
                  <a:pt x="16" y="17"/>
                  <a:pt x="14" y="18"/>
                  <a:pt x="12" y="18"/>
                </a:cubicBezTo>
                <a:cubicBezTo>
                  <a:pt x="10" y="18"/>
                  <a:pt x="5" y="14"/>
                  <a:pt x="4" y="12"/>
                </a:cubicBezTo>
                <a:cubicBezTo>
                  <a:pt x="4" y="9"/>
                  <a:pt x="0" y="4"/>
                  <a:pt x="2" y="3"/>
                </a:cubicBezTo>
                <a:cubicBezTo>
                  <a:pt x="2" y="3"/>
                  <a:pt x="2" y="0"/>
                  <a:pt x="4" y="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4" name="Freeform 151"/>
          <p:cNvSpPr>
            <a:spLocks/>
          </p:cNvSpPr>
          <p:nvPr>
            <p:custDataLst>
              <p:tags r:id="rId90"/>
            </p:custDataLst>
          </p:nvPr>
        </p:nvSpPr>
        <p:spPr bwMode="auto">
          <a:xfrm>
            <a:off x="9269268" y="4149000"/>
            <a:ext cx="91317" cy="77268"/>
          </a:xfrm>
          <a:custGeom>
            <a:avLst/>
            <a:gdLst>
              <a:gd name="T0" fmla="*/ 30268 w 30"/>
              <a:gd name="T1" fmla="*/ 66940 h 24"/>
              <a:gd name="T2" fmla="*/ 0 w 30"/>
              <a:gd name="T3" fmla="*/ 46567 h 24"/>
              <a:gd name="T4" fmla="*/ 22013 w 30"/>
              <a:gd name="T5" fmla="*/ 43656 h 24"/>
              <a:gd name="T6" fmla="*/ 55033 w 30"/>
              <a:gd name="T7" fmla="*/ 34925 h 24"/>
              <a:gd name="T8" fmla="*/ 66040 w 30"/>
              <a:gd name="T9" fmla="*/ 8731 h 24"/>
              <a:gd name="T10" fmla="*/ 71543 w 30"/>
              <a:gd name="T11" fmla="*/ 0 h 24"/>
              <a:gd name="T12" fmla="*/ 82550 w 30"/>
              <a:gd name="T13" fmla="*/ 11642 h 24"/>
              <a:gd name="T14" fmla="*/ 71543 w 30"/>
              <a:gd name="T15" fmla="*/ 52388 h 24"/>
              <a:gd name="T16" fmla="*/ 30268 w 30"/>
              <a:gd name="T17" fmla="*/ 6694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 h="24">
                <a:moveTo>
                  <a:pt x="11" y="23"/>
                </a:moveTo>
                <a:cubicBezTo>
                  <a:pt x="5" y="22"/>
                  <a:pt x="0" y="18"/>
                  <a:pt x="0" y="16"/>
                </a:cubicBezTo>
                <a:cubicBezTo>
                  <a:pt x="2" y="14"/>
                  <a:pt x="8" y="15"/>
                  <a:pt x="8" y="15"/>
                </a:cubicBezTo>
                <a:cubicBezTo>
                  <a:pt x="11" y="15"/>
                  <a:pt x="20" y="12"/>
                  <a:pt x="20" y="12"/>
                </a:cubicBezTo>
                <a:cubicBezTo>
                  <a:pt x="20" y="12"/>
                  <a:pt x="26" y="7"/>
                  <a:pt x="24" y="3"/>
                </a:cubicBezTo>
                <a:cubicBezTo>
                  <a:pt x="22" y="0"/>
                  <a:pt x="25" y="0"/>
                  <a:pt x="26" y="0"/>
                </a:cubicBezTo>
                <a:cubicBezTo>
                  <a:pt x="28" y="0"/>
                  <a:pt x="30" y="2"/>
                  <a:pt x="30" y="4"/>
                </a:cubicBezTo>
                <a:cubicBezTo>
                  <a:pt x="30" y="7"/>
                  <a:pt x="30" y="17"/>
                  <a:pt x="26" y="18"/>
                </a:cubicBezTo>
                <a:cubicBezTo>
                  <a:pt x="22" y="19"/>
                  <a:pt x="17" y="24"/>
                  <a:pt x="11" y="2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5" name="Freeform 152"/>
          <p:cNvSpPr>
            <a:spLocks/>
          </p:cNvSpPr>
          <p:nvPr>
            <p:custDataLst>
              <p:tags r:id="rId91"/>
            </p:custDataLst>
          </p:nvPr>
        </p:nvSpPr>
        <p:spPr bwMode="auto">
          <a:xfrm>
            <a:off x="9100683" y="4129683"/>
            <a:ext cx="231805" cy="207220"/>
          </a:xfrm>
          <a:custGeom>
            <a:avLst/>
            <a:gdLst>
              <a:gd name="T0" fmla="*/ 0 w 77"/>
              <a:gd name="T1" fmla="*/ 146348 h 64"/>
              <a:gd name="T2" fmla="*/ 0 w 77"/>
              <a:gd name="T3" fmla="*/ 0 h 64"/>
              <a:gd name="T4" fmla="*/ 38100 w 77"/>
              <a:gd name="T5" fmla="*/ 14635 h 64"/>
              <a:gd name="T6" fmla="*/ 84364 w 77"/>
              <a:gd name="T7" fmla="*/ 38050 h 64"/>
              <a:gd name="T8" fmla="*/ 100693 w 77"/>
              <a:gd name="T9" fmla="*/ 55612 h 64"/>
              <a:gd name="T10" fmla="*/ 103414 w 77"/>
              <a:gd name="T11" fmla="*/ 67320 h 64"/>
              <a:gd name="T12" fmla="*/ 138793 w 77"/>
              <a:gd name="T13" fmla="*/ 79028 h 64"/>
              <a:gd name="T14" fmla="*/ 144236 w 77"/>
              <a:gd name="T15" fmla="*/ 96589 h 64"/>
              <a:gd name="T16" fmla="*/ 125186 w 77"/>
              <a:gd name="T17" fmla="*/ 99516 h 64"/>
              <a:gd name="T18" fmla="*/ 144236 w 77"/>
              <a:gd name="T19" fmla="*/ 122932 h 64"/>
              <a:gd name="T20" fmla="*/ 157843 w 77"/>
              <a:gd name="T21" fmla="*/ 146348 h 64"/>
              <a:gd name="T22" fmla="*/ 174171 w 77"/>
              <a:gd name="T23" fmla="*/ 143421 h 64"/>
              <a:gd name="T24" fmla="*/ 179614 w 77"/>
              <a:gd name="T25" fmla="*/ 155129 h 64"/>
              <a:gd name="T26" fmla="*/ 190500 w 77"/>
              <a:gd name="T27" fmla="*/ 166836 h 64"/>
              <a:gd name="T28" fmla="*/ 209550 w 77"/>
              <a:gd name="T29" fmla="*/ 178544 h 64"/>
              <a:gd name="T30" fmla="*/ 190500 w 77"/>
              <a:gd name="T31" fmla="*/ 184398 h 64"/>
              <a:gd name="T32" fmla="*/ 163286 w 77"/>
              <a:gd name="T33" fmla="*/ 175617 h 64"/>
              <a:gd name="T34" fmla="*/ 136071 w 77"/>
              <a:gd name="T35" fmla="*/ 169763 h 64"/>
              <a:gd name="T36" fmla="*/ 106136 w 77"/>
              <a:gd name="T37" fmla="*/ 125859 h 64"/>
              <a:gd name="T38" fmla="*/ 70757 w 77"/>
              <a:gd name="T39" fmla="*/ 114151 h 64"/>
              <a:gd name="T40" fmla="*/ 48986 w 77"/>
              <a:gd name="T41" fmla="*/ 125859 h 64"/>
              <a:gd name="T42" fmla="*/ 54429 w 77"/>
              <a:gd name="T43" fmla="*/ 143421 h 64"/>
              <a:gd name="T44" fmla="*/ 29936 w 77"/>
              <a:gd name="T45" fmla="*/ 152202 h 64"/>
              <a:gd name="T46" fmla="*/ 0 w 77"/>
              <a:gd name="T47" fmla="*/ 146348 h 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7" h="64">
                <a:moveTo>
                  <a:pt x="0" y="50"/>
                </a:moveTo>
                <a:cubicBezTo>
                  <a:pt x="0" y="0"/>
                  <a:pt x="0" y="0"/>
                  <a:pt x="0" y="0"/>
                </a:cubicBezTo>
                <a:cubicBezTo>
                  <a:pt x="6" y="2"/>
                  <a:pt x="12" y="4"/>
                  <a:pt x="14" y="5"/>
                </a:cubicBezTo>
                <a:cubicBezTo>
                  <a:pt x="18" y="7"/>
                  <a:pt x="28" y="12"/>
                  <a:pt x="31" y="13"/>
                </a:cubicBezTo>
                <a:cubicBezTo>
                  <a:pt x="34" y="13"/>
                  <a:pt x="37" y="17"/>
                  <a:pt x="37" y="19"/>
                </a:cubicBezTo>
                <a:cubicBezTo>
                  <a:pt x="37" y="20"/>
                  <a:pt x="34" y="22"/>
                  <a:pt x="38" y="23"/>
                </a:cubicBezTo>
                <a:cubicBezTo>
                  <a:pt x="42" y="23"/>
                  <a:pt x="48" y="24"/>
                  <a:pt x="51" y="27"/>
                </a:cubicBezTo>
                <a:cubicBezTo>
                  <a:pt x="53" y="30"/>
                  <a:pt x="53" y="32"/>
                  <a:pt x="53" y="33"/>
                </a:cubicBezTo>
                <a:cubicBezTo>
                  <a:pt x="53" y="34"/>
                  <a:pt x="46" y="32"/>
                  <a:pt x="46" y="34"/>
                </a:cubicBezTo>
                <a:cubicBezTo>
                  <a:pt x="46" y="36"/>
                  <a:pt x="51" y="40"/>
                  <a:pt x="53" y="42"/>
                </a:cubicBezTo>
                <a:cubicBezTo>
                  <a:pt x="55" y="44"/>
                  <a:pt x="57" y="50"/>
                  <a:pt x="58" y="50"/>
                </a:cubicBezTo>
                <a:cubicBezTo>
                  <a:pt x="60" y="50"/>
                  <a:pt x="63" y="49"/>
                  <a:pt x="64" y="49"/>
                </a:cubicBezTo>
                <a:cubicBezTo>
                  <a:pt x="66" y="50"/>
                  <a:pt x="64" y="52"/>
                  <a:pt x="66" y="53"/>
                </a:cubicBezTo>
                <a:cubicBezTo>
                  <a:pt x="68" y="54"/>
                  <a:pt x="67" y="57"/>
                  <a:pt x="70" y="57"/>
                </a:cubicBezTo>
                <a:cubicBezTo>
                  <a:pt x="74" y="57"/>
                  <a:pt x="76" y="59"/>
                  <a:pt x="77" y="61"/>
                </a:cubicBezTo>
                <a:cubicBezTo>
                  <a:pt x="77" y="62"/>
                  <a:pt x="74" y="64"/>
                  <a:pt x="70" y="63"/>
                </a:cubicBezTo>
                <a:cubicBezTo>
                  <a:pt x="66" y="63"/>
                  <a:pt x="64" y="60"/>
                  <a:pt x="60" y="60"/>
                </a:cubicBezTo>
                <a:cubicBezTo>
                  <a:pt x="56" y="60"/>
                  <a:pt x="53" y="62"/>
                  <a:pt x="50" y="58"/>
                </a:cubicBezTo>
                <a:cubicBezTo>
                  <a:pt x="47" y="54"/>
                  <a:pt x="43" y="45"/>
                  <a:pt x="39" y="43"/>
                </a:cubicBezTo>
                <a:cubicBezTo>
                  <a:pt x="36" y="41"/>
                  <a:pt x="30" y="39"/>
                  <a:pt x="26" y="39"/>
                </a:cubicBezTo>
                <a:cubicBezTo>
                  <a:pt x="23" y="39"/>
                  <a:pt x="19" y="42"/>
                  <a:pt x="18" y="43"/>
                </a:cubicBezTo>
                <a:cubicBezTo>
                  <a:pt x="17" y="44"/>
                  <a:pt x="22" y="48"/>
                  <a:pt x="20" y="49"/>
                </a:cubicBezTo>
                <a:cubicBezTo>
                  <a:pt x="17" y="50"/>
                  <a:pt x="13" y="52"/>
                  <a:pt x="11" y="52"/>
                </a:cubicBezTo>
                <a:cubicBezTo>
                  <a:pt x="8" y="51"/>
                  <a:pt x="3" y="52"/>
                  <a:pt x="0" y="5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6" name="Freeform 154"/>
          <p:cNvSpPr>
            <a:spLocks/>
          </p:cNvSpPr>
          <p:nvPr>
            <p:custDataLst>
              <p:tags r:id="rId92"/>
            </p:custDataLst>
          </p:nvPr>
        </p:nvSpPr>
        <p:spPr bwMode="auto">
          <a:xfrm>
            <a:off x="9181463" y="5125391"/>
            <a:ext cx="89561" cy="89561"/>
          </a:xfrm>
          <a:custGeom>
            <a:avLst/>
            <a:gdLst>
              <a:gd name="T0" fmla="*/ 2699 w 30"/>
              <a:gd name="T1" fmla="*/ 20241 h 28"/>
              <a:gd name="T2" fmla="*/ 2699 w 30"/>
              <a:gd name="T3" fmla="*/ 2892 h 28"/>
              <a:gd name="T4" fmla="*/ 16193 w 30"/>
              <a:gd name="T5" fmla="*/ 5783 h 28"/>
              <a:gd name="T6" fmla="*/ 40482 w 30"/>
              <a:gd name="T7" fmla="*/ 14458 h 28"/>
              <a:gd name="T8" fmla="*/ 67469 w 30"/>
              <a:gd name="T9" fmla="*/ 2892 h 28"/>
              <a:gd name="T10" fmla="*/ 78264 w 30"/>
              <a:gd name="T11" fmla="*/ 5783 h 28"/>
              <a:gd name="T12" fmla="*/ 78264 w 30"/>
              <a:gd name="T13" fmla="*/ 40482 h 28"/>
              <a:gd name="T14" fmla="*/ 70168 w 30"/>
              <a:gd name="T15" fmla="*/ 52048 h 28"/>
              <a:gd name="T16" fmla="*/ 67469 w 30"/>
              <a:gd name="T17" fmla="*/ 66505 h 28"/>
              <a:gd name="T18" fmla="*/ 56674 w 30"/>
              <a:gd name="T19" fmla="*/ 66505 h 28"/>
              <a:gd name="T20" fmla="*/ 45879 w 30"/>
              <a:gd name="T21" fmla="*/ 80963 h 28"/>
              <a:gd name="T22" fmla="*/ 29686 w 30"/>
              <a:gd name="T23" fmla="*/ 75180 h 28"/>
              <a:gd name="T24" fmla="*/ 13494 w 30"/>
              <a:gd name="T25" fmla="*/ 49156 h 28"/>
              <a:gd name="T26" fmla="*/ 16193 w 30"/>
              <a:gd name="T27" fmla="*/ 34698 h 28"/>
              <a:gd name="T28" fmla="*/ 2699 w 30"/>
              <a:gd name="T29" fmla="*/ 20241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0" h="28">
                <a:moveTo>
                  <a:pt x="1" y="7"/>
                </a:moveTo>
                <a:cubicBezTo>
                  <a:pt x="1" y="5"/>
                  <a:pt x="0" y="2"/>
                  <a:pt x="1" y="1"/>
                </a:cubicBezTo>
                <a:cubicBezTo>
                  <a:pt x="2" y="0"/>
                  <a:pt x="5" y="1"/>
                  <a:pt x="6" y="2"/>
                </a:cubicBezTo>
                <a:cubicBezTo>
                  <a:pt x="8" y="3"/>
                  <a:pt x="12" y="5"/>
                  <a:pt x="15" y="5"/>
                </a:cubicBezTo>
                <a:cubicBezTo>
                  <a:pt x="18" y="5"/>
                  <a:pt x="24" y="1"/>
                  <a:pt x="25" y="1"/>
                </a:cubicBezTo>
                <a:cubicBezTo>
                  <a:pt x="26" y="1"/>
                  <a:pt x="28" y="1"/>
                  <a:pt x="29" y="2"/>
                </a:cubicBezTo>
                <a:cubicBezTo>
                  <a:pt x="30" y="3"/>
                  <a:pt x="30" y="13"/>
                  <a:pt x="29" y="14"/>
                </a:cubicBezTo>
                <a:cubicBezTo>
                  <a:pt x="28" y="15"/>
                  <a:pt x="26" y="17"/>
                  <a:pt x="26" y="18"/>
                </a:cubicBezTo>
                <a:cubicBezTo>
                  <a:pt x="26" y="20"/>
                  <a:pt x="26" y="23"/>
                  <a:pt x="25" y="23"/>
                </a:cubicBezTo>
                <a:cubicBezTo>
                  <a:pt x="23" y="24"/>
                  <a:pt x="22" y="22"/>
                  <a:pt x="21" y="23"/>
                </a:cubicBezTo>
                <a:cubicBezTo>
                  <a:pt x="20" y="24"/>
                  <a:pt x="19" y="28"/>
                  <a:pt x="17" y="28"/>
                </a:cubicBezTo>
                <a:cubicBezTo>
                  <a:pt x="15" y="28"/>
                  <a:pt x="12" y="27"/>
                  <a:pt x="11" y="26"/>
                </a:cubicBezTo>
                <a:cubicBezTo>
                  <a:pt x="9" y="24"/>
                  <a:pt x="5" y="18"/>
                  <a:pt x="5" y="17"/>
                </a:cubicBezTo>
                <a:cubicBezTo>
                  <a:pt x="5" y="15"/>
                  <a:pt x="8" y="14"/>
                  <a:pt x="6" y="12"/>
                </a:cubicBezTo>
                <a:cubicBezTo>
                  <a:pt x="5" y="10"/>
                  <a:pt x="2" y="9"/>
                  <a:pt x="1" y="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7" name="Freeform 155"/>
          <p:cNvSpPr>
            <a:spLocks/>
          </p:cNvSpPr>
          <p:nvPr>
            <p:custDataLst>
              <p:tags r:id="rId93"/>
            </p:custDataLst>
          </p:nvPr>
        </p:nvSpPr>
        <p:spPr bwMode="auto">
          <a:xfrm>
            <a:off x="8457951" y="4324610"/>
            <a:ext cx="934243" cy="755122"/>
          </a:xfrm>
          <a:custGeom>
            <a:avLst/>
            <a:gdLst>
              <a:gd name="T0" fmla="*/ 49038 w 310"/>
              <a:gd name="T1" fmla="*/ 565937 h 234"/>
              <a:gd name="T2" fmla="*/ 38141 w 310"/>
              <a:gd name="T3" fmla="*/ 539682 h 234"/>
              <a:gd name="T4" fmla="*/ 54487 w 310"/>
              <a:gd name="T5" fmla="*/ 522179 h 234"/>
              <a:gd name="T6" fmla="*/ 38141 w 310"/>
              <a:gd name="T7" fmla="*/ 458001 h 234"/>
              <a:gd name="T8" fmla="*/ 5449 w 310"/>
              <a:gd name="T9" fmla="*/ 370485 h 234"/>
              <a:gd name="T10" fmla="*/ 2724 w 310"/>
              <a:gd name="T11" fmla="*/ 315058 h 234"/>
              <a:gd name="T12" fmla="*/ 21795 w 310"/>
              <a:gd name="T13" fmla="*/ 259631 h 234"/>
              <a:gd name="T14" fmla="*/ 79006 w 310"/>
              <a:gd name="T15" fmla="*/ 227542 h 234"/>
              <a:gd name="T16" fmla="*/ 163461 w 310"/>
              <a:gd name="T17" fmla="*/ 210038 h 234"/>
              <a:gd name="T18" fmla="*/ 190705 w 310"/>
              <a:gd name="T19" fmla="*/ 148777 h 234"/>
              <a:gd name="T20" fmla="*/ 223397 w 310"/>
              <a:gd name="T21" fmla="*/ 160446 h 234"/>
              <a:gd name="T22" fmla="*/ 258814 w 310"/>
              <a:gd name="T23" fmla="*/ 87516 h 234"/>
              <a:gd name="T24" fmla="*/ 326923 w 310"/>
              <a:gd name="T25" fmla="*/ 102102 h 234"/>
              <a:gd name="T26" fmla="*/ 340544 w 310"/>
              <a:gd name="T27" fmla="*/ 78764 h 234"/>
              <a:gd name="T28" fmla="*/ 378685 w 310"/>
              <a:gd name="T29" fmla="*/ 37924 h 234"/>
              <a:gd name="T30" fmla="*/ 411378 w 310"/>
              <a:gd name="T31" fmla="*/ 14586 h 234"/>
              <a:gd name="T32" fmla="*/ 482211 w 310"/>
              <a:gd name="T33" fmla="*/ 26255 h 234"/>
              <a:gd name="T34" fmla="*/ 479486 w 310"/>
              <a:gd name="T35" fmla="*/ 70013 h 234"/>
              <a:gd name="T36" fmla="*/ 495833 w 310"/>
              <a:gd name="T37" fmla="*/ 122522 h 234"/>
              <a:gd name="T38" fmla="*/ 542147 w 310"/>
              <a:gd name="T39" fmla="*/ 137108 h 234"/>
              <a:gd name="T40" fmla="*/ 572115 w 310"/>
              <a:gd name="T41" fmla="*/ 163363 h 234"/>
              <a:gd name="T42" fmla="*/ 591185 w 310"/>
              <a:gd name="T43" fmla="*/ 81682 h 234"/>
              <a:gd name="T44" fmla="*/ 593909 w 310"/>
              <a:gd name="T45" fmla="*/ 40841 h 234"/>
              <a:gd name="T46" fmla="*/ 604807 w 310"/>
              <a:gd name="T47" fmla="*/ 0 h 234"/>
              <a:gd name="T48" fmla="*/ 623877 w 310"/>
              <a:gd name="T49" fmla="*/ 32089 h 234"/>
              <a:gd name="T50" fmla="*/ 637499 w 310"/>
              <a:gd name="T51" fmla="*/ 90433 h 234"/>
              <a:gd name="T52" fmla="*/ 670191 w 310"/>
              <a:gd name="T53" fmla="*/ 102102 h 234"/>
              <a:gd name="T54" fmla="*/ 683813 w 310"/>
              <a:gd name="T55" fmla="*/ 151694 h 234"/>
              <a:gd name="T56" fmla="*/ 697435 w 310"/>
              <a:gd name="T57" fmla="*/ 198370 h 234"/>
              <a:gd name="T58" fmla="*/ 746473 w 310"/>
              <a:gd name="T59" fmla="*/ 239210 h 234"/>
              <a:gd name="T60" fmla="*/ 770992 w 310"/>
              <a:gd name="T61" fmla="*/ 262548 h 234"/>
              <a:gd name="T62" fmla="*/ 784614 w 310"/>
              <a:gd name="T63" fmla="*/ 300472 h 234"/>
              <a:gd name="T64" fmla="*/ 817306 w 310"/>
              <a:gd name="T65" fmla="*/ 335478 h 234"/>
              <a:gd name="T66" fmla="*/ 833653 w 310"/>
              <a:gd name="T67" fmla="*/ 382153 h 234"/>
              <a:gd name="T68" fmla="*/ 836377 w 310"/>
              <a:gd name="T69" fmla="*/ 449249 h 234"/>
              <a:gd name="T70" fmla="*/ 809133 w 310"/>
              <a:gd name="T71" fmla="*/ 522179 h 234"/>
              <a:gd name="T72" fmla="*/ 776441 w 310"/>
              <a:gd name="T73" fmla="*/ 595109 h 234"/>
              <a:gd name="T74" fmla="*/ 754646 w 310"/>
              <a:gd name="T75" fmla="*/ 653453 h 234"/>
              <a:gd name="T76" fmla="*/ 691986 w 310"/>
              <a:gd name="T77" fmla="*/ 682625 h 234"/>
              <a:gd name="T78" fmla="*/ 653845 w 310"/>
              <a:gd name="T79" fmla="*/ 665122 h 234"/>
              <a:gd name="T80" fmla="*/ 599358 w 310"/>
              <a:gd name="T81" fmla="*/ 665122 h 234"/>
              <a:gd name="T82" fmla="*/ 553044 w 310"/>
              <a:gd name="T83" fmla="*/ 633033 h 234"/>
              <a:gd name="T84" fmla="*/ 528525 w 310"/>
              <a:gd name="T85" fmla="*/ 592192 h 234"/>
              <a:gd name="T86" fmla="*/ 525800 w 310"/>
              <a:gd name="T87" fmla="*/ 565937 h 234"/>
              <a:gd name="T88" fmla="*/ 509454 w 310"/>
              <a:gd name="T89" fmla="*/ 583440 h 234"/>
              <a:gd name="T90" fmla="*/ 495833 w 310"/>
              <a:gd name="T91" fmla="*/ 571771 h 234"/>
              <a:gd name="T92" fmla="*/ 517627 w 310"/>
              <a:gd name="T93" fmla="*/ 542599 h 234"/>
              <a:gd name="T94" fmla="*/ 501281 w 310"/>
              <a:gd name="T95" fmla="*/ 539682 h 234"/>
              <a:gd name="T96" fmla="*/ 465865 w 310"/>
              <a:gd name="T97" fmla="*/ 577606 h 234"/>
              <a:gd name="T98" fmla="*/ 435897 w 310"/>
              <a:gd name="T99" fmla="*/ 528013 h 234"/>
              <a:gd name="T100" fmla="*/ 419551 w 310"/>
              <a:gd name="T101" fmla="*/ 507593 h 234"/>
              <a:gd name="T102" fmla="*/ 373237 w 310"/>
              <a:gd name="T103" fmla="*/ 490090 h 234"/>
              <a:gd name="T104" fmla="*/ 299679 w 310"/>
              <a:gd name="T105" fmla="*/ 513427 h 234"/>
              <a:gd name="T106" fmla="*/ 231570 w 310"/>
              <a:gd name="T107" fmla="*/ 528013 h 234"/>
              <a:gd name="T108" fmla="*/ 185256 w 310"/>
              <a:gd name="T109" fmla="*/ 554268 h 234"/>
              <a:gd name="T110" fmla="*/ 114423 w 310"/>
              <a:gd name="T111" fmla="*/ 574689 h 234"/>
              <a:gd name="T112" fmla="*/ 59936 w 310"/>
              <a:gd name="T113" fmla="*/ 574689 h 23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0" h="234">
                <a:moveTo>
                  <a:pt x="22" y="197"/>
                </a:moveTo>
                <a:cubicBezTo>
                  <a:pt x="21" y="196"/>
                  <a:pt x="19" y="194"/>
                  <a:pt x="18" y="194"/>
                </a:cubicBezTo>
                <a:cubicBezTo>
                  <a:pt x="17" y="194"/>
                  <a:pt x="16" y="194"/>
                  <a:pt x="14" y="193"/>
                </a:cubicBezTo>
                <a:cubicBezTo>
                  <a:pt x="13" y="193"/>
                  <a:pt x="14" y="186"/>
                  <a:pt x="14" y="185"/>
                </a:cubicBezTo>
                <a:cubicBezTo>
                  <a:pt x="14" y="183"/>
                  <a:pt x="18" y="186"/>
                  <a:pt x="19" y="186"/>
                </a:cubicBezTo>
                <a:cubicBezTo>
                  <a:pt x="19" y="185"/>
                  <a:pt x="20" y="181"/>
                  <a:pt x="20" y="179"/>
                </a:cubicBezTo>
                <a:cubicBezTo>
                  <a:pt x="20" y="177"/>
                  <a:pt x="20" y="174"/>
                  <a:pt x="20" y="174"/>
                </a:cubicBezTo>
                <a:cubicBezTo>
                  <a:pt x="19" y="167"/>
                  <a:pt x="15" y="162"/>
                  <a:pt x="14" y="157"/>
                </a:cubicBezTo>
                <a:cubicBezTo>
                  <a:pt x="13" y="152"/>
                  <a:pt x="13" y="146"/>
                  <a:pt x="11" y="142"/>
                </a:cubicBezTo>
                <a:cubicBezTo>
                  <a:pt x="8" y="138"/>
                  <a:pt x="3" y="129"/>
                  <a:pt x="2" y="127"/>
                </a:cubicBezTo>
                <a:cubicBezTo>
                  <a:pt x="1" y="125"/>
                  <a:pt x="9" y="125"/>
                  <a:pt x="9" y="122"/>
                </a:cubicBezTo>
                <a:cubicBezTo>
                  <a:pt x="7" y="118"/>
                  <a:pt x="0" y="110"/>
                  <a:pt x="1" y="108"/>
                </a:cubicBezTo>
                <a:cubicBezTo>
                  <a:pt x="2" y="106"/>
                  <a:pt x="7" y="104"/>
                  <a:pt x="6" y="100"/>
                </a:cubicBezTo>
                <a:cubicBezTo>
                  <a:pt x="5" y="96"/>
                  <a:pt x="7" y="90"/>
                  <a:pt x="8" y="89"/>
                </a:cubicBezTo>
                <a:cubicBezTo>
                  <a:pt x="9" y="88"/>
                  <a:pt x="18" y="86"/>
                  <a:pt x="21" y="83"/>
                </a:cubicBezTo>
                <a:cubicBezTo>
                  <a:pt x="23" y="81"/>
                  <a:pt x="27" y="78"/>
                  <a:pt x="29" y="78"/>
                </a:cubicBezTo>
                <a:cubicBezTo>
                  <a:pt x="31" y="78"/>
                  <a:pt x="35" y="79"/>
                  <a:pt x="39" y="78"/>
                </a:cubicBezTo>
                <a:cubicBezTo>
                  <a:pt x="42" y="78"/>
                  <a:pt x="58" y="74"/>
                  <a:pt x="60" y="72"/>
                </a:cubicBezTo>
                <a:cubicBezTo>
                  <a:pt x="61" y="71"/>
                  <a:pt x="69" y="61"/>
                  <a:pt x="69" y="58"/>
                </a:cubicBezTo>
                <a:cubicBezTo>
                  <a:pt x="69" y="56"/>
                  <a:pt x="69" y="52"/>
                  <a:pt x="70" y="51"/>
                </a:cubicBezTo>
                <a:cubicBezTo>
                  <a:pt x="71" y="50"/>
                  <a:pt x="75" y="46"/>
                  <a:pt x="76" y="45"/>
                </a:cubicBezTo>
                <a:cubicBezTo>
                  <a:pt x="77" y="45"/>
                  <a:pt x="81" y="55"/>
                  <a:pt x="82" y="55"/>
                </a:cubicBezTo>
                <a:cubicBezTo>
                  <a:pt x="82" y="54"/>
                  <a:pt x="84" y="42"/>
                  <a:pt x="86" y="40"/>
                </a:cubicBezTo>
                <a:cubicBezTo>
                  <a:pt x="88" y="37"/>
                  <a:pt x="93" y="31"/>
                  <a:pt x="95" y="30"/>
                </a:cubicBezTo>
                <a:cubicBezTo>
                  <a:pt x="97" y="29"/>
                  <a:pt x="105" y="26"/>
                  <a:pt x="107" y="27"/>
                </a:cubicBezTo>
                <a:cubicBezTo>
                  <a:pt x="108" y="27"/>
                  <a:pt x="118" y="35"/>
                  <a:pt x="120" y="35"/>
                </a:cubicBezTo>
                <a:cubicBezTo>
                  <a:pt x="122" y="36"/>
                  <a:pt x="126" y="36"/>
                  <a:pt x="127" y="35"/>
                </a:cubicBezTo>
                <a:cubicBezTo>
                  <a:pt x="128" y="34"/>
                  <a:pt x="125" y="28"/>
                  <a:pt x="125" y="27"/>
                </a:cubicBezTo>
                <a:cubicBezTo>
                  <a:pt x="126" y="27"/>
                  <a:pt x="131" y="17"/>
                  <a:pt x="133" y="16"/>
                </a:cubicBezTo>
                <a:cubicBezTo>
                  <a:pt x="135" y="15"/>
                  <a:pt x="137" y="13"/>
                  <a:pt x="139" y="13"/>
                </a:cubicBezTo>
                <a:cubicBezTo>
                  <a:pt x="140" y="13"/>
                  <a:pt x="146" y="14"/>
                  <a:pt x="147" y="13"/>
                </a:cubicBezTo>
                <a:cubicBezTo>
                  <a:pt x="149" y="12"/>
                  <a:pt x="149" y="5"/>
                  <a:pt x="151" y="5"/>
                </a:cubicBezTo>
                <a:cubicBezTo>
                  <a:pt x="153" y="5"/>
                  <a:pt x="158" y="9"/>
                  <a:pt x="162" y="11"/>
                </a:cubicBezTo>
                <a:cubicBezTo>
                  <a:pt x="167" y="12"/>
                  <a:pt x="175" y="10"/>
                  <a:pt x="177" y="9"/>
                </a:cubicBezTo>
                <a:cubicBezTo>
                  <a:pt x="178" y="8"/>
                  <a:pt x="181" y="13"/>
                  <a:pt x="183" y="14"/>
                </a:cubicBezTo>
                <a:cubicBezTo>
                  <a:pt x="185" y="15"/>
                  <a:pt x="176" y="23"/>
                  <a:pt x="176" y="24"/>
                </a:cubicBezTo>
                <a:cubicBezTo>
                  <a:pt x="175" y="26"/>
                  <a:pt x="171" y="34"/>
                  <a:pt x="170" y="34"/>
                </a:cubicBezTo>
                <a:cubicBezTo>
                  <a:pt x="170" y="35"/>
                  <a:pt x="181" y="41"/>
                  <a:pt x="182" y="42"/>
                </a:cubicBezTo>
                <a:cubicBezTo>
                  <a:pt x="184" y="44"/>
                  <a:pt x="189" y="46"/>
                  <a:pt x="191" y="47"/>
                </a:cubicBezTo>
                <a:cubicBezTo>
                  <a:pt x="192" y="48"/>
                  <a:pt x="198" y="47"/>
                  <a:pt x="199" y="47"/>
                </a:cubicBezTo>
                <a:cubicBezTo>
                  <a:pt x="201" y="48"/>
                  <a:pt x="199" y="53"/>
                  <a:pt x="200" y="53"/>
                </a:cubicBezTo>
                <a:cubicBezTo>
                  <a:pt x="201" y="54"/>
                  <a:pt x="207" y="58"/>
                  <a:pt x="210" y="56"/>
                </a:cubicBezTo>
                <a:cubicBezTo>
                  <a:pt x="213" y="54"/>
                  <a:pt x="216" y="45"/>
                  <a:pt x="216" y="41"/>
                </a:cubicBezTo>
                <a:cubicBezTo>
                  <a:pt x="216" y="38"/>
                  <a:pt x="217" y="31"/>
                  <a:pt x="217" y="28"/>
                </a:cubicBezTo>
                <a:cubicBezTo>
                  <a:pt x="217" y="26"/>
                  <a:pt x="219" y="20"/>
                  <a:pt x="219" y="19"/>
                </a:cubicBezTo>
                <a:cubicBezTo>
                  <a:pt x="220" y="17"/>
                  <a:pt x="217" y="15"/>
                  <a:pt x="218" y="14"/>
                </a:cubicBezTo>
                <a:cubicBezTo>
                  <a:pt x="219" y="13"/>
                  <a:pt x="220" y="10"/>
                  <a:pt x="220" y="8"/>
                </a:cubicBezTo>
                <a:cubicBezTo>
                  <a:pt x="221" y="6"/>
                  <a:pt x="221" y="1"/>
                  <a:pt x="222" y="0"/>
                </a:cubicBezTo>
                <a:cubicBezTo>
                  <a:pt x="222" y="0"/>
                  <a:pt x="226" y="2"/>
                  <a:pt x="226" y="3"/>
                </a:cubicBezTo>
                <a:cubicBezTo>
                  <a:pt x="227" y="4"/>
                  <a:pt x="228" y="9"/>
                  <a:pt x="229" y="11"/>
                </a:cubicBezTo>
                <a:cubicBezTo>
                  <a:pt x="229" y="13"/>
                  <a:pt x="232" y="20"/>
                  <a:pt x="232" y="22"/>
                </a:cubicBezTo>
                <a:cubicBezTo>
                  <a:pt x="233" y="24"/>
                  <a:pt x="232" y="30"/>
                  <a:pt x="234" y="31"/>
                </a:cubicBezTo>
                <a:cubicBezTo>
                  <a:pt x="236" y="31"/>
                  <a:pt x="238" y="28"/>
                  <a:pt x="240" y="29"/>
                </a:cubicBezTo>
                <a:cubicBezTo>
                  <a:pt x="242" y="30"/>
                  <a:pt x="245" y="34"/>
                  <a:pt x="246" y="35"/>
                </a:cubicBezTo>
                <a:cubicBezTo>
                  <a:pt x="247" y="36"/>
                  <a:pt x="246" y="41"/>
                  <a:pt x="246" y="44"/>
                </a:cubicBezTo>
                <a:cubicBezTo>
                  <a:pt x="247" y="47"/>
                  <a:pt x="250" y="50"/>
                  <a:pt x="251" y="52"/>
                </a:cubicBezTo>
                <a:cubicBezTo>
                  <a:pt x="252" y="54"/>
                  <a:pt x="251" y="59"/>
                  <a:pt x="252" y="61"/>
                </a:cubicBezTo>
                <a:cubicBezTo>
                  <a:pt x="252" y="62"/>
                  <a:pt x="253" y="66"/>
                  <a:pt x="256" y="68"/>
                </a:cubicBezTo>
                <a:cubicBezTo>
                  <a:pt x="259" y="70"/>
                  <a:pt x="272" y="75"/>
                  <a:pt x="273" y="77"/>
                </a:cubicBezTo>
                <a:cubicBezTo>
                  <a:pt x="274" y="78"/>
                  <a:pt x="273" y="81"/>
                  <a:pt x="274" y="82"/>
                </a:cubicBezTo>
                <a:cubicBezTo>
                  <a:pt x="275" y="84"/>
                  <a:pt x="278" y="93"/>
                  <a:pt x="279" y="94"/>
                </a:cubicBezTo>
                <a:cubicBezTo>
                  <a:pt x="280" y="94"/>
                  <a:pt x="282" y="89"/>
                  <a:pt x="283" y="90"/>
                </a:cubicBezTo>
                <a:cubicBezTo>
                  <a:pt x="285" y="91"/>
                  <a:pt x="287" y="93"/>
                  <a:pt x="288" y="95"/>
                </a:cubicBezTo>
                <a:cubicBezTo>
                  <a:pt x="288" y="96"/>
                  <a:pt x="287" y="102"/>
                  <a:pt x="288" y="103"/>
                </a:cubicBezTo>
                <a:cubicBezTo>
                  <a:pt x="290" y="104"/>
                  <a:pt x="294" y="106"/>
                  <a:pt x="295" y="108"/>
                </a:cubicBezTo>
                <a:cubicBezTo>
                  <a:pt x="297" y="109"/>
                  <a:pt x="299" y="114"/>
                  <a:pt x="300" y="115"/>
                </a:cubicBezTo>
                <a:cubicBezTo>
                  <a:pt x="302" y="116"/>
                  <a:pt x="306" y="115"/>
                  <a:pt x="306" y="116"/>
                </a:cubicBezTo>
                <a:cubicBezTo>
                  <a:pt x="306" y="117"/>
                  <a:pt x="306" y="128"/>
                  <a:pt x="306" y="131"/>
                </a:cubicBezTo>
                <a:cubicBezTo>
                  <a:pt x="307" y="133"/>
                  <a:pt x="309" y="141"/>
                  <a:pt x="310" y="143"/>
                </a:cubicBezTo>
                <a:cubicBezTo>
                  <a:pt x="310" y="146"/>
                  <a:pt x="307" y="151"/>
                  <a:pt x="307" y="154"/>
                </a:cubicBezTo>
                <a:cubicBezTo>
                  <a:pt x="306" y="157"/>
                  <a:pt x="305" y="169"/>
                  <a:pt x="304" y="170"/>
                </a:cubicBezTo>
                <a:cubicBezTo>
                  <a:pt x="303" y="172"/>
                  <a:pt x="299" y="178"/>
                  <a:pt x="297" y="179"/>
                </a:cubicBezTo>
                <a:cubicBezTo>
                  <a:pt x="295" y="181"/>
                  <a:pt x="292" y="187"/>
                  <a:pt x="290" y="190"/>
                </a:cubicBezTo>
                <a:cubicBezTo>
                  <a:pt x="289" y="193"/>
                  <a:pt x="286" y="201"/>
                  <a:pt x="285" y="204"/>
                </a:cubicBezTo>
                <a:cubicBezTo>
                  <a:pt x="284" y="206"/>
                  <a:pt x="282" y="220"/>
                  <a:pt x="282" y="221"/>
                </a:cubicBezTo>
                <a:cubicBezTo>
                  <a:pt x="281" y="222"/>
                  <a:pt x="278" y="224"/>
                  <a:pt x="277" y="224"/>
                </a:cubicBezTo>
                <a:cubicBezTo>
                  <a:pt x="276" y="224"/>
                  <a:pt x="267" y="223"/>
                  <a:pt x="264" y="225"/>
                </a:cubicBezTo>
                <a:cubicBezTo>
                  <a:pt x="261" y="227"/>
                  <a:pt x="256" y="234"/>
                  <a:pt x="254" y="234"/>
                </a:cubicBezTo>
                <a:cubicBezTo>
                  <a:pt x="252" y="234"/>
                  <a:pt x="249" y="232"/>
                  <a:pt x="247" y="230"/>
                </a:cubicBezTo>
                <a:cubicBezTo>
                  <a:pt x="245" y="229"/>
                  <a:pt x="243" y="227"/>
                  <a:pt x="240" y="228"/>
                </a:cubicBezTo>
                <a:cubicBezTo>
                  <a:pt x="237" y="228"/>
                  <a:pt x="234" y="233"/>
                  <a:pt x="232" y="233"/>
                </a:cubicBezTo>
                <a:cubicBezTo>
                  <a:pt x="230" y="232"/>
                  <a:pt x="223" y="227"/>
                  <a:pt x="220" y="228"/>
                </a:cubicBezTo>
                <a:cubicBezTo>
                  <a:pt x="217" y="228"/>
                  <a:pt x="215" y="229"/>
                  <a:pt x="212" y="228"/>
                </a:cubicBezTo>
                <a:cubicBezTo>
                  <a:pt x="210" y="226"/>
                  <a:pt x="203" y="219"/>
                  <a:pt x="203" y="217"/>
                </a:cubicBezTo>
                <a:cubicBezTo>
                  <a:pt x="203" y="215"/>
                  <a:pt x="206" y="213"/>
                  <a:pt x="203" y="210"/>
                </a:cubicBezTo>
                <a:cubicBezTo>
                  <a:pt x="201" y="207"/>
                  <a:pt x="197" y="203"/>
                  <a:pt x="194" y="203"/>
                </a:cubicBezTo>
                <a:cubicBezTo>
                  <a:pt x="192" y="203"/>
                  <a:pt x="193" y="201"/>
                  <a:pt x="194" y="200"/>
                </a:cubicBezTo>
                <a:cubicBezTo>
                  <a:pt x="194" y="198"/>
                  <a:pt x="194" y="196"/>
                  <a:pt x="193" y="194"/>
                </a:cubicBezTo>
                <a:cubicBezTo>
                  <a:pt x="192" y="192"/>
                  <a:pt x="191" y="192"/>
                  <a:pt x="190" y="193"/>
                </a:cubicBezTo>
                <a:cubicBezTo>
                  <a:pt x="189" y="194"/>
                  <a:pt x="188" y="200"/>
                  <a:pt x="187" y="200"/>
                </a:cubicBezTo>
                <a:cubicBezTo>
                  <a:pt x="186" y="201"/>
                  <a:pt x="182" y="201"/>
                  <a:pt x="181" y="201"/>
                </a:cubicBezTo>
                <a:cubicBezTo>
                  <a:pt x="180" y="200"/>
                  <a:pt x="182" y="196"/>
                  <a:pt x="182" y="196"/>
                </a:cubicBezTo>
                <a:cubicBezTo>
                  <a:pt x="182" y="195"/>
                  <a:pt x="186" y="189"/>
                  <a:pt x="187" y="188"/>
                </a:cubicBezTo>
                <a:cubicBezTo>
                  <a:pt x="188" y="187"/>
                  <a:pt x="189" y="187"/>
                  <a:pt x="190" y="186"/>
                </a:cubicBezTo>
                <a:cubicBezTo>
                  <a:pt x="191" y="185"/>
                  <a:pt x="189" y="175"/>
                  <a:pt x="188" y="174"/>
                </a:cubicBezTo>
                <a:cubicBezTo>
                  <a:pt x="188" y="174"/>
                  <a:pt x="184" y="184"/>
                  <a:pt x="184" y="185"/>
                </a:cubicBezTo>
                <a:cubicBezTo>
                  <a:pt x="183" y="185"/>
                  <a:pt x="177" y="190"/>
                  <a:pt x="176" y="191"/>
                </a:cubicBezTo>
                <a:cubicBezTo>
                  <a:pt x="174" y="193"/>
                  <a:pt x="172" y="198"/>
                  <a:pt x="171" y="198"/>
                </a:cubicBezTo>
                <a:cubicBezTo>
                  <a:pt x="170" y="198"/>
                  <a:pt x="168" y="187"/>
                  <a:pt x="165" y="185"/>
                </a:cubicBezTo>
                <a:cubicBezTo>
                  <a:pt x="163" y="182"/>
                  <a:pt x="161" y="182"/>
                  <a:pt x="160" y="181"/>
                </a:cubicBezTo>
                <a:cubicBezTo>
                  <a:pt x="159" y="179"/>
                  <a:pt x="161" y="176"/>
                  <a:pt x="160" y="176"/>
                </a:cubicBezTo>
                <a:cubicBezTo>
                  <a:pt x="159" y="175"/>
                  <a:pt x="156" y="174"/>
                  <a:pt x="154" y="174"/>
                </a:cubicBezTo>
                <a:cubicBezTo>
                  <a:pt x="152" y="174"/>
                  <a:pt x="147" y="174"/>
                  <a:pt x="146" y="173"/>
                </a:cubicBezTo>
                <a:cubicBezTo>
                  <a:pt x="144" y="172"/>
                  <a:pt x="140" y="168"/>
                  <a:pt x="137" y="168"/>
                </a:cubicBezTo>
                <a:cubicBezTo>
                  <a:pt x="134" y="169"/>
                  <a:pt x="125" y="169"/>
                  <a:pt x="122" y="170"/>
                </a:cubicBezTo>
                <a:cubicBezTo>
                  <a:pt x="120" y="171"/>
                  <a:pt x="112" y="176"/>
                  <a:pt x="110" y="176"/>
                </a:cubicBezTo>
                <a:cubicBezTo>
                  <a:pt x="108" y="176"/>
                  <a:pt x="102" y="175"/>
                  <a:pt x="99" y="176"/>
                </a:cubicBezTo>
                <a:cubicBezTo>
                  <a:pt x="96" y="176"/>
                  <a:pt x="86" y="180"/>
                  <a:pt x="85" y="181"/>
                </a:cubicBezTo>
                <a:cubicBezTo>
                  <a:pt x="84" y="183"/>
                  <a:pt x="82" y="189"/>
                  <a:pt x="79" y="189"/>
                </a:cubicBezTo>
                <a:cubicBezTo>
                  <a:pt x="77" y="190"/>
                  <a:pt x="71" y="190"/>
                  <a:pt x="68" y="190"/>
                </a:cubicBezTo>
                <a:cubicBezTo>
                  <a:pt x="65" y="189"/>
                  <a:pt x="55" y="188"/>
                  <a:pt x="52" y="189"/>
                </a:cubicBezTo>
                <a:cubicBezTo>
                  <a:pt x="50" y="191"/>
                  <a:pt x="45" y="195"/>
                  <a:pt x="42" y="197"/>
                </a:cubicBezTo>
                <a:cubicBezTo>
                  <a:pt x="38" y="198"/>
                  <a:pt x="36" y="200"/>
                  <a:pt x="32" y="200"/>
                </a:cubicBezTo>
                <a:cubicBezTo>
                  <a:pt x="27" y="199"/>
                  <a:pt x="23" y="198"/>
                  <a:pt x="22" y="19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8" name="Freeform 157"/>
          <p:cNvSpPr>
            <a:spLocks/>
          </p:cNvSpPr>
          <p:nvPr>
            <p:custDataLst>
              <p:tags r:id="rId94"/>
            </p:custDataLst>
          </p:nvPr>
        </p:nvSpPr>
        <p:spPr bwMode="auto">
          <a:xfrm>
            <a:off x="8716096" y="3752123"/>
            <a:ext cx="38634" cy="61463"/>
          </a:xfrm>
          <a:custGeom>
            <a:avLst/>
            <a:gdLst>
              <a:gd name="T0" fmla="*/ 8060 w 13"/>
              <a:gd name="T1" fmla="*/ 52639 h 19"/>
              <a:gd name="T2" fmla="*/ 0 w 13"/>
              <a:gd name="T3" fmla="*/ 43866 h 19"/>
              <a:gd name="T4" fmla="*/ 2687 w 13"/>
              <a:gd name="T5" fmla="*/ 32168 h 19"/>
              <a:gd name="T6" fmla="*/ 8060 w 13"/>
              <a:gd name="T7" fmla="*/ 23395 h 19"/>
              <a:gd name="T8" fmla="*/ 2687 w 13"/>
              <a:gd name="T9" fmla="*/ 5849 h 19"/>
              <a:gd name="T10" fmla="*/ 10746 w 13"/>
              <a:gd name="T11" fmla="*/ 5849 h 19"/>
              <a:gd name="T12" fmla="*/ 21492 w 13"/>
              <a:gd name="T13" fmla="*/ 2924 h 19"/>
              <a:gd name="T14" fmla="*/ 26865 w 13"/>
              <a:gd name="T15" fmla="*/ 17546 h 19"/>
              <a:gd name="T16" fmla="*/ 32238 w 13"/>
              <a:gd name="T17" fmla="*/ 38017 h 19"/>
              <a:gd name="T18" fmla="*/ 18806 w 13"/>
              <a:gd name="T19" fmla="*/ 35092 h 19"/>
              <a:gd name="T20" fmla="*/ 18806 w 13"/>
              <a:gd name="T21" fmla="*/ 46790 h 19"/>
              <a:gd name="T22" fmla="*/ 8060 w 13"/>
              <a:gd name="T23" fmla="*/ 52639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9">
                <a:moveTo>
                  <a:pt x="3" y="18"/>
                </a:moveTo>
                <a:cubicBezTo>
                  <a:pt x="3" y="18"/>
                  <a:pt x="0" y="16"/>
                  <a:pt x="0" y="15"/>
                </a:cubicBezTo>
                <a:cubicBezTo>
                  <a:pt x="0" y="13"/>
                  <a:pt x="0" y="12"/>
                  <a:pt x="1" y="11"/>
                </a:cubicBezTo>
                <a:cubicBezTo>
                  <a:pt x="2" y="9"/>
                  <a:pt x="3" y="9"/>
                  <a:pt x="3" y="8"/>
                </a:cubicBezTo>
                <a:cubicBezTo>
                  <a:pt x="3" y="7"/>
                  <a:pt x="1" y="4"/>
                  <a:pt x="1" y="2"/>
                </a:cubicBezTo>
                <a:cubicBezTo>
                  <a:pt x="1" y="1"/>
                  <a:pt x="3" y="2"/>
                  <a:pt x="4" y="2"/>
                </a:cubicBezTo>
                <a:cubicBezTo>
                  <a:pt x="4" y="2"/>
                  <a:pt x="7" y="0"/>
                  <a:pt x="8" y="1"/>
                </a:cubicBezTo>
                <a:cubicBezTo>
                  <a:pt x="10" y="2"/>
                  <a:pt x="11" y="4"/>
                  <a:pt x="10" y="6"/>
                </a:cubicBezTo>
                <a:cubicBezTo>
                  <a:pt x="10" y="8"/>
                  <a:pt x="13" y="12"/>
                  <a:pt x="12" y="13"/>
                </a:cubicBezTo>
                <a:cubicBezTo>
                  <a:pt x="12" y="14"/>
                  <a:pt x="8" y="12"/>
                  <a:pt x="7" y="12"/>
                </a:cubicBezTo>
                <a:cubicBezTo>
                  <a:pt x="6" y="12"/>
                  <a:pt x="7" y="16"/>
                  <a:pt x="7" y="16"/>
                </a:cubicBezTo>
                <a:cubicBezTo>
                  <a:pt x="6" y="17"/>
                  <a:pt x="4" y="19"/>
                  <a:pt x="3" y="18"/>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9" name="Freeform 158"/>
          <p:cNvSpPr>
            <a:spLocks/>
          </p:cNvSpPr>
          <p:nvPr>
            <p:custDataLst>
              <p:tags r:id="rId95"/>
            </p:custDataLst>
          </p:nvPr>
        </p:nvSpPr>
        <p:spPr bwMode="auto">
          <a:xfrm>
            <a:off x="8672194" y="3790757"/>
            <a:ext cx="31610" cy="50927"/>
          </a:xfrm>
          <a:custGeom>
            <a:avLst/>
            <a:gdLst>
              <a:gd name="T0" fmla="*/ 0 w 10"/>
              <a:gd name="T1" fmla="*/ 34529 h 16"/>
              <a:gd name="T2" fmla="*/ 2858 w 10"/>
              <a:gd name="T3" fmla="*/ 25896 h 16"/>
              <a:gd name="T4" fmla="*/ 8573 w 10"/>
              <a:gd name="T5" fmla="*/ 8632 h 16"/>
              <a:gd name="T6" fmla="*/ 20003 w 10"/>
              <a:gd name="T7" fmla="*/ 2877 h 16"/>
              <a:gd name="T8" fmla="*/ 28575 w 10"/>
              <a:gd name="T9" fmla="*/ 2877 h 16"/>
              <a:gd name="T10" fmla="*/ 22860 w 10"/>
              <a:gd name="T11" fmla="*/ 25896 h 16"/>
              <a:gd name="T12" fmla="*/ 20003 w 10"/>
              <a:gd name="T13" fmla="*/ 37406 h 16"/>
              <a:gd name="T14" fmla="*/ 14288 w 10"/>
              <a:gd name="T15" fmla="*/ 46038 h 16"/>
              <a:gd name="T16" fmla="*/ 0 w 10"/>
              <a:gd name="T17" fmla="*/ 34529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6">
                <a:moveTo>
                  <a:pt x="0" y="12"/>
                </a:moveTo>
                <a:cubicBezTo>
                  <a:pt x="0" y="11"/>
                  <a:pt x="0" y="9"/>
                  <a:pt x="1" y="9"/>
                </a:cubicBezTo>
                <a:cubicBezTo>
                  <a:pt x="3" y="8"/>
                  <a:pt x="3" y="4"/>
                  <a:pt x="3" y="3"/>
                </a:cubicBezTo>
                <a:cubicBezTo>
                  <a:pt x="3" y="2"/>
                  <a:pt x="6" y="1"/>
                  <a:pt x="7" y="1"/>
                </a:cubicBezTo>
                <a:cubicBezTo>
                  <a:pt x="8" y="1"/>
                  <a:pt x="10" y="0"/>
                  <a:pt x="10" y="1"/>
                </a:cubicBezTo>
                <a:cubicBezTo>
                  <a:pt x="10" y="3"/>
                  <a:pt x="8" y="7"/>
                  <a:pt x="8" y="9"/>
                </a:cubicBezTo>
                <a:cubicBezTo>
                  <a:pt x="8" y="11"/>
                  <a:pt x="6" y="13"/>
                  <a:pt x="7" y="13"/>
                </a:cubicBezTo>
                <a:cubicBezTo>
                  <a:pt x="8" y="14"/>
                  <a:pt x="5" y="16"/>
                  <a:pt x="5" y="16"/>
                </a:cubicBezTo>
                <a:cubicBezTo>
                  <a:pt x="4" y="16"/>
                  <a:pt x="0" y="13"/>
                  <a:pt x="0" y="12"/>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0" name="Freeform 159"/>
          <p:cNvSpPr>
            <a:spLocks/>
          </p:cNvSpPr>
          <p:nvPr>
            <p:custDataLst>
              <p:tags r:id="rId96"/>
            </p:custDataLst>
          </p:nvPr>
        </p:nvSpPr>
        <p:spPr bwMode="auto">
          <a:xfrm>
            <a:off x="8659901" y="3810074"/>
            <a:ext cx="108878" cy="117659"/>
          </a:xfrm>
          <a:custGeom>
            <a:avLst/>
            <a:gdLst>
              <a:gd name="T0" fmla="*/ 2734 w 36"/>
              <a:gd name="T1" fmla="*/ 77616 h 37"/>
              <a:gd name="T2" fmla="*/ 2734 w 36"/>
              <a:gd name="T3" fmla="*/ 63243 h 37"/>
              <a:gd name="T4" fmla="*/ 10936 w 36"/>
              <a:gd name="T5" fmla="*/ 48869 h 37"/>
              <a:gd name="T6" fmla="*/ 32808 w 36"/>
              <a:gd name="T7" fmla="*/ 37371 h 37"/>
              <a:gd name="T8" fmla="*/ 46478 w 36"/>
              <a:gd name="T9" fmla="*/ 48869 h 37"/>
              <a:gd name="T10" fmla="*/ 60149 w 36"/>
              <a:gd name="T11" fmla="*/ 37371 h 37"/>
              <a:gd name="T12" fmla="*/ 71085 w 36"/>
              <a:gd name="T13" fmla="*/ 28747 h 37"/>
              <a:gd name="T14" fmla="*/ 76553 w 36"/>
              <a:gd name="T15" fmla="*/ 5749 h 37"/>
              <a:gd name="T16" fmla="*/ 87489 w 36"/>
              <a:gd name="T17" fmla="*/ 14373 h 37"/>
              <a:gd name="T18" fmla="*/ 92957 w 36"/>
              <a:gd name="T19" fmla="*/ 45995 h 37"/>
              <a:gd name="T20" fmla="*/ 95691 w 36"/>
              <a:gd name="T21" fmla="*/ 71867 h 37"/>
              <a:gd name="T22" fmla="*/ 87489 w 36"/>
              <a:gd name="T23" fmla="*/ 80491 h 37"/>
              <a:gd name="T24" fmla="*/ 76553 w 36"/>
              <a:gd name="T25" fmla="*/ 68992 h 37"/>
              <a:gd name="T26" fmla="*/ 71085 w 36"/>
              <a:gd name="T27" fmla="*/ 83366 h 37"/>
              <a:gd name="T28" fmla="*/ 79287 w 36"/>
              <a:gd name="T29" fmla="*/ 97739 h 37"/>
              <a:gd name="T30" fmla="*/ 68351 w 36"/>
              <a:gd name="T31" fmla="*/ 106363 h 37"/>
              <a:gd name="T32" fmla="*/ 46478 w 36"/>
              <a:gd name="T33" fmla="*/ 91990 h 37"/>
              <a:gd name="T34" fmla="*/ 46478 w 36"/>
              <a:gd name="T35" fmla="*/ 71867 h 37"/>
              <a:gd name="T36" fmla="*/ 32808 w 36"/>
              <a:gd name="T37" fmla="*/ 60368 h 37"/>
              <a:gd name="T38" fmla="*/ 21872 w 36"/>
              <a:gd name="T39" fmla="*/ 68992 h 37"/>
              <a:gd name="T40" fmla="*/ 13670 w 36"/>
              <a:gd name="T41" fmla="*/ 68992 h 37"/>
              <a:gd name="T42" fmla="*/ 2734 w 36"/>
              <a:gd name="T43" fmla="*/ 77616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6" h="37">
                <a:moveTo>
                  <a:pt x="1" y="27"/>
                </a:moveTo>
                <a:cubicBezTo>
                  <a:pt x="0" y="26"/>
                  <a:pt x="1" y="22"/>
                  <a:pt x="1" y="22"/>
                </a:cubicBezTo>
                <a:cubicBezTo>
                  <a:pt x="2" y="20"/>
                  <a:pt x="3" y="17"/>
                  <a:pt x="4" y="17"/>
                </a:cubicBezTo>
                <a:cubicBezTo>
                  <a:pt x="6" y="17"/>
                  <a:pt x="11" y="13"/>
                  <a:pt x="12" y="13"/>
                </a:cubicBezTo>
                <a:cubicBezTo>
                  <a:pt x="14" y="13"/>
                  <a:pt x="15" y="18"/>
                  <a:pt x="17" y="17"/>
                </a:cubicBezTo>
                <a:cubicBezTo>
                  <a:pt x="19" y="17"/>
                  <a:pt x="21" y="14"/>
                  <a:pt x="22" y="13"/>
                </a:cubicBezTo>
                <a:cubicBezTo>
                  <a:pt x="23" y="12"/>
                  <a:pt x="26" y="11"/>
                  <a:pt x="26" y="10"/>
                </a:cubicBezTo>
                <a:cubicBezTo>
                  <a:pt x="26" y="9"/>
                  <a:pt x="27" y="4"/>
                  <a:pt x="28" y="2"/>
                </a:cubicBezTo>
                <a:cubicBezTo>
                  <a:pt x="29" y="0"/>
                  <a:pt x="31" y="3"/>
                  <a:pt x="32" y="5"/>
                </a:cubicBezTo>
                <a:cubicBezTo>
                  <a:pt x="32" y="7"/>
                  <a:pt x="34" y="14"/>
                  <a:pt x="34" y="16"/>
                </a:cubicBezTo>
                <a:cubicBezTo>
                  <a:pt x="34" y="19"/>
                  <a:pt x="36" y="24"/>
                  <a:pt x="35" y="25"/>
                </a:cubicBezTo>
                <a:cubicBezTo>
                  <a:pt x="34" y="26"/>
                  <a:pt x="34" y="29"/>
                  <a:pt x="32" y="28"/>
                </a:cubicBezTo>
                <a:cubicBezTo>
                  <a:pt x="31" y="28"/>
                  <a:pt x="28" y="23"/>
                  <a:pt x="28" y="24"/>
                </a:cubicBezTo>
                <a:cubicBezTo>
                  <a:pt x="27" y="25"/>
                  <a:pt x="26" y="29"/>
                  <a:pt x="26" y="29"/>
                </a:cubicBezTo>
                <a:cubicBezTo>
                  <a:pt x="27" y="30"/>
                  <a:pt x="29" y="34"/>
                  <a:pt x="29" y="34"/>
                </a:cubicBezTo>
                <a:cubicBezTo>
                  <a:pt x="28" y="35"/>
                  <a:pt x="26" y="37"/>
                  <a:pt x="25" y="37"/>
                </a:cubicBezTo>
                <a:cubicBezTo>
                  <a:pt x="24" y="37"/>
                  <a:pt x="17" y="34"/>
                  <a:pt x="17" y="32"/>
                </a:cubicBezTo>
                <a:cubicBezTo>
                  <a:pt x="16" y="30"/>
                  <a:pt x="16" y="26"/>
                  <a:pt x="17" y="25"/>
                </a:cubicBezTo>
                <a:cubicBezTo>
                  <a:pt x="17" y="24"/>
                  <a:pt x="13" y="21"/>
                  <a:pt x="12" y="21"/>
                </a:cubicBezTo>
                <a:cubicBezTo>
                  <a:pt x="11" y="21"/>
                  <a:pt x="8" y="24"/>
                  <a:pt x="8" y="24"/>
                </a:cubicBezTo>
                <a:cubicBezTo>
                  <a:pt x="7" y="24"/>
                  <a:pt x="5" y="23"/>
                  <a:pt x="5" y="24"/>
                </a:cubicBezTo>
                <a:cubicBezTo>
                  <a:pt x="4" y="25"/>
                  <a:pt x="2" y="28"/>
                  <a:pt x="1" y="2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1" name="Freeform 160"/>
          <p:cNvSpPr>
            <a:spLocks/>
          </p:cNvSpPr>
          <p:nvPr>
            <p:custDataLst>
              <p:tags r:id="rId97"/>
            </p:custDataLst>
          </p:nvPr>
        </p:nvSpPr>
        <p:spPr bwMode="auto">
          <a:xfrm>
            <a:off x="8658145" y="3757391"/>
            <a:ext cx="36878" cy="52683"/>
          </a:xfrm>
          <a:custGeom>
            <a:avLst/>
            <a:gdLst>
              <a:gd name="T0" fmla="*/ 2778 w 12"/>
              <a:gd name="T1" fmla="*/ 32742 h 16"/>
              <a:gd name="T2" fmla="*/ 2778 w 12"/>
              <a:gd name="T3" fmla="*/ 0 h 16"/>
              <a:gd name="T4" fmla="*/ 16669 w 12"/>
              <a:gd name="T5" fmla="*/ 2977 h 16"/>
              <a:gd name="T6" fmla="*/ 30560 w 12"/>
              <a:gd name="T7" fmla="*/ 5953 h 16"/>
              <a:gd name="T8" fmla="*/ 30560 w 12"/>
              <a:gd name="T9" fmla="*/ 17859 h 16"/>
              <a:gd name="T10" fmla="*/ 19447 w 12"/>
              <a:gd name="T11" fmla="*/ 20836 h 16"/>
              <a:gd name="T12" fmla="*/ 2778 w 12"/>
              <a:gd name="T13" fmla="*/ 32742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6">
                <a:moveTo>
                  <a:pt x="1" y="11"/>
                </a:moveTo>
                <a:cubicBezTo>
                  <a:pt x="1" y="10"/>
                  <a:pt x="0" y="1"/>
                  <a:pt x="1" y="0"/>
                </a:cubicBezTo>
                <a:cubicBezTo>
                  <a:pt x="2" y="0"/>
                  <a:pt x="4" y="0"/>
                  <a:pt x="6" y="1"/>
                </a:cubicBezTo>
                <a:cubicBezTo>
                  <a:pt x="9" y="2"/>
                  <a:pt x="10" y="1"/>
                  <a:pt x="11" y="2"/>
                </a:cubicBezTo>
                <a:cubicBezTo>
                  <a:pt x="12" y="2"/>
                  <a:pt x="11" y="5"/>
                  <a:pt x="11" y="6"/>
                </a:cubicBezTo>
                <a:cubicBezTo>
                  <a:pt x="11" y="6"/>
                  <a:pt x="9" y="7"/>
                  <a:pt x="7" y="7"/>
                </a:cubicBezTo>
                <a:cubicBezTo>
                  <a:pt x="7" y="7"/>
                  <a:pt x="0" y="16"/>
                  <a:pt x="1" y="11"/>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2" name="Freeform 161"/>
          <p:cNvSpPr>
            <a:spLocks/>
          </p:cNvSpPr>
          <p:nvPr>
            <p:custDataLst>
              <p:tags r:id="rId98"/>
            </p:custDataLst>
          </p:nvPr>
        </p:nvSpPr>
        <p:spPr bwMode="auto">
          <a:xfrm>
            <a:off x="8612487" y="3604610"/>
            <a:ext cx="103610" cy="144000"/>
          </a:xfrm>
          <a:custGeom>
            <a:avLst/>
            <a:gdLst>
              <a:gd name="T0" fmla="*/ 0 w 34"/>
              <a:gd name="T1" fmla="*/ 54963 h 45"/>
              <a:gd name="T2" fmla="*/ 13774 w 34"/>
              <a:gd name="T3" fmla="*/ 52070 h 45"/>
              <a:gd name="T4" fmla="*/ 11019 w 34"/>
              <a:gd name="T5" fmla="*/ 20249 h 45"/>
              <a:gd name="T6" fmla="*/ 16529 w 34"/>
              <a:gd name="T7" fmla="*/ 2893 h 45"/>
              <a:gd name="T8" fmla="*/ 35812 w 34"/>
              <a:gd name="T9" fmla="*/ 5786 h 45"/>
              <a:gd name="T10" fmla="*/ 49586 w 34"/>
              <a:gd name="T11" fmla="*/ 2893 h 45"/>
              <a:gd name="T12" fmla="*/ 55096 w 34"/>
              <a:gd name="T13" fmla="*/ 40499 h 45"/>
              <a:gd name="T14" fmla="*/ 35812 w 34"/>
              <a:gd name="T15" fmla="*/ 57856 h 45"/>
              <a:gd name="T16" fmla="*/ 35812 w 34"/>
              <a:gd name="T17" fmla="*/ 83891 h 45"/>
              <a:gd name="T18" fmla="*/ 46832 w 34"/>
              <a:gd name="T19" fmla="*/ 95462 h 45"/>
              <a:gd name="T20" fmla="*/ 63360 w 34"/>
              <a:gd name="T21" fmla="*/ 92569 h 45"/>
              <a:gd name="T22" fmla="*/ 90908 w 34"/>
              <a:gd name="T23" fmla="*/ 104140 h 45"/>
              <a:gd name="T24" fmla="*/ 88153 w 34"/>
              <a:gd name="T25" fmla="*/ 115711 h 45"/>
              <a:gd name="T26" fmla="*/ 82644 w 34"/>
              <a:gd name="T27" fmla="*/ 127282 h 45"/>
              <a:gd name="T28" fmla="*/ 57851 w 34"/>
              <a:gd name="T29" fmla="*/ 109926 h 45"/>
              <a:gd name="T30" fmla="*/ 33058 w 34"/>
              <a:gd name="T31" fmla="*/ 112818 h 45"/>
              <a:gd name="T32" fmla="*/ 13774 w 34"/>
              <a:gd name="T33" fmla="*/ 107033 h 45"/>
              <a:gd name="T34" fmla="*/ 19284 w 34"/>
              <a:gd name="T35" fmla="*/ 86783 h 45"/>
              <a:gd name="T36" fmla="*/ 5510 w 34"/>
              <a:gd name="T37" fmla="*/ 83891 h 45"/>
              <a:gd name="T38" fmla="*/ 0 w 34"/>
              <a:gd name="T39" fmla="*/ 54963 h 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4" h="45">
                <a:moveTo>
                  <a:pt x="0" y="19"/>
                </a:moveTo>
                <a:cubicBezTo>
                  <a:pt x="0" y="16"/>
                  <a:pt x="5" y="20"/>
                  <a:pt x="5" y="18"/>
                </a:cubicBezTo>
                <a:cubicBezTo>
                  <a:pt x="5" y="16"/>
                  <a:pt x="4" y="10"/>
                  <a:pt x="4" y="7"/>
                </a:cubicBezTo>
                <a:cubicBezTo>
                  <a:pt x="4" y="5"/>
                  <a:pt x="5" y="1"/>
                  <a:pt x="6" y="1"/>
                </a:cubicBezTo>
                <a:cubicBezTo>
                  <a:pt x="7" y="0"/>
                  <a:pt x="12" y="2"/>
                  <a:pt x="13" y="2"/>
                </a:cubicBezTo>
                <a:cubicBezTo>
                  <a:pt x="15" y="2"/>
                  <a:pt x="18" y="0"/>
                  <a:pt x="18" y="1"/>
                </a:cubicBezTo>
                <a:cubicBezTo>
                  <a:pt x="19" y="2"/>
                  <a:pt x="21" y="13"/>
                  <a:pt x="20" y="14"/>
                </a:cubicBezTo>
                <a:cubicBezTo>
                  <a:pt x="19" y="16"/>
                  <a:pt x="14" y="18"/>
                  <a:pt x="13" y="20"/>
                </a:cubicBezTo>
                <a:cubicBezTo>
                  <a:pt x="12" y="22"/>
                  <a:pt x="13" y="27"/>
                  <a:pt x="13" y="29"/>
                </a:cubicBezTo>
                <a:cubicBezTo>
                  <a:pt x="13" y="31"/>
                  <a:pt x="16" y="33"/>
                  <a:pt x="17" y="33"/>
                </a:cubicBezTo>
                <a:cubicBezTo>
                  <a:pt x="18" y="33"/>
                  <a:pt x="22" y="31"/>
                  <a:pt x="23" y="32"/>
                </a:cubicBezTo>
                <a:cubicBezTo>
                  <a:pt x="25" y="33"/>
                  <a:pt x="33" y="35"/>
                  <a:pt x="33" y="36"/>
                </a:cubicBezTo>
                <a:cubicBezTo>
                  <a:pt x="34" y="37"/>
                  <a:pt x="32" y="39"/>
                  <a:pt x="32" y="40"/>
                </a:cubicBezTo>
                <a:cubicBezTo>
                  <a:pt x="32" y="41"/>
                  <a:pt x="32" y="45"/>
                  <a:pt x="30" y="44"/>
                </a:cubicBezTo>
                <a:cubicBezTo>
                  <a:pt x="28" y="43"/>
                  <a:pt x="23" y="38"/>
                  <a:pt x="21" y="38"/>
                </a:cubicBezTo>
                <a:cubicBezTo>
                  <a:pt x="20" y="39"/>
                  <a:pt x="15" y="39"/>
                  <a:pt x="12" y="39"/>
                </a:cubicBezTo>
                <a:cubicBezTo>
                  <a:pt x="9" y="39"/>
                  <a:pt x="5" y="38"/>
                  <a:pt x="5" y="37"/>
                </a:cubicBezTo>
                <a:cubicBezTo>
                  <a:pt x="4" y="35"/>
                  <a:pt x="10" y="32"/>
                  <a:pt x="7" y="30"/>
                </a:cubicBezTo>
                <a:cubicBezTo>
                  <a:pt x="4" y="28"/>
                  <a:pt x="2" y="31"/>
                  <a:pt x="2" y="29"/>
                </a:cubicBezTo>
                <a:cubicBezTo>
                  <a:pt x="1" y="27"/>
                  <a:pt x="0" y="23"/>
                  <a:pt x="0" y="19"/>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3" name="Freeform 162"/>
          <p:cNvSpPr>
            <a:spLocks/>
          </p:cNvSpPr>
          <p:nvPr>
            <p:custDataLst>
              <p:tags r:id="rId99"/>
            </p:custDataLst>
          </p:nvPr>
        </p:nvSpPr>
        <p:spPr bwMode="auto">
          <a:xfrm>
            <a:off x="8612487" y="3736317"/>
            <a:ext cx="33366" cy="38634"/>
          </a:xfrm>
          <a:custGeom>
            <a:avLst/>
            <a:gdLst>
              <a:gd name="T0" fmla="*/ 8226 w 11"/>
              <a:gd name="T1" fmla="*/ 5821 h 12"/>
              <a:gd name="T2" fmla="*/ 27421 w 11"/>
              <a:gd name="T3" fmla="*/ 14552 h 12"/>
              <a:gd name="T4" fmla="*/ 24679 w 11"/>
              <a:gd name="T5" fmla="*/ 34925 h 12"/>
              <a:gd name="T6" fmla="*/ 8226 w 11"/>
              <a:gd name="T7" fmla="*/ 582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2">
                <a:moveTo>
                  <a:pt x="3" y="2"/>
                </a:moveTo>
                <a:cubicBezTo>
                  <a:pt x="4" y="0"/>
                  <a:pt x="10" y="4"/>
                  <a:pt x="10" y="5"/>
                </a:cubicBezTo>
                <a:cubicBezTo>
                  <a:pt x="9" y="5"/>
                  <a:pt x="11" y="11"/>
                  <a:pt x="9" y="12"/>
                </a:cubicBezTo>
                <a:cubicBezTo>
                  <a:pt x="8" y="12"/>
                  <a:pt x="0" y="4"/>
                  <a:pt x="3" y="2"/>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4" name="Freeform 163"/>
          <p:cNvSpPr>
            <a:spLocks/>
          </p:cNvSpPr>
          <p:nvPr>
            <p:custDataLst>
              <p:tags r:id="rId100"/>
            </p:custDataLst>
          </p:nvPr>
        </p:nvSpPr>
        <p:spPr bwMode="auto">
          <a:xfrm>
            <a:off x="8545755" y="3780221"/>
            <a:ext cx="66732" cy="87805"/>
          </a:xfrm>
          <a:custGeom>
            <a:avLst/>
            <a:gdLst>
              <a:gd name="T0" fmla="*/ 21936 w 22"/>
              <a:gd name="T1" fmla="*/ 67616 h 27"/>
              <a:gd name="T2" fmla="*/ 5484 w 22"/>
              <a:gd name="T3" fmla="*/ 76435 h 27"/>
              <a:gd name="T4" fmla="*/ 16452 w 22"/>
              <a:gd name="T5" fmla="*/ 49977 h 27"/>
              <a:gd name="T6" fmla="*/ 35647 w 22"/>
              <a:gd name="T7" fmla="*/ 29398 h 27"/>
              <a:gd name="T8" fmla="*/ 46615 w 22"/>
              <a:gd name="T9" fmla="*/ 14699 h 27"/>
              <a:gd name="T10" fmla="*/ 52099 w 22"/>
              <a:gd name="T11" fmla="*/ 0 h 27"/>
              <a:gd name="T12" fmla="*/ 60325 w 22"/>
              <a:gd name="T13" fmla="*/ 8819 h 27"/>
              <a:gd name="T14" fmla="*/ 60325 w 22"/>
              <a:gd name="T15" fmla="*/ 29398 h 27"/>
              <a:gd name="T16" fmla="*/ 41131 w 22"/>
              <a:gd name="T17" fmla="*/ 47037 h 27"/>
              <a:gd name="T18" fmla="*/ 21936 w 22"/>
              <a:gd name="T19" fmla="*/ 67616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27">
                <a:moveTo>
                  <a:pt x="8" y="23"/>
                </a:moveTo>
                <a:cubicBezTo>
                  <a:pt x="7" y="24"/>
                  <a:pt x="3" y="27"/>
                  <a:pt x="2" y="26"/>
                </a:cubicBezTo>
                <a:cubicBezTo>
                  <a:pt x="0" y="25"/>
                  <a:pt x="3" y="19"/>
                  <a:pt x="6" y="17"/>
                </a:cubicBezTo>
                <a:cubicBezTo>
                  <a:pt x="9" y="16"/>
                  <a:pt x="10" y="12"/>
                  <a:pt x="13" y="10"/>
                </a:cubicBezTo>
                <a:cubicBezTo>
                  <a:pt x="16" y="8"/>
                  <a:pt x="17" y="7"/>
                  <a:pt x="17" y="5"/>
                </a:cubicBezTo>
                <a:cubicBezTo>
                  <a:pt x="17" y="4"/>
                  <a:pt x="17" y="0"/>
                  <a:pt x="19" y="0"/>
                </a:cubicBezTo>
                <a:cubicBezTo>
                  <a:pt x="21" y="0"/>
                  <a:pt x="22" y="1"/>
                  <a:pt x="22" y="3"/>
                </a:cubicBezTo>
                <a:cubicBezTo>
                  <a:pt x="22" y="4"/>
                  <a:pt x="22" y="9"/>
                  <a:pt x="22" y="10"/>
                </a:cubicBezTo>
                <a:cubicBezTo>
                  <a:pt x="20" y="11"/>
                  <a:pt x="16" y="14"/>
                  <a:pt x="15" y="16"/>
                </a:cubicBezTo>
                <a:cubicBezTo>
                  <a:pt x="13" y="17"/>
                  <a:pt x="10" y="22"/>
                  <a:pt x="8" y="23"/>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5" name="Freeform 164"/>
          <p:cNvSpPr>
            <a:spLocks/>
          </p:cNvSpPr>
          <p:nvPr>
            <p:custDataLst>
              <p:tags r:id="rId101"/>
            </p:custDataLst>
          </p:nvPr>
        </p:nvSpPr>
        <p:spPr bwMode="auto">
          <a:xfrm>
            <a:off x="8212098" y="3483440"/>
            <a:ext cx="165073" cy="381073"/>
          </a:xfrm>
          <a:custGeom>
            <a:avLst/>
            <a:gdLst>
              <a:gd name="T0" fmla="*/ 5426 w 55"/>
              <a:gd name="T1" fmla="*/ 29194 h 118"/>
              <a:gd name="T2" fmla="*/ 0 w 55"/>
              <a:gd name="T3" fmla="*/ 17516 h 118"/>
              <a:gd name="T4" fmla="*/ 10853 w 55"/>
              <a:gd name="T5" fmla="*/ 14597 h 118"/>
              <a:gd name="T6" fmla="*/ 56977 w 55"/>
              <a:gd name="T7" fmla="*/ 0 h 118"/>
              <a:gd name="T8" fmla="*/ 70543 w 55"/>
              <a:gd name="T9" fmla="*/ 5839 h 118"/>
              <a:gd name="T10" fmla="*/ 89535 w 55"/>
              <a:gd name="T11" fmla="*/ 8758 h 118"/>
              <a:gd name="T12" fmla="*/ 86822 w 55"/>
              <a:gd name="T13" fmla="*/ 26275 h 118"/>
              <a:gd name="T14" fmla="*/ 113954 w 55"/>
              <a:gd name="T15" fmla="*/ 40871 h 118"/>
              <a:gd name="T16" fmla="*/ 100388 w 55"/>
              <a:gd name="T17" fmla="*/ 52549 h 118"/>
              <a:gd name="T18" fmla="*/ 86822 w 55"/>
              <a:gd name="T19" fmla="*/ 64227 h 118"/>
              <a:gd name="T20" fmla="*/ 70543 w 55"/>
              <a:gd name="T21" fmla="*/ 87582 h 118"/>
              <a:gd name="T22" fmla="*/ 78682 w 55"/>
              <a:gd name="T23" fmla="*/ 110937 h 118"/>
              <a:gd name="T24" fmla="*/ 89535 w 55"/>
              <a:gd name="T25" fmla="*/ 125534 h 118"/>
              <a:gd name="T26" fmla="*/ 103101 w 55"/>
              <a:gd name="T27" fmla="*/ 143050 h 118"/>
              <a:gd name="T28" fmla="*/ 130233 w 55"/>
              <a:gd name="T29" fmla="*/ 169325 h 118"/>
              <a:gd name="T30" fmla="*/ 146512 w 55"/>
              <a:gd name="T31" fmla="*/ 210196 h 118"/>
              <a:gd name="T32" fmla="*/ 146512 w 55"/>
              <a:gd name="T33" fmla="*/ 256906 h 118"/>
              <a:gd name="T34" fmla="*/ 135659 w 55"/>
              <a:gd name="T35" fmla="*/ 280261 h 118"/>
              <a:gd name="T36" fmla="*/ 94961 w 55"/>
              <a:gd name="T37" fmla="*/ 297778 h 118"/>
              <a:gd name="T38" fmla="*/ 84109 w 55"/>
              <a:gd name="T39" fmla="*/ 321133 h 118"/>
              <a:gd name="T40" fmla="*/ 65116 w 55"/>
              <a:gd name="T41" fmla="*/ 332810 h 118"/>
              <a:gd name="T42" fmla="*/ 46124 w 55"/>
              <a:gd name="T43" fmla="*/ 341569 h 118"/>
              <a:gd name="T44" fmla="*/ 48837 w 55"/>
              <a:gd name="T45" fmla="*/ 303617 h 118"/>
              <a:gd name="T46" fmla="*/ 40698 w 55"/>
              <a:gd name="T47" fmla="*/ 297778 h 118"/>
              <a:gd name="T48" fmla="*/ 54264 w 55"/>
              <a:gd name="T49" fmla="*/ 286100 h 118"/>
              <a:gd name="T50" fmla="*/ 75969 w 55"/>
              <a:gd name="T51" fmla="*/ 280261 h 118"/>
              <a:gd name="T52" fmla="*/ 78682 w 55"/>
              <a:gd name="T53" fmla="*/ 262745 h 118"/>
              <a:gd name="T54" fmla="*/ 103101 w 55"/>
              <a:gd name="T55" fmla="*/ 248148 h 118"/>
              <a:gd name="T56" fmla="*/ 103101 w 55"/>
              <a:gd name="T57" fmla="*/ 216035 h 118"/>
              <a:gd name="T58" fmla="*/ 103101 w 55"/>
              <a:gd name="T59" fmla="*/ 181002 h 118"/>
              <a:gd name="T60" fmla="*/ 86822 w 55"/>
              <a:gd name="T61" fmla="*/ 157647 h 118"/>
              <a:gd name="T62" fmla="*/ 70543 w 55"/>
              <a:gd name="T63" fmla="*/ 134292 h 118"/>
              <a:gd name="T64" fmla="*/ 48837 w 55"/>
              <a:gd name="T65" fmla="*/ 108017 h 118"/>
              <a:gd name="T66" fmla="*/ 29845 w 55"/>
              <a:gd name="T67" fmla="*/ 96340 h 118"/>
              <a:gd name="T68" fmla="*/ 35271 w 55"/>
              <a:gd name="T69" fmla="*/ 81743 h 118"/>
              <a:gd name="T70" fmla="*/ 48837 w 55"/>
              <a:gd name="T71" fmla="*/ 78824 h 118"/>
              <a:gd name="T72" fmla="*/ 54264 w 55"/>
              <a:gd name="T73" fmla="*/ 67146 h 118"/>
              <a:gd name="T74" fmla="*/ 37985 w 55"/>
              <a:gd name="T75" fmla="*/ 52549 h 118"/>
              <a:gd name="T76" fmla="*/ 27132 w 55"/>
              <a:gd name="T77" fmla="*/ 58388 h 118"/>
              <a:gd name="T78" fmla="*/ 8140 w 55"/>
              <a:gd name="T79" fmla="*/ 49630 h 118"/>
              <a:gd name="T80" fmla="*/ 5426 w 55"/>
              <a:gd name="T81" fmla="*/ 29194 h 1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5" h="118">
                <a:moveTo>
                  <a:pt x="2" y="10"/>
                </a:moveTo>
                <a:cubicBezTo>
                  <a:pt x="0" y="6"/>
                  <a:pt x="0" y="6"/>
                  <a:pt x="0" y="6"/>
                </a:cubicBezTo>
                <a:cubicBezTo>
                  <a:pt x="2" y="6"/>
                  <a:pt x="4" y="5"/>
                  <a:pt x="4" y="5"/>
                </a:cubicBezTo>
                <a:cubicBezTo>
                  <a:pt x="6" y="5"/>
                  <a:pt x="20" y="1"/>
                  <a:pt x="21" y="0"/>
                </a:cubicBezTo>
                <a:cubicBezTo>
                  <a:pt x="22" y="0"/>
                  <a:pt x="25" y="1"/>
                  <a:pt x="26" y="2"/>
                </a:cubicBezTo>
                <a:cubicBezTo>
                  <a:pt x="28" y="2"/>
                  <a:pt x="31" y="2"/>
                  <a:pt x="33" y="3"/>
                </a:cubicBezTo>
                <a:cubicBezTo>
                  <a:pt x="35" y="4"/>
                  <a:pt x="31" y="8"/>
                  <a:pt x="32" y="9"/>
                </a:cubicBezTo>
                <a:cubicBezTo>
                  <a:pt x="33" y="9"/>
                  <a:pt x="42" y="14"/>
                  <a:pt x="42" y="14"/>
                </a:cubicBezTo>
                <a:cubicBezTo>
                  <a:pt x="40" y="16"/>
                  <a:pt x="38" y="18"/>
                  <a:pt x="37" y="18"/>
                </a:cubicBezTo>
                <a:cubicBezTo>
                  <a:pt x="35" y="19"/>
                  <a:pt x="34" y="20"/>
                  <a:pt x="32" y="22"/>
                </a:cubicBezTo>
                <a:cubicBezTo>
                  <a:pt x="31" y="25"/>
                  <a:pt x="27" y="27"/>
                  <a:pt x="26" y="30"/>
                </a:cubicBezTo>
                <a:cubicBezTo>
                  <a:pt x="26" y="33"/>
                  <a:pt x="28" y="38"/>
                  <a:pt x="29" y="38"/>
                </a:cubicBezTo>
                <a:cubicBezTo>
                  <a:pt x="29" y="38"/>
                  <a:pt x="33" y="42"/>
                  <a:pt x="33" y="43"/>
                </a:cubicBezTo>
                <a:cubicBezTo>
                  <a:pt x="33" y="44"/>
                  <a:pt x="37" y="48"/>
                  <a:pt x="38" y="49"/>
                </a:cubicBezTo>
                <a:cubicBezTo>
                  <a:pt x="39" y="50"/>
                  <a:pt x="46" y="55"/>
                  <a:pt x="48" y="58"/>
                </a:cubicBezTo>
                <a:cubicBezTo>
                  <a:pt x="49" y="61"/>
                  <a:pt x="53" y="70"/>
                  <a:pt x="54" y="72"/>
                </a:cubicBezTo>
                <a:cubicBezTo>
                  <a:pt x="54" y="75"/>
                  <a:pt x="55" y="85"/>
                  <a:pt x="54" y="88"/>
                </a:cubicBezTo>
                <a:cubicBezTo>
                  <a:pt x="53" y="90"/>
                  <a:pt x="51" y="95"/>
                  <a:pt x="50" y="96"/>
                </a:cubicBezTo>
                <a:cubicBezTo>
                  <a:pt x="48" y="97"/>
                  <a:pt x="36" y="101"/>
                  <a:pt x="35" y="102"/>
                </a:cubicBezTo>
                <a:cubicBezTo>
                  <a:pt x="33" y="104"/>
                  <a:pt x="33" y="110"/>
                  <a:pt x="31" y="110"/>
                </a:cubicBezTo>
                <a:cubicBezTo>
                  <a:pt x="29" y="110"/>
                  <a:pt x="25" y="112"/>
                  <a:pt x="24" y="114"/>
                </a:cubicBezTo>
                <a:cubicBezTo>
                  <a:pt x="23" y="116"/>
                  <a:pt x="18" y="118"/>
                  <a:pt x="17" y="117"/>
                </a:cubicBezTo>
                <a:cubicBezTo>
                  <a:pt x="15" y="116"/>
                  <a:pt x="19" y="105"/>
                  <a:pt x="18" y="104"/>
                </a:cubicBezTo>
                <a:cubicBezTo>
                  <a:pt x="17" y="104"/>
                  <a:pt x="16" y="103"/>
                  <a:pt x="15" y="102"/>
                </a:cubicBezTo>
                <a:cubicBezTo>
                  <a:pt x="20" y="98"/>
                  <a:pt x="20" y="98"/>
                  <a:pt x="20" y="98"/>
                </a:cubicBezTo>
                <a:cubicBezTo>
                  <a:pt x="22" y="97"/>
                  <a:pt x="27" y="98"/>
                  <a:pt x="28" y="96"/>
                </a:cubicBezTo>
                <a:cubicBezTo>
                  <a:pt x="30" y="95"/>
                  <a:pt x="27" y="90"/>
                  <a:pt x="29" y="90"/>
                </a:cubicBezTo>
                <a:cubicBezTo>
                  <a:pt x="31" y="90"/>
                  <a:pt x="36" y="87"/>
                  <a:pt x="38" y="85"/>
                </a:cubicBezTo>
                <a:cubicBezTo>
                  <a:pt x="40" y="83"/>
                  <a:pt x="37" y="75"/>
                  <a:pt x="38" y="74"/>
                </a:cubicBezTo>
                <a:cubicBezTo>
                  <a:pt x="39" y="72"/>
                  <a:pt x="39" y="65"/>
                  <a:pt x="38" y="62"/>
                </a:cubicBezTo>
                <a:cubicBezTo>
                  <a:pt x="37" y="60"/>
                  <a:pt x="33" y="56"/>
                  <a:pt x="32" y="54"/>
                </a:cubicBezTo>
                <a:cubicBezTo>
                  <a:pt x="31" y="53"/>
                  <a:pt x="27" y="49"/>
                  <a:pt x="26" y="46"/>
                </a:cubicBezTo>
                <a:cubicBezTo>
                  <a:pt x="24" y="44"/>
                  <a:pt x="21" y="38"/>
                  <a:pt x="18" y="37"/>
                </a:cubicBezTo>
                <a:cubicBezTo>
                  <a:pt x="16" y="36"/>
                  <a:pt x="12" y="33"/>
                  <a:pt x="11" y="33"/>
                </a:cubicBezTo>
                <a:cubicBezTo>
                  <a:pt x="10" y="32"/>
                  <a:pt x="13" y="28"/>
                  <a:pt x="13" y="28"/>
                </a:cubicBezTo>
                <a:cubicBezTo>
                  <a:pt x="13" y="28"/>
                  <a:pt x="18" y="29"/>
                  <a:pt x="18" y="27"/>
                </a:cubicBezTo>
                <a:cubicBezTo>
                  <a:pt x="19" y="26"/>
                  <a:pt x="20" y="23"/>
                  <a:pt x="20" y="23"/>
                </a:cubicBezTo>
                <a:cubicBezTo>
                  <a:pt x="20" y="23"/>
                  <a:pt x="16" y="19"/>
                  <a:pt x="14" y="18"/>
                </a:cubicBezTo>
                <a:cubicBezTo>
                  <a:pt x="12" y="17"/>
                  <a:pt x="11" y="19"/>
                  <a:pt x="10" y="20"/>
                </a:cubicBezTo>
                <a:cubicBezTo>
                  <a:pt x="8" y="21"/>
                  <a:pt x="4" y="20"/>
                  <a:pt x="3" y="17"/>
                </a:cubicBezTo>
                <a:cubicBezTo>
                  <a:pt x="3" y="15"/>
                  <a:pt x="4" y="11"/>
                  <a:pt x="2" y="10"/>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6" name="Freeform 166"/>
          <p:cNvSpPr>
            <a:spLocks/>
          </p:cNvSpPr>
          <p:nvPr>
            <p:custDataLst>
              <p:tags r:id="rId102"/>
            </p:custDataLst>
          </p:nvPr>
        </p:nvSpPr>
        <p:spPr bwMode="auto">
          <a:xfrm>
            <a:off x="8375414" y="3887342"/>
            <a:ext cx="224780" cy="163317"/>
          </a:xfrm>
          <a:custGeom>
            <a:avLst/>
            <a:gdLst>
              <a:gd name="T0" fmla="*/ 8128 w 75"/>
              <a:gd name="T1" fmla="*/ 136059 h 51"/>
              <a:gd name="T2" fmla="*/ 0 w 75"/>
              <a:gd name="T3" fmla="*/ 115795 h 51"/>
              <a:gd name="T4" fmla="*/ 29803 w 75"/>
              <a:gd name="T5" fmla="*/ 127374 h 51"/>
              <a:gd name="T6" fmla="*/ 37931 w 75"/>
              <a:gd name="T7" fmla="*/ 101320 h 51"/>
              <a:gd name="T8" fmla="*/ 67733 w 75"/>
              <a:gd name="T9" fmla="*/ 92636 h 51"/>
              <a:gd name="T10" fmla="*/ 83989 w 75"/>
              <a:gd name="T11" fmla="*/ 78161 h 51"/>
              <a:gd name="T12" fmla="*/ 94827 w 75"/>
              <a:gd name="T13" fmla="*/ 57897 h 51"/>
              <a:gd name="T14" fmla="*/ 127339 w 75"/>
              <a:gd name="T15" fmla="*/ 40528 h 51"/>
              <a:gd name="T16" fmla="*/ 149013 w 75"/>
              <a:gd name="T17" fmla="*/ 5790 h 51"/>
              <a:gd name="T18" fmla="*/ 159851 w 75"/>
              <a:gd name="T19" fmla="*/ 0 h 51"/>
              <a:gd name="T20" fmla="*/ 162560 w 75"/>
              <a:gd name="T21" fmla="*/ 5790 h 51"/>
              <a:gd name="T22" fmla="*/ 165269 w 75"/>
              <a:gd name="T23" fmla="*/ 26054 h 51"/>
              <a:gd name="T24" fmla="*/ 186944 w 75"/>
              <a:gd name="T25" fmla="*/ 34738 h 51"/>
              <a:gd name="T26" fmla="*/ 203200 w 75"/>
              <a:gd name="T27" fmla="*/ 43423 h 51"/>
              <a:gd name="T28" fmla="*/ 192363 w 75"/>
              <a:gd name="T29" fmla="*/ 63687 h 51"/>
              <a:gd name="T30" fmla="*/ 173397 w 75"/>
              <a:gd name="T31" fmla="*/ 69477 h 51"/>
              <a:gd name="T32" fmla="*/ 173397 w 75"/>
              <a:gd name="T33" fmla="*/ 72372 h 51"/>
              <a:gd name="T34" fmla="*/ 159851 w 75"/>
              <a:gd name="T35" fmla="*/ 63687 h 51"/>
              <a:gd name="T36" fmla="*/ 130048 w 75"/>
              <a:gd name="T37" fmla="*/ 66582 h 51"/>
              <a:gd name="T38" fmla="*/ 119211 w 75"/>
              <a:gd name="T39" fmla="*/ 101320 h 51"/>
              <a:gd name="T40" fmla="*/ 97536 w 75"/>
              <a:gd name="T41" fmla="*/ 130269 h 51"/>
              <a:gd name="T42" fmla="*/ 67733 w 75"/>
              <a:gd name="T43" fmla="*/ 127374 h 51"/>
              <a:gd name="T44" fmla="*/ 56896 w 75"/>
              <a:gd name="T45" fmla="*/ 141848 h 51"/>
              <a:gd name="T46" fmla="*/ 24384 w 75"/>
              <a:gd name="T47" fmla="*/ 147638 h 51"/>
              <a:gd name="T48" fmla="*/ 8128 w 75"/>
              <a:gd name="T49" fmla="*/ 136059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5" h="51">
                <a:moveTo>
                  <a:pt x="3" y="47"/>
                </a:moveTo>
                <a:cubicBezTo>
                  <a:pt x="0" y="40"/>
                  <a:pt x="0" y="40"/>
                  <a:pt x="0" y="40"/>
                </a:cubicBezTo>
                <a:cubicBezTo>
                  <a:pt x="3" y="38"/>
                  <a:pt x="10" y="44"/>
                  <a:pt x="11" y="44"/>
                </a:cubicBezTo>
                <a:cubicBezTo>
                  <a:pt x="12" y="44"/>
                  <a:pt x="13" y="36"/>
                  <a:pt x="14" y="35"/>
                </a:cubicBezTo>
                <a:cubicBezTo>
                  <a:pt x="15" y="33"/>
                  <a:pt x="23" y="32"/>
                  <a:pt x="25" y="32"/>
                </a:cubicBezTo>
                <a:cubicBezTo>
                  <a:pt x="27" y="32"/>
                  <a:pt x="29" y="29"/>
                  <a:pt x="31" y="27"/>
                </a:cubicBezTo>
                <a:cubicBezTo>
                  <a:pt x="33" y="25"/>
                  <a:pt x="33" y="20"/>
                  <a:pt x="35" y="20"/>
                </a:cubicBezTo>
                <a:cubicBezTo>
                  <a:pt x="39" y="20"/>
                  <a:pt x="45" y="15"/>
                  <a:pt x="47" y="14"/>
                </a:cubicBezTo>
                <a:cubicBezTo>
                  <a:pt x="49" y="13"/>
                  <a:pt x="54" y="3"/>
                  <a:pt x="55" y="2"/>
                </a:cubicBezTo>
                <a:cubicBezTo>
                  <a:pt x="56" y="1"/>
                  <a:pt x="57" y="0"/>
                  <a:pt x="59" y="0"/>
                </a:cubicBezTo>
                <a:cubicBezTo>
                  <a:pt x="61" y="0"/>
                  <a:pt x="60" y="2"/>
                  <a:pt x="60" y="2"/>
                </a:cubicBezTo>
                <a:cubicBezTo>
                  <a:pt x="60" y="2"/>
                  <a:pt x="61" y="8"/>
                  <a:pt x="61" y="9"/>
                </a:cubicBezTo>
                <a:cubicBezTo>
                  <a:pt x="61" y="11"/>
                  <a:pt x="67" y="11"/>
                  <a:pt x="69" y="12"/>
                </a:cubicBezTo>
                <a:cubicBezTo>
                  <a:pt x="70" y="13"/>
                  <a:pt x="74" y="13"/>
                  <a:pt x="75" y="15"/>
                </a:cubicBezTo>
                <a:cubicBezTo>
                  <a:pt x="75" y="17"/>
                  <a:pt x="73" y="21"/>
                  <a:pt x="71" y="22"/>
                </a:cubicBezTo>
                <a:cubicBezTo>
                  <a:pt x="71" y="22"/>
                  <a:pt x="64" y="24"/>
                  <a:pt x="64" y="24"/>
                </a:cubicBezTo>
                <a:cubicBezTo>
                  <a:pt x="64" y="24"/>
                  <a:pt x="64" y="25"/>
                  <a:pt x="64" y="25"/>
                </a:cubicBezTo>
                <a:cubicBezTo>
                  <a:pt x="59" y="22"/>
                  <a:pt x="59" y="22"/>
                  <a:pt x="59" y="22"/>
                </a:cubicBezTo>
                <a:cubicBezTo>
                  <a:pt x="56" y="22"/>
                  <a:pt x="50" y="22"/>
                  <a:pt x="48" y="23"/>
                </a:cubicBezTo>
                <a:cubicBezTo>
                  <a:pt x="46" y="24"/>
                  <a:pt x="44" y="32"/>
                  <a:pt x="44" y="35"/>
                </a:cubicBezTo>
                <a:cubicBezTo>
                  <a:pt x="44" y="37"/>
                  <a:pt x="38" y="45"/>
                  <a:pt x="36" y="45"/>
                </a:cubicBezTo>
                <a:cubicBezTo>
                  <a:pt x="33" y="46"/>
                  <a:pt x="28" y="44"/>
                  <a:pt x="25" y="44"/>
                </a:cubicBezTo>
                <a:cubicBezTo>
                  <a:pt x="22" y="43"/>
                  <a:pt x="22" y="47"/>
                  <a:pt x="21" y="49"/>
                </a:cubicBezTo>
                <a:cubicBezTo>
                  <a:pt x="21" y="50"/>
                  <a:pt x="11" y="51"/>
                  <a:pt x="9" y="51"/>
                </a:cubicBezTo>
                <a:cubicBezTo>
                  <a:pt x="6" y="51"/>
                  <a:pt x="4" y="49"/>
                  <a:pt x="3" y="4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7" name="Freeform 167"/>
          <p:cNvSpPr>
            <a:spLocks/>
          </p:cNvSpPr>
          <p:nvPr>
            <p:custDataLst>
              <p:tags r:id="rId103"/>
            </p:custDataLst>
          </p:nvPr>
        </p:nvSpPr>
        <p:spPr bwMode="auto">
          <a:xfrm>
            <a:off x="8161170" y="3910172"/>
            <a:ext cx="100098" cy="128195"/>
          </a:xfrm>
          <a:custGeom>
            <a:avLst/>
            <a:gdLst>
              <a:gd name="T0" fmla="*/ 16452 w 33"/>
              <a:gd name="T1" fmla="*/ 57944 h 40"/>
              <a:gd name="T2" fmla="*/ 0 w 33"/>
              <a:gd name="T3" fmla="*/ 0 h 40"/>
              <a:gd name="T4" fmla="*/ 16452 w 33"/>
              <a:gd name="T5" fmla="*/ 0 h 40"/>
              <a:gd name="T6" fmla="*/ 24679 w 33"/>
              <a:gd name="T7" fmla="*/ 14486 h 40"/>
              <a:gd name="T8" fmla="*/ 43873 w 33"/>
              <a:gd name="T9" fmla="*/ 0 h 40"/>
              <a:gd name="T10" fmla="*/ 57583 w 33"/>
              <a:gd name="T11" fmla="*/ 11589 h 40"/>
              <a:gd name="T12" fmla="*/ 71294 w 33"/>
              <a:gd name="T13" fmla="*/ 34766 h 40"/>
              <a:gd name="T14" fmla="*/ 71294 w 33"/>
              <a:gd name="T15" fmla="*/ 69533 h 40"/>
              <a:gd name="T16" fmla="*/ 87746 w 33"/>
              <a:gd name="T17" fmla="*/ 98505 h 40"/>
              <a:gd name="T18" fmla="*/ 87746 w 33"/>
              <a:gd name="T19" fmla="*/ 112991 h 40"/>
              <a:gd name="T20" fmla="*/ 68552 w 33"/>
              <a:gd name="T21" fmla="*/ 110094 h 40"/>
              <a:gd name="T22" fmla="*/ 24679 w 33"/>
              <a:gd name="T23" fmla="*/ 78224 h 40"/>
              <a:gd name="T24" fmla="*/ 16452 w 33"/>
              <a:gd name="T25" fmla="*/ 57944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40">
                <a:moveTo>
                  <a:pt x="6" y="20"/>
                </a:moveTo>
                <a:cubicBezTo>
                  <a:pt x="4" y="17"/>
                  <a:pt x="2" y="3"/>
                  <a:pt x="0" y="0"/>
                </a:cubicBezTo>
                <a:cubicBezTo>
                  <a:pt x="6" y="0"/>
                  <a:pt x="6" y="0"/>
                  <a:pt x="6" y="0"/>
                </a:cubicBezTo>
                <a:cubicBezTo>
                  <a:pt x="6" y="0"/>
                  <a:pt x="7" y="5"/>
                  <a:pt x="9" y="5"/>
                </a:cubicBezTo>
                <a:cubicBezTo>
                  <a:pt x="10" y="5"/>
                  <a:pt x="16" y="0"/>
                  <a:pt x="16" y="0"/>
                </a:cubicBezTo>
                <a:cubicBezTo>
                  <a:pt x="18" y="1"/>
                  <a:pt x="20" y="3"/>
                  <a:pt x="21" y="4"/>
                </a:cubicBezTo>
                <a:cubicBezTo>
                  <a:pt x="23" y="6"/>
                  <a:pt x="26" y="9"/>
                  <a:pt x="26" y="12"/>
                </a:cubicBezTo>
                <a:cubicBezTo>
                  <a:pt x="26" y="15"/>
                  <a:pt x="25" y="21"/>
                  <a:pt x="26" y="24"/>
                </a:cubicBezTo>
                <a:cubicBezTo>
                  <a:pt x="26" y="28"/>
                  <a:pt x="31" y="33"/>
                  <a:pt x="32" y="34"/>
                </a:cubicBezTo>
                <a:cubicBezTo>
                  <a:pt x="32" y="36"/>
                  <a:pt x="33" y="38"/>
                  <a:pt x="32" y="39"/>
                </a:cubicBezTo>
                <a:cubicBezTo>
                  <a:pt x="30" y="40"/>
                  <a:pt x="27" y="38"/>
                  <a:pt x="25" y="38"/>
                </a:cubicBezTo>
                <a:cubicBezTo>
                  <a:pt x="23" y="37"/>
                  <a:pt x="12" y="29"/>
                  <a:pt x="9" y="27"/>
                </a:cubicBezTo>
                <a:cubicBezTo>
                  <a:pt x="7" y="24"/>
                  <a:pt x="9" y="23"/>
                  <a:pt x="6" y="20"/>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8" name="Freeform 168"/>
          <p:cNvSpPr>
            <a:spLocks/>
          </p:cNvSpPr>
          <p:nvPr>
            <p:custDataLst>
              <p:tags r:id="rId104"/>
            </p:custDataLst>
          </p:nvPr>
        </p:nvSpPr>
        <p:spPr bwMode="auto">
          <a:xfrm>
            <a:off x="8096194" y="3558951"/>
            <a:ext cx="184390" cy="365268"/>
          </a:xfrm>
          <a:custGeom>
            <a:avLst/>
            <a:gdLst>
              <a:gd name="T0" fmla="*/ 16396 w 61"/>
              <a:gd name="T1" fmla="*/ 272270 h 114"/>
              <a:gd name="T2" fmla="*/ 16396 w 61"/>
              <a:gd name="T3" fmla="*/ 225926 h 114"/>
              <a:gd name="T4" fmla="*/ 16396 w 61"/>
              <a:gd name="T5" fmla="*/ 220133 h 114"/>
              <a:gd name="T6" fmla="*/ 35524 w 61"/>
              <a:gd name="T7" fmla="*/ 188272 h 114"/>
              <a:gd name="T8" fmla="*/ 35524 w 61"/>
              <a:gd name="T9" fmla="*/ 162204 h 114"/>
              <a:gd name="T10" fmla="*/ 27326 w 61"/>
              <a:gd name="T11" fmla="*/ 136135 h 114"/>
              <a:gd name="T12" fmla="*/ 24593 w 61"/>
              <a:gd name="T13" fmla="*/ 115860 h 114"/>
              <a:gd name="T14" fmla="*/ 27326 w 61"/>
              <a:gd name="T15" fmla="*/ 81102 h 114"/>
              <a:gd name="T16" fmla="*/ 2733 w 61"/>
              <a:gd name="T17" fmla="*/ 46344 h 114"/>
              <a:gd name="T18" fmla="*/ 10930 w 61"/>
              <a:gd name="T19" fmla="*/ 17379 h 114"/>
              <a:gd name="T20" fmla="*/ 27326 w 61"/>
              <a:gd name="T21" fmla="*/ 14482 h 114"/>
              <a:gd name="T22" fmla="*/ 43721 w 61"/>
              <a:gd name="T23" fmla="*/ 2896 h 114"/>
              <a:gd name="T24" fmla="*/ 57384 w 61"/>
              <a:gd name="T25" fmla="*/ 0 h 114"/>
              <a:gd name="T26" fmla="*/ 62850 w 61"/>
              <a:gd name="T27" fmla="*/ 2896 h 114"/>
              <a:gd name="T28" fmla="*/ 60117 w 61"/>
              <a:gd name="T29" fmla="*/ 20275 h 114"/>
              <a:gd name="T30" fmla="*/ 71047 w 61"/>
              <a:gd name="T31" fmla="*/ 20275 h 114"/>
              <a:gd name="T32" fmla="*/ 79245 w 61"/>
              <a:gd name="T33" fmla="*/ 31861 h 114"/>
              <a:gd name="T34" fmla="*/ 73780 w 61"/>
              <a:gd name="T35" fmla="*/ 69516 h 114"/>
              <a:gd name="T36" fmla="*/ 90175 w 61"/>
              <a:gd name="T37" fmla="*/ 57930 h 114"/>
              <a:gd name="T38" fmla="*/ 112036 w 61"/>
              <a:gd name="T39" fmla="*/ 57930 h 114"/>
              <a:gd name="T40" fmla="*/ 125699 w 61"/>
              <a:gd name="T41" fmla="*/ 46344 h 114"/>
              <a:gd name="T42" fmla="*/ 150292 w 61"/>
              <a:gd name="T43" fmla="*/ 66619 h 114"/>
              <a:gd name="T44" fmla="*/ 153025 w 61"/>
              <a:gd name="T45" fmla="*/ 92688 h 114"/>
              <a:gd name="T46" fmla="*/ 166688 w 61"/>
              <a:gd name="T47" fmla="*/ 110067 h 114"/>
              <a:gd name="T48" fmla="*/ 161223 w 61"/>
              <a:gd name="T49" fmla="*/ 139032 h 114"/>
              <a:gd name="T50" fmla="*/ 125699 w 61"/>
              <a:gd name="T51" fmla="*/ 139032 h 114"/>
              <a:gd name="T52" fmla="*/ 103838 w 61"/>
              <a:gd name="T53" fmla="*/ 159307 h 114"/>
              <a:gd name="T54" fmla="*/ 114769 w 61"/>
              <a:gd name="T55" fmla="*/ 185375 h 114"/>
              <a:gd name="T56" fmla="*/ 106571 w 61"/>
              <a:gd name="T57" fmla="*/ 194065 h 114"/>
              <a:gd name="T58" fmla="*/ 90175 w 61"/>
              <a:gd name="T59" fmla="*/ 182479 h 114"/>
              <a:gd name="T60" fmla="*/ 73780 w 61"/>
              <a:gd name="T61" fmla="*/ 173789 h 114"/>
              <a:gd name="T62" fmla="*/ 73780 w 61"/>
              <a:gd name="T63" fmla="*/ 156411 h 114"/>
              <a:gd name="T64" fmla="*/ 54652 w 61"/>
              <a:gd name="T65" fmla="*/ 156411 h 114"/>
              <a:gd name="T66" fmla="*/ 49187 w 61"/>
              <a:gd name="T67" fmla="*/ 191168 h 114"/>
              <a:gd name="T68" fmla="*/ 38256 w 61"/>
              <a:gd name="T69" fmla="*/ 231719 h 114"/>
              <a:gd name="T70" fmla="*/ 40989 w 61"/>
              <a:gd name="T71" fmla="*/ 249098 h 114"/>
              <a:gd name="T72" fmla="*/ 54652 w 61"/>
              <a:gd name="T73" fmla="*/ 249098 h 114"/>
              <a:gd name="T74" fmla="*/ 60117 w 61"/>
              <a:gd name="T75" fmla="*/ 269374 h 114"/>
              <a:gd name="T76" fmla="*/ 71047 w 61"/>
              <a:gd name="T77" fmla="*/ 298339 h 114"/>
              <a:gd name="T78" fmla="*/ 90175 w 61"/>
              <a:gd name="T79" fmla="*/ 301235 h 114"/>
              <a:gd name="T80" fmla="*/ 101106 w 61"/>
              <a:gd name="T81" fmla="*/ 315718 h 114"/>
              <a:gd name="T82" fmla="*/ 81978 w 61"/>
              <a:gd name="T83" fmla="*/ 330200 h 114"/>
              <a:gd name="T84" fmla="*/ 73780 w 61"/>
              <a:gd name="T85" fmla="*/ 315718 h 114"/>
              <a:gd name="T86" fmla="*/ 57384 w 61"/>
              <a:gd name="T87" fmla="*/ 315718 h 114"/>
              <a:gd name="T88" fmla="*/ 24593 w 61"/>
              <a:gd name="T89" fmla="*/ 275167 h 114"/>
              <a:gd name="T90" fmla="*/ 16396 w 61"/>
              <a:gd name="T91" fmla="*/ 272270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1" h="114">
                <a:moveTo>
                  <a:pt x="6" y="94"/>
                </a:moveTo>
                <a:cubicBezTo>
                  <a:pt x="6" y="90"/>
                  <a:pt x="6" y="83"/>
                  <a:pt x="6" y="78"/>
                </a:cubicBezTo>
                <a:cubicBezTo>
                  <a:pt x="6" y="77"/>
                  <a:pt x="6" y="76"/>
                  <a:pt x="6" y="76"/>
                </a:cubicBezTo>
                <a:cubicBezTo>
                  <a:pt x="13" y="65"/>
                  <a:pt x="13" y="65"/>
                  <a:pt x="13" y="65"/>
                </a:cubicBezTo>
                <a:cubicBezTo>
                  <a:pt x="13" y="64"/>
                  <a:pt x="13" y="57"/>
                  <a:pt x="13" y="56"/>
                </a:cubicBezTo>
                <a:cubicBezTo>
                  <a:pt x="13" y="55"/>
                  <a:pt x="12" y="49"/>
                  <a:pt x="10" y="47"/>
                </a:cubicBezTo>
                <a:cubicBezTo>
                  <a:pt x="9" y="45"/>
                  <a:pt x="9" y="41"/>
                  <a:pt x="9" y="40"/>
                </a:cubicBezTo>
                <a:cubicBezTo>
                  <a:pt x="10" y="38"/>
                  <a:pt x="10" y="31"/>
                  <a:pt x="10" y="28"/>
                </a:cubicBezTo>
                <a:cubicBezTo>
                  <a:pt x="10" y="25"/>
                  <a:pt x="0" y="17"/>
                  <a:pt x="1" y="16"/>
                </a:cubicBezTo>
                <a:cubicBezTo>
                  <a:pt x="2" y="14"/>
                  <a:pt x="3" y="8"/>
                  <a:pt x="4" y="6"/>
                </a:cubicBezTo>
                <a:cubicBezTo>
                  <a:pt x="5" y="5"/>
                  <a:pt x="9" y="5"/>
                  <a:pt x="10" y="5"/>
                </a:cubicBezTo>
                <a:cubicBezTo>
                  <a:pt x="11" y="5"/>
                  <a:pt x="14" y="3"/>
                  <a:pt x="16" y="1"/>
                </a:cubicBezTo>
                <a:cubicBezTo>
                  <a:pt x="17" y="0"/>
                  <a:pt x="19" y="0"/>
                  <a:pt x="21" y="0"/>
                </a:cubicBezTo>
                <a:cubicBezTo>
                  <a:pt x="21" y="0"/>
                  <a:pt x="22" y="1"/>
                  <a:pt x="23" y="1"/>
                </a:cubicBezTo>
                <a:cubicBezTo>
                  <a:pt x="24" y="1"/>
                  <a:pt x="22" y="5"/>
                  <a:pt x="22" y="7"/>
                </a:cubicBezTo>
                <a:cubicBezTo>
                  <a:pt x="21" y="9"/>
                  <a:pt x="23" y="8"/>
                  <a:pt x="26" y="7"/>
                </a:cubicBezTo>
                <a:cubicBezTo>
                  <a:pt x="29" y="6"/>
                  <a:pt x="29" y="8"/>
                  <a:pt x="29" y="11"/>
                </a:cubicBezTo>
                <a:cubicBezTo>
                  <a:pt x="30" y="13"/>
                  <a:pt x="26" y="22"/>
                  <a:pt x="27" y="24"/>
                </a:cubicBezTo>
                <a:cubicBezTo>
                  <a:pt x="27" y="26"/>
                  <a:pt x="32" y="21"/>
                  <a:pt x="33" y="20"/>
                </a:cubicBezTo>
                <a:cubicBezTo>
                  <a:pt x="35" y="19"/>
                  <a:pt x="38" y="20"/>
                  <a:pt x="41" y="20"/>
                </a:cubicBezTo>
                <a:cubicBezTo>
                  <a:pt x="43" y="20"/>
                  <a:pt x="44" y="16"/>
                  <a:pt x="46" y="16"/>
                </a:cubicBezTo>
                <a:cubicBezTo>
                  <a:pt x="48" y="16"/>
                  <a:pt x="53" y="21"/>
                  <a:pt x="55" y="23"/>
                </a:cubicBezTo>
                <a:cubicBezTo>
                  <a:pt x="56" y="24"/>
                  <a:pt x="55" y="29"/>
                  <a:pt x="56" y="32"/>
                </a:cubicBezTo>
                <a:cubicBezTo>
                  <a:pt x="58" y="35"/>
                  <a:pt x="61" y="35"/>
                  <a:pt x="61" y="38"/>
                </a:cubicBezTo>
                <a:cubicBezTo>
                  <a:pt x="61" y="42"/>
                  <a:pt x="61" y="47"/>
                  <a:pt x="59" y="48"/>
                </a:cubicBezTo>
                <a:cubicBezTo>
                  <a:pt x="56" y="49"/>
                  <a:pt x="48" y="48"/>
                  <a:pt x="46" y="48"/>
                </a:cubicBezTo>
                <a:cubicBezTo>
                  <a:pt x="44" y="49"/>
                  <a:pt x="39" y="53"/>
                  <a:pt x="38" y="55"/>
                </a:cubicBezTo>
                <a:cubicBezTo>
                  <a:pt x="37" y="56"/>
                  <a:pt x="42" y="64"/>
                  <a:pt x="42" y="64"/>
                </a:cubicBezTo>
                <a:cubicBezTo>
                  <a:pt x="39" y="67"/>
                  <a:pt x="39" y="67"/>
                  <a:pt x="39" y="67"/>
                </a:cubicBezTo>
                <a:cubicBezTo>
                  <a:pt x="37" y="65"/>
                  <a:pt x="35" y="64"/>
                  <a:pt x="33" y="63"/>
                </a:cubicBezTo>
                <a:cubicBezTo>
                  <a:pt x="31" y="62"/>
                  <a:pt x="26" y="61"/>
                  <a:pt x="27" y="60"/>
                </a:cubicBezTo>
                <a:cubicBezTo>
                  <a:pt x="27" y="58"/>
                  <a:pt x="28" y="56"/>
                  <a:pt x="27" y="54"/>
                </a:cubicBezTo>
                <a:cubicBezTo>
                  <a:pt x="27" y="53"/>
                  <a:pt x="20" y="53"/>
                  <a:pt x="20" y="54"/>
                </a:cubicBezTo>
                <a:cubicBezTo>
                  <a:pt x="19" y="55"/>
                  <a:pt x="19" y="65"/>
                  <a:pt x="18" y="66"/>
                </a:cubicBezTo>
                <a:cubicBezTo>
                  <a:pt x="17" y="68"/>
                  <a:pt x="14" y="77"/>
                  <a:pt x="14" y="80"/>
                </a:cubicBezTo>
                <a:cubicBezTo>
                  <a:pt x="14" y="83"/>
                  <a:pt x="15" y="86"/>
                  <a:pt x="15" y="86"/>
                </a:cubicBezTo>
                <a:cubicBezTo>
                  <a:pt x="15" y="86"/>
                  <a:pt x="20" y="84"/>
                  <a:pt x="20" y="86"/>
                </a:cubicBezTo>
                <a:cubicBezTo>
                  <a:pt x="20" y="87"/>
                  <a:pt x="21" y="90"/>
                  <a:pt x="22" y="93"/>
                </a:cubicBezTo>
                <a:cubicBezTo>
                  <a:pt x="23" y="96"/>
                  <a:pt x="23" y="102"/>
                  <a:pt x="26" y="103"/>
                </a:cubicBezTo>
                <a:cubicBezTo>
                  <a:pt x="28" y="105"/>
                  <a:pt x="31" y="103"/>
                  <a:pt x="33" y="104"/>
                </a:cubicBezTo>
                <a:cubicBezTo>
                  <a:pt x="33" y="105"/>
                  <a:pt x="35" y="107"/>
                  <a:pt x="37" y="109"/>
                </a:cubicBezTo>
                <a:cubicBezTo>
                  <a:pt x="37" y="109"/>
                  <a:pt x="31" y="114"/>
                  <a:pt x="30" y="114"/>
                </a:cubicBezTo>
                <a:cubicBezTo>
                  <a:pt x="28" y="114"/>
                  <a:pt x="27" y="109"/>
                  <a:pt x="27" y="109"/>
                </a:cubicBezTo>
                <a:cubicBezTo>
                  <a:pt x="21" y="109"/>
                  <a:pt x="21" y="109"/>
                  <a:pt x="21" y="109"/>
                </a:cubicBezTo>
                <a:cubicBezTo>
                  <a:pt x="18" y="106"/>
                  <a:pt x="10" y="95"/>
                  <a:pt x="9" y="95"/>
                </a:cubicBezTo>
                <a:cubicBezTo>
                  <a:pt x="8" y="95"/>
                  <a:pt x="6" y="97"/>
                  <a:pt x="6" y="94"/>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09" name="Freeform 170"/>
          <p:cNvSpPr>
            <a:spLocks/>
          </p:cNvSpPr>
          <p:nvPr>
            <p:custDataLst>
              <p:tags r:id="rId105"/>
            </p:custDataLst>
          </p:nvPr>
        </p:nvSpPr>
        <p:spPr bwMode="auto">
          <a:xfrm>
            <a:off x="8865366" y="4073488"/>
            <a:ext cx="235317" cy="216000"/>
          </a:xfrm>
          <a:custGeom>
            <a:avLst/>
            <a:gdLst>
              <a:gd name="T0" fmla="*/ 0 w 78"/>
              <a:gd name="T1" fmla="*/ 20401 h 67"/>
              <a:gd name="T2" fmla="*/ 10909 w 78"/>
              <a:gd name="T3" fmla="*/ 11657 h 67"/>
              <a:gd name="T4" fmla="*/ 24545 w 78"/>
              <a:gd name="T5" fmla="*/ 5829 h 67"/>
              <a:gd name="T6" fmla="*/ 38181 w 78"/>
              <a:gd name="T7" fmla="*/ 0 h 67"/>
              <a:gd name="T8" fmla="*/ 54545 w 78"/>
              <a:gd name="T9" fmla="*/ 8743 h 67"/>
              <a:gd name="T10" fmla="*/ 68181 w 78"/>
              <a:gd name="T11" fmla="*/ 11657 h 67"/>
              <a:gd name="T12" fmla="*/ 70908 w 78"/>
              <a:gd name="T13" fmla="*/ 37887 h 67"/>
              <a:gd name="T14" fmla="*/ 87272 w 78"/>
              <a:gd name="T15" fmla="*/ 64116 h 67"/>
              <a:gd name="T16" fmla="*/ 103635 w 78"/>
              <a:gd name="T17" fmla="*/ 61202 h 67"/>
              <a:gd name="T18" fmla="*/ 125453 w 78"/>
              <a:gd name="T19" fmla="*/ 37887 h 67"/>
              <a:gd name="T20" fmla="*/ 147271 w 78"/>
              <a:gd name="T21" fmla="*/ 26229 h 67"/>
              <a:gd name="T22" fmla="*/ 188180 w 78"/>
              <a:gd name="T23" fmla="*/ 40801 h 67"/>
              <a:gd name="T24" fmla="*/ 212725 w 78"/>
              <a:gd name="T25" fmla="*/ 49544 h 67"/>
              <a:gd name="T26" fmla="*/ 212725 w 78"/>
              <a:gd name="T27" fmla="*/ 195263 h 67"/>
              <a:gd name="T28" fmla="*/ 182725 w 78"/>
              <a:gd name="T29" fmla="*/ 174862 h 67"/>
              <a:gd name="T30" fmla="*/ 163635 w 78"/>
              <a:gd name="T31" fmla="*/ 180691 h 67"/>
              <a:gd name="T32" fmla="*/ 141817 w 78"/>
              <a:gd name="T33" fmla="*/ 180691 h 67"/>
              <a:gd name="T34" fmla="*/ 158180 w 78"/>
              <a:gd name="T35" fmla="*/ 154462 h 67"/>
              <a:gd name="T36" fmla="*/ 171816 w 78"/>
              <a:gd name="T37" fmla="*/ 148633 h 67"/>
              <a:gd name="T38" fmla="*/ 152726 w 78"/>
              <a:gd name="T39" fmla="*/ 125318 h 67"/>
              <a:gd name="T40" fmla="*/ 136362 w 78"/>
              <a:gd name="T41" fmla="*/ 104917 h 67"/>
              <a:gd name="T42" fmla="*/ 87272 w 78"/>
              <a:gd name="T43" fmla="*/ 87431 h 67"/>
              <a:gd name="T44" fmla="*/ 62727 w 78"/>
              <a:gd name="T45" fmla="*/ 72859 h 67"/>
              <a:gd name="T46" fmla="*/ 49090 w 78"/>
              <a:gd name="T47" fmla="*/ 87431 h 67"/>
              <a:gd name="T48" fmla="*/ 38181 w 78"/>
              <a:gd name="T49" fmla="*/ 81602 h 67"/>
              <a:gd name="T50" fmla="*/ 35454 w 78"/>
              <a:gd name="T51" fmla="*/ 67031 h 67"/>
              <a:gd name="T52" fmla="*/ 21818 w 78"/>
              <a:gd name="T53" fmla="*/ 58287 h 67"/>
              <a:gd name="T54" fmla="*/ 54545 w 78"/>
              <a:gd name="T55" fmla="*/ 49544 h 67"/>
              <a:gd name="T56" fmla="*/ 32727 w 78"/>
              <a:gd name="T57" fmla="*/ 37887 h 67"/>
              <a:gd name="T58" fmla="*/ 19091 w 78"/>
              <a:gd name="T59" fmla="*/ 37887 h 67"/>
              <a:gd name="T60" fmla="*/ 13636 w 78"/>
              <a:gd name="T61" fmla="*/ 29144 h 67"/>
              <a:gd name="T62" fmla="*/ 0 w 78"/>
              <a:gd name="T63" fmla="*/ 20401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8" h="67">
                <a:moveTo>
                  <a:pt x="0" y="7"/>
                </a:moveTo>
                <a:cubicBezTo>
                  <a:pt x="0" y="5"/>
                  <a:pt x="3" y="4"/>
                  <a:pt x="4" y="4"/>
                </a:cubicBezTo>
                <a:cubicBezTo>
                  <a:pt x="5" y="4"/>
                  <a:pt x="7" y="3"/>
                  <a:pt x="9" y="2"/>
                </a:cubicBezTo>
                <a:cubicBezTo>
                  <a:pt x="11" y="1"/>
                  <a:pt x="12" y="0"/>
                  <a:pt x="14" y="0"/>
                </a:cubicBezTo>
                <a:cubicBezTo>
                  <a:pt x="17" y="1"/>
                  <a:pt x="19" y="4"/>
                  <a:pt x="20" y="3"/>
                </a:cubicBezTo>
                <a:cubicBezTo>
                  <a:pt x="22" y="3"/>
                  <a:pt x="24" y="3"/>
                  <a:pt x="25" y="4"/>
                </a:cubicBezTo>
                <a:cubicBezTo>
                  <a:pt x="26" y="5"/>
                  <a:pt x="26" y="11"/>
                  <a:pt x="26" y="13"/>
                </a:cubicBezTo>
                <a:cubicBezTo>
                  <a:pt x="26" y="15"/>
                  <a:pt x="30" y="21"/>
                  <a:pt x="32" y="22"/>
                </a:cubicBezTo>
                <a:cubicBezTo>
                  <a:pt x="34" y="23"/>
                  <a:pt x="36" y="23"/>
                  <a:pt x="38" y="21"/>
                </a:cubicBezTo>
                <a:cubicBezTo>
                  <a:pt x="39" y="18"/>
                  <a:pt x="45" y="15"/>
                  <a:pt x="46" y="13"/>
                </a:cubicBezTo>
                <a:cubicBezTo>
                  <a:pt x="47" y="12"/>
                  <a:pt x="52" y="8"/>
                  <a:pt x="54" y="9"/>
                </a:cubicBezTo>
                <a:cubicBezTo>
                  <a:pt x="57" y="10"/>
                  <a:pt x="65" y="13"/>
                  <a:pt x="69" y="14"/>
                </a:cubicBezTo>
                <a:cubicBezTo>
                  <a:pt x="71" y="15"/>
                  <a:pt x="74" y="16"/>
                  <a:pt x="78" y="17"/>
                </a:cubicBezTo>
                <a:cubicBezTo>
                  <a:pt x="78" y="67"/>
                  <a:pt x="78" y="67"/>
                  <a:pt x="78" y="67"/>
                </a:cubicBezTo>
                <a:cubicBezTo>
                  <a:pt x="75" y="64"/>
                  <a:pt x="70" y="60"/>
                  <a:pt x="67" y="60"/>
                </a:cubicBezTo>
                <a:cubicBezTo>
                  <a:pt x="65" y="60"/>
                  <a:pt x="63" y="62"/>
                  <a:pt x="60" y="62"/>
                </a:cubicBezTo>
                <a:cubicBezTo>
                  <a:pt x="57" y="62"/>
                  <a:pt x="52" y="64"/>
                  <a:pt x="52" y="62"/>
                </a:cubicBezTo>
                <a:cubicBezTo>
                  <a:pt x="52" y="60"/>
                  <a:pt x="56" y="54"/>
                  <a:pt x="58" y="53"/>
                </a:cubicBezTo>
                <a:cubicBezTo>
                  <a:pt x="60" y="53"/>
                  <a:pt x="64" y="52"/>
                  <a:pt x="63" y="51"/>
                </a:cubicBezTo>
                <a:cubicBezTo>
                  <a:pt x="63" y="50"/>
                  <a:pt x="57" y="45"/>
                  <a:pt x="56" y="43"/>
                </a:cubicBezTo>
                <a:cubicBezTo>
                  <a:pt x="55" y="40"/>
                  <a:pt x="54" y="38"/>
                  <a:pt x="50" y="36"/>
                </a:cubicBezTo>
                <a:cubicBezTo>
                  <a:pt x="47" y="35"/>
                  <a:pt x="35" y="31"/>
                  <a:pt x="32" y="30"/>
                </a:cubicBezTo>
                <a:cubicBezTo>
                  <a:pt x="29" y="29"/>
                  <a:pt x="24" y="26"/>
                  <a:pt x="23" y="25"/>
                </a:cubicBezTo>
                <a:cubicBezTo>
                  <a:pt x="21" y="25"/>
                  <a:pt x="20" y="30"/>
                  <a:pt x="18" y="30"/>
                </a:cubicBezTo>
                <a:cubicBezTo>
                  <a:pt x="17" y="30"/>
                  <a:pt x="14" y="29"/>
                  <a:pt x="14" y="28"/>
                </a:cubicBezTo>
                <a:cubicBezTo>
                  <a:pt x="14" y="27"/>
                  <a:pt x="14" y="25"/>
                  <a:pt x="13" y="23"/>
                </a:cubicBezTo>
                <a:cubicBezTo>
                  <a:pt x="12" y="22"/>
                  <a:pt x="8" y="21"/>
                  <a:pt x="8" y="20"/>
                </a:cubicBezTo>
                <a:cubicBezTo>
                  <a:pt x="9" y="18"/>
                  <a:pt x="20" y="18"/>
                  <a:pt x="20" y="17"/>
                </a:cubicBezTo>
                <a:cubicBezTo>
                  <a:pt x="20" y="16"/>
                  <a:pt x="15" y="14"/>
                  <a:pt x="12" y="13"/>
                </a:cubicBezTo>
                <a:cubicBezTo>
                  <a:pt x="10" y="13"/>
                  <a:pt x="8" y="15"/>
                  <a:pt x="7" y="13"/>
                </a:cubicBezTo>
                <a:cubicBezTo>
                  <a:pt x="7" y="11"/>
                  <a:pt x="7" y="11"/>
                  <a:pt x="5" y="10"/>
                </a:cubicBezTo>
                <a:cubicBezTo>
                  <a:pt x="3" y="9"/>
                  <a:pt x="0" y="7"/>
                  <a:pt x="0" y="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0" name="Freeform 171"/>
          <p:cNvSpPr>
            <a:spLocks/>
          </p:cNvSpPr>
          <p:nvPr>
            <p:custDataLst>
              <p:tags r:id="rId106"/>
            </p:custDataLst>
          </p:nvPr>
        </p:nvSpPr>
        <p:spPr bwMode="auto">
          <a:xfrm>
            <a:off x="8800389" y="4134951"/>
            <a:ext cx="70244" cy="28098"/>
          </a:xfrm>
          <a:custGeom>
            <a:avLst/>
            <a:gdLst>
              <a:gd name="T0" fmla="*/ 2761 w 23"/>
              <a:gd name="T1" fmla="*/ 2822 h 9"/>
              <a:gd name="T2" fmla="*/ 24848 w 23"/>
              <a:gd name="T3" fmla="*/ 0 h 9"/>
              <a:gd name="T4" fmla="*/ 52457 w 23"/>
              <a:gd name="T5" fmla="*/ 5644 h 9"/>
              <a:gd name="T6" fmla="*/ 60739 w 23"/>
              <a:gd name="T7" fmla="*/ 25400 h 9"/>
              <a:gd name="T8" fmla="*/ 44174 w 23"/>
              <a:gd name="T9" fmla="*/ 16933 h 9"/>
              <a:gd name="T10" fmla="*/ 30370 w 23"/>
              <a:gd name="T11" fmla="*/ 11289 h 9"/>
              <a:gd name="T12" fmla="*/ 11043 w 23"/>
              <a:gd name="T13" fmla="*/ 16933 h 9"/>
              <a:gd name="T14" fmla="*/ 2761 w 23"/>
              <a:gd name="T15" fmla="*/ 2822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 h="9">
                <a:moveTo>
                  <a:pt x="1" y="1"/>
                </a:moveTo>
                <a:cubicBezTo>
                  <a:pt x="1" y="0"/>
                  <a:pt x="7" y="0"/>
                  <a:pt x="9" y="0"/>
                </a:cubicBezTo>
                <a:cubicBezTo>
                  <a:pt x="11" y="0"/>
                  <a:pt x="17" y="0"/>
                  <a:pt x="19" y="2"/>
                </a:cubicBezTo>
                <a:cubicBezTo>
                  <a:pt x="20" y="4"/>
                  <a:pt x="23" y="8"/>
                  <a:pt x="22" y="9"/>
                </a:cubicBezTo>
                <a:cubicBezTo>
                  <a:pt x="21" y="9"/>
                  <a:pt x="18" y="7"/>
                  <a:pt x="16" y="6"/>
                </a:cubicBezTo>
                <a:cubicBezTo>
                  <a:pt x="15" y="5"/>
                  <a:pt x="13" y="4"/>
                  <a:pt x="11" y="4"/>
                </a:cubicBezTo>
                <a:cubicBezTo>
                  <a:pt x="10" y="4"/>
                  <a:pt x="4" y="6"/>
                  <a:pt x="4" y="6"/>
                </a:cubicBezTo>
                <a:cubicBezTo>
                  <a:pt x="2" y="5"/>
                  <a:pt x="0" y="2"/>
                  <a:pt x="1" y="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1" name="Freeform 172"/>
          <p:cNvSpPr>
            <a:spLocks/>
          </p:cNvSpPr>
          <p:nvPr>
            <p:custDataLst>
              <p:tags r:id="rId107"/>
            </p:custDataLst>
          </p:nvPr>
        </p:nvSpPr>
        <p:spPr bwMode="auto">
          <a:xfrm>
            <a:off x="8782828" y="4008513"/>
            <a:ext cx="40390" cy="87805"/>
          </a:xfrm>
          <a:custGeom>
            <a:avLst/>
            <a:gdLst>
              <a:gd name="T0" fmla="*/ 14043 w 13"/>
              <a:gd name="T1" fmla="*/ 67616 h 27"/>
              <a:gd name="T2" fmla="*/ 2809 w 13"/>
              <a:gd name="T3" fmla="*/ 41157 h 27"/>
              <a:gd name="T4" fmla="*/ 5617 w 13"/>
              <a:gd name="T5" fmla="*/ 14699 h 27"/>
              <a:gd name="T6" fmla="*/ 16852 w 13"/>
              <a:gd name="T7" fmla="*/ 0 h 27"/>
              <a:gd name="T8" fmla="*/ 16852 w 13"/>
              <a:gd name="T9" fmla="*/ 11759 h 27"/>
              <a:gd name="T10" fmla="*/ 30896 w 13"/>
              <a:gd name="T11" fmla="*/ 14699 h 27"/>
              <a:gd name="T12" fmla="*/ 25278 w 13"/>
              <a:gd name="T13" fmla="*/ 26458 h 27"/>
              <a:gd name="T14" fmla="*/ 33704 w 13"/>
              <a:gd name="T15" fmla="*/ 44097 h 27"/>
              <a:gd name="T16" fmla="*/ 19661 w 13"/>
              <a:gd name="T17" fmla="*/ 47037 h 27"/>
              <a:gd name="T18" fmla="*/ 25278 w 13"/>
              <a:gd name="T19" fmla="*/ 76435 h 27"/>
              <a:gd name="T20" fmla="*/ 14043 w 13"/>
              <a:gd name="T21" fmla="*/ 67616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7">
                <a:moveTo>
                  <a:pt x="5" y="23"/>
                </a:moveTo>
                <a:cubicBezTo>
                  <a:pt x="3" y="22"/>
                  <a:pt x="1" y="17"/>
                  <a:pt x="1" y="14"/>
                </a:cubicBezTo>
                <a:cubicBezTo>
                  <a:pt x="1" y="11"/>
                  <a:pt x="0" y="8"/>
                  <a:pt x="2" y="5"/>
                </a:cubicBezTo>
                <a:cubicBezTo>
                  <a:pt x="3" y="2"/>
                  <a:pt x="5" y="0"/>
                  <a:pt x="6" y="0"/>
                </a:cubicBezTo>
                <a:cubicBezTo>
                  <a:pt x="6" y="0"/>
                  <a:pt x="7" y="2"/>
                  <a:pt x="6" y="4"/>
                </a:cubicBezTo>
                <a:cubicBezTo>
                  <a:pt x="6" y="6"/>
                  <a:pt x="10" y="4"/>
                  <a:pt x="11" y="5"/>
                </a:cubicBezTo>
                <a:cubicBezTo>
                  <a:pt x="13" y="6"/>
                  <a:pt x="10" y="8"/>
                  <a:pt x="9" y="9"/>
                </a:cubicBezTo>
                <a:cubicBezTo>
                  <a:pt x="9" y="11"/>
                  <a:pt x="13" y="13"/>
                  <a:pt x="12" y="15"/>
                </a:cubicBezTo>
                <a:cubicBezTo>
                  <a:pt x="11" y="17"/>
                  <a:pt x="8" y="16"/>
                  <a:pt x="7" y="16"/>
                </a:cubicBezTo>
                <a:cubicBezTo>
                  <a:pt x="5" y="17"/>
                  <a:pt x="10" y="25"/>
                  <a:pt x="9" y="26"/>
                </a:cubicBezTo>
                <a:cubicBezTo>
                  <a:pt x="7" y="27"/>
                  <a:pt x="6" y="24"/>
                  <a:pt x="5" y="2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2" name="Freeform 173"/>
          <p:cNvSpPr>
            <a:spLocks/>
          </p:cNvSpPr>
          <p:nvPr>
            <p:custDataLst>
              <p:tags r:id="rId108"/>
            </p:custDataLst>
          </p:nvPr>
        </p:nvSpPr>
        <p:spPr bwMode="auto">
          <a:xfrm>
            <a:off x="8756487" y="4141977"/>
            <a:ext cx="29854" cy="21073"/>
          </a:xfrm>
          <a:custGeom>
            <a:avLst/>
            <a:gdLst>
              <a:gd name="T0" fmla="*/ 26988 w 10"/>
              <a:gd name="T1" fmla="*/ 16329 h 7"/>
              <a:gd name="T2" fmla="*/ 10795 w 10"/>
              <a:gd name="T3" fmla="*/ 19050 h 7"/>
              <a:gd name="T4" fmla="*/ 0 w 10"/>
              <a:gd name="T5" fmla="*/ 5443 h 7"/>
              <a:gd name="T6" fmla="*/ 13494 w 10"/>
              <a:gd name="T7" fmla="*/ 0 h 7"/>
              <a:gd name="T8" fmla="*/ 24289 w 10"/>
              <a:gd name="T9" fmla="*/ 2721 h 7"/>
              <a:gd name="T10" fmla="*/ 26988 w 10"/>
              <a:gd name="T11" fmla="*/ 16329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7">
                <a:moveTo>
                  <a:pt x="10" y="6"/>
                </a:moveTo>
                <a:cubicBezTo>
                  <a:pt x="10" y="7"/>
                  <a:pt x="6" y="7"/>
                  <a:pt x="4" y="7"/>
                </a:cubicBezTo>
                <a:cubicBezTo>
                  <a:pt x="2" y="7"/>
                  <a:pt x="0" y="4"/>
                  <a:pt x="0" y="2"/>
                </a:cubicBezTo>
                <a:cubicBezTo>
                  <a:pt x="0" y="0"/>
                  <a:pt x="2" y="0"/>
                  <a:pt x="5" y="0"/>
                </a:cubicBezTo>
                <a:cubicBezTo>
                  <a:pt x="5" y="0"/>
                  <a:pt x="8" y="0"/>
                  <a:pt x="9" y="1"/>
                </a:cubicBezTo>
                <a:cubicBezTo>
                  <a:pt x="10" y="2"/>
                  <a:pt x="10" y="4"/>
                  <a:pt x="10" y="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3" name="Freeform 174"/>
          <p:cNvSpPr>
            <a:spLocks/>
          </p:cNvSpPr>
          <p:nvPr>
            <p:custDataLst>
              <p:tags r:id="rId109"/>
            </p:custDataLst>
          </p:nvPr>
        </p:nvSpPr>
        <p:spPr bwMode="auto">
          <a:xfrm>
            <a:off x="8689756" y="4266660"/>
            <a:ext cx="96585" cy="61463"/>
          </a:xfrm>
          <a:custGeom>
            <a:avLst/>
            <a:gdLst>
              <a:gd name="T0" fmla="*/ 0 w 32"/>
              <a:gd name="T1" fmla="*/ 52639 h 19"/>
              <a:gd name="T2" fmla="*/ 21828 w 32"/>
              <a:gd name="T3" fmla="*/ 26319 h 19"/>
              <a:gd name="T4" fmla="*/ 54571 w 32"/>
              <a:gd name="T5" fmla="*/ 8773 h 19"/>
              <a:gd name="T6" fmla="*/ 87313 w 32"/>
              <a:gd name="T7" fmla="*/ 8773 h 19"/>
              <a:gd name="T8" fmla="*/ 60028 w 32"/>
              <a:gd name="T9" fmla="*/ 29244 h 19"/>
              <a:gd name="T10" fmla="*/ 35471 w 32"/>
              <a:gd name="T11" fmla="*/ 43866 h 19"/>
              <a:gd name="T12" fmla="*/ 13643 w 32"/>
              <a:gd name="T13" fmla="*/ 55563 h 19"/>
              <a:gd name="T14" fmla="*/ 0 w 32"/>
              <a:gd name="T15" fmla="*/ 5263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 h="19">
                <a:moveTo>
                  <a:pt x="0" y="18"/>
                </a:moveTo>
                <a:cubicBezTo>
                  <a:pt x="0" y="17"/>
                  <a:pt x="5" y="12"/>
                  <a:pt x="8" y="9"/>
                </a:cubicBezTo>
                <a:cubicBezTo>
                  <a:pt x="10" y="7"/>
                  <a:pt x="16" y="3"/>
                  <a:pt x="20" y="3"/>
                </a:cubicBezTo>
                <a:cubicBezTo>
                  <a:pt x="23" y="3"/>
                  <a:pt x="32" y="0"/>
                  <a:pt x="32" y="3"/>
                </a:cubicBezTo>
                <a:cubicBezTo>
                  <a:pt x="32" y="5"/>
                  <a:pt x="25" y="9"/>
                  <a:pt x="22" y="10"/>
                </a:cubicBezTo>
                <a:cubicBezTo>
                  <a:pt x="20" y="10"/>
                  <a:pt x="17" y="12"/>
                  <a:pt x="13" y="15"/>
                </a:cubicBezTo>
                <a:cubicBezTo>
                  <a:pt x="10" y="18"/>
                  <a:pt x="6" y="19"/>
                  <a:pt x="5" y="19"/>
                </a:cubicBezTo>
                <a:cubicBezTo>
                  <a:pt x="3" y="19"/>
                  <a:pt x="0" y="18"/>
                  <a:pt x="0" y="1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4" name="Freeform 175"/>
          <p:cNvSpPr>
            <a:spLocks/>
          </p:cNvSpPr>
          <p:nvPr>
            <p:custDataLst>
              <p:tags r:id="rId110"/>
            </p:custDataLst>
          </p:nvPr>
        </p:nvSpPr>
        <p:spPr bwMode="auto">
          <a:xfrm>
            <a:off x="8614243" y="4261390"/>
            <a:ext cx="107122" cy="31610"/>
          </a:xfrm>
          <a:custGeom>
            <a:avLst/>
            <a:gdLst>
              <a:gd name="T0" fmla="*/ 0 w 35"/>
              <a:gd name="T1" fmla="*/ 17145 h 10"/>
              <a:gd name="T2" fmla="*/ 16601 w 35"/>
              <a:gd name="T3" fmla="*/ 11430 h 10"/>
              <a:gd name="T4" fmla="*/ 44269 w 35"/>
              <a:gd name="T5" fmla="*/ 11430 h 10"/>
              <a:gd name="T6" fmla="*/ 74704 w 35"/>
              <a:gd name="T7" fmla="*/ 2858 h 10"/>
              <a:gd name="T8" fmla="*/ 94071 w 35"/>
              <a:gd name="T9" fmla="*/ 2858 h 10"/>
              <a:gd name="T10" fmla="*/ 83004 w 35"/>
              <a:gd name="T11" fmla="*/ 14288 h 10"/>
              <a:gd name="T12" fmla="*/ 33202 w 35"/>
              <a:gd name="T13" fmla="*/ 22860 h 10"/>
              <a:gd name="T14" fmla="*/ 11067 w 35"/>
              <a:gd name="T15" fmla="*/ 28575 h 10"/>
              <a:gd name="T16" fmla="*/ 0 w 35"/>
              <a:gd name="T17" fmla="*/ 17145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 h="10">
                <a:moveTo>
                  <a:pt x="0" y="6"/>
                </a:moveTo>
                <a:cubicBezTo>
                  <a:pt x="0" y="5"/>
                  <a:pt x="3" y="5"/>
                  <a:pt x="6" y="4"/>
                </a:cubicBezTo>
                <a:cubicBezTo>
                  <a:pt x="8" y="4"/>
                  <a:pt x="13" y="4"/>
                  <a:pt x="16" y="4"/>
                </a:cubicBezTo>
                <a:cubicBezTo>
                  <a:pt x="19" y="4"/>
                  <a:pt x="24" y="1"/>
                  <a:pt x="27" y="1"/>
                </a:cubicBezTo>
                <a:cubicBezTo>
                  <a:pt x="29" y="1"/>
                  <a:pt x="35" y="0"/>
                  <a:pt x="34" y="1"/>
                </a:cubicBezTo>
                <a:cubicBezTo>
                  <a:pt x="34" y="2"/>
                  <a:pt x="32" y="5"/>
                  <a:pt x="30" y="5"/>
                </a:cubicBezTo>
                <a:cubicBezTo>
                  <a:pt x="28" y="5"/>
                  <a:pt x="17" y="10"/>
                  <a:pt x="12" y="8"/>
                </a:cubicBezTo>
                <a:cubicBezTo>
                  <a:pt x="7" y="6"/>
                  <a:pt x="6" y="10"/>
                  <a:pt x="4" y="10"/>
                </a:cubicBezTo>
                <a:cubicBezTo>
                  <a:pt x="1" y="10"/>
                  <a:pt x="1" y="9"/>
                  <a:pt x="0" y="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5" name="Freeform 176"/>
          <p:cNvSpPr>
            <a:spLocks/>
          </p:cNvSpPr>
          <p:nvPr>
            <p:custDataLst>
              <p:tags r:id="rId111"/>
            </p:custDataLst>
          </p:nvPr>
        </p:nvSpPr>
        <p:spPr bwMode="auto">
          <a:xfrm>
            <a:off x="8584390" y="4015538"/>
            <a:ext cx="158049" cy="194927"/>
          </a:xfrm>
          <a:custGeom>
            <a:avLst/>
            <a:gdLst>
              <a:gd name="T0" fmla="*/ 19233 w 52"/>
              <a:gd name="T1" fmla="*/ 126286 h 60"/>
              <a:gd name="T2" fmla="*/ 0 w 52"/>
              <a:gd name="T3" fmla="*/ 117475 h 60"/>
              <a:gd name="T4" fmla="*/ 10990 w 52"/>
              <a:gd name="T5" fmla="*/ 96917 h 60"/>
              <a:gd name="T6" fmla="*/ 19233 w 52"/>
              <a:gd name="T7" fmla="*/ 67548 h 60"/>
              <a:gd name="T8" fmla="*/ 24728 w 52"/>
              <a:gd name="T9" fmla="*/ 38179 h 60"/>
              <a:gd name="T10" fmla="*/ 46709 w 52"/>
              <a:gd name="T11" fmla="*/ 17621 h 60"/>
              <a:gd name="T12" fmla="*/ 74185 w 52"/>
              <a:gd name="T13" fmla="*/ 20558 h 60"/>
              <a:gd name="T14" fmla="*/ 118147 w 52"/>
              <a:gd name="T15" fmla="*/ 20558 h 60"/>
              <a:gd name="T16" fmla="*/ 134632 w 52"/>
              <a:gd name="T17" fmla="*/ 2937 h 60"/>
              <a:gd name="T18" fmla="*/ 140127 w 52"/>
              <a:gd name="T19" fmla="*/ 14684 h 60"/>
              <a:gd name="T20" fmla="*/ 123642 w 52"/>
              <a:gd name="T21" fmla="*/ 41116 h 60"/>
              <a:gd name="T22" fmla="*/ 90671 w 52"/>
              <a:gd name="T23" fmla="*/ 38179 h 60"/>
              <a:gd name="T24" fmla="*/ 52204 w 52"/>
              <a:gd name="T25" fmla="*/ 38179 h 60"/>
              <a:gd name="T26" fmla="*/ 38466 w 52"/>
              <a:gd name="T27" fmla="*/ 49927 h 60"/>
              <a:gd name="T28" fmla="*/ 35719 w 52"/>
              <a:gd name="T29" fmla="*/ 64611 h 60"/>
              <a:gd name="T30" fmla="*/ 46709 w 52"/>
              <a:gd name="T31" fmla="*/ 76359 h 60"/>
              <a:gd name="T32" fmla="*/ 63195 w 52"/>
              <a:gd name="T33" fmla="*/ 64611 h 60"/>
              <a:gd name="T34" fmla="*/ 96166 w 52"/>
              <a:gd name="T35" fmla="*/ 61675 h 60"/>
              <a:gd name="T36" fmla="*/ 98913 w 52"/>
              <a:gd name="T37" fmla="*/ 73422 h 60"/>
              <a:gd name="T38" fmla="*/ 76933 w 52"/>
              <a:gd name="T39" fmla="*/ 82233 h 60"/>
              <a:gd name="T40" fmla="*/ 60447 w 52"/>
              <a:gd name="T41" fmla="*/ 91043 h 60"/>
              <a:gd name="T42" fmla="*/ 79680 w 52"/>
              <a:gd name="T43" fmla="*/ 117475 h 60"/>
              <a:gd name="T44" fmla="*/ 79680 w 52"/>
              <a:gd name="T45" fmla="*/ 132160 h 60"/>
              <a:gd name="T46" fmla="*/ 93418 w 52"/>
              <a:gd name="T47" fmla="*/ 146844 h 60"/>
              <a:gd name="T48" fmla="*/ 90671 w 52"/>
              <a:gd name="T49" fmla="*/ 161529 h 60"/>
              <a:gd name="T50" fmla="*/ 82428 w 52"/>
              <a:gd name="T51" fmla="*/ 170339 h 60"/>
              <a:gd name="T52" fmla="*/ 74185 w 52"/>
              <a:gd name="T53" fmla="*/ 152718 h 60"/>
              <a:gd name="T54" fmla="*/ 60447 w 52"/>
              <a:gd name="T55" fmla="*/ 152718 h 60"/>
              <a:gd name="T56" fmla="*/ 60447 w 52"/>
              <a:gd name="T57" fmla="*/ 135097 h 60"/>
              <a:gd name="T58" fmla="*/ 49457 w 52"/>
              <a:gd name="T59" fmla="*/ 105728 h 60"/>
              <a:gd name="T60" fmla="*/ 30224 w 52"/>
              <a:gd name="T61" fmla="*/ 114538 h 60"/>
              <a:gd name="T62" fmla="*/ 38466 w 52"/>
              <a:gd name="T63" fmla="*/ 149781 h 60"/>
              <a:gd name="T64" fmla="*/ 35719 w 52"/>
              <a:gd name="T65" fmla="*/ 173276 h 60"/>
              <a:gd name="T66" fmla="*/ 16486 w 52"/>
              <a:gd name="T67" fmla="*/ 170339 h 60"/>
              <a:gd name="T68" fmla="*/ 19233 w 52"/>
              <a:gd name="T69" fmla="*/ 149781 h 60"/>
              <a:gd name="T70" fmla="*/ 19233 w 52"/>
              <a:gd name="T71" fmla="*/ 126286 h 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60">
                <a:moveTo>
                  <a:pt x="7" y="43"/>
                </a:moveTo>
                <a:cubicBezTo>
                  <a:pt x="6" y="42"/>
                  <a:pt x="0" y="42"/>
                  <a:pt x="0" y="40"/>
                </a:cubicBezTo>
                <a:cubicBezTo>
                  <a:pt x="0" y="38"/>
                  <a:pt x="4" y="36"/>
                  <a:pt x="4" y="33"/>
                </a:cubicBezTo>
                <a:cubicBezTo>
                  <a:pt x="4" y="31"/>
                  <a:pt x="5" y="24"/>
                  <a:pt x="7" y="23"/>
                </a:cubicBezTo>
                <a:cubicBezTo>
                  <a:pt x="8" y="21"/>
                  <a:pt x="8" y="15"/>
                  <a:pt x="9" y="13"/>
                </a:cubicBezTo>
                <a:cubicBezTo>
                  <a:pt x="11" y="11"/>
                  <a:pt x="15" y="6"/>
                  <a:pt x="17" y="6"/>
                </a:cubicBezTo>
                <a:cubicBezTo>
                  <a:pt x="18" y="6"/>
                  <a:pt x="25" y="7"/>
                  <a:pt x="27" y="7"/>
                </a:cubicBezTo>
                <a:cubicBezTo>
                  <a:pt x="29" y="7"/>
                  <a:pt x="41" y="9"/>
                  <a:pt x="43" y="7"/>
                </a:cubicBezTo>
                <a:cubicBezTo>
                  <a:pt x="45" y="5"/>
                  <a:pt x="47" y="0"/>
                  <a:pt x="49" y="1"/>
                </a:cubicBezTo>
                <a:cubicBezTo>
                  <a:pt x="51" y="2"/>
                  <a:pt x="52" y="3"/>
                  <a:pt x="51" y="5"/>
                </a:cubicBezTo>
                <a:cubicBezTo>
                  <a:pt x="50" y="6"/>
                  <a:pt x="45" y="13"/>
                  <a:pt x="45" y="14"/>
                </a:cubicBezTo>
                <a:cubicBezTo>
                  <a:pt x="43" y="14"/>
                  <a:pt x="37" y="13"/>
                  <a:pt x="33" y="13"/>
                </a:cubicBezTo>
                <a:cubicBezTo>
                  <a:pt x="30" y="13"/>
                  <a:pt x="21" y="13"/>
                  <a:pt x="19" y="13"/>
                </a:cubicBezTo>
                <a:cubicBezTo>
                  <a:pt x="17" y="13"/>
                  <a:pt x="14" y="15"/>
                  <a:pt x="14" y="17"/>
                </a:cubicBezTo>
                <a:cubicBezTo>
                  <a:pt x="14" y="18"/>
                  <a:pt x="12" y="21"/>
                  <a:pt x="13" y="22"/>
                </a:cubicBezTo>
                <a:cubicBezTo>
                  <a:pt x="15" y="24"/>
                  <a:pt x="15" y="26"/>
                  <a:pt x="17" y="26"/>
                </a:cubicBezTo>
                <a:cubicBezTo>
                  <a:pt x="20" y="27"/>
                  <a:pt x="21" y="22"/>
                  <a:pt x="23" y="22"/>
                </a:cubicBezTo>
                <a:cubicBezTo>
                  <a:pt x="25" y="22"/>
                  <a:pt x="32" y="19"/>
                  <a:pt x="35" y="21"/>
                </a:cubicBezTo>
                <a:cubicBezTo>
                  <a:pt x="37" y="23"/>
                  <a:pt x="37" y="23"/>
                  <a:pt x="36" y="25"/>
                </a:cubicBezTo>
                <a:cubicBezTo>
                  <a:pt x="35" y="26"/>
                  <a:pt x="30" y="28"/>
                  <a:pt x="28" y="28"/>
                </a:cubicBezTo>
                <a:cubicBezTo>
                  <a:pt x="26" y="28"/>
                  <a:pt x="22" y="30"/>
                  <a:pt x="22" y="31"/>
                </a:cubicBezTo>
                <a:cubicBezTo>
                  <a:pt x="22" y="33"/>
                  <a:pt x="29" y="38"/>
                  <a:pt x="29" y="40"/>
                </a:cubicBezTo>
                <a:cubicBezTo>
                  <a:pt x="29" y="42"/>
                  <a:pt x="28" y="44"/>
                  <a:pt x="29" y="45"/>
                </a:cubicBezTo>
                <a:cubicBezTo>
                  <a:pt x="30" y="46"/>
                  <a:pt x="34" y="50"/>
                  <a:pt x="34" y="50"/>
                </a:cubicBezTo>
                <a:cubicBezTo>
                  <a:pt x="34" y="50"/>
                  <a:pt x="34" y="53"/>
                  <a:pt x="33" y="55"/>
                </a:cubicBezTo>
                <a:cubicBezTo>
                  <a:pt x="32" y="57"/>
                  <a:pt x="32" y="59"/>
                  <a:pt x="30" y="58"/>
                </a:cubicBezTo>
                <a:cubicBezTo>
                  <a:pt x="29" y="57"/>
                  <a:pt x="29" y="52"/>
                  <a:pt x="27" y="52"/>
                </a:cubicBezTo>
                <a:cubicBezTo>
                  <a:pt x="26" y="52"/>
                  <a:pt x="23" y="54"/>
                  <a:pt x="22" y="52"/>
                </a:cubicBezTo>
                <a:cubicBezTo>
                  <a:pt x="22" y="50"/>
                  <a:pt x="24" y="49"/>
                  <a:pt x="22" y="46"/>
                </a:cubicBezTo>
                <a:cubicBezTo>
                  <a:pt x="21" y="44"/>
                  <a:pt x="18" y="36"/>
                  <a:pt x="18" y="36"/>
                </a:cubicBezTo>
                <a:cubicBezTo>
                  <a:pt x="17" y="35"/>
                  <a:pt x="11" y="37"/>
                  <a:pt x="11" y="39"/>
                </a:cubicBezTo>
                <a:cubicBezTo>
                  <a:pt x="12" y="40"/>
                  <a:pt x="15" y="48"/>
                  <a:pt x="14" y="51"/>
                </a:cubicBezTo>
                <a:cubicBezTo>
                  <a:pt x="13" y="55"/>
                  <a:pt x="15" y="58"/>
                  <a:pt x="13" y="59"/>
                </a:cubicBezTo>
                <a:cubicBezTo>
                  <a:pt x="12" y="59"/>
                  <a:pt x="6" y="60"/>
                  <a:pt x="6" y="58"/>
                </a:cubicBezTo>
                <a:cubicBezTo>
                  <a:pt x="5" y="55"/>
                  <a:pt x="7" y="51"/>
                  <a:pt x="7" y="51"/>
                </a:cubicBezTo>
                <a:cubicBezTo>
                  <a:pt x="7" y="48"/>
                  <a:pt x="7" y="44"/>
                  <a:pt x="7" y="4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6" name="Freeform 177"/>
          <p:cNvSpPr>
            <a:spLocks/>
          </p:cNvSpPr>
          <p:nvPr>
            <p:custDataLst>
              <p:tags r:id="rId112"/>
            </p:custDataLst>
          </p:nvPr>
        </p:nvSpPr>
        <p:spPr bwMode="auto">
          <a:xfrm>
            <a:off x="8357854" y="3957585"/>
            <a:ext cx="237073" cy="212488"/>
          </a:xfrm>
          <a:custGeom>
            <a:avLst/>
            <a:gdLst>
              <a:gd name="T0" fmla="*/ 13738 w 78"/>
              <a:gd name="T1" fmla="*/ 52388 h 66"/>
              <a:gd name="T2" fmla="*/ 21981 w 78"/>
              <a:gd name="T3" fmla="*/ 72761 h 66"/>
              <a:gd name="T4" fmla="*/ 38466 w 78"/>
              <a:gd name="T5" fmla="*/ 84402 h 66"/>
              <a:gd name="T6" fmla="*/ 71438 w 78"/>
              <a:gd name="T7" fmla="*/ 78581 h 66"/>
              <a:gd name="T8" fmla="*/ 82428 w 78"/>
              <a:gd name="T9" fmla="*/ 64029 h 66"/>
              <a:gd name="T10" fmla="*/ 112652 w 78"/>
              <a:gd name="T11" fmla="*/ 66940 h 66"/>
              <a:gd name="T12" fmla="*/ 134633 w 78"/>
              <a:gd name="T13" fmla="*/ 37836 h 66"/>
              <a:gd name="T14" fmla="*/ 145623 w 78"/>
              <a:gd name="T15" fmla="*/ 2910 h 66"/>
              <a:gd name="T16" fmla="*/ 175847 w 78"/>
              <a:gd name="T17" fmla="*/ 0 h 66"/>
              <a:gd name="T18" fmla="*/ 189585 w 78"/>
              <a:gd name="T19" fmla="*/ 8731 h 66"/>
              <a:gd name="T20" fmla="*/ 181342 w 78"/>
              <a:gd name="T21" fmla="*/ 20373 h 66"/>
              <a:gd name="T22" fmla="*/ 192332 w 78"/>
              <a:gd name="T23" fmla="*/ 37836 h 66"/>
              <a:gd name="T24" fmla="*/ 192332 w 78"/>
              <a:gd name="T25" fmla="*/ 52388 h 66"/>
              <a:gd name="T26" fmla="*/ 214313 w 78"/>
              <a:gd name="T27" fmla="*/ 75671 h 66"/>
              <a:gd name="T28" fmla="*/ 186837 w 78"/>
              <a:gd name="T29" fmla="*/ 81492 h 66"/>
              <a:gd name="T30" fmla="*/ 181342 w 78"/>
              <a:gd name="T31" fmla="*/ 113507 h 66"/>
              <a:gd name="T32" fmla="*/ 162109 w 78"/>
              <a:gd name="T33" fmla="*/ 133880 h 66"/>
              <a:gd name="T34" fmla="*/ 164856 w 78"/>
              <a:gd name="T35" fmla="*/ 151342 h 66"/>
              <a:gd name="T36" fmla="*/ 153866 w 78"/>
              <a:gd name="T37" fmla="*/ 180446 h 66"/>
              <a:gd name="T38" fmla="*/ 120895 w 78"/>
              <a:gd name="T39" fmla="*/ 192088 h 66"/>
              <a:gd name="T40" fmla="*/ 115399 w 78"/>
              <a:gd name="T41" fmla="*/ 174625 h 66"/>
              <a:gd name="T42" fmla="*/ 90671 w 78"/>
              <a:gd name="T43" fmla="*/ 168805 h 66"/>
              <a:gd name="T44" fmla="*/ 63195 w 78"/>
              <a:gd name="T45" fmla="*/ 180446 h 66"/>
              <a:gd name="T46" fmla="*/ 57700 w 78"/>
              <a:gd name="T47" fmla="*/ 162984 h 66"/>
              <a:gd name="T48" fmla="*/ 27476 w 78"/>
              <a:gd name="T49" fmla="*/ 162984 h 66"/>
              <a:gd name="T50" fmla="*/ 24728 w 78"/>
              <a:gd name="T51" fmla="*/ 128059 h 66"/>
              <a:gd name="T52" fmla="*/ 5495 w 78"/>
              <a:gd name="T53" fmla="*/ 104775 h 66"/>
              <a:gd name="T54" fmla="*/ 0 w 78"/>
              <a:gd name="T55" fmla="*/ 78581 h 66"/>
              <a:gd name="T56" fmla="*/ 13738 w 78"/>
              <a:gd name="T57" fmla="*/ 52388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8" h="66">
                <a:moveTo>
                  <a:pt x="5" y="18"/>
                </a:moveTo>
                <a:cubicBezTo>
                  <a:pt x="8" y="25"/>
                  <a:pt x="8" y="25"/>
                  <a:pt x="8" y="25"/>
                </a:cubicBezTo>
                <a:cubicBezTo>
                  <a:pt x="9" y="27"/>
                  <a:pt x="11" y="29"/>
                  <a:pt x="14" y="29"/>
                </a:cubicBezTo>
                <a:cubicBezTo>
                  <a:pt x="16" y="29"/>
                  <a:pt x="26" y="28"/>
                  <a:pt x="26" y="27"/>
                </a:cubicBezTo>
                <a:cubicBezTo>
                  <a:pt x="27" y="25"/>
                  <a:pt x="27" y="21"/>
                  <a:pt x="30" y="22"/>
                </a:cubicBezTo>
                <a:cubicBezTo>
                  <a:pt x="33" y="22"/>
                  <a:pt x="38" y="24"/>
                  <a:pt x="41" y="23"/>
                </a:cubicBezTo>
                <a:cubicBezTo>
                  <a:pt x="43" y="23"/>
                  <a:pt x="49" y="15"/>
                  <a:pt x="49" y="13"/>
                </a:cubicBezTo>
                <a:cubicBezTo>
                  <a:pt x="49" y="10"/>
                  <a:pt x="51" y="2"/>
                  <a:pt x="53" y="1"/>
                </a:cubicBezTo>
                <a:cubicBezTo>
                  <a:pt x="55" y="0"/>
                  <a:pt x="61" y="0"/>
                  <a:pt x="64" y="0"/>
                </a:cubicBezTo>
                <a:cubicBezTo>
                  <a:pt x="69" y="3"/>
                  <a:pt x="69" y="3"/>
                  <a:pt x="69" y="3"/>
                </a:cubicBezTo>
                <a:cubicBezTo>
                  <a:pt x="68" y="4"/>
                  <a:pt x="67" y="6"/>
                  <a:pt x="66" y="7"/>
                </a:cubicBezTo>
                <a:cubicBezTo>
                  <a:pt x="63" y="9"/>
                  <a:pt x="68" y="12"/>
                  <a:pt x="70" y="13"/>
                </a:cubicBezTo>
                <a:cubicBezTo>
                  <a:pt x="71" y="15"/>
                  <a:pt x="70" y="17"/>
                  <a:pt x="70" y="18"/>
                </a:cubicBezTo>
                <a:cubicBezTo>
                  <a:pt x="69" y="20"/>
                  <a:pt x="78" y="24"/>
                  <a:pt x="78" y="26"/>
                </a:cubicBezTo>
                <a:cubicBezTo>
                  <a:pt x="78" y="28"/>
                  <a:pt x="70" y="27"/>
                  <a:pt x="68" y="28"/>
                </a:cubicBezTo>
                <a:cubicBezTo>
                  <a:pt x="66" y="28"/>
                  <a:pt x="66" y="37"/>
                  <a:pt x="66" y="39"/>
                </a:cubicBezTo>
                <a:cubicBezTo>
                  <a:pt x="66" y="42"/>
                  <a:pt x="60" y="44"/>
                  <a:pt x="59" y="46"/>
                </a:cubicBezTo>
                <a:cubicBezTo>
                  <a:pt x="58" y="47"/>
                  <a:pt x="60" y="50"/>
                  <a:pt x="60" y="52"/>
                </a:cubicBezTo>
                <a:cubicBezTo>
                  <a:pt x="60" y="54"/>
                  <a:pt x="56" y="61"/>
                  <a:pt x="56" y="62"/>
                </a:cubicBezTo>
                <a:cubicBezTo>
                  <a:pt x="55" y="63"/>
                  <a:pt x="45" y="66"/>
                  <a:pt x="44" y="66"/>
                </a:cubicBezTo>
                <a:cubicBezTo>
                  <a:pt x="43" y="66"/>
                  <a:pt x="43" y="62"/>
                  <a:pt x="42" y="60"/>
                </a:cubicBezTo>
                <a:cubicBezTo>
                  <a:pt x="42" y="59"/>
                  <a:pt x="34" y="59"/>
                  <a:pt x="33" y="58"/>
                </a:cubicBezTo>
                <a:cubicBezTo>
                  <a:pt x="32" y="57"/>
                  <a:pt x="25" y="62"/>
                  <a:pt x="23" y="62"/>
                </a:cubicBezTo>
                <a:cubicBezTo>
                  <a:pt x="21" y="61"/>
                  <a:pt x="22" y="57"/>
                  <a:pt x="21" y="56"/>
                </a:cubicBezTo>
                <a:cubicBezTo>
                  <a:pt x="20" y="55"/>
                  <a:pt x="11" y="56"/>
                  <a:pt x="10" y="56"/>
                </a:cubicBezTo>
                <a:cubicBezTo>
                  <a:pt x="8" y="56"/>
                  <a:pt x="9" y="46"/>
                  <a:pt x="9" y="44"/>
                </a:cubicBezTo>
                <a:cubicBezTo>
                  <a:pt x="9" y="42"/>
                  <a:pt x="4" y="38"/>
                  <a:pt x="2" y="36"/>
                </a:cubicBezTo>
                <a:cubicBezTo>
                  <a:pt x="0" y="34"/>
                  <a:pt x="0" y="30"/>
                  <a:pt x="0" y="27"/>
                </a:cubicBezTo>
                <a:cubicBezTo>
                  <a:pt x="0" y="23"/>
                  <a:pt x="2" y="21"/>
                  <a:pt x="5" y="1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7" name="Freeform 178"/>
          <p:cNvSpPr>
            <a:spLocks/>
          </p:cNvSpPr>
          <p:nvPr>
            <p:custDataLst>
              <p:tags r:id="rId113"/>
            </p:custDataLst>
          </p:nvPr>
        </p:nvSpPr>
        <p:spPr bwMode="auto">
          <a:xfrm>
            <a:off x="8277073" y="4210464"/>
            <a:ext cx="314341" cy="82537"/>
          </a:xfrm>
          <a:custGeom>
            <a:avLst/>
            <a:gdLst>
              <a:gd name="T0" fmla="*/ 5465 w 104"/>
              <a:gd name="T1" fmla="*/ 22958 h 26"/>
              <a:gd name="T2" fmla="*/ 30056 w 104"/>
              <a:gd name="T3" fmla="*/ 5739 h 26"/>
              <a:gd name="T4" fmla="*/ 46450 w 104"/>
              <a:gd name="T5" fmla="*/ 5739 h 26"/>
              <a:gd name="T6" fmla="*/ 68308 w 104"/>
              <a:gd name="T7" fmla="*/ 20088 h 26"/>
              <a:gd name="T8" fmla="*/ 106561 w 104"/>
              <a:gd name="T9" fmla="*/ 22958 h 26"/>
              <a:gd name="T10" fmla="*/ 117490 w 104"/>
              <a:gd name="T11" fmla="*/ 14349 h 26"/>
              <a:gd name="T12" fmla="*/ 147546 w 104"/>
              <a:gd name="T13" fmla="*/ 22958 h 26"/>
              <a:gd name="T14" fmla="*/ 155743 w 104"/>
              <a:gd name="T15" fmla="*/ 37307 h 26"/>
              <a:gd name="T16" fmla="*/ 188531 w 104"/>
              <a:gd name="T17" fmla="*/ 40176 h 26"/>
              <a:gd name="T18" fmla="*/ 210390 w 104"/>
              <a:gd name="T19" fmla="*/ 51655 h 26"/>
              <a:gd name="T20" fmla="*/ 243178 w 104"/>
              <a:gd name="T21" fmla="*/ 57395 h 26"/>
              <a:gd name="T22" fmla="*/ 270501 w 104"/>
              <a:gd name="T23" fmla="*/ 54525 h 26"/>
              <a:gd name="T24" fmla="*/ 284163 w 104"/>
              <a:gd name="T25" fmla="*/ 60264 h 26"/>
              <a:gd name="T26" fmla="*/ 270501 w 104"/>
              <a:gd name="T27" fmla="*/ 74613 h 26"/>
              <a:gd name="T28" fmla="*/ 229516 w 104"/>
              <a:gd name="T29" fmla="*/ 74613 h 26"/>
              <a:gd name="T30" fmla="*/ 196728 w 104"/>
              <a:gd name="T31" fmla="*/ 66004 h 26"/>
              <a:gd name="T32" fmla="*/ 150279 w 104"/>
              <a:gd name="T33" fmla="*/ 63134 h 26"/>
              <a:gd name="T34" fmla="*/ 106561 w 104"/>
              <a:gd name="T35" fmla="*/ 54525 h 26"/>
              <a:gd name="T36" fmla="*/ 73773 w 104"/>
              <a:gd name="T37" fmla="*/ 45916 h 26"/>
              <a:gd name="T38" fmla="*/ 27323 w 104"/>
              <a:gd name="T39" fmla="*/ 37307 h 26"/>
              <a:gd name="T40" fmla="*/ 5465 w 104"/>
              <a:gd name="T41" fmla="*/ 22958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4" h="26">
                <a:moveTo>
                  <a:pt x="2" y="8"/>
                </a:moveTo>
                <a:cubicBezTo>
                  <a:pt x="5" y="7"/>
                  <a:pt x="11" y="4"/>
                  <a:pt x="11" y="2"/>
                </a:cubicBezTo>
                <a:cubicBezTo>
                  <a:pt x="12" y="0"/>
                  <a:pt x="17" y="2"/>
                  <a:pt x="17" y="2"/>
                </a:cubicBezTo>
                <a:cubicBezTo>
                  <a:pt x="21" y="3"/>
                  <a:pt x="22" y="7"/>
                  <a:pt x="25" y="7"/>
                </a:cubicBezTo>
                <a:cubicBezTo>
                  <a:pt x="28" y="7"/>
                  <a:pt x="36" y="8"/>
                  <a:pt x="39" y="8"/>
                </a:cubicBezTo>
                <a:cubicBezTo>
                  <a:pt x="41" y="8"/>
                  <a:pt x="39" y="5"/>
                  <a:pt x="43" y="5"/>
                </a:cubicBezTo>
                <a:cubicBezTo>
                  <a:pt x="47" y="5"/>
                  <a:pt x="52" y="6"/>
                  <a:pt x="54" y="8"/>
                </a:cubicBezTo>
                <a:cubicBezTo>
                  <a:pt x="57" y="9"/>
                  <a:pt x="54" y="13"/>
                  <a:pt x="57" y="13"/>
                </a:cubicBezTo>
                <a:cubicBezTo>
                  <a:pt x="60" y="14"/>
                  <a:pt x="68" y="11"/>
                  <a:pt x="69" y="14"/>
                </a:cubicBezTo>
                <a:cubicBezTo>
                  <a:pt x="71" y="16"/>
                  <a:pt x="75" y="18"/>
                  <a:pt x="77" y="18"/>
                </a:cubicBezTo>
                <a:cubicBezTo>
                  <a:pt x="80" y="18"/>
                  <a:pt x="85" y="20"/>
                  <a:pt x="89" y="20"/>
                </a:cubicBezTo>
                <a:cubicBezTo>
                  <a:pt x="92" y="19"/>
                  <a:pt x="96" y="19"/>
                  <a:pt x="99" y="19"/>
                </a:cubicBezTo>
                <a:cubicBezTo>
                  <a:pt x="101" y="19"/>
                  <a:pt x="104" y="18"/>
                  <a:pt x="104" y="21"/>
                </a:cubicBezTo>
                <a:cubicBezTo>
                  <a:pt x="104" y="23"/>
                  <a:pt x="102" y="25"/>
                  <a:pt x="99" y="26"/>
                </a:cubicBezTo>
                <a:cubicBezTo>
                  <a:pt x="95" y="26"/>
                  <a:pt x="87" y="26"/>
                  <a:pt x="84" y="26"/>
                </a:cubicBezTo>
                <a:cubicBezTo>
                  <a:pt x="81" y="25"/>
                  <a:pt x="75" y="22"/>
                  <a:pt x="72" y="23"/>
                </a:cubicBezTo>
                <a:cubicBezTo>
                  <a:pt x="68" y="23"/>
                  <a:pt x="60" y="22"/>
                  <a:pt x="55" y="22"/>
                </a:cubicBezTo>
                <a:cubicBezTo>
                  <a:pt x="50" y="22"/>
                  <a:pt x="43" y="21"/>
                  <a:pt x="39" y="19"/>
                </a:cubicBezTo>
                <a:cubicBezTo>
                  <a:pt x="35" y="17"/>
                  <a:pt x="32" y="16"/>
                  <a:pt x="27" y="16"/>
                </a:cubicBezTo>
                <a:cubicBezTo>
                  <a:pt x="22" y="16"/>
                  <a:pt x="14" y="14"/>
                  <a:pt x="10" y="13"/>
                </a:cubicBezTo>
                <a:cubicBezTo>
                  <a:pt x="6" y="11"/>
                  <a:pt x="0" y="10"/>
                  <a:pt x="2" y="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8" name="Freeform 179"/>
          <p:cNvSpPr>
            <a:spLocks/>
          </p:cNvSpPr>
          <p:nvPr>
            <p:custDataLst>
              <p:tags r:id="rId114"/>
            </p:custDataLst>
          </p:nvPr>
        </p:nvSpPr>
        <p:spPr bwMode="auto">
          <a:xfrm>
            <a:off x="8038243" y="3924220"/>
            <a:ext cx="256390" cy="289756"/>
          </a:xfrm>
          <a:custGeom>
            <a:avLst/>
            <a:gdLst>
              <a:gd name="T0" fmla="*/ 24541 w 85"/>
              <a:gd name="T1" fmla="*/ 38261 h 89"/>
              <a:gd name="T2" fmla="*/ 5454 w 85"/>
              <a:gd name="T3" fmla="*/ 5886 h 89"/>
              <a:gd name="T4" fmla="*/ 29994 w 85"/>
              <a:gd name="T5" fmla="*/ 11772 h 89"/>
              <a:gd name="T6" fmla="*/ 57262 w 85"/>
              <a:gd name="T7" fmla="*/ 17659 h 89"/>
              <a:gd name="T8" fmla="*/ 79076 w 85"/>
              <a:gd name="T9" fmla="*/ 47090 h 89"/>
              <a:gd name="T10" fmla="*/ 117251 w 85"/>
              <a:gd name="T11" fmla="*/ 79464 h 89"/>
              <a:gd name="T12" fmla="*/ 155426 w 85"/>
              <a:gd name="T13" fmla="*/ 105952 h 89"/>
              <a:gd name="T14" fmla="*/ 179966 w 85"/>
              <a:gd name="T15" fmla="*/ 120668 h 89"/>
              <a:gd name="T16" fmla="*/ 177240 w 85"/>
              <a:gd name="T17" fmla="*/ 144213 h 89"/>
              <a:gd name="T18" fmla="*/ 199054 w 85"/>
              <a:gd name="T19" fmla="*/ 153042 h 89"/>
              <a:gd name="T20" fmla="*/ 201781 w 85"/>
              <a:gd name="T21" fmla="*/ 179531 h 89"/>
              <a:gd name="T22" fmla="*/ 220868 w 85"/>
              <a:gd name="T23" fmla="*/ 176587 h 89"/>
              <a:gd name="T24" fmla="*/ 229048 w 85"/>
              <a:gd name="T25" fmla="*/ 206019 h 89"/>
              <a:gd name="T26" fmla="*/ 226321 w 85"/>
              <a:gd name="T27" fmla="*/ 261938 h 89"/>
              <a:gd name="T28" fmla="*/ 193600 w 85"/>
              <a:gd name="T29" fmla="*/ 256052 h 89"/>
              <a:gd name="T30" fmla="*/ 144519 w 85"/>
              <a:gd name="T31" fmla="*/ 211905 h 89"/>
              <a:gd name="T32" fmla="*/ 111797 w 85"/>
              <a:gd name="T33" fmla="*/ 141270 h 89"/>
              <a:gd name="T34" fmla="*/ 84530 w 85"/>
              <a:gd name="T35" fmla="*/ 123611 h 89"/>
              <a:gd name="T36" fmla="*/ 76349 w 85"/>
              <a:gd name="T37" fmla="*/ 91237 h 89"/>
              <a:gd name="T38" fmla="*/ 59989 w 85"/>
              <a:gd name="T39" fmla="*/ 73578 h 89"/>
              <a:gd name="T40" fmla="*/ 43628 w 85"/>
              <a:gd name="T41" fmla="*/ 50033 h 89"/>
              <a:gd name="T42" fmla="*/ 24541 w 85"/>
              <a:gd name="T43" fmla="*/ 38261 h 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5" h="89">
                <a:moveTo>
                  <a:pt x="9" y="13"/>
                </a:moveTo>
                <a:cubicBezTo>
                  <a:pt x="6" y="10"/>
                  <a:pt x="0" y="4"/>
                  <a:pt x="2" y="2"/>
                </a:cubicBezTo>
                <a:cubicBezTo>
                  <a:pt x="4" y="0"/>
                  <a:pt x="8" y="4"/>
                  <a:pt x="11" y="4"/>
                </a:cubicBezTo>
                <a:cubicBezTo>
                  <a:pt x="13" y="4"/>
                  <a:pt x="20" y="4"/>
                  <a:pt x="21" y="6"/>
                </a:cubicBezTo>
                <a:cubicBezTo>
                  <a:pt x="22" y="7"/>
                  <a:pt x="27" y="14"/>
                  <a:pt x="29" y="16"/>
                </a:cubicBezTo>
                <a:cubicBezTo>
                  <a:pt x="30" y="17"/>
                  <a:pt x="39" y="25"/>
                  <a:pt x="43" y="27"/>
                </a:cubicBezTo>
                <a:cubicBezTo>
                  <a:pt x="47" y="29"/>
                  <a:pt x="55" y="34"/>
                  <a:pt x="57" y="36"/>
                </a:cubicBezTo>
                <a:cubicBezTo>
                  <a:pt x="59" y="38"/>
                  <a:pt x="66" y="40"/>
                  <a:pt x="66" y="41"/>
                </a:cubicBezTo>
                <a:cubicBezTo>
                  <a:pt x="66" y="43"/>
                  <a:pt x="63" y="48"/>
                  <a:pt x="65" y="49"/>
                </a:cubicBezTo>
                <a:cubicBezTo>
                  <a:pt x="67" y="51"/>
                  <a:pt x="71" y="49"/>
                  <a:pt x="73" y="52"/>
                </a:cubicBezTo>
                <a:cubicBezTo>
                  <a:pt x="74" y="55"/>
                  <a:pt x="70" y="59"/>
                  <a:pt x="74" y="61"/>
                </a:cubicBezTo>
                <a:cubicBezTo>
                  <a:pt x="77" y="62"/>
                  <a:pt x="79" y="59"/>
                  <a:pt x="81" y="60"/>
                </a:cubicBezTo>
                <a:cubicBezTo>
                  <a:pt x="84" y="62"/>
                  <a:pt x="84" y="67"/>
                  <a:pt x="84" y="70"/>
                </a:cubicBezTo>
                <a:cubicBezTo>
                  <a:pt x="84" y="74"/>
                  <a:pt x="85" y="88"/>
                  <a:pt x="83" y="89"/>
                </a:cubicBezTo>
                <a:cubicBezTo>
                  <a:pt x="81" y="89"/>
                  <a:pt x="74" y="88"/>
                  <a:pt x="71" y="87"/>
                </a:cubicBezTo>
                <a:cubicBezTo>
                  <a:pt x="69" y="85"/>
                  <a:pt x="56" y="77"/>
                  <a:pt x="53" y="72"/>
                </a:cubicBezTo>
                <a:cubicBezTo>
                  <a:pt x="51" y="67"/>
                  <a:pt x="44" y="50"/>
                  <a:pt x="41" y="48"/>
                </a:cubicBezTo>
                <a:cubicBezTo>
                  <a:pt x="38" y="46"/>
                  <a:pt x="32" y="45"/>
                  <a:pt x="31" y="42"/>
                </a:cubicBezTo>
                <a:cubicBezTo>
                  <a:pt x="31" y="40"/>
                  <a:pt x="32" y="35"/>
                  <a:pt x="28" y="31"/>
                </a:cubicBezTo>
                <a:cubicBezTo>
                  <a:pt x="25" y="26"/>
                  <a:pt x="25" y="29"/>
                  <a:pt x="22" y="25"/>
                </a:cubicBezTo>
                <a:cubicBezTo>
                  <a:pt x="18" y="22"/>
                  <a:pt x="19" y="18"/>
                  <a:pt x="16" y="17"/>
                </a:cubicBezTo>
                <a:cubicBezTo>
                  <a:pt x="14" y="16"/>
                  <a:pt x="9" y="13"/>
                  <a:pt x="9" y="1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19" name="Freeform 180"/>
          <p:cNvSpPr>
            <a:spLocks/>
          </p:cNvSpPr>
          <p:nvPr>
            <p:custDataLst>
              <p:tags r:id="rId115"/>
            </p:custDataLst>
          </p:nvPr>
        </p:nvSpPr>
        <p:spPr bwMode="auto">
          <a:xfrm>
            <a:off x="7973268" y="3346464"/>
            <a:ext cx="205463" cy="456585"/>
          </a:xfrm>
          <a:custGeom>
            <a:avLst/>
            <a:gdLst>
              <a:gd name="T0" fmla="*/ 0 w 68"/>
              <a:gd name="T1" fmla="*/ 171495 h 142"/>
              <a:gd name="T2" fmla="*/ 13657 w 68"/>
              <a:gd name="T3" fmla="*/ 168588 h 142"/>
              <a:gd name="T4" fmla="*/ 10926 w 68"/>
              <a:gd name="T5" fmla="*/ 154055 h 142"/>
              <a:gd name="T6" fmla="*/ 21852 w 68"/>
              <a:gd name="T7" fmla="*/ 151148 h 142"/>
              <a:gd name="T8" fmla="*/ 30046 w 68"/>
              <a:gd name="T9" fmla="*/ 107548 h 142"/>
              <a:gd name="T10" fmla="*/ 43703 w 68"/>
              <a:gd name="T11" fmla="*/ 107548 h 142"/>
              <a:gd name="T12" fmla="*/ 62823 w 68"/>
              <a:gd name="T13" fmla="*/ 63947 h 142"/>
              <a:gd name="T14" fmla="*/ 65555 w 68"/>
              <a:gd name="T15" fmla="*/ 46507 h 142"/>
              <a:gd name="T16" fmla="*/ 87406 w 68"/>
              <a:gd name="T17" fmla="*/ 29067 h 142"/>
              <a:gd name="T18" fmla="*/ 101063 w 68"/>
              <a:gd name="T19" fmla="*/ 31974 h 142"/>
              <a:gd name="T20" fmla="*/ 109258 w 68"/>
              <a:gd name="T21" fmla="*/ 17440 h 142"/>
              <a:gd name="T22" fmla="*/ 106526 w 68"/>
              <a:gd name="T23" fmla="*/ 5813 h 142"/>
              <a:gd name="T24" fmla="*/ 117452 w 68"/>
              <a:gd name="T25" fmla="*/ 0 h 142"/>
              <a:gd name="T26" fmla="*/ 128378 w 68"/>
              <a:gd name="T27" fmla="*/ 17440 h 142"/>
              <a:gd name="T28" fmla="*/ 139304 w 68"/>
              <a:gd name="T29" fmla="*/ 20347 h 142"/>
              <a:gd name="T30" fmla="*/ 136572 w 68"/>
              <a:gd name="T31" fmla="*/ 61040 h 142"/>
              <a:gd name="T32" fmla="*/ 114721 w 68"/>
              <a:gd name="T33" fmla="*/ 90107 h 142"/>
              <a:gd name="T34" fmla="*/ 114721 w 68"/>
              <a:gd name="T35" fmla="*/ 107548 h 142"/>
              <a:gd name="T36" fmla="*/ 131109 w 68"/>
              <a:gd name="T37" fmla="*/ 104641 h 142"/>
              <a:gd name="T38" fmla="*/ 139304 w 68"/>
              <a:gd name="T39" fmla="*/ 113361 h 142"/>
              <a:gd name="T40" fmla="*/ 152961 w 68"/>
              <a:gd name="T41" fmla="*/ 127894 h 142"/>
              <a:gd name="T42" fmla="*/ 150229 w 68"/>
              <a:gd name="T43" fmla="*/ 148241 h 142"/>
              <a:gd name="T44" fmla="*/ 166618 w 68"/>
              <a:gd name="T45" fmla="*/ 156961 h 142"/>
              <a:gd name="T46" fmla="*/ 177544 w 68"/>
              <a:gd name="T47" fmla="*/ 156961 h 142"/>
              <a:gd name="T48" fmla="*/ 185738 w 68"/>
              <a:gd name="T49" fmla="*/ 168588 h 142"/>
              <a:gd name="T50" fmla="*/ 174812 w 68"/>
              <a:gd name="T51" fmla="*/ 177308 h 142"/>
              <a:gd name="T52" fmla="*/ 169349 w 68"/>
              <a:gd name="T53" fmla="*/ 191842 h 142"/>
              <a:gd name="T54" fmla="*/ 169349 w 68"/>
              <a:gd name="T55" fmla="*/ 191842 h 142"/>
              <a:gd name="T56" fmla="*/ 155692 w 68"/>
              <a:gd name="T57" fmla="*/ 194748 h 142"/>
              <a:gd name="T58" fmla="*/ 139304 w 68"/>
              <a:gd name="T59" fmla="*/ 206375 h 142"/>
              <a:gd name="T60" fmla="*/ 122915 w 68"/>
              <a:gd name="T61" fmla="*/ 209282 h 142"/>
              <a:gd name="T62" fmla="*/ 114721 w 68"/>
              <a:gd name="T63" fmla="*/ 238349 h 142"/>
              <a:gd name="T64" fmla="*/ 139304 w 68"/>
              <a:gd name="T65" fmla="*/ 273229 h 142"/>
              <a:gd name="T66" fmla="*/ 136572 w 68"/>
              <a:gd name="T67" fmla="*/ 308109 h 142"/>
              <a:gd name="T68" fmla="*/ 139304 w 68"/>
              <a:gd name="T69" fmla="*/ 328456 h 142"/>
              <a:gd name="T70" fmla="*/ 147498 w 68"/>
              <a:gd name="T71" fmla="*/ 354616 h 142"/>
              <a:gd name="T72" fmla="*/ 147498 w 68"/>
              <a:gd name="T73" fmla="*/ 380776 h 142"/>
              <a:gd name="T74" fmla="*/ 128378 w 68"/>
              <a:gd name="T75" fmla="*/ 412750 h 142"/>
              <a:gd name="T76" fmla="*/ 133841 w 68"/>
              <a:gd name="T77" fmla="*/ 374963 h 142"/>
              <a:gd name="T78" fmla="*/ 128378 w 68"/>
              <a:gd name="T79" fmla="*/ 348803 h 142"/>
              <a:gd name="T80" fmla="*/ 120183 w 68"/>
              <a:gd name="T81" fmla="*/ 319736 h 142"/>
              <a:gd name="T82" fmla="*/ 111989 w 68"/>
              <a:gd name="T83" fmla="*/ 284856 h 142"/>
              <a:gd name="T84" fmla="*/ 103795 w 68"/>
              <a:gd name="T85" fmla="*/ 258695 h 142"/>
              <a:gd name="T86" fmla="*/ 92869 w 68"/>
              <a:gd name="T87" fmla="*/ 276136 h 142"/>
              <a:gd name="T88" fmla="*/ 68286 w 68"/>
              <a:gd name="T89" fmla="*/ 299389 h 142"/>
              <a:gd name="T90" fmla="*/ 43703 w 68"/>
              <a:gd name="T91" fmla="*/ 287762 h 142"/>
              <a:gd name="T92" fmla="*/ 49166 w 68"/>
              <a:gd name="T93" fmla="*/ 238349 h 142"/>
              <a:gd name="T94" fmla="*/ 32777 w 68"/>
              <a:gd name="T95" fmla="*/ 206375 h 142"/>
              <a:gd name="T96" fmla="*/ 13657 w 68"/>
              <a:gd name="T97" fmla="*/ 191842 h 142"/>
              <a:gd name="T98" fmla="*/ 0 w 68"/>
              <a:gd name="T99" fmla="*/ 171495 h 14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8" h="142">
                <a:moveTo>
                  <a:pt x="0" y="59"/>
                </a:moveTo>
                <a:cubicBezTo>
                  <a:pt x="5" y="58"/>
                  <a:pt x="5" y="58"/>
                  <a:pt x="5" y="58"/>
                </a:cubicBezTo>
                <a:cubicBezTo>
                  <a:pt x="5" y="58"/>
                  <a:pt x="4" y="55"/>
                  <a:pt x="4" y="53"/>
                </a:cubicBezTo>
                <a:cubicBezTo>
                  <a:pt x="8" y="52"/>
                  <a:pt x="8" y="52"/>
                  <a:pt x="8" y="52"/>
                </a:cubicBezTo>
                <a:cubicBezTo>
                  <a:pt x="8" y="52"/>
                  <a:pt x="10" y="38"/>
                  <a:pt x="11" y="37"/>
                </a:cubicBezTo>
                <a:cubicBezTo>
                  <a:pt x="11" y="36"/>
                  <a:pt x="15" y="37"/>
                  <a:pt x="16" y="37"/>
                </a:cubicBezTo>
                <a:cubicBezTo>
                  <a:pt x="17" y="37"/>
                  <a:pt x="23" y="23"/>
                  <a:pt x="23" y="22"/>
                </a:cubicBezTo>
                <a:cubicBezTo>
                  <a:pt x="23" y="20"/>
                  <a:pt x="22" y="16"/>
                  <a:pt x="24" y="16"/>
                </a:cubicBezTo>
                <a:cubicBezTo>
                  <a:pt x="25" y="15"/>
                  <a:pt x="31" y="10"/>
                  <a:pt x="32" y="10"/>
                </a:cubicBezTo>
                <a:cubicBezTo>
                  <a:pt x="33" y="10"/>
                  <a:pt x="36" y="12"/>
                  <a:pt x="37" y="11"/>
                </a:cubicBezTo>
                <a:cubicBezTo>
                  <a:pt x="38" y="10"/>
                  <a:pt x="40" y="6"/>
                  <a:pt x="40" y="6"/>
                </a:cubicBezTo>
                <a:cubicBezTo>
                  <a:pt x="39" y="2"/>
                  <a:pt x="39" y="2"/>
                  <a:pt x="39" y="2"/>
                </a:cubicBezTo>
                <a:cubicBezTo>
                  <a:pt x="40" y="2"/>
                  <a:pt x="41" y="0"/>
                  <a:pt x="43" y="0"/>
                </a:cubicBezTo>
                <a:cubicBezTo>
                  <a:pt x="46" y="1"/>
                  <a:pt x="46" y="5"/>
                  <a:pt x="47" y="6"/>
                </a:cubicBezTo>
                <a:cubicBezTo>
                  <a:pt x="49" y="7"/>
                  <a:pt x="50" y="6"/>
                  <a:pt x="51" y="7"/>
                </a:cubicBezTo>
                <a:cubicBezTo>
                  <a:pt x="52" y="9"/>
                  <a:pt x="51" y="19"/>
                  <a:pt x="50" y="21"/>
                </a:cubicBezTo>
                <a:cubicBezTo>
                  <a:pt x="50" y="23"/>
                  <a:pt x="43" y="28"/>
                  <a:pt x="42" y="31"/>
                </a:cubicBezTo>
                <a:cubicBezTo>
                  <a:pt x="41" y="33"/>
                  <a:pt x="41" y="36"/>
                  <a:pt x="42" y="37"/>
                </a:cubicBezTo>
                <a:cubicBezTo>
                  <a:pt x="44" y="38"/>
                  <a:pt x="47" y="36"/>
                  <a:pt x="48" y="36"/>
                </a:cubicBezTo>
                <a:cubicBezTo>
                  <a:pt x="50" y="36"/>
                  <a:pt x="51" y="37"/>
                  <a:pt x="51" y="39"/>
                </a:cubicBezTo>
                <a:cubicBezTo>
                  <a:pt x="51" y="40"/>
                  <a:pt x="55" y="43"/>
                  <a:pt x="56" y="44"/>
                </a:cubicBezTo>
                <a:cubicBezTo>
                  <a:pt x="58" y="45"/>
                  <a:pt x="53" y="49"/>
                  <a:pt x="55" y="51"/>
                </a:cubicBezTo>
                <a:cubicBezTo>
                  <a:pt x="57" y="53"/>
                  <a:pt x="59" y="54"/>
                  <a:pt x="61" y="54"/>
                </a:cubicBezTo>
                <a:cubicBezTo>
                  <a:pt x="62" y="54"/>
                  <a:pt x="65" y="54"/>
                  <a:pt x="65" y="54"/>
                </a:cubicBezTo>
                <a:cubicBezTo>
                  <a:pt x="68" y="58"/>
                  <a:pt x="68" y="58"/>
                  <a:pt x="68" y="58"/>
                </a:cubicBezTo>
                <a:cubicBezTo>
                  <a:pt x="67" y="59"/>
                  <a:pt x="65" y="60"/>
                  <a:pt x="64" y="61"/>
                </a:cubicBezTo>
                <a:cubicBezTo>
                  <a:pt x="62" y="66"/>
                  <a:pt x="62" y="66"/>
                  <a:pt x="62" y="66"/>
                </a:cubicBezTo>
                <a:cubicBezTo>
                  <a:pt x="62" y="66"/>
                  <a:pt x="62" y="66"/>
                  <a:pt x="62" y="66"/>
                </a:cubicBezTo>
                <a:cubicBezTo>
                  <a:pt x="60" y="66"/>
                  <a:pt x="58" y="66"/>
                  <a:pt x="57" y="67"/>
                </a:cubicBezTo>
                <a:cubicBezTo>
                  <a:pt x="55" y="69"/>
                  <a:pt x="52" y="71"/>
                  <a:pt x="51" y="71"/>
                </a:cubicBezTo>
                <a:cubicBezTo>
                  <a:pt x="50" y="71"/>
                  <a:pt x="46" y="71"/>
                  <a:pt x="45" y="72"/>
                </a:cubicBezTo>
                <a:cubicBezTo>
                  <a:pt x="44" y="74"/>
                  <a:pt x="43" y="80"/>
                  <a:pt x="42" y="82"/>
                </a:cubicBezTo>
                <a:cubicBezTo>
                  <a:pt x="41" y="83"/>
                  <a:pt x="51" y="91"/>
                  <a:pt x="51" y="94"/>
                </a:cubicBezTo>
                <a:cubicBezTo>
                  <a:pt x="51" y="97"/>
                  <a:pt x="51" y="104"/>
                  <a:pt x="50" y="106"/>
                </a:cubicBezTo>
                <a:cubicBezTo>
                  <a:pt x="50" y="107"/>
                  <a:pt x="50" y="111"/>
                  <a:pt x="51" y="113"/>
                </a:cubicBezTo>
                <a:cubicBezTo>
                  <a:pt x="53" y="115"/>
                  <a:pt x="54" y="121"/>
                  <a:pt x="54" y="122"/>
                </a:cubicBezTo>
                <a:cubicBezTo>
                  <a:pt x="54" y="123"/>
                  <a:pt x="54" y="130"/>
                  <a:pt x="54" y="131"/>
                </a:cubicBezTo>
                <a:cubicBezTo>
                  <a:pt x="47" y="142"/>
                  <a:pt x="47" y="142"/>
                  <a:pt x="47" y="142"/>
                </a:cubicBezTo>
                <a:cubicBezTo>
                  <a:pt x="48" y="137"/>
                  <a:pt x="49" y="133"/>
                  <a:pt x="49" y="129"/>
                </a:cubicBezTo>
                <a:cubicBezTo>
                  <a:pt x="49" y="125"/>
                  <a:pt x="49" y="123"/>
                  <a:pt x="47" y="120"/>
                </a:cubicBezTo>
                <a:cubicBezTo>
                  <a:pt x="44" y="116"/>
                  <a:pt x="44" y="113"/>
                  <a:pt x="44" y="110"/>
                </a:cubicBezTo>
                <a:cubicBezTo>
                  <a:pt x="44" y="107"/>
                  <a:pt x="44" y="101"/>
                  <a:pt x="41" y="98"/>
                </a:cubicBezTo>
                <a:cubicBezTo>
                  <a:pt x="39" y="94"/>
                  <a:pt x="39" y="89"/>
                  <a:pt x="38" y="89"/>
                </a:cubicBezTo>
                <a:cubicBezTo>
                  <a:pt x="36" y="89"/>
                  <a:pt x="36" y="93"/>
                  <a:pt x="34" y="95"/>
                </a:cubicBezTo>
                <a:cubicBezTo>
                  <a:pt x="32" y="96"/>
                  <a:pt x="26" y="103"/>
                  <a:pt x="25" y="103"/>
                </a:cubicBezTo>
                <a:cubicBezTo>
                  <a:pt x="24" y="103"/>
                  <a:pt x="17" y="100"/>
                  <a:pt x="16" y="99"/>
                </a:cubicBezTo>
                <a:cubicBezTo>
                  <a:pt x="15" y="98"/>
                  <a:pt x="20" y="86"/>
                  <a:pt x="18" y="82"/>
                </a:cubicBezTo>
                <a:cubicBezTo>
                  <a:pt x="16" y="78"/>
                  <a:pt x="14" y="73"/>
                  <a:pt x="12" y="71"/>
                </a:cubicBezTo>
                <a:cubicBezTo>
                  <a:pt x="10" y="68"/>
                  <a:pt x="7" y="67"/>
                  <a:pt x="5" y="66"/>
                </a:cubicBezTo>
                <a:cubicBezTo>
                  <a:pt x="4" y="64"/>
                  <a:pt x="1" y="61"/>
                  <a:pt x="0" y="5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0" name="Freeform 181"/>
          <p:cNvSpPr>
            <a:spLocks/>
          </p:cNvSpPr>
          <p:nvPr>
            <p:custDataLst>
              <p:tags r:id="rId116"/>
            </p:custDataLst>
          </p:nvPr>
        </p:nvSpPr>
        <p:spPr bwMode="auto">
          <a:xfrm>
            <a:off x="8161171" y="3502757"/>
            <a:ext cx="166829" cy="230049"/>
          </a:xfrm>
          <a:custGeom>
            <a:avLst/>
            <a:gdLst>
              <a:gd name="T0" fmla="*/ 4763 w 95"/>
              <a:gd name="T1" fmla="*/ 52388 h 131"/>
              <a:gd name="T2" fmla="*/ 0 w 95"/>
              <a:gd name="T3" fmla="*/ 49213 h 131"/>
              <a:gd name="T4" fmla="*/ 0 w 95"/>
              <a:gd name="T5" fmla="*/ 49213 h 131"/>
              <a:gd name="T6" fmla="*/ 4763 w 95"/>
              <a:gd name="T7" fmla="*/ 34925 h 131"/>
              <a:gd name="T8" fmla="*/ 15875 w 95"/>
              <a:gd name="T9" fmla="*/ 26988 h 131"/>
              <a:gd name="T10" fmla="*/ 22225 w 95"/>
              <a:gd name="T11" fmla="*/ 23813 h 131"/>
              <a:gd name="T12" fmla="*/ 30163 w 95"/>
              <a:gd name="T13" fmla="*/ 28575 h 131"/>
              <a:gd name="T14" fmla="*/ 31750 w 95"/>
              <a:gd name="T15" fmla="*/ 3175 h 131"/>
              <a:gd name="T16" fmla="*/ 46038 w 95"/>
              <a:gd name="T17" fmla="*/ 0 h 131"/>
              <a:gd name="T18" fmla="*/ 50800 w 95"/>
              <a:gd name="T19" fmla="*/ 11113 h 131"/>
              <a:gd name="T20" fmla="*/ 53975 w 95"/>
              <a:gd name="T21" fmla="*/ 31750 h 131"/>
              <a:gd name="T22" fmla="*/ 73025 w 95"/>
              <a:gd name="T23" fmla="*/ 41275 h 131"/>
              <a:gd name="T24" fmla="*/ 84138 w 95"/>
              <a:gd name="T25" fmla="*/ 34925 h 131"/>
              <a:gd name="T26" fmla="*/ 100013 w 95"/>
              <a:gd name="T27" fmla="*/ 49213 h 131"/>
              <a:gd name="T28" fmla="*/ 95250 w 95"/>
              <a:gd name="T29" fmla="*/ 61913 h 131"/>
              <a:gd name="T30" fmla="*/ 80963 w 95"/>
              <a:gd name="T31" fmla="*/ 65088 h 131"/>
              <a:gd name="T32" fmla="*/ 76200 w 95"/>
              <a:gd name="T33" fmla="*/ 79375 h 131"/>
              <a:gd name="T34" fmla="*/ 95250 w 95"/>
              <a:gd name="T35" fmla="*/ 90488 h 131"/>
              <a:gd name="T36" fmla="*/ 115888 w 95"/>
              <a:gd name="T37" fmla="*/ 117475 h 131"/>
              <a:gd name="T38" fmla="*/ 131763 w 95"/>
              <a:gd name="T39" fmla="*/ 141288 h 131"/>
              <a:gd name="T40" fmla="*/ 149225 w 95"/>
              <a:gd name="T41" fmla="*/ 163513 h 131"/>
              <a:gd name="T42" fmla="*/ 149225 w 95"/>
              <a:gd name="T43" fmla="*/ 198438 h 131"/>
              <a:gd name="T44" fmla="*/ 120650 w 95"/>
              <a:gd name="T45" fmla="*/ 204788 h 131"/>
              <a:gd name="T46" fmla="*/ 103188 w 95"/>
              <a:gd name="T47" fmla="*/ 190500 h 131"/>
              <a:gd name="T48" fmla="*/ 107950 w 95"/>
              <a:gd name="T49" fmla="*/ 160338 h 131"/>
              <a:gd name="T50" fmla="*/ 95250 w 95"/>
              <a:gd name="T51" fmla="*/ 142875 h 131"/>
              <a:gd name="T52" fmla="*/ 92075 w 95"/>
              <a:gd name="T53" fmla="*/ 117475 h 131"/>
              <a:gd name="T54" fmla="*/ 68263 w 95"/>
              <a:gd name="T55" fmla="*/ 96838 h 131"/>
              <a:gd name="T56" fmla="*/ 53975 w 95"/>
              <a:gd name="T57" fmla="*/ 107950 h 131"/>
              <a:gd name="T58" fmla="*/ 31750 w 95"/>
              <a:gd name="T59" fmla="*/ 107950 h 131"/>
              <a:gd name="T60" fmla="*/ 15875 w 95"/>
              <a:gd name="T61" fmla="*/ 120650 h 131"/>
              <a:gd name="T62" fmla="*/ 22225 w 95"/>
              <a:gd name="T63" fmla="*/ 82550 h 131"/>
              <a:gd name="T64" fmla="*/ 14288 w 95"/>
              <a:gd name="T65" fmla="*/ 69850 h 131"/>
              <a:gd name="T66" fmla="*/ 3175 w 95"/>
              <a:gd name="T67" fmla="*/ 69850 h 131"/>
              <a:gd name="T68" fmla="*/ 4763 w 95"/>
              <a:gd name="T69" fmla="*/ 52388 h 1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5" h="131">
                <a:moveTo>
                  <a:pt x="3" y="33"/>
                </a:moveTo>
                <a:cubicBezTo>
                  <a:pt x="2" y="33"/>
                  <a:pt x="0" y="31"/>
                  <a:pt x="0" y="31"/>
                </a:cubicBezTo>
                <a:cubicBezTo>
                  <a:pt x="0" y="31"/>
                  <a:pt x="0" y="31"/>
                  <a:pt x="0" y="31"/>
                </a:cubicBezTo>
                <a:cubicBezTo>
                  <a:pt x="3" y="22"/>
                  <a:pt x="3" y="22"/>
                  <a:pt x="3" y="22"/>
                </a:cubicBezTo>
                <a:cubicBezTo>
                  <a:pt x="5" y="20"/>
                  <a:pt x="9" y="18"/>
                  <a:pt x="10" y="17"/>
                </a:cubicBezTo>
                <a:cubicBezTo>
                  <a:pt x="12" y="15"/>
                  <a:pt x="12" y="15"/>
                  <a:pt x="14" y="15"/>
                </a:cubicBezTo>
                <a:cubicBezTo>
                  <a:pt x="15" y="15"/>
                  <a:pt x="17" y="18"/>
                  <a:pt x="19" y="18"/>
                </a:cubicBezTo>
                <a:cubicBezTo>
                  <a:pt x="20" y="17"/>
                  <a:pt x="19" y="2"/>
                  <a:pt x="20" y="2"/>
                </a:cubicBezTo>
                <a:cubicBezTo>
                  <a:pt x="22" y="0"/>
                  <a:pt x="26" y="0"/>
                  <a:pt x="29" y="0"/>
                </a:cubicBezTo>
                <a:cubicBezTo>
                  <a:pt x="32" y="7"/>
                  <a:pt x="32" y="7"/>
                  <a:pt x="32" y="7"/>
                </a:cubicBezTo>
                <a:cubicBezTo>
                  <a:pt x="36" y="9"/>
                  <a:pt x="34" y="17"/>
                  <a:pt x="34" y="20"/>
                </a:cubicBezTo>
                <a:cubicBezTo>
                  <a:pt x="36" y="26"/>
                  <a:pt x="43" y="28"/>
                  <a:pt x="46" y="26"/>
                </a:cubicBezTo>
                <a:cubicBezTo>
                  <a:pt x="48" y="24"/>
                  <a:pt x="49" y="20"/>
                  <a:pt x="53" y="22"/>
                </a:cubicBezTo>
                <a:cubicBezTo>
                  <a:pt x="56" y="24"/>
                  <a:pt x="63" y="31"/>
                  <a:pt x="63" y="31"/>
                </a:cubicBezTo>
                <a:cubicBezTo>
                  <a:pt x="63" y="31"/>
                  <a:pt x="61" y="37"/>
                  <a:pt x="60" y="39"/>
                </a:cubicBezTo>
                <a:cubicBezTo>
                  <a:pt x="60" y="42"/>
                  <a:pt x="51" y="41"/>
                  <a:pt x="51" y="41"/>
                </a:cubicBezTo>
                <a:cubicBezTo>
                  <a:pt x="51" y="41"/>
                  <a:pt x="46" y="48"/>
                  <a:pt x="48" y="50"/>
                </a:cubicBezTo>
                <a:cubicBezTo>
                  <a:pt x="49" y="50"/>
                  <a:pt x="56" y="55"/>
                  <a:pt x="60" y="57"/>
                </a:cubicBezTo>
                <a:cubicBezTo>
                  <a:pt x="65" y="59"/>
                  <a:pt x="70" y="70"/>
                  <a:pt x="73" y="74"/>
                </a:cubicBezTo>
                <a:cubicBezTo>
                  <a:pt x="75" y="79"/>
                  <a:pt x="82" y="87"/>
                  <a:pt x="83" y="89"/>
                </a:cubicBezTo>
                <a:cubicBezTo>
                  <a:pt x="85" y="92"/>
                  <a:pt x="92" y="100"/>
                  <a:pt x="94" y="103"/>
                </a:cubicBezTo>
                <a:cubicBezTo>
                  <a:pt x="95" y="109"/>
                  <a:pt x="95" y="122"/>
                  <a:pt x="94" y="125"/>
                </a:cubicBezTo>
                <a:cubicBezTo>
                  <a:pt x="92" y="126"/>
                  <a:pt x="81" y="130"/>
                  <a:pt x="76" y="129"/>
                </a:cubicBezTo>
                <a:cubicBezTo>
                  <a:pt x="74" y="123"/>
                  <a:pt x="66" y="131"/>
                  <a:pt x="65" y="120"/>
                </a:cubicBezTo>
                <a:cubicBezTo>
                  <a:pt x="68" y="118"/>
                  <a:pt x="68" y="109"/>
                  <a:pt x="68" y="101"/>
                </a:cubicBezTo>
                <a:cubicBezTo>
                  <a:pt x="68" y="96"/>
                  <a:pt x="63" y="96"/>
                  <a:pt x="60" y="90"/>
                </a:cubicBezTo>
                <a:cubicBezTo>
                  <a:pt x="58" y="85"/>
                  <a:pt x="60" y="76"/>
                  <a:pt x="58" y="74"/>
                </a:cubicBezTo>
                <a:cubicBezTo>
                  <a:pt x="54" y="70"/>
                  <a:pt x="46" y="61"/>
                  <a:pt x="43" y="61"/>
                </a:cubicBezTo>
                <a:cubicBezTo>
                  <a:pt x="39" y="61"/>
                  <a:pt x="37" y="68"/>
                  <a:pt x="34" y="68"/>
                </a:cubicBezTo>
                <a:cubicBezTo>
                  <a:pt x="29" y="68"/>
                  <a:pt x="24" y="66"/>
                  <a:pt x="20" y="68"/>
                </a:cubicBezTo>
                <a:cubicBezTo>
                  <a:pt x="19" y="70"/>
                  <a:pt x="10" y="79"/>
                  <a:pt x="10" y="76"/>
                </a:cubicBezTo>
                <a:cubicBezTo>
                  <a:pt x="9" y="72"/>
                  <a:pt x="15" y="55"/>
                  <a:pt x="14" y="52"/>
                </a:cubicBezTo>
                <a:cubicBezTo>
                  <a:pt x="14" y="46"/>
                  <a:pt x="14" y="42"/>
                  <a:pt x="9" y="44"/>
                </a:cubicBezTo>
                <a:cubicBezTo>
                  <a:pt x="3" y="46"/>
                  <a:pt x="0" y="48"/>
                  <a:pt x="2" y="44"/>
                </a:cubicBezTo>
                <a:cubicBezTo>
                  <a:pt x="2" y="41"/>
                  <a:pt x="5" y="33"/>
                  <a:pt x="3" y="3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1" name="Freeform 182"/>
          <p:cNvSpPr>
            <a:spLocks/>
          </p:cNvSpPr>
          <p:nvPr>
            <p:custDataLst>
              <p:tags r:id="rId117"/>
            </p:custDataLst>
          </p:nvPr>
        </p:nvSpPr>
        <p:spPr bwMode="auto">
          <a:xfrm>
            <a:off x="8208585" y="3708220"/>
            <a:ext cx="122927" cy="105366"/>
          </a:xfrm>
          <a:custGeom>
            <a:avLst/>
            <a:gdLst>
              <a:gd name="T0" fmla="*/ 77788 w 70"/>
              <a:gd name="T1" fmla="*/ 19050 h 60"/>
              <a:gd name="T2" fmla="*/ 106363 w 70"/>
              <a:gd name="T3" fmla="*/ 12700 h 60"/>
              <a:gd name="T4" fmla="*/ 106363 w 70"/>
              <a:gd name="T5" fmla="*/ 46038 h 60"/>
              <a:gd name="T6" fmla="*/ 80963 w 70"/>
              <a:gd name="T7" fmla="*/ 60325 h 60"/>
              <a:gd name="T8" fmla="*/ 79375 w 70"/>
              <a:gd name="T9" fmla="*/ 77788 h 60"/>
              <a:gd name="T10" fmla="*/ 57150 w 70"/>
              <a:gd name="T11" fmla="*/ 84138 h 60"/>
              <a:gd name="T12" fmla="*/ 42863 w 70"/>
              <a:gd name="T13" fmla="*/ 95250 h 60"/>
              <a:gd name="T14" fmla="*/ 33338 w 70"/>
              <a:gd name="T15" fmla="*/ 92075 h 60"/>
              <a:gd name="T16" fmla="*/ 14288 w 70"/>
              <a:gd name="T17" fmla="*/ 84138 h 60"/>
              <a:gd name="T18" fmla="*/ 6350 w 70"/>
              <a:gd name="T19" fmla="*/ 60325 h 60"/>
              <a:gd name="T20" fmla="*/ 14288 w 70"/>
              <a:gd name="T21" fmla="*/ 50800 h 60"/>
              <a:gd name="T22" fmla="*/ 3175 w 70"/>
              <a:gd name="T23" fmla="*/ 25400 h 60"/>
              <a:gd name="T24" fmla="*/ 25400 w 70"/>
              <a:gd name="T25" fmla="*/ 4763 h 60"/>
              <a:gd name="T26" fmla="*/ 60325 w 70"/>
              <a:gd name="T27" fmla="*/ 4763 h 60"/>
              <a:gd name="T28" fmla="*/ 77788 w 70"/>
              <a:gd name="T29" fmla="*/ 19050 h 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0" h="60">
                <a:moveTo>
                  <a:pt x="49" y="12"/>
                </a:moveTo>
                <a:cubicBezTo>
                  <a:pt x="50" y="18"/>
                  <a:pt x="68" y="5"/>
                  <a:pt x="67" y="8"/>
                </a:cubicBezTo>
                <a:cubicBezTo>
                  <a:pt x="65" y="10"/>
                  <a:pt x="70" y="25"/>
                  <a:pt x="67" y="29"/>
                </a:cubicBezTo>
                <a:cubicBezTo>
                  <a:pt x="63" y="32"/>
                  <a:pt x="55" y="38"/>
                  <a:pt x="51" y="38"/>
                </a:cubicBezTo>
                <a:cubicBezTo>
                  <a:pt x="48" y="38"/>
                  <a:pt x="53" y="47"/>
                  <a:pt x="50" y="49"/>
                </a:cubicBezTo>
                <a:cubicBezTo>
                  <a:pt x="48" y="53"/>
                  <a:pt x="39" y="51"/>
                  <a:pt x="36" y="53"/>
                </a:cubicBezTo>
                <a:cubicBezTo>
                  <a:pt x="27" y="60"/>
                  <a:pt x="27" y="60"/>
                  <a:pt x="27" y="60"/>
                </a:cubicBezTo>
                <a:cubicBezTo>
                  <a:pt x="26" y="60"/>
                  <a:pt x="22" y="58"/>
                  <a:pt x="21" y="58"/>
                </a:cubicBezTo>
                <a:cubicBezTo>
                  <a:pt x="17" y="58"/>
                  <a:pt x="9" y="56"/>
                  <a:pt x="9" y="53"/>
                </a:cubicBezTo>
                <a:cubicBezTo>
                  <a:pt x="9" y="49"/>
                  <a:pt x="7" y="42"/>
                  <a:pt x="4" y="38"/>
                </a:cubicBezTo>
                <a:cubicBezTo>
                  <a:pt x="9" y="32"/>
                  <a:pt x="9" y="32"/>
                  <a:pt x="9" y="32"/>
                </a:cubicBezTo>
                <a:cubicBezTo>
                  <a:pt x="9" y="32"/>
                  <a:pt x="0" y="18"/>
                  <a:pt x="2" y="16"/>
                </a:cubicBezTo>
                <a:cubicBezTo>
                  <a:pt x="4" y="12"/>
                  <a:pt x="12" y="5"/>
                  <a:pt x="16" y="3"/>
                </a:cubicBezTo>
                <a:cubicBezTo>
                  <a:pt x="19" y="3"/>
                  <a:pt x="33" y="5"/>
                  <a:pt x="38" y="3"/>
                </a:cubicBezTo>
                <a:cubicBezTo>
                  <a:pt x="46" y="0"/>
                  <a:pt x="44" y="11"/>
                  <a:pt x="49" y="12"/>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2" name="Freeform 183"/>
          <p:cNvSpPr>
            <a:spLocks/>
          </p:cNvSpPr>
          <p:nvPr>
            <p:custDataLst>
              <p:tags r:id="rId118"/>
            </p:custDataLst>
          </p:nvPr>
        </p:nvSpPr>
        <p:spPr bwMode="auto">
          <a:xfrm>
            <a:off x="8752975" y="3070757"/>
            <a:ext cx="84293" cy="124683"/>
          </a:xfrm>
          <a:custGeom>
            <a:avLst/>
            <a:gdLst>
              <a:gd name="T0" fmla="*/ 19050 w 28"/>
              <a:gd name="T1" fmla="*/ 34681 h 39"/>
              <a:gd name="T2" fmla="*/ 10886 w 28"/>
              <a:gd name="T3" fmla="*/ 17340 h 39"/>
              <a:gd name="T4" fmla="*/ 24493 w 28"/>
              <a:gd name="T5" fmla="*/ 5780 h 39"/>
              <a:gd name="T6" fmla="*/ 51707 w 28"/>
              <a:gd name="T7" fmla="*/ 0 h 39"/>
              <a:gd name="T8" fmla="*/ 59871 w 28"/>
              <a:gd name="T9" fmla="*/ 11560 h 39"/>
              <a:gd name="T10" fmla="*/ 76200 w 28"/>
              <a:gd name="T11" fmla="*/ 43351 h 39"/>
              <a:gd name="T12" fmla="*/ 70757 w 28"/>
              <a:gd name="T13" fmla="*/ 78032 h 39"/>
              <a:gd name="T14" fmla="*/ 65314 w 28"/>
              <a:gd name="T15" fmla="*/ 89592 h 39"/>
              <a:gd name="T16" fmla="*/ 35379 w 28"/>
              <a:gd name="T17" fmla="*/ 98263 h 39"/>
              <a:gd name="T18" fmla="*/ 13607 w 28"/>
              <a:gd name="T19" fmla="*/ 112713 h 39"/>
              <a:gd name="T20" fmla="*/ 2721 w 28"/>
              <a:gd name="T21" fmla="*/ 95373 h 39"/>
              <a:gd name="T22" fmla="*/ 13607 w 28"/>
              <a:gd name="T23" fmla="*/ 69362 h 39"/>
              <a:gd name="T24" fmla="*/ 5443 w 28"/>
              <a:gd name="T25" fmla="*/ 46241 h 39"/>
              <a:gd name="T26" fmla="*/ 19050 w 28"/>
              <a:gd name="T27" fmla="*/ 34681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8" h="39">
                <a:moveTo>
                  <a:pt x="7" y="12"/>
                </a:moveTo>
                <a:cubicBezTo>
                  <a:pt x="6" y="11"/>
                  <a:pt x="4" y="6"/>
                  <a:pt x="4" y="6"/>
                </a:cubicBezTo>
                <a:cubicBezTo>
                  <a:pt x="9" y="2"/>
                  <a:pt x="9" y="2"/>
                  <a:pt x="9" y="2"/>
                </a:cubicBezTo>
                <a:cubicBezTo>
                  <a:pt x="19" y="0"/>
                  <a:pt x="19" y="0"/>
                  <a:pt x="19" y="0"/>
                </a:cubicBezTo>
                <a:cubicBezTo>
                  <a:pt x="20" y="2"/>
                  <a:pt x="21" y="3"/>
                  <a:pt x="22" y="4"/>
                </a:cubicBezTo>
                <a:cubicBezTo>
                  <a:pt x="24" y="6"/>
                  <a:pt x="28" y="12"/>
                  <a:pt x="28" y="15"/>
                </a:cubicBezTo>
                <a:cubicBezTo>
                  <a:pt x="28" y="18"/>
                  <a:pt x="27" y="26"/>
                  <a:pt x="26" y="27"/>
                </a:cubicBezTo>
                <a:cubicBezTo>
                  <a:pt x="26" y="28"/>
                  <a:pt x="26" y="31"/>
                  <a:pt x="24" y="31"/>
                </a:cubicBezTo>
                <a:cubicBezTo>
                  <a:pt x="21" y="31"/>
                  <a:pt x="15" y="33"/>
                  <a:pt x="13" y="34"/>
                </a:cubicBezTo>
                <a:cubicBezTo>
                  <a:pt x="10" y="35"/>
                  <a:pt x="7" y="39"/>
                  <a:pt x="5" y="39"/>
                </a:cubicBezTo>
                <a:cubicBezTo>
                  <a:pt x="3" y="38"/>
                  <a:pt x="2" y="36"/>
                  <a:pt x="1" y="33"/>
                </a:cubicBezTo>
                <a:cubicBezTo>
                  <a:pt x="0" y="31"/>
                  <a:pt x="5" y="26"/>
                  <a:pt x="5" y="24"/>
                </a:cubicBezTo>
                <a:cubicBezTo>
                  <a:pt x="5" y="23"/>
                  <a:pt x="1" y="18"/>
                  <a:pt x="2" y="16"/>
                </a:cubicBezTo>
                <a:cubicBezTo>
                  <a:pt x="3" y="14"/>
                  <a:pt x="7" y="13"/>
                  <a:pt x="7" y="12"/>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3" name="Freeform 184"/>
          <p:cNvSpPr>
            <a:spLocks/>
          </p:cNvSpPr>
          <p:nvPr>
            <p:custDataLst>
              <p:tags r:id="rId119"/>
            </p:custDataLst>
          </p:nvPr>
        </p:nvSpPr>
        <p:spPr bwMode="auto">
          <a:xfrm>
            <a:off x="8714340" y="2937293"/>
            <a:ext cx="147512" cy="152780"/>
          </a:xfrm>
          <a:custGeom>
            <a:avLst/>
            <a:gdLst>
              <a:gd name="T0" fmla="*/ 0 w 49"/>
              <a:gd name="T1" fmla="*/ 85219 h 47"/>
              <a:gd name="T2" fmla="*/ 5443 w 49"/>
              <a:gd name="T3" fmla="*/ 76403 h 47"/>
              <a:gd name="T4" fmla="*/ 27214 w 49"/>
              <a:gd name="T5" fmla="*/ 61710 h 47"/>
              <a:gd name="T6" fmla="*/ 46264 w 49"/>
              <a:gd name="T7" fmla="*/ 38201 h 47"/>
              <a:gd name="T8" fmla="*/ 73479 w 49"/>
              <a:gd name="T9" fmla="*/ 41140 h 47"/>
              <a:gd name="T10" fmla="*/ 78921 w 49"/>
              <a:gd name="T11" fmla="*/ 29386 h 47"/>
              <a:gd name="T12" fmla="*/ 100693 w 49"/>
              <a:gd name="T13" fmla="*/ 20570 h 47"/>
              <a:gd name="T14" fmla="*/ 117021 w 49"/>
              <a:gd name="T15" fmla="*/ 0 h 47"/>
              <a:gd name="T16" fmla="*/ 125186 w 49"/>
              <a:gd name="T17" fmla="*/ 0 h 47"/>
              <a:gd name="T18" fmla="*/ 133350 w 49"/>
              <a:gd name="T19" fmla="*/ 20570 h 47"/>
              <a:gd name="T20" fmla="*/ 127907 w 49"/>
              <a:gd name="T21" fmla="*/ 23509 h 47"/>
              <a:gd name="T22" fmla="*/ 111579 w 49"/>
              <a:gd name="T23" fmla="*/ 44079 h 47"/>
              <a:gd name="T24" fmla="*/ 114300 w 49"/>
              <a:gd name="T25" fmla="*/ 58771 h 47"/>
              <a:gd name="T26" fmla="*/ 92529 w 49"/>
              <a:gd name="T27" fmla="*/ 76403 h 47"/>
              <a:gd name="T28" fmla="*/ 70757 w 49"/>
              <a:gd name="T29" fmla="*/ 91096 h 47"/>
              <a:gd name="T30" fmla="*/ 76200 w 49"/>
              <a:gd name="T31" fmla="*/ 105789 h 47"/>
              <a:gd name="T32" fmla="*/ 87086 w 49"/>
              <a:gd name="T33" fmla="*/ 120482 h 47"/>
              <a:gd name="T34" fmla="*/ 59871 w 49"/>
              <a:gd name="T35" fmla="*/ 126359 h 47"/>
              <a:gd name="T36" fmla="*/ 46264 w 49"/>
              <a:gd name="T37" fmla="*/ 138113 h 47"/>
              <a:gd name="T38" fmla="*/ 13607 w 49"/>
              <a:gd name="T39" fmla="*/ 132236 h 47"/>
              <a:gd name="T40" fmla="*/ 21771 w 49"/>
              <a:gd name="T41" fmla="*/ 114604 h 47"/>
              <a:gd name="T42" fmla="*/ 19050 w 49"/>
              <a:gd name="T43" fmla="*/ 94034 h 47"/>
              <a:gd name="T44" fmla="*/ 0 w 49"/>
              <a:gd name="T45" fmla="*/ 85219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9" h="47">
                <a:moveTo>
                  <a:pt x="0" y="29"/>
                </a:moveTo>
                <a:cubicBezTo>
                  <a:pt x="2" y="26"/>
                  <a:pt x="2" y="26"/>
                  <a:pt x="2" y="26"/>
                </a:cubicBezTo>
                <a:cubicBezTo>
                  <a:pt x="2" y="25"/>
                  <a:pt x="8" y="22"/>
                  <a:pt x="10" y="21"/>
                </a:cubicBezTo>
                <a:cubicBezTo>
                  <a:pt x="12" y="20"/>
                  <a:pt x="14" y="15"/>
                  <a:pt x="17" y="13"/>
                </a:cubicBezTo>
                <a:cubicBezTo>
                  <a:pt x="20" y="11"/>
                  <a:pt x="25" y="14"/>
                  <a:pt x="27" y="14"/>
                </a:cubicBezTo>
                <a:cubicBezTo>
                  <a:pt x="30" y="14"/>
                  <a:pt x="28" y="11"/>
                  <a:pt x="29" y="10"/>
                </a:cubicBezTo>
                <a:cubicBezTo>
                  <a:pt x="30" y="9"/>
                  <a:pt x="35" y="7"/>
                  <a:pt x="37" y="7"/>
                </a:cubicBezTo>
                <a:cubicBezTo>
                  <a:pt x="38" y="6"/>
                  <a:pt x="40" y="1"/>
                  <a:pt x="43" y="0"/>
                </a:cubicBezTo>
                <a:cubicBezTo>
                  <a:pt x="44" y="0"/>
                  <a:pt x="45" y="0"/>
                  <a:pt x="46" y="0"/>
                </a:cubicBezTo>
                <a:cubicBezTo>
                  <a:pt x="49" y="7"/>
                  <a:pt x="49" y="7"/>
                  <a:pt x="49" y="7"/>
                </a:cubicBezTo>
                <a:cubicBezTo>
                  <a:pt x="49" y="7"/>
                  <a:pt x="48" y="7"/>
                  <a:pt x="47" y="8"/>
                </a:cubicBezTo>
                <a:cubicBezTo>
                  <a:pt x="45" y="9"/>
                  <a:pt x="41" y="13"/>
                  <a:pt x="41" y="15"/>
                </a:cubicBezTo>
                <a:cubicBezTo>
                  <a:pt x="41" y="17"/>
                  <a:pt x="44" y="18"/>
                  <a:pt x="42" y="20"/>
                </a:cubicBezTo>
                <a:cubicBezTo>
                  <a:pt x="39" y="21"/>
                  <a:pt x="35" y="25"/>
                  <a:pt x="34" y="26"/>
                </a:cubicBezTo>
                <a:cubicBezTo>
                  <a:pt x="32" y="27"/>
                  <a:pt x="27" y="28"/>
                  <a:pt x="26" y="31"/>
                </a:cubicBezTo>
                <a:cubicBezTo>
                  <a:pt x="26" y="33"/>
                  <a:pt x="25" y="35"/>
                  <a:pt x="28" y="36"/>
                </a:cubicBezTo>
                <a:cubicBezTo>
                  <a:pt x="29" y="37"/>
                  <a:pt x="30" y="39"/>
                  <a:pt x="32" y="41"/>
                </a:cubicBezTo>
                <a:cubicBezTo>
                  <a:pt x="22" y="43"/>
                  <a:pt x="22" y="43"/>
                  <a:pt x="22" y="43"/>
                </a:cubicBezTo>
                <a:cubicBezTo>
                  <a:pt x="17" y="47"/>
                  <a:pt x="17" y="47"/>
                  <a:pt x="17" y="47"/>
                </a:cubicBezTo>
                <a:cubicBezTo>
                  <a:pt x="17" y="47"/>
                  <a:pt x="8" y="46"/>
                  <a:pt x="5" y="45"/>
                </a:cubicBezTo>
                <a:cubicBezTo>
                  <a:pt x="1" y="44"/>
                  <a:pt x="8" y="41"/>
                  <a:pt x="8" y="39"/>
                </a:cubicBezTo>
                <a:cubicBezTo>
                  <a:pt x="8" y="38"/>
                  <a:pt x="10" y="33"/>
                  <a:pt x="7" y="32"/>
                </a:cubicBezTo>
                <a:cubicBezTo>
                  <a:pt x="6" y="31"/>
                  <a:pt x="3" y="30"/>
                  <a:pt x="0" y="2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4" name="Freeform 187"/>
          <p:cNvSpPr>
            <a:spLocks/>
          </p:cNvSpPr>
          <p:nvPr>
            <p:custDataLst>
              <p:tags r:id="rId120"/>
            </p:custDataLst>
          </p:nvPr>
        </p:nvSpPr>
        <p:spPr bwMode="auto">
          <a:xfrm>
            <a:off x="7263805" y="3116415"/>
            <a:ext cx="375805" cy="360000"/>
          </a:xfrm>
          <a:custGeom>
            <a:avLst/>
            <a:gdLst>
              <a:gd name="T0" fmla="*/ 16307 w 125"/>
              <a:gd name="T1" fmla="*/ 267324 h 112"/>
              <a:gd name="T2" fmla="*/ 24460 w 125"/>
              <a:gd name="T3" fmla="*/ 258607 h 112"/>
              <a:gd name="T4" fmla="*/ 40767 w 125"/>
              <a:gd name="T5" fmla="*/ 255701 h 112"/>
              <a:gd name="T6" fmla="*/ 46203 w 125"/>
              <a:gd name="T7" fmla="*/ 238267 h 112"/>
              <a:gd name="T8" fmla="*/ 35331 w 125"/>
              <a:gd name="T9" fmla="*/ 232456 h 112"/>
              <a:gd name="T10" fmla="*/ 32614 w 125"/>
              <a:gd name="T11" fmla="*/ 212116 h 112"/>
              <a:gd name="T12" fmla="*/ 10871 w 125"/>
              <a:gd name="T13" fmla="*/ 206304 h 112"/>
              <a:gd name="T14" fmla="*/ 0 w 125"/>
              <a:gd name="T15" fmla="*/ 185965 h 112"/>
              <a:gd name="T16" fmla="*/ 16307 w 125"/>
              <a:gd name="T17" fmla="*/ 185965 h 112"/>
              <a:gd name="T18" fmla="*/ 78816 w 125"/>
              <a:gd name="T19" fmla="*/ 183059 h 112"/>
              <a:gd name="T20" fmla="*/ 103276 w 125"/>
              <a:gd name="T21" fmla="*/ 174342 h 112"/>
              <a:gd name="T22" fmla="*/ 111430 w 125"/>
              <a:gd name="T23" fmla="*/ 145285 h 112"/>
              <a:gd name="T24" fmla="*/ 146761 w 125"/>
              <a:gd name="T25" fmla="*/ 130756 h 112"/>
              <a:gd name="T26" fmla="*/ 157632 w 125"/>
              <a:gd name="T27" fmla="*/ 133662 h 112"/>
              <a:gd name="T28" fmla="*/ 171221 w 125"/>
              <a:gd name="T29" fmla="*/ 122039 h 112"/>
              <a:gd name="T30" fmla="*/ 171221 w 125"/>
              <a:gd name="T31" fmla="*/ 101699 h 112"/>
              <a:gd name="T32" fmla="*/ 182093 w 125"/>
              <a:gd name="T33" fmla="*/ 92982 h 112"/>
              <a:gd name="T34" fmla="*/ 179375 w 125"/>
              <a:gd name="T35" fmla="*/ 72642 h 112"/>
              <a:gd name="T36" fmla="*/ 190246 w 125"/>
              <a:gd name="T37" fmla="*/ 66831 h 112"/>
              <a:gd name="T38" fmla="*/ 206553 w 125"/>
              <a:gd name="T39" fmla="*/ 72642 h 112"/>
              <a:gd name="T40" fmla="*/ 214706 w 125"/>
              <a:gd name="T41" fmla="*/ 49397 h 112"/>
              <a:gd name="T42" fmla="*/ 211988 w 125"/>
              <a:gd name="T43" fmla="*/ 26151 h 112"/>
              <a:gd name="T44" fmla="*/ 231013 w 125"/>
              <a:gd name="T45" fmla="*/ 14528 h 112"/>
              <a:gd name="T46" fmla="*/ 250038 w 125"/>
              <a:gd name="T47" fmla="*/ 8717 h 112"/>
              <a:gd name="T48" fmla="*/ 269062 w 125"/>
              <a:gd name="T49" fmla="*/ 8717 h 112"/>
              <a:gd name="T50" fmla="*/ 288087 w 125"/>
              <a:gd name="T51" fmla="*/ 0 h 112"/>
              <a:gd name="T52" fmla="*/ 307111 w 125"/>
              <a:gd name="T53" fmla="*/ 17434 h 112"/>
              <a:gd name="T54" fmla="*/ 326136 w 125"/>
              <a:gd name="T55" fmla="*/ 31963 h 112"/>
              <a:gd name="T56" fmla="*/ 339725 w 125"/>
              <a:gd name="T57" fmla="*/ 34868 h 112"/>
              <a:gd name="T58" fmla="*/ 339725 w 125"/>
              <a:gd name="T59" fmla="*/ 34868 h 112"/>
              <a:gd name="T60" fmla="*/ 337007 w 125"/>
              <a:gd name="T61" fmla="*/ 49397 h 112"/>
              <a:gd name="T62" fmla="*/ 298958 w 125"/>
              <a:gd name="T63" fmla="*/ 63925 h 112"/>
              <a:gd name="T64" fmla="*/ 266344 w 125"/>
              <a:gd name="T65" fmla="*/ 61020 h 112"/>
              <a:gd name="T66" fmla="*/ 274498 w 125"/>
              <a:gd name="T67" fmla="*/ 101699 h 112"/>
              <a:gd name="T68" fmla="*/ 296240 w 125"/>
              <a:gd name="T69" fmla="*/ 116228 h 112"/>
              <a:gd name="T70" fmla="*/ 277216 w 125"/>
              <a:gd name="T71" fmla="*/ 133662 h 112"/>
              <a:gd name="T72" fmla="*/ 274498 w 125"/>
              <a:gd name="T73" fmla="*/ 148191 h 112"/>
              <a:gd name="T74" fmla="*/ 250038 w 125"/>
              <a:gd name="T75" fmla="*/ 180153 h 112"/>
              <a:gd name="T76" fmla="*/ 222860 w 125"/>
              <a:gd name="T77" fmla="*/ 223739 h 112"/>
              <a:gd name="T78" fmla="*/ 206553 w 125"/>
              <a:gd name="T79" fmla="*/ 229550 h 112"/>
              <a:gd name="T80" fmla="*/ 192964 w 125"/>
              <a:gd name="T81" fmla="*/ 220833 h 112"/>
              <a:gd name="T82" fmla="*/ 171221 w 125"/>
              <a:gd name="T83" fmla="*/ 246984 h 112"/>
              <a:gd name="T84" fmla="*/ 195682 w 125"/>
              <a:gd name="T85" fmla="*/ 276041 h 112"/>
              <a:gd name="T86" fmla="*/ 201117 w 125"/>
              <a:gd name="T87" fmla="*/ 308004 h 112"/>
              <a:gd name="T88" fmla="*/ 160350 w 125"/>
              <a:gd name="T89" fmla="*/ 310910 h 112"/>
              <a:gd name="T90" fmla="*/ 149479 w 125"/>
              <a:gd name="T91" fmla="*/ 325438 h 112"/>
              <a:gd name="T92" fmla="*/ 130454 w 125"/>
              <a:gd name="T93" fmla="*/ 310910 h 112"/>
              <a:gd name="T94" fmla="*/ 111430 w 125"/>
              <a:gd name="T95" fmla="*/ 281853 h 112"/>
              <a:gd name="T96" fmla="*/ 76098 w 125"/>
              <a:gd name="T97" fmla="*/ 284758 h 112"/>
              <a:gd name="T98" fmla="*/ 10871 w 125"/>
              <a:gd name="T99" fmla="*/ 287664 h 112"/>
              <a:gd name="T100" fmla="*/ 2718 w 125"/>
              <a:gd name="T101" fmla="*/ 284758 h 112"/>
              <a:gd name="T102" fmla="*/ 16307 w 125"/>
              <a:gd name="T103" fmla="*/ 267324 h 1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25" h="112">
                <a:moveTo>
                  <a:pt x="6" y="92"/>
                </a:moveTo>
                <a:cubicBezTo>
                  <a:pt x="6" y="92"/>
                  <a:pt x="7" y="90"/>
                  <a:pt x="9" y="89"/>
                </a:cubicBezTo>
                <a:cubicBezTo>
                  <a:pt x="10" y="89"/>
                  <a:pt x="14" y="89"/>
                  <a:pt x="15" y="88"/>
                </a:cubicBezTo>
                <a:cubicBezTo>
                  <a:pt x="16" y="87"/>
                  <a:pt x="17" y="83"/>
                  <a:pt x="17" y="82"/>
                </a:cubicBezTo>
                <a:cubicBezTo>
                  <a:pt x="17" y="81"/>
                  <a:pt x="13" y="81"/>
                  <a:pt x="13" y="80"/>
                </a:cubicBezTo>
                <a:cubicBezTo>
                  <a:pt x="13" y="79"/>
                  <a:pt x="12" y="74"/>
                  <a:pt x="12" y="73"/>
                </a:cubicBezTo>
                <a:cubicBezTo>
                  <a:pt x="11" y="72"/>
                  <a:pt x="6" y="71"/>
                  <a:pt x="4" y="71"/>
                </a:cubicBezTo>
                <a:cubicBezTo>
                  <a:pt x="3" y="71"/>
                  <a:pt x="1" y="67"/>
                  <a:pt x="0" y="64"/>
                </a:cubicBezTo>
                <a:cubicBezTo>
                  <a:pt x="6" y="64"/>
                  <a:pt x="6" y="64"/>
                  <a:pt x="6" y="64"/>
                </a:cubicBezTo>
                <a:cubicBezTo>
                  <a:pt x="8" y="64"/>
                  <a:pt x="27" y="63"/>
                  <a:pt x="29" y="63"/>
                </a:cubicBezTo>
                <a:cubicBezTo>
                  <a:pt x="31" y="63"/>
                  <a:pt x="37" y="61"/>
                  <a:pt x="38" y="60"/>
                </a:cubicBezTo>
                <a:cubicBezTo>
                  <a:pt x="40" y="59"/>
                  <a:pt x="39" y="51"/>
                  <a:pt x="41" y="50"/>
                </a:cubicBezTo>
                <a:cubicBezTo>
                  <a:pt x="44" y="49"/>
                  <a:pt x="52" y="45"/>
                  <a:pt x="54" y="45"/>
                </a:cubicBezTo>
                <a:cubicBezTo>
                  <a:pt x="55" y="44"/>
                  <a:pt x="57" y="47"/>
                  <a:pt x="58" y="46"/>
                </a:cubicBezTo>
                <a:cubicBezTo>
                  <a:pt x="60" y="46"/>
                  <a:pt x="63" y="44"/>
                  <a:pt x="63" y="42"/>
                </a:cubicBezTo>
                <a:cubicBezTo>
                  <a:pt x="63" y="40"/>
                  <a:pt x="62" y="37"/>
                  <a:pt x="63" y="35"/>
                </a:cubicBezTo>
                <a:cubicBezTo>
                  <a:pt x="65" y="34"/>
                  <a:pt x="66" y="32"/>
                  <a:pt x="67" y="32"/>
                </a:cubicBezTo>
                <a:cubicBezTo>
                  <a:pt x="69" y="31"/>
                  <a:pt x="65" y="26"/>
                  <a:pt x="66" y="25"/>
                </a:cubicBezTo>
                <a:cubicBezTo>
                  <a:pt x="67" y="24"/>
                  <a:pt x="69" y="23"/>
                  <a:pt x="70" y="23"/>
                </a:cubicBezTo>
                <a:cubicBezTo>
                  <a:pt x="71" y="23"/>
                  <a:pt x="74" y="26"/>
                  <a:pt x="76" y="25"/>
                </a:cubicBezTo>
                <a:cubicBezTo>
                  <a:pt x="77" y="24"/>
                  <a:pt x="79" y="19"/>
                  <a:pt x="79" y="17"/>
                </a:cubicBezTo>
                <a:cubicBezTo>
                  <a:pt x="79" y="15"/>
                  <a:pt x="77" y="10"/>
                  <a:pt x="78" y="9"/>
                </a:cubicBezTo>
                <a:cubicBezTo>
                  <a:pt x="79" y="8"/>
                  <a:pt x="84" y="6"/>
                  <a:pt x="85" y="5"/>
                </a:cubicBezTo>
                <a:cubicBezTo>
                  <a:pt x="87" y="4"/>
                  <a:pt x="89" y="3"/>
                  <a:pt x="92" y="3"/>
                </a:cubicBezTo>
                <a:cubicBezTo>
                  <a:pt x="95" y="3"/>
                  <a:pt x="97" y="3"/>
                  <a:pt x="99" y="3"/>
                </a:cubicBezTo>
                <a:cubicBezTo>
                  <a:pt x="106" y="0"/>
                  <a:pt x="106" y="0"/>
                  <a:pt x="106" y="0"/>
                </a:cubicBezTo>
                <a:cubicBezTo>
                  <a:pt x="107" y="1"/>
                  <a:pt x="111" y="3"/>
                  <a:pt x="113" y="6"/>
                </a:cubicBezTo>
                <a:cubicBezTo>
                  <a:pt x="115" y="9"/>
                  <a:pt x="117" y="9"/>
                  <a:pt x="120" y="11"/>
                </a:cubicBezTo>
                <a:cubicBezTo>
                  <a:pt x="121" y="12"/>
                  <a:pt x="123" y="12"/>
                  <a:pt x="125" y="12"/>
                </a:cubicBezTo>
                <a:cubicBezTo>
                  <a:pt x="125" y="12"/>
                  <a:pt x="125" y="12"/>
                  <a:pt x="125" y="12"/>
                </a:cubicBezTo>
                <a:cubicBezTo>
                  <a:pt x="124" y="17"/>
                  <a:pt x="124" y="17"/>
                  <a:pt x="124" y="17"/>
                </a:cubicBezTo>
                <a:cubicBezTo>
                  <a:pt x="123" y="17"/>
                  <a:pt x="112" y="22"/>
                  <a:pt x="110" y="22"/>
                </a:cubicBezTo>
                <a:cubicBezTo>
                  <a:pt x="108" y="22"/>
                  <a:pt x="99" y="20"/>
                  <a:pt x="98" y="21"/>
                </a:cubicBezTo>
                <a:cubicBezTo>
                  <a:pt x="96" y="22"/>
                  <a:pt x="100" y="34"/>
                  <a:pt x="101" y="35"/>
                </a:cubicBezTo>
                <a:cubicBezTo>
                  <a:pt x="101" y="36"/>
                  <a:pt x="109" y="36"/>
                  <a:pt x="109" y="40"/>
                </a:cubicBezTo>
                <a:cubicBezTo>
                  <a:pt x="109" y="45"/>
                  <a:pt x="102" y="45"/>
                  <a:pt x="102" y="46"/>
                </a:cubicBezTo>
                <a:cubicBezTo>
                  <a:pt x="102" y="47"/>
                  <a:pt x="102" y="49"/>
                  <a:pt x="101" y="51"/>
                </a:cubicBezTo>
                <a:cubicBezTo>
                  <a:pt x="101" y="53"/>
                  <a:pt x="93" y="61"/>
                  <a:pt x="92" y="62"/>
                </a:cubicBezTo>
                <a:cubicBezTo>
                  <a:pt x="91" y="64"/>
                  <a:pt x="83" y="76"/>
                  <a:pt x="82" y="77"/>
                </a:cubicBezTo>
                <a:cubicBezTo>
                  <a:pt x="81" y="77"/>
                  <a:pt x="77" y="79"/>
                  <a:pt x="76" y="79"/>
                </a:cubicBezTo>
                <a:cubicBezTo>
                  <a:pt x="74" y="79"/>
                  <a:pt x="73" y="76"/>
                  <a:pt x="71" y="76"/>
                </a:cubicBezTo>
                <a:cubicBezTo>
                  <a:pt x="70" y="76"/>
                  <a:pt x="64" y="83"/>
                  <a:pt x="63" y="85"/>
                </a:cubicBezTo>
                <a:cubicBezTo>
                  <a:pt x="62" y="87"/>
                  <a:pt x="70" y="93"/>
                  <a:pt x="72" y="95"/>
                </a:cubicBezTo>
                <a:cubicBezTo>
                  <a:pt x="74" y="98"/>
                  <a:pt x="76" y="105"/>
                  <a:pt x="74" y="106"/>
                </a:cubicBezTo>
                <a:cubicBezTo>
                  <a:pt x="72" y="107"/>
                  <a:pt x="60" y="106"/>
                  <a:pt x="59" y="107"/>
                </a:cubicBezTo>
                <a:cubicBezTo>
                  <a:pt x="55" y="112"/>
                  <a:pt x="55" y="112"/>
                  <a:pt x="55" y="112"/>
                </a:cubicBezTo>
                <a:cubicBezTo>
                  <a:pt x="53" y="110"/>
                  <a:pt x="50" y="109"/>
                  <a:pt x="48" y="107"/>
                </a:cubicBezTo>
                <a:cubicBezTo>
                  <a:pt x="45" y="104"/>
                  <a:pt x="43" y="99"/>
                  <a:pt x="41" y="97"/>
                </a:cubicBezTo>
                <a:cubicBezTo>
                  <a:pt x="39" y="96"/>
                  <a:pt x="33" y="97"/>
                  <a:pt x="28" y="98"/>
                </a:cubicBezTo>
                <a:cubicBezTo>
                  <a:pt x="23" y="98"/>
                  <a:pt x="10" y="99"/>
                  <a:pt x="4" y="99"/>
                </a:cubicBezTo>
                <a:cubicBezTo>
                  <a:pt x="3" y="98"/>
                  <a:pt x="2" y="98"/>
                  <a:pt x="1" y="98"/>
                </a:cubicBezTo>
                <a:lnTo>
                  <a:pt x="6" y="92"/>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5" name="Freeform 188"/>
          <p:cNvSpPr>
            <a:spLocks/>
          </p:cNvSpPr>
          <p:nvPr>
            <p:custDataLst>
              <p:tags r:id="rId121"/>
            </p:custDataLst>
          </p:nvPr>
        </p:nvSpPr>
        <p:spPr bwMode="auto">
          <a:xfrm>
            <a:off x="7246244" y="3067244"/>
            <a:ext cx="337171" cy="254634"/>
          </a:xfrm>
          <a:custGeom>
            <a:avLst/>
            <a:gdLst>
              <a:gd name="T0" fmla="*/ 32657 w 112"/>
              <a:gd name="T1" fmla="*/ 81586 h 79"/>
              <a:gd name="T2" fmla="*/ 51707 w 112"/>
              <a:gd name="T3" fmla="*/ 84499 h 79"/>
              <a:gd name="T4" fmla="*/ 78921 w 112"/>
              <a:gd name="T5" fmla="*/ 64103 h 79"/>
              <a:gd name="T6" fmla="*/ 92529 w 112"/>
              <a:gd name="T7" fmla="*/ 37879 h 79"/>
              <a:gd name="T8" fmla="*/ 125186 w 112"/>
              <a:gd name="T9" fmla="*/ 34965 h 79"/>
              <a:gd name="T10" fmla="*/ 146957 w 112"/>
              <a:gd name="T11" fmla="*/ 34965 h 79"/>
              <a:gd name="T12" fmla="*/ 163286 w 112"/>
              <a:gd name="T13" fmla="*/ 43707 h 79"/>
              <a:gd name="T14" fmla="*/ 201386 w 112"/>
              <a:gd name="T15" fmla="*/ 26224 h 79"/>
              <a:gd name="T16" fmla="*/ 214993 w 112"/>
              <a:gd name="T17" fmla="*/ 2914 h 79"/>
              <a:gd name="T18" fmla="*/ 231321 w 112"/>
              <a:gd name="T19" fmla="*/ 14569 h 79"/>
              <a:gd name="T20" fmla="*/ 234043 w 112"/>
              <a:gd name="T21" fmla="*/ 40793 h 79"/>
              <a:gd name="T22" fmla="*/ 258536 w 112"/>
              <a:gd name="T23" fmla="*/ 32051 h 79"/>
              <a:gd name="T24" fmla="*/ 285750 w 112"/>
              <a:gd name="T25" fmla="*/ 29138 h 79"/>
              <a:gd name="T26" fmla="*/ 302079 w 112"/>
              <a:gd name="T27" fmla="*/ 29138 h 79"/>
              <a:gd name="T28" fmla="*/ 302079 w 112"/>
              <a:gd name="T29" fmla="*/ 32051 h 79"/>
              <a:gd name="T30" fmla="*/ 304800 w 112"/>
              <a:gd name="T31" fmla="*/ 43707 h 79"/>
              <a:gd name="T32" fmla="*/ 285750 w 112"/>
              <a:gd name="T33" fmla="*/ 52448 h 79"/>
              <a:gd name="T34" fmla="*/ 266700 w 112"/>
              <a:gd name="T35" fmla="*/ 52448 h 79"/>
              <a:gd name="T36" fmla="*/ 247650 w 112"/>
              <a:gd name="T37" fmla="*/ 58275 h 79"/>
              <a:gd name="T38" fmla="*/ 228600 w 112"/>
              <a:gd name="T39" fmla="*/ 69931 h 79"/>
              <a:gd name="T40" fmla="*/ 231321 w 112"/>
              <a:gd name="T41" fmla="*/ 93241 h 79"/>
              <a:gd name="T42" fmla="*/ 223157 w 112"/>
              <a:gd name="T43" fmla="*/ 116551 h 79"/>
              <a:gd name="T44" fmla="*/ 206829 w 112"/>
              <a:gd name="T45" fmla="*/ 110723 h 79"/>
              <a:gd name="T46" fmla="*/ 195943 w 112"/>
              <a:gd name="T47" fmla="*/ 116551 h 79"/>
              <a:gd name="T48" fmla="*/ 198664 w 112"/>
              <a:gd name="T49" fmla="*/ 136947 h 79"/>
              <a:gd name="T50" fmla="*/ 187779 w 112"/>
              <a:gd name="T51" fmla="*/ 145689 h 79"/>
              <a:gd name="T52" fmla="*/ 187779 w 112"/>
              <a:gd name="T53" fmla="*/ 166085 h 79"/>
              <a:gd name="T54" fmla="*/ 174171 w 112"/>
              <a:gd name="T55" fmla="*/ 177740 h 79"/>
              <a:gd name="T56" fmla="*/ 163286 w 112"/>
              <a:gd name="T57" fmla="*/ 174826 h 79"/>
              <a:gd name="T58" fmla="*/ 127907 w 112"/>
              <a:gd name="T59" fmla="*/ 189395 h 79"/>
              <a:gd name="T60" fmla="*/ 119743 w 112"/>
              <a:gd name="T61" fmla="*/ 218533 h 79"/>
              <a:gd name="T62" fmla="*/ 95250 w 112"/>
              <a:gd name="T63" fmla="*/ 227274 h 79"/>
              <a:gd name="T64" fmla="*/ 32657 w 112"/>
              <a:gd name="T65" fmla="*/ 230188 h 79"/>
              <a:gd name="T66" fmla="*/ 16329 w 112"/>
              <a:gd name="T67" fmla="*/ 230188 h 79"/>
              <a:gd name="T68" fmla="*/ 10886 w 112"/>
              <a:gd name="T69" fmla="*/ 221447 h 79"/>
              <a:gd name="T70" fmla="*/ 29936 w 112"/>
              <a:gd name="T71" fmla="*/ 201050 h 79"/>
              <a:gd name="T72" fmla="*/ 29936 w 112"/>
              <a:gd name="T73" fmla="*/ 183568 h 79"/>
              <a:gd name="T74" fmla="*/ 8164 w 112"/>
              <a:gd name="T75" fmla="*/ 177740 h 79"/>
              <a:gd name="T76" fmla="*/ 0 w 112"/>
              <a:gd name="T77" fmla="*/ 119465 h 79"/>
              <a:gd name="T78" fmla="*/ 13607 w 112"/>
              <a:gd name="T79" fmla="*/ 101982 h 79"/>
              <a:gd name="T80" fmla="*/ 16329 w 112"/>
              <a:gd name="T81" fmla="*/ 78672 h 79"/>
              <a:gd name="T82" fmla="*/ 32657 w 112"/>
              <a:gd name="T83" fmla="*/ 81586 h 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2" h="79">
                <a:moveTo>
                  <a:pt x="12" y="28"/>
                </a:moveTo>
                <a:cubicBezTo>
                  <a:pt x="14" y="28"/>
                  <a:pt x="16" y="30"/>
                  <a:pt x="19" y="29"/>
                </a:cubicBezTo>
                <a:cubicBezTo>
                  <a:pt x="22" y="27"/>
                  <a:pt x="27" y="23"/>
                  <a:pt x="29" y="22"/>
                </a:cubicBezTo>
                <a:cubicBezTo>
                  <a:pt x="31" y="21"/>
                  <a:pt x="31" y="14"/>
                  <a:pt x="34" y="13"/>
                </a:cubicBezTo>
                <a:cubicBezTo>
                  <a:pt x="35" y="12"/>
                  <a:pt x="41" y="12"/>
                  <a:pt x="46" y="12"/>
                </a:cubicBezTo>
                <a:cubicBezTo>
                  <a:pt x="50" y="12"/>
                  <a:pt x="54" y="12"/>
                  <a:pt x="54" y="12"/>
                </a:cubicBezTo>
                <a:cubicBezTo>
                  <a:pt x="56" y="12"/>
                  <a:pt x="59" y="15"/>
                  <a:pt x="60" y="15"/>
                </a:cubicBezTo>
                <a:cubicBezTo>
                  <a:pt x="62" y="14"/>
                  <a:pt x="73" y="10"/>
                  <a:pt x="74" y="9"/>
                </a:cubicBezTo>
                <a:cubicBezTo>
                  <a:pt x="75" y="7"/>
                  <a:pt x="78" y="2"/>
                  <a:pt x="79" y="1"/>
                </a:cubicBezTo>
                <a:cubicBezTo>
                  <a:pt x="81" y="0"/>
                  <a:pt x="85" y="4"/>
                  <a:pt x="85" y="5"/>
                </a:cubicBezTo>
                <a:cubicBezTo>
                  <a:pt x="86" y="5"/>
                  <a:pt x="84" y="15"/>
                  <a:pt x="86" y="14"/>
                </a:cubicBezTo>
                <a:cubicBezTo>
                  <a:pt x="88" y="14"/>
                  <a:pt x="93" y="12"/>
                  <a:pt x="95" y="11"/>
                </a:cubicBezTo>
                <a:cubicBezTo>
                  <a:pt x="97" y="10"/>
                  <a:pt x="105" y="10"/>
                  <a:pt x="105" y="10"/>
                </a:cubicBezTo>
                <a:cubicBezTo>
                  <a:pt x="111" y="10"/>
                  <a:pt x="111" y="10"/>
                  <a:pt x="111" y="10"/>
                </a:cubicBezTo>
                <a:cubicBezTo>
                  <a:pt x="111" y="10"/>
                  <a:pt x="111" y="11"/>
                  <a:pt x="111" y="11"/>
                </a:cubicBezTo>
                <a:cubicBezTo>
                  <a:pt x="111" y="15"/>
                  <a:pt x="110" y="15"/>
                  <a:pt x="112" y="15"/>
                </a:cubicBezTo>
                <a:cubicBezTo>
                  <a:pt x="105" y="18"/>
                  <a:pt x="105" y="18"/>
                  <a:pt x="105" y="18"/>
                </a:cubicBezTo>
                <a:cubicBezTo>
                  <a:pt x="103" y="18"/>
                  <a:pt x="101" y="18"/>
                  <a:pt x="98" y="18"/>
                </a:cubicBezTo>
                <a:cubicBezTo>
                  <a:pt x="95" y="18"/>
                  <a:pt x="93" y="19"/>
                  <a:pt x="91" y="20"/>
                </a:cubicBezTo>
                <a:cubicBezTo>
                  <a:pt x="90" y="21"/>
                  <a:pt x="85" y="23"/>
                  <a:pt x="84" y="24"/>
                </a:cubicBezTo>
                <a:cubicBezTo>
                  <a:pt x="83" y="25"/>
                  <a:pt x="85" y="30"/>
                  <a:pt x="85" y="32"/>
                </a:cubicBezTo>
                <a:cubicBezTo>
                  <a:pt x="85" y="34"/>
                  <a:pt x="83" y="39"/>
                  <a:pt x="82" y="40"/>
                </a:cubicBezTo>
                <a:cubicBezTo>
                  <a:pt x="80" y="41"/>
                  <a:pt x="77" y="38"/>
                  <a:pt x="76" y="38"/>
                </a:cubicBezTo>
                <a:cubicBezTo>
                  <a:pt x="75" y="38"/>
                  <a:pt x="73" y="39"/>
                  <a:pt x="72" y="40"/>
                </a:cubicBezTo>
                <a:cubicBezTo>
                  <a:pt x="71" y="41"/>
                  <a:pt x="75" y="46"/>
                  <a:pt x="73" y="47"/>
                </a:cubicBezTo>
                <a:cubicBezTo>
                  <a:pt x="72" y="47"/>
                  <a:pt x="71" y="49"/>
                  <a:pt x="69" y="50"/>
                </a:cubicBezTo>
                <a:cubicBezTo>
                  <a:pt x="68" y="52"/>
                  <a:pt x="69" y="55"/>
                  <a:pt x="69" y="57"/>
                </a:cubicBezTo>
                <a:cubicBezTo>
                  <a:pt x="69" y="59"/>
                  <a:pt x="66" y="61"/>
                  <a:pt x="64" y="61"/>
                </a:cubicBezTo>
                <a:cubicBezTo>
                  <a:pt x="63" y="62"/>
                  <a:pt x="61" y="59"/>
                  <a:pt x="60" y="60"/>
                </a:cubicBezTo>
                <a:cubicBezTo>
                  <a:pt x="58" y="60"/>
                  <a:pt x="50" y="64"/>
                  <a:pt x="47" y="65"/>
                </a:cubicBezTo>
                <a:cubicBezTo>
                  <a:pt x="45" y="66"/>
                  <a:pt x="46" y="74"/>
                  <a:pt x="44" y="75"/>
                </a:cubicBezTo>
                <a:cubicBezTo>
                  <a:pt x="43" y="76"/>
                  <a:pt x="37" y="78"/>
                  <a:pt x="35" y="78"/>
                </a:cubicBezTo>
                <a:cubicBezTo>
                  <a:pt x="33" y="78"/>
                  <a:pt x="14" y="79"/>
                  <a:pt x="12" y="79"/>
                </a:cubicBezTo>
                <a:cubicBezTo>
                  <a:pt x="6" y="79"/>
                  <a:pt x="6" y="79"/>
                  <a:pt x="6" y="79"/>
                </a:cubicBezTo>
                <a:cubicBezTo>
                  <a:pt x="5" y="77"/>
                  <a:pt x="4" y="76"/>
                  <a:pt x="4" y="76"/>
                </a:cubicBezTo>
                <a:cubicBezTo>
                  <a:pt x="3" y="74"/>
                  <a:pt x="10" y="70"/>
                  <a:pt x="11" y="69"/>
                </a:cubicBezTo>
                <a:cubicBezTo>
                  <a:pt x="11" y="67"/>
                  <a:pt x="11" y="65"/>
                  <a:pt x="11" y="63"/>
                </a:cubicBezTo>
                <a:cubicBezTo>
                  <a:pt x="10" y="61"/>
                  <a:pt x="3" y="62"/>
                  <a:pt x="3" y="61"/>
                </a:cubicBezTo>
                <a:cubicBezTo>
                  <a:pt x="3" y="59"/>
                  <a:pt x="1" y="42"/>
                  <a:pt x="0" y="41"/>
                </a:cubicBezTo>
                <a:cubicBezTo>
                  <a:pt x="0" y="39"/>
                  <a:pt x="4" y="37"/>
                  <a:pt x="5" y="35"/>
                </a:cubicBezTo>
                <a:cubicBezTo>
                  <a:pt x="5" y="33"/>
                  <a:pt x="6" y="30"/>
                  <a:pt x="6" y="27"/>
                </a:cubicBezTo>
                <a:lnTo>
                  <a:pt x="12" y="28"/>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6" name="Freeform 189"/>
          <p:cNvSpPr>
            <a:spLocks/>
          </p:cNvSpPr>
          <p:nvPr>
            <p:custDataLst>
              <p:tags r:id="rId122"/>
            </p:custDataLst>
          </p:nvPr>
        </p:nvSpPr>
        <p:spPr bwMode="auto">
          <a:xfrm>
            <a:off x="7058342" y="3399147"/>
            <a:ext cx="96585" cy="94829"/>
          </a:xfrm>
          <a:custGeom>
            <a:avLst/>
            <a:gdLst>
              <a:gd name="T0" fmla="*/ 5457 w 32"/>
              <a:gd name="T1" fmla="*/ 82868 h 30"/>
              <a:gd name="T2" fmla="*/ 0 w 32"/>
              <a:gd name="T3" fmla="*/ 60008 h 30"/>
              <a:gd name="T4" fmla="*/ 27285 w 32"/>
              <a:gd name="T5" fmla="*/ 54293 h 30"/>
              <a:gd name="T6" fmla="*/ 51842 w 32"/>
              <a:gd name="T7" fmla="*/ 40005 h 30"/>
              <a:gd name="T8" fmla="*/ 81856 w 32"/>
              <a:gd name="T9" fmla="*/ 2858 h 30"/>
              <a:gd name="T10" fmla="*/ 84584 w 32"/>
              <a:gd name="T11" fmla="*/ 37148 h 30"/>
              <a:gd name="T12" fmla="*/ 87313 w 32"/>
              <a:gd name="T13" fmla="*/ 42863 h 30"/>
              <a:gd name="T14" fmla="*/ 73670 w 32"/>
              <a:gd name="T15" fmla="*/ 48578 h 30"/>
              <a:gd name="T16" fmla="*/ 60028 w 32"/>
              <a:gd name="T17" fmla="*/ 85725 h 30"/>
              <a:gd name="T18" fmla="*/ 5457 w 32"/>
              <a:gd name="T19" fmla="*/ 82868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30">
                <a:moveTo>
                  <a:pt x="2" y="29"/>
                </a:moveTo>
                <a:cubicBezTo>
                  <a:pt x="0" y="21"/>
                  <a:pt x="0" y="21"/>
                  <a:pt x="0" y="21"/>
                </a:cubicBezTo>
                <a:cubicBezTo>
                  <a:pt x="3" y="20"/>
                  <a:pt x="8" y="19"/>
                  <a:pt x="10" y="19"/>
                </a:cubicBezTo>
                <a:cubicBezTo>
                  <a:pt x="13" y="19"/>
                  <a:pt x="17" y="15"/>
                  <a:pt x="19" y="14"/>
                </a:cubicBezTo>
                <a:cubicBezTo>
                  <a:pt x="22" y="13"/>
                  <a:pt x="29" y="0"/>
                  <a:pt x="30" y="1"/>
                </a:cubicBezTo>
                <a:cubicBezTo>
                  <a:pt x="31" y="2"/>
                  <a:pt x="29" y="8"/>
                  <a:pt x="31" y="13"/>
                </a:cubicBezTo>
                <a:cubicBezTo>
                  <a:pt x="31" y="14"/>
                  <a:pt x="31" y="14"/>
                  <a:pt x="32" y="15"/>
                </a:cubicBezTo>
                <a:cubicBezTo>
                  <a:pt x="32" y="15"/>
                  <a:pt x="27" y="16"/>
                  <a:pt x="27" y="17"/>
                </a:cubicBezTo>
                <a:cubicBezTo>
                  <a:pt x="27" y="19"/>
                  <a:pt x="22" y="30"/>
                  <a:pt x="22" y="30"/>
                </a:cubicBezTo>
                <a:lnTo>
                  <a:pt x="2" y="29"/>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7" name="Freeform 190"/>
          <p:cNvSpPr>
            <a:spLocks/>
          </p:cNvSpPr>
          <p:nvPr>
            <p:custDataLst>
              <p:tags r:id="rId123"/>
            </p:custDataLst>
          </p:nvPr>
        </p:nvSpPr>
        <p:spPr bwMode="auto">
          <a:xfrm>
            <a:off x="7049561" y="3446562"/>
            <a:ext cx="182634" cy="205463"/>
          </a:xfrm>
          <a:custGeom>
            <a:avLst/>
            <a:gdLst>
              <a:gd name="T0" fmla="*/ 0 w 60"/>
              <a:gd name="T1" fmla="*/ 127695 h 64"/>
              <a:gd name="T2" fmla="*/ 63288 w 60"/>
              <a:gd name="T3" fmla="*/ 110282 h 64"/>
              <a:gd name="T4" fmla="*/ 79798 w 60"/>
              <a:gd name="T5" fmla="*/ 60945 h 64"/>
              <a:gd name="T6" fmla="*/ 68792 w 60"/>
              <a:gd name="T7" fmla="*/ 43532 h 64"/>
              <a:gd name="T8" fmla="*/ 82550 w 60"/>
              <a:gd name="T9" fmla="*/ 5804 h 64"/>
              <a:gd name="T10" fmla="*/ 96308 w 60"/>
              <a:gd name="T11" fmla="*/ 0 h 64"/>
              <a:gd name="T12" fmla="*/ 115570 w 60"/>
              <a:gd name="T13" fmla="*/ 17413 h 64"/>
              <a:gd name="T14" fmla="*/ 140335 w 60"/>
              <a:gd name="T15" fmla="*/ 26119 h 64"/>
              <a:gd name="T16" fmla="*/ 159597 w 60"/>
              <a:gd name="T17" fmla="*/ 49337 h 64"/>
              <a:gd name="T18" fmla="*/ 159597 w 60"/>
              <a:gd name="T19" fmla="*/ 63847 h 64"/>
              <a:gd name="T20" fmla="*/ 137583 w 60"/>
              <a:gd name="T21" fmla="*/ 101575 h 64"/>
              <a:gd name="T22" fmla="*/ 126577 w 60"/>
              <a:gd name="T23" fmla="*/ 104478 h 64"/>
              <a:gd name="T24" fmla="*/ 123825 w 60"/>
              <a:gd name="T25" fmla="*/ 130597 h 64"/>
              <a:gd name="T26" fmla="*/ 101812 w 60"/>
              <a:gd name="T27" fmla="*/ 139304 h 64"/>
              <a:gd name="T28" fmla="*/ 93557 w 60"/>
              <a:gd name="T29" fmla="*/ 156716 h 64"/>
              <a:gd name="T30" fmla="*/ 68792 w 60"/>
              <a:gd name="T31" fmla="*/ 159619 h 64"/>
              <a:gd name="T32" fmla="*/ 63288 w 60"/>
              <a:gd name="T33" fmla="*/ 177032 h 64"/>
              <a:gd name="T34" fmla="*/ 24765 w 60"/>
              <a:gd name="T35" fmla="*/ 185738 h 64"/>
              <a:gd name="T36" fmla="*/ 0 w 60"/>
              <a:gd name="T37" fmla="*/ 127695 h 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64">
                <a:moveTo>
                  <a:pt x="0" y="44"/>
                </a:moveTo>
                <a:cubicBezTo>
                  <a:pt x="23" y="38"/>
                  <a:pt x="23" y="38"/>
                  <a:pt x="23" y="38"/>
                </a:cubicBezTo>
                <a:cubicBezTo>
                  <a:pt x="29" y="21"/>
                  <a:pt x="29" y="21"/>
                  <a:pt x="29" y="21"/>
                </a:cubicBezTo>
                <a:cubicBezTo>
                  <a:pt x="25" y="15"/>
                  <a:pt x="25" y="15"/>
                  <a:pt x="25" y="15"/>
                </a:cubicBezTo>
                <a:cubicBezTo>
                  <a:pt x="25" y="15"/>
                  <a:pt x="30" y="4"/>
                  <a:pt x="30" y="2"/>
                </a:cubicBezTo>
                <a:cubicBezTo>
                  <a:pt x="30" y="1"/>
                  <a:pt x="35" y="0"/>
                  <a:pt x="35" y="0"/>
                </a:cubicBezTo>
                <a:cubicBezTo>
                  <a:pt x="37" y="4"/>
                  <a:pt x="40" y="6"/>
                  <a:pt x="42" y="6"/>
                </a:cubicBezTo>
                <a:cubicBezTo>
                  <a:pt x="44" y="7"/>
                  <a:pt x="49" y="6"/>
                  <a:pt x="51" y="9"/>
                </a:cubicBezTo>
                <a:cubicBezTo>
                  <a:pt x="52" y="12"/>
                  <a:pt x="57" y="17"/>
                  <a:pt x="58" y="17"/>
                </a:cubicBezTo>
                <a:cubicBezTo>
                  <a:pt x="60" y="18"/>
                  <a:pt x="60" y="20"/>
                  <a:pt x="58" y="22"/>
                </a:cubicBezTo>
                <a:cubicBezTo>
                  <a:pt x="57" y="24"/>
                  <a:pt x="52" y="34"/>
                  <a:pt x="50" y="35"/>
                </a:cubicBezTo>
                <a:cubicBezTo>
                  <a:pt x="49" y="35"/>
                  <a:pt x="46" y="34"/>
                  <a:pt x="46" y="36"/>
                </a:cubicBezTo>
                <a:cubicBezTo>
                  <a:pt x="45" y="39"/>
                  <a:pt x="46" y="44"/>
                  <a:pt x="45" y="45"/>
                </a:cubicBezTo>
                <a:cubicBezTo>
                  <a:pt x="44" y="46"/>
                  <a:pt x="39" y="46"/>
                  <a:pt x="37" y="48"/>
                </a:cubicBezTo>
                <a:cubicBezTo>
                  <a:pt x="35" y="51"/>
                  <a:pt x="36" y="53"/>
                  <a:pt x="34" y="54"/>
                </a:cubicBezTo>
                <a:cubicBezTo>
                  <a:pt x="32" y="55"/>
                  <a:pt x="27" y="54"/>
                  <a:pt x="25" y="55"/>
                </a:cubicBezTo>
                <a:cubicBezTo>
                  <a:pt x="24" y="57"/>
                  <a:pt x="26" y="61"/>
                  <a:pt x="23" y="61"/>
                </a:cubicBezTo>
                <a:cubicBezTo>
                  <a:pt x="21" y="61"/>
                  <a:pt x="14" y="62"/>
                  <a:pt x="9" y="64"/>
                </a:cubicBezTo>
                <a:cubicBezTo>
                  <a:pt x="0" y="44"/>
                  <a:pt x="0" y="44"/>
                  <a:pt x="0" y="4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8" name="Freeform 191"/>
          <p:cNvSpPr>
            <a:spLocks/>
          </p:cNvSpPr>
          <p:nvPr>
            <p:custDataLst>
              <p:tags r:id="rId124"/>
            </p:custDataLst>
          </p:nvPr>
        </p:nvSpPr>
        <p:spPr bwMode="auto">
          <a:xfrm>
            <a:off x="6914342" y="3302562"/>
            <a:ext cx="50927" cy="45659"/>
          </a:xfrm>
          <a:custGeom>
            <a:avLst/>
            <a:gdLst>
              <a:gd name="T0" fmla="*/ 24373 w 17"/>
              <a:gd name="T1" fmla="*/ 32430 h 14"/>
              <a:gd name="T2" fmla="*/ 5416 w 17"/>
              <a:gd name="T3" fmla="*/ 23586 h 14"/>
              <a:gd name="T4" fmla="*/ 24373 w 17"/>
              <a:gd name="T5" fmla="*/ 2948 h 14"/>
              <a:gd name="T6" fmla="*/ 43330 w 17"/>
              <a:gd name="T7" fmla="*/ 5896 h 14"/>
              <a:gd name="T8" fmla="*/ 37914 w 17"/>
              <a:gd name="T9" fmla="*/ 17689 h 14"/>
              <a:gd name="T10" fmla="*/ 46038 w 17"/>
              <a:gd name="T11" fmla="*/ 38327 h 14"/>
              <a:gd name="T12" fmla="*/ 29789 w 17"/>
              <a:gd name="T13" fmla="*/ 41275 h 14"/>
              <a:gd name="T14" fmla="*/ 24373 w 17"/>
              <a:gd name="T15" fmla="*/ 3243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4">
                <a:moveTo>
                  <a:pt x="9" y="11"/>
                </a:moveTo>
                <a:cubicBezTo>
                  <a:pt x="9" y="11"/>
                  <a:pt x="0" y="9"/>
                  <a:pt x="2" y="8"/>
                </a:cubicBezTo>
                <a:cubicBezTo>
                  <a:pt x="4" y="7"/>
                  <a:pt x="6" y="1"/>
                  <a:pt x="9" y="1"/>
                </a:cubicBezTo>
                <a:cubicBezTo>
                  <a:pt x="12" y="0"/>
                  <a:pt x="16" y="2"/>
                  <a:pt x="16" y="2"/>
                </a:cubicBezTo>
                <a:cubicBezTo>
                  <a:pt x="14" y="3"/>
                  <a:pt x="13" y="3"/>
                  <a:pt x="14" y="6"/>
                </a:cubicBezTo>
                <a:cubicBezTo>
                  <a:pt x="15" y="9"/>
                  <a:pt x="16" y="11"/>
                  <a:pt x="17" y="13"/>
                </a:cubicBezTo>
                <a:cubicBezTo>
                  <a:pt x="11" y="14"/>
                  <a:pt x="11" y="14"/>
                  <a:pt x="11" y="14"/>
                </a:cubicBezTo>
                <a:lnTo>
                  <a:pt x="9" y="11"/>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29" name="Freeform 192"/>
          <p:cNvSpPr>
            <a:spLocks/>
          </p:cNvSpPr>
          <p:nvPr>
            <p:custDataLst>
              <p:tags r:id="rId125"/>
            </p:custDataLst>
          </p:nvPr>
        </p:nvSpPr>
        <p:spPr bwMode="auto">
          <a:xfrm>
            <a:off x="6872195" y="3035634"/>
            <a:ext cx="442536" cy="396878"/>
          </a:xfrm>
          <a:custGeom>
            <a:avLst/>
            <a:gdLst>
              <a:gd name="T0" fmla="*/ 13607 w 147"/>
              <a:gd name="T1" fmla="*/ 67088 h 123"/>
              <a:gd name="T2" fmla="*/ 5443 w 147"/>
              <a:gd name="T3" fmla="*/ 46670 h 123"/>
              <a:gd name="T4" fmla="*/ 0 w 147"/>
              <a:gd name="T5" fmla="*/ 17501 h 123"/>
              <a:gd name="T6" fmla="*/ 8164 w 147"/>
              <a:gd name="T7" fmla="*/ 2917 h 123"/>
              <a:gd name="T8" fmla="*/ 24493 w 147"/>
              <a:gd name="T9" fmla="*/ 26252 h 123"/>
              <a:gd name="T10" fmla="*/ 48986 w 147"/>
              <a:gd name="T11" fmla="*/ 17501 h 123"/>
              <a:gd name="T12" fmla="*/ 76200 w 147"/>
              <a:gd name="T13" fmla="*/ 0 h 123"/>
              <a:gd name="T14" fmla="*/ 84364 w 147"/>
              <a:gd name="T15" fmla="*/ 11667 h 123"/>
              <a:gd name="T16" fmla="*/ 78921 w 147"/>
              <a:gd name="T17" fmla="*/ 23335 h 123"/>
              <a:gd name="T18" fmla="*/ 97971 w 147"/>
              <a:gd name="T19" fmla="*/ 35002 h 123"/>
              <a:gd name="T20" fmla="*/ 97971 w 147"/>
              <a:gd name="T21" fmla="*/ 40836 h 123"/>
              <a:gd name="T22" fmla="*/ 103414 w 147"/>
              <a:gd name="T23" fmla="*/ 55421 h 123"/>
              <a:gd name="T24" fmla="*/ 127907 w 147"/>
              <a:gd name="T25" fmla="*/ 64171 h 123"/>
              <a:gd name="T26" fmla="*/ 163286 w 147"/>
              <a:gd name="T27" fmla="*/ 81672 h 123"/>
              <a:gd name="T28" fmla="*/ 201386 w 147"/>
              <a:gd name="T29" fmla="*/ 70005 h 123"/>
              <a:gd name="T30" fmla="*/ 201386 w 147"/>
              <a:gd name="T31" fmla="*/ 61254 h 123"/>
              <a:gd name="T32" fmla="*/ 201386 w 147"/>
              <a:gd name="T33" fmla="*/ 61254 h 123"/>
              <a:gd name="T34" fmla="*/ 217714 w 147"/>
              <a:gd name="T35" fmla="*/ 61254 h 123"/>
              <a:gd name="T36" fmla="*/ 239486 w 147"/>
              <a:gd name="T37" fmla="*/ 43753 h 123"/>
              <a:gd name="T38" fmla="*/ 272143 w 147"/>
              <a:gd name="T39" fmla="*/ 43753 h 123"/>
              <a:gd name="T40" fmla="*/ 307521 w 147"/>
              <a:gd name="T41" fmla="*/ 58337 h 123"/>
              <a:gd name="T42" fmla="*/ 332014 w 147"/>
              <a:gd name="T43" fmla="*/ 78755 h 123"/>
              <a:gd name="T44" fmla="*/ 353786 w 147"/>
              <a:gd name="T45" fmla="*/ 81672 h 123"/>
              <a:gd name="T46" fmla="*/ 353786 w 147"/>
              <a:gd name="T47" fmla="*/ 107924 h 123"/>
              <a:gd name="T48" fmla="*/ 351064 w 147"/>
              <a:gd name="T49" fmla="*/ 131259 h 123"/>
              <a:gd name="T50" fmla="*/ 337457 w 147"/>
              <a:gd name="T51" fmla="*/ 148760 h 123"/>
              <a:gd name="T52" fmla="*/ 345621 w 147"/>
              <a:gd name="T53" fmla="*/ 207098 h 123"/>
              <a:gd name="T54" fmla="*/ 367393 w 147"/>
              <a:gd name="T55" fmla="*/ 212932 h 123"/>
              <a:gd name="T56" fmla="*/ 367393 w 147"/>
              <a:gd name="T57" fmla="*/ 230433 h 123"/>
              <a:gd name="T58" fmla="*/ 348343 w 147"/>
              <a:gd name="T59" fmla="*/ 250851 h 123"/>
              <a:gd name="T60" fmla="*/ 353786 w 147"/>
              <a:gd name="T61" fmla="*/ 259601 h 123"/>
              <a:gd name="T62" fmla="*/ 364671 w 147"/>
              <a:gd name="T63" fmla="*/ 280020 h 123"/>
              <a:gd name="T64" fmla="*/ 386443 w 147"/>
              <a:gd name="T65" fmla="*/ 285853 h 123"/>
              <a:gd name="T66" fmla="*/ 389164 w 147"/>
              <a:gd name="T67" fmla="*/ 306271 h 123"/>
              <a:gd name="T68" fmla="*/ 400050 w 147"/>
              <a:gd name="T69" fmla="*/ 312105 h 123"/>
              <a:gd name="T70" fmla="*/ 394607 w 147"/>
              <a:gd name="T71" fmla="*/ 329606 h 123"/>
              <a:gd name="T72" fmla="*/ 378279 w 147"/>
              <a:gd name="T73" fmla="*/ 332523 h 123"/>
              <a:gd name="T74" fmla="*/ 370114 w 147"/>
              <a:gd name="T75" fmla="*/ 341274 h 123"/>
              <a:gd name="T76" fmla="*/ 356507 w 147"/>
              <a:gd name="T77" fmla="*/ 358775 h 123"/>
              <a:gd name="T78" fmla="*/ 296636 w 147"/>
              <a:gd name="T79" fmla="*/ 350024 h 123"/>
              <a:gd name="T80" fmla="*/ 274864 w 147"/>
              <a:gd name="T81" fmla="*/ 338357 h 123"/>
              <a:gd name="T82" fmla="*/ 261257 w 147"/>
              <a:gd name="T83" fmla="*/ 312105 h 123"/>
              <a:gd name="T84" fmla="*/ 231321 w 147"/>
              <a:gd name="T85" fmla="*/ 320856 h 123"/>
              <a:gd name="T86" fmla="*/ 193221 w 147"/>
              <a:gd name="T87" fmla="*/ 320856 h 123"/>
              <a:gd name="T88" fmla="*/ 171450 w 147"/>
              <a:gd name="T89" fmla="*/ 300438 h 123"/>
              <a:gd name="T90" fmla="*/ 149679 w 147"/>
              <a:gd name="T91" fmla="*/ 294604 h 123"/>
              <a:gd name="T92" fmla="*/ 122464 w 147"/>
              <a:gd name="T93" fmla="*/ 239183 h 123"/>
              <a:gd name="T94" fmla="*/ 103414 w 147"/>
              <a:gd name="T95" fmla="*/ 242100 h 123"/>
              <a:gd name="T96" fmla="*/ 89807 w 147"/>
              <a:gd name="T97" fmla="*/ 245017 h 123"/>
              <a:gd name="T98" fmla="*/ 76200 w 147"/>
              <a:gd name="T99" fmla="*/ 221682 h 123"/>
              <a:gd name="T100" fmla="*/ 76200 w 147"/>
              <a:gd name="T101" fmla="*/ 201264 h 123"/>
              <a:gd name="T102" fmla="*/ 68036 w 147"/>
              <a:gd name="T103" fmla="*/ 186680 h 123"/>
              <a:gd name="T104" fmla="*/ 40821 w 147"/>
              <a:gd name="T105" fmla="*/ 172095 h 123"/>
              <a:gd name="T106" fmla="*/ 27214 w 147"/>
              <a:gd name="T107" fmla="*/ 142927 h 123"/>
              <a:gd name="T108" fmla="*/ 38100 w 147"/>
              <a:gd name="T109" fmla="*/ 122509 h 123"/>
              <a:gd name="T110" fmla="*/ 43543 w 147"/>
              <a:gd name="T111" fmla="*/ 105007 h 123"/>
              <a:gd name="T112" fmla="*/ 24493 w 147"/>
              <a:gd name="T113" fmla="*/ 96257 h 123"/>
              <a:gd name="T114" fmla="*/ 13607 w 147"/>
              <a:gd name="T115" fmla="*/ 67088 h 12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47" h="123">
                <a:moveTo>
                  <a:pt x="5" y="23"/>
                </a:moveTo>
                <a:cubicBezTo>
                  <a:pt x="3" y="19"/>
                  <a:pt x="2" y="19"/>
                  <a:pt x="2" y="16"/>
                </a:cubicBezTo>
                <a:cubicBezTo>
                  <a:pt x="2" y="13"/>
                  <a:pt x="1" y="8"/>
                  <a:pt x="0" y="6"/>
                </a:cubicBezTo>
                <a:cubicBezTo>
                  <a:pt x="3" y="1"/>
                  <a:pt x="3" y="1"/>
                  <a:pt x="3" y="1"/>
                </a:cubicBezTo>
                <a:cubicBezTo>
                  <a:pt x="6" y="2"/>
                  <a:pt x="8" y="7"/>
                  <a:pt x="9" y="9"/>
                </a:cubicBezTo>
                <a:cubicBezTo>
                  <a:pt x="12" y="11"/>
                  <a:pt x="18" y="6"/>
                  <a:pt x="18" y="6"/>
                </a:cubicBezTo>
                <a:cubicBezTo>
                  <a:pt x="28" y="0"/>
                  <a:pt x="28" y="0"/>
                  <a:pt x="28" y="0"/>
                </a:cubicBezTo>
                <a:cubicBezTo>
                  <a:pt x="31" y="4"/>
                  <a:pt x="31" y="4"/>
                  <a:pt x="31" y="4"/>
                </a:cubicBezTo>
                <a:cubicBezTo>
                  <a:pt x="29" y="8"/>
                  <a:pt x="29" y="8"/>
                  <a:pt x="29" y="8"/>
                </a:cubicBezTo>
                <a:cubicBezTo>
                  <a:pt x="29" y="8"/>
                  <a:pt x="34" y="12"/>
                  <a:pt x="36" y="12"/>
                </a:cubicBezTo>
                <a:cubicBezTo>
                  <a:pt x="36" y="13"/>
                  <a:pt x="36" y="14"/>
                  <a:pt x="36" y="14"/>
                </a:cubicBezTo>
                <a:cubicBezTo>
                  <a:pt x="36" y="14"/>
                  <a:pt x="36" y="17"/>
                  <a:pt x="38" y="19"/>
                </a:cubicBezTo>
                <a:cubicBezTo>
                  <a:pt x="40" y="20"/>
                  <a:pt x="47" y="20"/>
                  <a:pt x="47" y="22"/>
                </a:cubicBezTo>
                <a:cubicBezTo>
                  <a:pt x="47" y="24"/>
                  <a:pt x="55" y="28"/>
                  <a:pt x="60" y="28"/>
                </a:cubicBezTo>
                <a:cubicBezTo>
                  <a:pt x="64" y="28"/>
                  <a:pt x="74" y="26"/>
                  <a:pt x="74" y="24"/>
                </a:cubicBezTo>
                <a:cubicBezTo>
                  <a:pt x="74" y="24"/>
                  <a:pt x="74" y="22"/>
                  <a:pt x="74" y="21"/>
                </a:cubicBezTo>
                <a:cubicBezTo>
                  <a:pt x="74" y="21"/>
                  <a:pt x="74" y="21"/>
                  <a:pt x="74" y="21"/>
                </a:cubicBezTo>
                <a:cubicBezTo>
                  <a:pt x="78" y="21"/>
                  <a:pt x="80" y="21"/>
                  <a:pt x="80" y="21"/>
                </a:cubicBezTo>
                <a:cubicBezTo>
                  <a:pt x="81" y="20"/>
                  <a:pt x="84" y="15"/>
                  <a:pt x="88" y="15"/>
                </a:cubicBezTo>
                <a:cubicBezTo>
                  <a:pt x="91" y="15"/>
                  <a:pt x="97" y="14"/>
                  <a:pt x="100" y="15"/>
                </a:cubicBezTo>
                <a:cubicBezTo>
                  <a:pt x="104" y="16"/>
                  <a:pt x="111" y="19"/>
                  <a:pt x="113" y="20"/>
                </a:cubicBezTo>
                <a:cubicBezTo>
                  <a:pt x="115" y="20"/>
                  <a:pt x="121" y="26"/>
                  <a:pt x="122" y="27"/>
                </a:cubicBezTo>
                <a:cubicBezTo>
                  <a:pt x="124" y="28"/>
                  <a:pt x="128" y="28"/>
                  <a:pt x="130" y="28"/>
                </a:cubicBezTo>
                <a:cubicBezTo>
                  <a:pt x="130" y="28"/>
                  <a:pt x="130" y="32"/>
                  <a:pt x="130" y="37"/>
                </a:cubicBezTo>
                <a:cubicBezTo>
                  <a:pt x="130" y="40"/>
                  <a:pt x="129" y="43"/>
                  <a:pt x="129" y="45"/>
                </a:cubicBezTo>
                <a:cubicBezTo>
                  <a:pt x="128" y="47"/>
                  <a:pt x="124" y="49"/>
                  <a:pt x="124" y="51"/>
                </a:cubicBezTo>
                <a:cubicBezTo>
                  <a:pt x="125" y="52"/>
                  <a:pt x="127" y="69"/>
                  <a:pt x="127" y="71"/>
                </a:cubicBezTo>
                <a:cubicBezTo>
                  <a:pt x="127" y="72"/>
                  <a:pt x="134" y="71"/>
                  <a:pt x="135" y="73"/>
                </a:cubicBezTo>
                <a:cubicBezTo>
                  <a:pt x="135" y="75"/>
                  <a:pt x="135" y="77"/>
                  <a:pt x="135" y="79"/>
                </a:cubicBezTo>
                <a:cubicBezTo>
                  <a:pt x="134" y="80"/>
                  <a:pt x="127" y="84"/>
                  <a:pt x="128" y="86"/>
                </a:cubicBezTo>
                <a:cubicBezTo>
                  <a:pt x="128" y="86"/>
                  <a:pt x="129" y="87"/>
                  <a:pt x="130" y="89"/>
                </a:cubicBezTo>
                <a:cubicBezTo>
                  <a:pt x="131" y="92"/>
                  <a:pt x="133" y="96"/>
                  <a:pt x="134" y="96"/>
                </a:cubicBezTo>
                <a:cubicBezTo>
                  <a:pt x="136" y="96"/>
                  <a:pt x="141" y="97"/>
                  <a:pt x="142" y="98"/>
                </a:cubicBezTo>
                <a:cubicBezTo>
                  <a:pt x="142" y="99"/>
                  <a:pt x="143" y="104"/>
                  <a:pt x="143" y="105"/>
                </a:cubicBezTo>
                <a:cubicBezTo>
                  <a:pt x="143" y="106"/>
                  <a:pt x="147" y="106"/>
                  <a:pt x="147" y="107"/>
                </a:cubicBezTo>
                <a:cubicBezTo>
                  <a:pt x="147" y="108"/>
                  <a:pt x="146" y="112"/>
                  <a:pt x="145" y="113"/>
                </a:cubicBezTo>
                <a:cubicBezTo>
                  <a:pt x="144" y="114"/>
                  <a:pt x="140" y="114"/>
                  <a:pt x="139" y="114"/>
                </a:cubicBezTo>
                <a:cubicBezTo>
                  <a:pt x="137" y="115"/>
                  <a:pt x="136" y="117"/>
                  <a:pt x="136" y="117"/>
                </a:cubicBezTo>
                <a:cubicBezTo>
                  <a:pt x="131" y="123"/>
                  <a:pt x="131" y="123"/>
                  <a:pt x="131" y="123"/>
                </a:cubicBezTo>
                <a:cubicBezTo>
                  <a:pt x="125" y="123"/>
                  <a:pt x="113" y="122"/>
                  <a:pt x="109" y="120"/>
                </a:cubicBezTo>
                <a:cubicBezTo>
                  <a:pt x="105" y="119"/>
                  <a:pt x="102" y="119"/>
                  <a:pt x="101" y="116"/>
                </a:cubicBezTo>
                <a:cubicBezTo>
                  <a:pt x="100" y="114"/>
                  <a:pt x="99" y="107"/>
                  <a:pt x="96" y="107"/>
                </a:cubicBezTo>
                <a:cubicBezTo>
                  <a:pt x="94" y="107"/>
                  <a:pt x="87" y="110"/>
                  <a:pt x="85" y="110"/>
                </a:cubicBezTo>
                <a:cubicBezTo>
                  <a:pt x="83" y="111"/>
                  <a:pt x="74" y="112"/>
                  <a:pt x="71" y="110"/>
                </a:cubicBezTo>
                <a:cubicBezTo>
                  <a:pt x="69" y="107"/>
                  <a:pt x="65" y="103"/>
                  <a:pt x="63" y="103"/>
                </a:cubicBezTo>
                <a:cubicBezTo>
                  <a:pt x="61" y="102"/>
                  <a:pt x="58" y="104"/>
                  <a:pt x="55" y="101"/>
                </a:cubicBezTo>
                <a:cubicBezTo>
                  <a:pt x="52" y="98"/>
                  <a:pt x="47" y="83"/>
                  <a:pt x="45" y="82"/>
                </a:cubicBezTo>
                <a:cubicBezTo>
                  <a:pt x="43" y="81"/>
                  <a:pt x="41" y="83"/>
                  <a:pt x="38" y="83"/>
                </a:cubicBezTo>
                <a:cubicBezTo>
                  <a:pt x="36" y="83"/>
                  <a:pt x="35" y="83"/>
                  <a:pt x="33" y="84"/>
                </a:cubicBezTo>
                <a:cubicBezTo>
                  <a:pt x="28" y="76"/>
                  <a:pt x="28" y="76"/>
                  <a:pt x="28" y="76"/>
                </a:cubicBezTo>
                <a:cubicBezTo>
                  <a:pt x="28" y="76"/>
                  <a:pt x="28" y="70"/>
                  <a:pt x="28" y="69"/>
                </a:cubicBezTo>
                <a:cubicBezTo>
                  <a:pt x="28" y="68"/>
                  <a:pt x="26" y="66"/>
                  <a:pt x="25" y="64"/>
                </a:cubicBezTo>
                <a:cubicBezTo>
                  <a:pt x="23" y="62"/>
                  <a:pt x="17" y="60"/>
                  <a:pt x="15" y="59"/>
                </a:cubicBezTo>
                <a:cubicBezTo>
                  <a:pt x="14" y="58"/>
                  <a:pt x="10" y="51"/>
                  <a:pt x="10" y="49"/>
                </a:cubicBezTo>
                <a:cubicBezTo>
                  <a:pt x="10" y="47"/>
                  <a:pt x="12" y="43"/>
                  <a:pt x="14" y="42"/>
                </a:cubicBezTo>
                <a:cubicBezTo>
                  <a:pt x="15" y="41"/>
                  <a:pt x="16" y="37"/>
                  <a:pt x="16" y="36"/>
                </a:cubicBezTo>
                <a:cubicBezTo>
                  <a:pt x="16" y="34"/>
                  <a:pt x="11" y="33"/>
                  <a:pt x="9" y="33"/>
                </a:cubicBezTo>
                <a:cubicBezTo>
                  <a:pt x="7" y="32"/>
                  <a:pt x="7" y="27"/>
                  <a:pt x="5" y="2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0" name="Freeform 193"/>
          <p:cNvSpPr>
            <a:spLocks/>
          </p:cNvSpPr>
          <p:nvPr>
            <p:custDataLst>
              <p:tags r:id="rId126"/>
            </p:custDataLst>
          </p:nvPr>
        </p:nvSpPr>
        <p:spPr bwMode="auto">
          <a:xfrm>
            <a:off x="6837074" y="3588806"/>
            <a:ext cx="238829" cy="166829"/>
          </a:xfrm>
          <a:custGeom>
            <a:avLst/>
            <a:gdLst>
              <a:gd name="T0" fmla="*/ 10932 w 79"/>
              <a:gd name="T1" fmla="*/ 58005 h 52"/>
              <a:gd name="T2" fmla="*/ 16397 w 79"/>
              <a:gd name="T3" fmla="*/ 37703 h 52"/>
              <a:gd name="T4" fmla="*/ 79254 w 79"/>
              <a:gd name="T5" fmla="*/ 69606 h 52"/>
              <a:gd name="T6" fmla="*/ 125714 w 79"/>
              <a:gd name="T7" fmla="*/ 23202 h 52"/>
              <a:gd name="T8" fmla="*/ 191304 w 79"/>
              <a:gd name="T9" fmla="*/ 0 h 52"/>
              <a:gd name="T10" fmla="*/ 215900 w 79"/>
              <a:gd name="T11" fmla="*/ 58005 h 52"/>
              <a:gd name="T12" fmla="*/ 199503 w 79"/>
              <a:gd name="T13" fmla="*/ 63806 h 52"/>
              <a:gd name="T14" fmla="*/ 199503 w 79"/>
              <a:gd name="T15" fmla="*/ 84107 h 52"/>
              <a:gd name="T16" fmla="*/ 133913 w 79"/>
              <a:gd name="T17" fmla="*/ 107309 h 52"/>
              <a:gd name="T18" fmla="*/ 95652 w 79"/>
              <a:gd name="T19" fmla="*/ 127611 h 52"/>
              <a:gd name="T20" fmla="*/ 65590 w 79"/>
              <a:gd name="T21" fmla="*/ 133412 h 52"/>
              <a:gd name="T22" fmla="*/ 19130 w 79"/>
              <a:gd name="T23" fmla="*/ 145013 h 52"/>
              <a:gd name="T24" fmla="*/ 8199 w 79"/>
              <a:gd name="T25" fmla="*/ 98609 h 52"/>
              <a:gd name="T26" fmla="*/ 0 w 79"/>
              <a:gd name="T27" fmla="*/ 63806 h 52"/>
              <a:gd name="T28" fmla="*/ 10932 w 79"/>
              <a:gd name="T29" fmla="*/ 58005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9" h="52">
                <a:moveTo>
                  <a:pt x="4" y="20"/>
                </a:moveTo>
                <a:cubicBezTo>
                  <a:pt x="5" y="19"/>
                  <a:pt x="4" y="13"/>
                  <a:pt x="6" y="13"/>
                </a:cubicBezTo>
                <a:cubicBezTo>
                  <a:pt x="8" y="12"/>
                  <a:pt x="29" y="24"/>
                  <a:pt x="29" y="24"/>
                </a:cubicBezTo>
                <a:cubicBezTo>
                  <a:pt x="30" y="24"/>
                  <a:pt x="46" y="8"/>
                  <a:pt x="46" y="8"/>
                </a:cubicBezTo>
                <a:cubicBezTo>
                  <a:pt x="70" y="0"/>
                  <a:pt x="70" y="0"/>
                  <a:pt x="70" y="0"/>
                </a:cubicBezTo>
                <a:cubicBezTo>
                  <a:pt x="79" y="20"/>
                  <a:pt x="79" y="20"/>
                  <a:pt x="79" y="20"/>
                </a:cubicBezTo>
                <a:cubicBezTo>
                  <a:pt x="76" y="20"/>
                  <a:pt x="74" y="21"/>
                  <a:pt x="73" y="22"/>
                </a:cubicBezTo>
                <a:cubicBezTo>
                  <a:pt x="72" y="24"/>
                  <a:pt x="73" y="28"/>
                  <a:pt x="73" y="29"/>
                </a:cubicBezTo>
                <a:cubicBezTo>
                  <a:pt x="73" y="29"/>
                  <a:pt x="52" y="36"/>
                  <a:pt x="49" y="37"/>
                </a:cubicBezTo>
                <a:cubicBezTo>
                  <a:pt x="46" y="39"/>
                  <a:pt x="38" y="43"/>
                  <a:pt x="35" y="44"/>
                </a:cubicBezTo>
                <a:cubicBezTo>
                  <a:pt x="31" y="45"/>
                  <a:pt x="26" y="45"/>
                  <a:pt x="24" y="46"/>
                </a:cubicBezTo>
                <a:cubicBezTo>
                  <a:pt x="21" y="47"/>
                  <a:pt x="9" y="52"/>
                  <a:pt x="7" y="50"/>
                </a:cubicBezTo>
                <a:cubicBezTo>
                  <a:pt x="6" y="47"/>
                  <a:pt x="3" y="37"/>
                  <a:pt x="3" y="34"/>
                </a:cubicBezTo>
                <a:cubicBezTo>
                  <a:pt x="3" y="31"/>
                  <a:pt x="2" y="26"/>
                  <a:pt x="0" y="22"/>
                </a:cubicBezTo>
                <a:cubicBezTo>
                  <a:pt x="0" y="22"/>
                  <a:pt x="3" y="21"/>
                  <a:pt x="4" y="2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1" name="Freeform 194"/>
          <p:cNvSpPr>
            <a:spLocks/>
          </p:cNvSpPr>
          <p:nvPr>
            <p:custDataLst>
              <p:tags r:id="rId127"/>
            </p:custDataLst>
          </p:nvPr>
        </p:nvSpPr>
        <p:spPr bwMode="auto">
          <a:xfrm>
            <a:off x="6745756" y="3105878"/>
            <a:ext cx="226536" cy="223024"/>
          </a:xfrm>
          <a:custGeom>
            <a:avLst/>
            <a:gdLst>
              <a:gd name="T0" fmla="*/ 35497 w 75"/>
              <a:gd name="T1" fmla="*/ 134409 h 69"/>
              <a:gd name="T2" fmla="*/ 10922 w 75"/>
              <a:gd name="T3" fmla="*/ 128565 h 69"/>
              <a:gd name="T4" fmla="*/ 8192 w 75"/>
              <a:gd name="T5" fmla="*/ 131487 h 69"/>
              <a:gd name="T6" fmla="*/ 0 w 75"/>
              <a:gd name="T7" fmla="*/ 99346 h 69"/>
              <a:gd name="T8" fmla="*/ 40958 w 75"/>
              <a:gd name="T9" fmla="*/ 73048 h 69"/>
              <a:gd name="T10" fmla="*/ 49149 w 75"/>
              <a:gd name="T11" fmla="*/ 61360 h 69"/>
              <a:gd name="T12" fmla="*/ 54610 w 75"/>
              <a:gd name="T13" fmla="*/ 26297 h 69"/>
              <a:gd name="T14" fmla="*/ 76454 w 75"/>
              <a:gd name="T15" fmla="*/ 5844 h 69"/>
              <a:gd name="T16" fmla="*/ 87376 w 75"/>
              <a:gd name="T17" fmla="*/ 0 h 69"/>
              <a:gd name="T18" fmla="*/ 128334 w 75"/>
              <a:gd name="T19" fmla="*/ 2922 h 69"/>
              <a:gd name="T20" fmla="*/ 139256 w 75"/>
              <a:gd name="T21" fmla="*/ 32141 h 69"/>
              <a:gd name="T22" fmla="*/ 158369 w 75"/>
              <a:gd name="T23" fmla="*/ 40907 h 69"/>
              <a:gd name="T24" fmla="*/ 152908 w 75"/>
              <a:gd name="T25" fmla="*/ 58439 h 69"/>
              <a:gd name="T26" fmla="*/ 141986 w 75"/>
              <a:gd name="T27" fmla="*/ 78892 h 69"/>
              <a:gd name="T28" fmla="*/ 155639 w 75"/>
              <a:gd name="T29" fmla="*/ 108111 h 69"/>
              <a:gd name="T30" fmla="*/ 182944 w 75"/>
              <a:gd name="T31" fmla="*/ 122721 h 69"/>
              <a:gd name="T32" fmla="*/ 191135 w 75"/>
              <a:gd name="T33" fmla="*/ 137331 h 69"/>
              <a:gd name="T34" fmla="*/ 191135 w 75"/>
              <a:gd name="T35" fmla="*/ 157784 h 69"/>
              <a:gd name="T36" fmla="*/ 204788 w 75"/>
              <a:gd name="T37" fmla="*/ 181160 h 69"/>
              <a:gd name="T38" fmla="*/ 204788 w 75"/>
              <a:gd name="T39" fmla="*/ 181160 h 69"/>
              <a:gd name="T40" fmla="*/ 196596 w 75"/>
              <a:gd name="T41" fmla="*/ 184081 h 69"/>
              <a:gd name="T42" fmla="*/ 177483 w 75"/>
              <a:gd name="T43" fmla="*/ 181160 h 69"/>
              <a:gd name="T44" fmla="*/ 158369 w 75"/>
              <a:gd name="T45" fmla="*/ 201613 h 69"/>
              <a:gd name="T46" fmla="*/ 120142 w 75"/>
              <a:gd name="T47" fmla="*/ 198691 h 69"/>
              <a:gd name="T48" fmla="*/ 35497 w 75"/>
              <a:gd name="T49" fmla="*/ 134409 h 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5" h="69">
                <a:moveTo>
                  <a:pt x="13" y="46"/>
                </a:moveTo>
                <a:cubicBezTo>
                  <a:pt x="12" y="45"/>
                  <a:pt x="4" y="44"/>
                  <a:pt x="4" y="44"/>
                </a:cubicBezTo>
                <a:cubicBezTo>
                  <a:pt x="4" y="44"/>
                  <a:pt x="4" y="44"/>
                  <a:pt x="3" y="45"/>
                </a:cubicBezTo>
                <a:cubicBezTo>
                  <a:pt x="0" y="34"/>
                  <a:pt x="0" y="34"/>
                  <a:pt x="0" y="34"/>
                </a:cubicBezTo>
                <a:cubicBezTo>
                  <a:pt x="15" y="25"/>
                  <a:pt x="15" y="25"/>
                  <a:pt x="15" y="25"/>
                </a:cubicBezTo>
                <a:cubicBezTo>
                  <a:pt x="16" y="25"/>
                  <a:pt x="18" y="24"/>
                  <a:pt x="18" y="21"/>
                </a:cubicBezTo>
                <a:cubicBezTo>
                  <a:pt x="19" y="19"/>
                  <a:pt x="19" y="10"/>
                  <a:pt x="20" y="9"/>
                </a:cubicBezTo>
                <a:cubicBezTo>
                  <a:pt x="22" y="8"/>
                  <a:pt x="25" y="4"/>
                  <a:pt x="28" y="2"/>
                </a:cubicBezTo>
                <a:cubicBezTo>
                  <a:pt x="30" y="1"/>
                  <a:pt x="31" y="0"/>
                  <a:pt x="32" y="0"/>
                </a:cubicBezTo>
                <a:cubicBezTo>
                  <a:pt x="47" y="1"/>
                  <a:pt x="47" y="1"/>
                  <a:pt x="47" y="1"/>
                </a:cubicBezTo>
                <a:cubicBezTo>
                  <a:pt x="49" y="5"/>
                  <a:pt x="49" y="10"/>
                  <a:pt x="51" y="11"/>
                </a:cubicBezTo>
                <a:cubicBezTo>
                  <a:pt x="53" y="11"/>
                  <a:pt x="58" y="12"/>
                  <a:pt x="58" y="14"/>
                </a:cubicBezTo>
                <a:cubicBezTo>
                  <a:pt x="58" y="15"/>
                  <a:pt x="57" y="19"/>
                  <a:pt x="56" y="20"/>
                </a:cubicBezTo>
                <a:cubicBezTo>
                  <a:pt x="54" y="21"/>
                  <a:pt x="52" y="25"/>
                  <a:pt x="52" y="27"/>
                </a:cubicBezTo>
                <a:cubicBezTo>
                  <a:pt x="52" y="29"/>
                  <a:pt x="56" y="36"/>
                  <a:pt x="57" y="37"/>
                </a:cubicBezTo>
                <a:cubicBezTo>
                  <a:pt x="59" y="38"/>
                  <a:pt x="65" y="40"/>
                  <a:pt x="67" y="42"/>
                </a:cubicBezTo>
                <a:cubicBezTo>
                  <a:pt x="68" y="44"/>
                  <a:pt x="70" y="46"/>
                  <a:pt x="70" y="47"/>
                </a:cubicBezTo>
                <a:cubicBezTo>
                  <a:pt x="70" y="48"/>
                  <a:pt x="70" y="54"/>
                  <a:pt x="70" y="54"/>
                </a:cubicBezTo>
                <a:cubicBezTo>
                  <a:pt x="75" y="62"/>
                  <a:pt x="75" y="62"/>
                  <a:pt x="75" y="62"/>
                </a:cubicBezTo>
                <a:cubicBezTo>
                  <a:pt x="75" y="62"/>
                  <a:pt x="75" y="62"/>
                  <a:pt x="75" y="62"/>
                </a:cubicBezTo>
                <a:cubicBezTo>
                  <a:pt x="74" y="62"/>
                  <a:pt x="73" y="63"/>
                  <a:pt x="72" y="63"/>
                </a:cubicBezTo>
                <a:cubicBezTo>
                  <a:pt x="72" y="63"/>
                  <a:pt x="68" y="61"/>
                  <a:pt x="65" y="62"/>
                </a:cubicBezTo>
                <a:cubicBezTo>
                  <a:pt x="62" y="62"/>
                  <a:pt x="60" y="68"/>
                  <a:pt x="58" y="69"/>
                </a:cubicBezTo>
                <a:cubicBezTo>
                  <a:pt x="44" y="68"/>
                  <a:pt x="44" y="68"/>
                  <a:pt x="44" y="68"/>
                </a:cubicBezTo>
                <a:lnTo>
                  <a:pt x="13" y="46"/>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2" name="Freeform 195"/>
          <p:cNvSpPr>
            <a:spLocks/>
          </p:cNvSpPr>
          <p:nvPr>
            <p:custDataLst>
              <p:tags r:id="rId128"/>
            </p:custDataLst>
          </p:nvPr>
        </p:nvSpPr>
        <p:spPr bwMode="auto">
          <a:xfrm>
            <a:off x="6675512" y="3102366"/>
            <a:ext cx="152780" cy="138732"/>
          </a:xfrm>
          <a:custGeom>
            <a:avLst/>
            <a:gdLst>
              <a:gd name="T0" fmla="*/ 24373 w 51"/>
              <a:gd name="T1" fmla="*/ 125413 h 43"/>
              <a:gd name="T2" fmla="*/ 2708 w 51"/>
              <a:gd name="T3" fmla="*/ 122496 h 43"/>
              <a:gd name="T4" fmla="*/ 8124 w 51"/>
              <a:gd name="T5" fmla="*/ 110830 h 43"/>
              <a:gd name="T6" fmla="*/ 10832 w 51"/>
              <a:gd name="T7" fmla="*/ 102080 h 43"/>
              <a:gd name="T8" fmla="*/ 21665 w 51"/>
              <a:gd name="T9" fmla="*/ 78748 h 43"/>
              <a:gd name="T10" fmla="*/ 5416 w 51"/>
              <a:gd name="T11" fmla="*/ 64165 h 43"/>
              <a:gd name="T12" fmla="*/ 2708 w 51"/>
              <a:gd name="T13" fmla="*/ 43749 h 43"/>
              <a:gd name="T14" fmla="*/ 8124 w 51"/>
              <a:gd name="T15" fmla="*/ 37916 h 43"/>
              <a:gd name="T16" fmla="*/ 18957 w 51"/>
              <a:gd name="T17" fmla="*/ 32082 h 43"/>
              <a:gd name="T18" fmla="*/ 27081 w 51"/>
              <a:gd name="T19" fmla="*/ 17499 h 43"/>
              <a:gd name="T20" fmla="*/ 51454 w 51"/>
              <a:gd name="T21" fmla="*/ 11666 h 43"/>
              <a:gd name="T22" fmla="*/ 64994 w 51"/>
              <a:gd name="T23" fmla="*/ 17499 h 43"/>
              <a:gd name="T24" fmla="*/ 102908 w 51"/>
              <a:gd name="T25" fmla="*/ 8750 h 43"/>
              <a:gd name="T26" fmla="*/ 127281 w 51"/>
              <a:gd name="T27" fmla="*/ 0 h 43"/>
              <a:gd name="T28" fmla="*/ 138113 w 51"/>
              <a:gd name="T29" fmla="*/ 8750 h 43"/>
              <a:gd name="T30" fmla="*/ 116448 w 51"/>
              <a:gd name="T31" fmla="*/ 29166 h 43"/>
              <a:gd name="T32" fmla="*/ 111032 w 51"/>
              <a:gd name="T33" fmla="*/ 64165 h 43"/>
              <a:gd name="T34" fmla="*/ 102908 w 51"/>
              <a:gd name="T35" fmla="*/ 75831 h 43"/>
              <a:gd name="T36" fmla="*/ 62286 w 51"/>
              <a:gd name="T37" fmla="*/ 102080 h 43"/>
              <a:gd name="T38" fmla="*/ 24373 w 51"/>
              <a:gd name="T39" fmla="*/ 125413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 h="43">
                <a:moveTo>
                  <a:pt x="9" y="43"/>
                </a:moveTo>
                <a:cubicBezTo>
                  <a:pt x="1" y="42"/>
                  <a:pt x="1" y="42"/>
                  <a:pt x="1" y="42"/>
                </a:cubicBezTo>
                <a:cubicBezTo>
                  <a:pt x="2" y="41"/>
                  <a:pt x="2" y="40"/>
                  <a:pt x="3" y="38"/>
                </a:cubicBezTo>
                <a:cubicBezTo>
                  <a:pt x="3" y="37"/>
                  <a:pt x="4" y="36"/>
                  <a:pt x="4" y="35"/>
                </a:cubicBezTo>
                <a:cubicBezTo>
                  <a:pt x="5" y="34"/>
                  <a:pt x="8" y="29"/>
                  <a:pt x="8" y="27"/>
                </a:cubicBezTo>
                <a:cubicBezTo>
                  <a:pt x="8" y="25"/>
                  <a:pt x="6" y="22"/>
                  <a:pt x="2" y="22"/>
                </a:cubicBezTo>
                <a:cubicBezTo>
                  <a:pt x="2" y="20"/>
                  <a:pt x="0" y="17"/>
                  <a:pt x="1" y="15"/>
                </a:cubicBezTo>
                <a:cubicBezTo>
                  <a:pt x="1" y="14"/>
                  <a:pt x="3" y="13"/>
                  <a:pt x="3" y="13"/>
                </a:cubicBezTo>
                <a:cubicBezTo>
                  <a:pt x="3" y="13"/>
                  <a:pt x="6" y="12"/>
                  <a:pt x="7" y="11"/>
                </a:cubicBezTo>
                <a:cubicBezTo>
                  <a:pt x="9" y="10"/>
                  <a:pt x="10" y="8"/>
                  <a:pt x="10" y="6"/>
                </a:cubicBezTo>
                <a:cubicBezTo>
                  <a:pt x="10" y="4"/>
                  <a:pt x="17" y="4"/>
                  <a:pt x="19" y="4"/>
                </a:cubicBezTo>
                <a:cubicBezTo>
                  <a:pt x="20" y="4"/>
                  <a:pt x="23" y="5"/>
                  <a:pt x="24" y="6"/>
                </a:cubicBezTo>
                <a:cubicBezTo>
                  <a:pt x="26" y="7"/>
                  <a:pt x="35" y="4"/>
                  <a:pt x="38" y="3"/>
                </a:cubicBezTo>
                <a:cubicBezTo>
                  <a:pt x="41" y="2"/>
                  <a:pt x="45" y="0"/>
                  <a:pt x="47" y="0"/>
                </a:cubicBezTo>
                <a:cubicBezTo>
                  <a:pt x="51" y="3"/>
                  <a:pt x="51" y="3"/>
                  <a:pt x="51" y="3"/>
                </a:cubicBezTo>
                <a:cubicBezTo>
                  <a:pt x="48" y="5"/>
                  <a:pt x="45" y="9"/>
                  <a:pt x="43" y="10"/>
                </a:cubicBezTo>
                <a:cubicBezTo>
                  <a:pt x="42" y="11"/>
                  <a:pt x="42" y="20"/>
                  <a:pt x="41" y="22"/>
                </a:cubicBezTo>
                <a:cubicBezTo>
                  <a:pt x="41" y="25"/>
                  <a:pt x="39" y="26"/>
                  <a:pt x="38" y="26"/>
                </a:cubicBezTo>
                <a:cubicBezTo>
                  <a:pt x="23" y="35"/>
                  <a:pt x="23" y="35"/>
                  <a:pt x="23" y="35"/>
                </a:cubicBezTo>
                <a:lnTo>
                  <a:pt x="9" y="43"/>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3" name="Freeform 196"/>
          <p:cNvSpPr>
            <a:spLocks/>
          </p:cNvSpPr>
          <p:nvPr>
            <p:custDataLst>
              <p:tags r:id="rId129"/>
            </p:custDataLst>
          </p:nvPr>
        </p:nvSpPr>
        <p:spPr bwMode="auto">
          <a:xfrm>
            <a:off x="6663219" y="3172611"/>
            <a:ext cx="36878" cy="52683"/>
          </a:xfrm>
          <a:custGeom>
            <a:avLst/>
            <a:gdLst>
              <a:gd name="T0" fmla="*/ 0 w 12"/>
              <a:gd name="T1" fmla="*/ 41672 h 16"/>
              <a:gd name="T2" fmla="*/ 11113 w 12"/>
              <a:gd name="T3" fmla="*/ 17859 h 16"/>
              <a:gd name="T4" fmla="*/ 16669 w 12"/>
              <a:gd name="T5" fmla="*/ 2977 h 16"/>
              <a:gd name="T6" fmla="*/ 16669 w 12"/>
              <a:gd name="T7" fmla="*/ 0 h 16"/>
              <a:gd name="T8" fmla="*/ 33338 w 12"/>
              <a:gd name="T9" fmla="*/ 14883 h 16"/>
              <a:gd name="T10" fmla="*/ 22225 w 12"/>
              <a:gd name="T11" fmla="*/ 38695 h 16"/>
              <a:gd name="T12" fmla="*/ 19447 w 12"/>
              <a:gd name="T13" fmla="*/ 47625 h 16"/>
              <a:gd name="T14" fmla="*/ 8335 w 12"/>
              <a:gd name="T15" fmla="*/ 41672 h 16"/>
              <a:gd name="T16" fmla="*/ 0 w 12"/>
              <a:gd name="T17" fmla="*/ 4167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6">
                <a:moveTo>
                  <a:pt x="0" y="14"/>
                </a:moveTo>
                <a:cubicBezTo>
                  <a:pt x="2" y="10"/>
                  <a:pt x="3" y="7"/>
                  <a:pt x="4" y="6"/>
                </a:cubicBezTo>
                <a:cubicBezTo>
                  <a:pt x="5" y="4"/>
                  <a:pt x="6" y="3"/>
                  <a:pt x="6" y="1"/>
                </a:cubicBezTo>
                <a:cubicBezTo>
                  <a:pt x="6" y="1"/>
                  <a:pt x="6" y="1"/>
                  <a:pt x="6" y="0"/>
                </a:cubicBezTo>
                <a:cubicBezTo>
                  <a:pt x="10" y="0"/>
                  <a:pt x="12" y="3"/>
                  <a:pt x="12" y="5"/>
                </a:cubicBezTo>
                <a:cubicBezTo>
                  <a:pt x="12" y="7"/>
                  <a:pt x="9" y="12"/>
                  <a:pt x="8" y="13"/>
                </a:cubicBezTo>
                <a:cubicBezTo>
                  <a:pt x="8" y="14"/>
                  <a:pt x="7" y="15"/>
                  <a:pt x="7" y="16"/>
                </a:cubicBezTo>
                <a:cubicBezTo>
                  <a:pt x="3" y="14"/>
                  <a:pt x="3" y="14"/>
                  <a:pt x="3" y="14"/>
                </a:cubicBezTo>
                <a:lnTo>
                  <a:pt x="0" y="14"/>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4" name="Freeform 197"/>
          <p:cNvSpPr>
            <a:spLocks/>
          </p:cNvSpPr>
          <p:nvPr>
            <p:custDataLst>
              <p:tags r:id="rId130"/>
            </p:custDataLst>
          </p:nvPr>
        </p:nvSpPr>
        <p:spPr bwMode="auto">
          <a:xfrm>
            <a:off x="6659708" y="3216512"/>
            <a:ext cx="94829" cy="112390"/>
          </a:xfrm>
          <a:custGeom>
            <a:avLst/>
            <a:gdLst>
              <a:gd name="T0" fmla="*/ 0 w 31"/>
              <a:gd name="T1" fmla="*/ 98697 h 35"/>
              <a:gd name="T2" fmla="*/ 11061 w 31"/>
              <a:gd name="T3" fmla="*/ 43543 h 35"/>
              <a:gd name="T4" fmla="*/ 16592 w 31"/>
              <a:gd name="T5" fmla="*/ 20320 h 35"/>
              <a:gd name="T6" fmla="*/ 38715 w 31"/>
              <a:gd name="T7" fmla="*/ 23223 h 35"/>
              <a:gd name="T8" fmla="*/ 77429 w 31"/>
              <a:gd name="T9" fmla="*/ 0 h 35"/>
              <a:gd name="T10" fmla="*/ 85725 w 31"/>
              <a:gd name="T11" fmla="*/ 31931 h 35"/>
              <a:gd name="T12" fmla="*/ 85725 w 31"/>
              <a:gd name="T13" fmla="*/ 31931 h 35"/>
              <a:gd name="T14" fmla="*/ 44245 w 31"/>
              <a:gd name="T15" fmla="*/ 46446 h 35"/>
              <a:gd name="T16" fmla="*/ 60837 w 31"/>
              <a:gd name="T17" fmla="*/ 72571 h 35"/>
              <a:gd name="T18" fmla="*/ 41480 w 31"/>
              <a:gd name="T19" fmla="*/ 87086 h 35"/>
              <a:gd name="T20" fmla="*/ 22123 w 31"/>
              <a:gd name="T21" fmla="*/ 101600 h 35"/>
              <a:gd name="T22" fmla="*/ 0 w 31"/>
              <a:gd name="T23" fmla="*/ 9869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1" h="35">
                <a:moveTo>
                  <a:pt x="0" y="34"/>
                </a:moveTo>
                <a:cubicBezTo>
                  <a:pt x="4" y="15"/>
                  <a:pt x="4" y="15"/>
                  <a:pt x="4" y="15"/>
                </a:cubicBezTo>
                <a:cubicBezTo>
                  <a:pt x="4" y="13"/>
                  <a:pt x="5" y="8"/>
                  <a:pt x="6" y="7"/>
                </a:cubicBezTo>
                <a:cubicBezTo>
                  <a:pt x="14" y="8"/>
                  <a:pt x="14" y="8"/>
                  <a:pt x="14" y="8"/>
                </a:cubicBezTo>
                <a:cubicBezTo>
                  <a:pt x="28" y="0"/>
                  <a:pt x="28" y="0"/>
                  <a:pt x="28" y="0"/>
                </a:cubicBezTo>
                <a:cubicBezTo>
                  <a:pt x="31" y="11"/>
                  <a:pt x="31" y="11"/>
                  <a:pt x="31" y="11"/>
                </a:cubicBezTo>
                <a:cubicBezTo>
                  <a:pt x="31" y="11"/>
                  <a:pt x="31" y="11"/>
                  <a:pt x="31" y="11"/>
                </a:cubicBezTo>
                <a:cubicBezTo>
                  <a:pt x="28" y="12"/>
                  <a:pt x="17" y="15"/>
                  <a:pt x="16" y="16"/>
                </a:cubicBezTo>
                <a:cubicBezTo>
                  <a:pt x="15" y="16"/>
                  <a:pt x="22" y="25"/>
                  <a:pt x="22" y="25"/>
                </a:cubicBezTo>
                <a:cubicBezTo>
                  <a:pt x="22" y="25"/>
                  <a:pt x="18" y="29"/>
                  <a:pt x="15" y="30"/>
                </a:cubicBezTo>
                <a:cubicBezTo>
                  <a:pt x="13" y="30"/>
                  <a:pt x="10" y="35"/>
                  <a:pt x="8" y="35"/>
                </a:cubicBezTo>
                <a:lnTo>
                  <a:pt x="0" y="34"/>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5" name="Freeform 198"/>
          <p:cNvSpPr>
            <a:spLocks/>
          </p:cNvSpPr>
          <p:nvPr>
            <p:custDataLst>
              <p:tags r:id="rId131"/>
            </p:custDataLst>
          </p:nvPr>
        </p:nvSpPr>
        <p:spPr bwMode="auto">
          <a:xfrm>
            <a:off x="6657951" y="3246367"/>
            <a:ext cx="479414" cy="419707"/>
          </a:xfrm>
          <a:custGeom>
            <a:avLst/>
            <a:gdLst>
              <a:gd name="T0" fmla="*/ 2726 w 159"/>
              <a:gd name="T1" fmla="*/ 70045 h 130"/>
              <a:gd name="T2" fmla="*/ 24531 w 159"/>
              <a:gd name="T3" fmla="*/ 72964 h 130"/>
              <a:gd name="T4" fmla="*/ 43611 w 159"/>
              <a:gd name="T5" fmla="*/ 58371 h 130"/>
              <a:gd name="T6" fmla="*/ 62691 w 159"/>
              <a:gd name="T7" fmla="*/ 43778 h 130"/>
              <a:gd name="T8" fmla="*/ 46337 w 159"/>
              <a:gd name="T9" fmla="*/ 17511 h 130"/>
              <a:gd name="T10" fmla="*/ 87223 w 159"/>
              <a:gd name="T11" fmla="*/ 2919 h 130"/>
              <a:gd name="T12" fmla="*/ 87223 w 159"/>
              <a:gd name="T13" fmla="*/ 2919 h 130"/>
              <a:gd name="T14" fmla="*/ 89948 w 159"/>
              <a:gd name="T15" fmla="*/ 0 h 130"/>
              <a:gd name="T16" fmla="*/ 114480 w 159"/>
              <a:gd name="T17" fmla="*/ 5837 h 130"/>
              <a:gd name="T18" fmla="*/ 198977 w 159"/>
              <a:gd name="T19" fmla="*/ 70045 h 130"/>
              <a:gd name="T20" fmla="*/ 237137 w 159"/>
              <a:gd name="T21" fmla="*/ 72964 h 130"/>
              <a:gd name="T22" fmla="*/ 256217 w 159"/>
              <a:gd name="T23" fmla="*/ 81720 h 130"/>
              <a:gd name="T24" fmla="*/ 261668 w 159"/>
              <a:gd name="T25" fmla="*/ 90475 h 130"/>
              <a:gd name="T26" fmla="*/ 278022 w 159"/>
              <a:gd name="T27" fmla="*/ 87557 h 130"/>
              <a:gd name="T28" fmla="*/ 283474 w 159"/>
              <a:gd name="T29" fmla="*/ 96313 h 130"/>
              <a:gd name="T30" fmla="*/ 313457 w 159"/>
              <a:gd name="T31" fmla="*/ 134254 h 130"/>
              <a:gd name="T32" fmla="*/ 316182 w 159"/>
              <a:gd name="T33" fmla="*/ 148847 h 130"/>
              <a:gd name="T34" fmla="*/ 324360 w 159"/>
              <a:gd name="T35" fmla="*/ 178032 h 130"/>
              <a:gd name="T36" fmla="*/ 337988 w 159"/>
              <a:gd name="T37" fmla="*/ 145928 h 130"/>
              <a:gd name="T38" fmla="*/ 348891 w 159"/>
              <a:gd name="T39" fmla="*/ 157602 h 130"/>
              <a:gd name="T40" fmla="*/ 348891 w 159"/>
              <a:gd name="T41" fmla="*/ 178032 h 130"/>
              <a:gd name="T42" fmla="*/ 340714 w 159"/>
              <a:gd name="T43" fmla="*/ 183869 h 130"/>
              <a:gd name="T44" fmla="*/ 359794 w 159"/>
              <a:gd name="T45" fmla="*/ 198462 h 130"/>
              <a:gd name="T46" fmla="*/ 362520 w 159"/>
              <a:gd name="T47" fmla="*/ 198462 h 130"/>
              <a:gd name="T48" fmla="*/ 367971 w 159"/>
              <a:gd name="T49" fmla="*/ 221811 h 130"/>
              <a:gd name="T50" fmla="*/ 422485 w 159"/>
              <a:gd name="T51" fmla="*/ 224729 h 130"/>
              <a:gd name="T52" fmla="*/ 433388 w 159"/>
              <a:gd name="T53" fmla="*/ 242241 h 130"/>
              <a:gd name="T54" fmla="*/ 417034 w 159"/>
              <a:gd name="T55" fmla="*/ 291856 h 130"/>
              <a:gd name="T56" fmla="*/ 354342 w 159"/>
              <a:gd name="T57" fmla="*/ 309368 h 130"/>
              <a:gd name="T58" fmla="*/ 354342 w 159"/>
              <a:gd name="T59" fmla="*/ 309368 h 130"/>
              <a:gd name="T60" fmla="*/ 288925 w 159"/>
              <a:gd name="T61" fmla="*/ 332716 h 130"/>
              <a:gd name="T62" fmla="*/ 242588 w 159"/>
              <a:gd name="T63" fmla="*/ 379413 h 130"/>
              <a:gd name="T64" fmla="*/ 179897 w 159"/>
              <a:gd name="T65" fmla="*/ 347309 h 130"/>
              <a:gd name="T66" fmla="*/ 174445 w 159"/>
              <a:gd name="T67" fmla="*/ 367739 h 130"/>
              <a:gd name="T68" fmla="*/ 163543 w 159"/>
              <a:gd name="T69" fmla="*/ 373576 h 130"/>
              <a:gd name="T70" fmla="*/ 163543 w 159"/>
              <a:gd name="T71" fmla="*/ 367739 h 130"/>
              <a:gd name="T72" fmla="*/ 147188 w 159"/>
              <a:gd name="T73" fmla="*/ 341472 h 130"/>
              <a:gd name="T74" fmla="*/ 117206 w 159"/>
              <a:gd name="T75" fmla="*/ 288938 h 130"/>
              <a:gd name="T76" fmla="*/ 98126 w 159"/>
              <a:gd name="T77" fmla="*/ 274345 h 130"/>
              <a:gd name="T78" fmla="*/ 87223 w 159"/>
              <a:gd name="T79" fmla="*/ 245159 h 130"/>
              <a:gd name="T80" fmla="*/ 84497 w 159"/>
              <a:gd name="T81" fmla="*/ 221811 h 130"/>
              <a:gd name="T82" fmla="*/ 59966 w 159"/>
              <a:gd name="T83" fmla="*/ 189707 h 130"/>
              <a:gd name="T84" fmla="*/ 49063 w 159"/>
              <a:gd name="T85" fmla="*/ 175114 h 130"/>
              <a:gd name="T86" fmla="*/ 35434 w 159"/>
              <a:gd name="T87" fmla="*/ 143010 h 130"/>
              <a:gd name="T88" fmla="*/ 8177 w 159"/>
              <a:gd name="T89" fmla="*/ 99231 h 130"/>
              <a:gd name="T90" fmla="*/ 0 w 159"/>
              <a:gd name="T91" fmla="*/ 87557 h 130"/>
              <a:gd name="T92" fmla="*/ 2726 w 159"/>
              <a:gd name="T93" fmla="*/ 72964 h 130"/>
              <a:gd name="T94" fmla="*/ 2726 w 159"/>
              <a:gd name="T95" fmla="*/ 72964 h 130"/>
              <a:gd name="T96" fmla="*/ 2726 w 159"/>
              <a:gd name="T97" fmla="*/ 70045 h 1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9" h="130">
                <a:moveTo>
                  <a:pt x="1" y="24"/>
                </a:moveTo>
                <a:cubicBezTo>
                  <a:pt x="9" y="25"/>
                  <a:pt x="9" y="25"/>
                  <a:pt x="9" y="25"/>
                </a:cubicBezTo>
                <a:cubicBezTo>
                  <a:pt x="11" y="25"/>
                  <a:pt x="14" y="20"/>
                  <a:pt x="16" y="20"/>
                </a:cubicBezTo>
                <a:cubicBezTo>
                  <a:pt x="19" y="19"/>
                  <a:pt x="23" y="15"/>
                  <a:pt x="23" y="15"/>
                </a:cubicBezTo>
                <a:cubicBezTo>
                  <a:pt x="23" y="15"/>
                  <a:pt x="16" y="6"/>
                  <a:pt x="17" y="6"/>
                </a:cubicBezTo>
                <a:cubicBezTo>
                  <a:pt x="18" y="5"/>
                  <a:pt x="29" y="2"/>
                  <a:pt x="32" y="1"/>
                </a:cubicBezTo>
                <a:cubicBezTo>
                  <a:pt x="32" y="1"/>
                  <a:pt x="32" y="1"/>
                  <a:pt x="32" y="1"/>
                </a:cubicBezTo>
                <a:cubicBezTo>
                  <a:pt x="33" y="0"/>
                  <a:pt x="33" y="0"/>
                  <a:pt x="33" y="0"/>
                </a:cubicBezTo>
                <a:cubicBezTo>
                  <a:pt x="33" y="0"/>
                  <a:pt x="41" y="1"/>
                  <a:pt x="42" y="2"/>
                </a:cubicBezTo>
                <a:cubicBezTo>
                  <a:pt x="73" y="24"/>
                  <a:pt x="73" y="24"/>
                  <a:pt x="73" y="24"/>
                </a:cubicBezTo>
                <a:cubicBezTo>
                  <a:pt x="87" y="25"/>
                  <a:pt x="87" y="25"/>
                  <a:pt x="87" y="25"/>
                </a:cubicBezTo>
                <a:cubicBezTo>
                  <a:pt x="85" y="26"/>
                  <a:pt x="94" y="28"/>
                  <a:pt x="94" y="28"/>
                </a:cubicBezTo>
                <a:cubicBezTo>
                  <a:pt x="96" y="31"/>
                  <a:pt x="96" y="31"/>
                  <a:pt x="96" y="31"/>
                </a:cubicBezTo>
                <a:cubicBezTo>
                  <a:pt x="102" y="30"/>
                  <a:pt x="102" y="30"/>
                  <a:pt x="102" y="30"/>
                </a:cubicBezTo>
                <a:cubicBezTo>
                  <a:pt x="102" y="31"/>
                  <a:pt x="103" y="32"/>
                  <a:pt x="104" y="33"/>
                </a:cubicBezTo>
                <a:cubicBezTo>
                  <a:pt x="106" y="37"/>
                  <a:pt x="114" y="43"/>
                  <a:pt x="115" y="46"/>
                </a:cubicBezTo>
                <a:cubicBezTo>
                  <a:pt x="116" y="49"/>
                  <a:pt x="116" y="49"/>
                  <a:pt x="116" y="51"/>
                </a:cubicBezTo>
                <a:cubicBezTo>
                  <a:pt x="116" y="53"/>
                  <a:pt x="118" y="60"/>
                  <a:pt x="119" y="61"/>
                </a:cubicBezTo>
                <a:cubicBezTo>
                  <a:pt x="120" y="62"/>
                  <a:pt x="123" y="50"/>
                  <a:pt x="124" y="50"/>
                </a:cubicBezTo>
                <a:cubicBezTo>
                  <a:pt x="126" y="50"/>
                  <a:pt x="128" y="52"/>
                  <a:pt x="128" y="54"/>
                </a:cubicBezTo>
                <a:cubicBezTo>
                  <a:pt x="128" y="55"/>
                  <a:pt x="128" y="61"/>
                  <a:pt x="128" y="61"/>
                </a:cubicBezTo>
                <a:cubicBezTo>
                  <a:pt x="128" y="61"/>
                  <a:pt x="124" y="63"/>
                  <a:pt x="125" y="63"/>
                </a:cubicBezTo>
                <a:cubicBezTo>
                  <a:pt x="126" y="64"/>
                  <a:pt x="129" y="69"/>
                  <a:pt x="132" y="68"/>
                </a:cubicBezTo>
                <a:cubicBezTo>
                  <a:pt x="132" y="68"/>
                  <a:pt x="133" y="68"/>
                  <a:pt x="133" y="68"/>
                </a:cubicBezTo>
                <a:cubicBezTo>
                  <a:pt x="135" y="76"/>
                  <a:pt x="135" y="76"/>
                  <a:pt x="135" y="76"/>
                </a:cubicBezTo>
                <a:cubicBezTo>
                  <a:pt x="155" y="77"/>
                  <a:pt x="155" y="77"/>
                  <a:pt x="155" y="77"/>
                </a:cubicBezTo>
                <a:cubicBezTo>
                  <a:pt x="159" y="83"/>
                  <a:pt x="159" y="83"/>
                  <a:pt x="159" y="83"/>
                </a:cubicBezTo>
                <a:cubicBezTo>
                  <a:pt x="153" y="100"/>
                  <a:pt x="153" y="100"/>
                  <a:pt x="153" y="100"/>
                </a:cubicBezTo>
                <a:cubicBezTo>
                  <a:pt x="130" y="106"/>
                  <a:pt x="130" y="106"/>
                  <a:pt x="130" y="106"/>
                </a:cubicBezTo>
                <a:cubicBezTo>
                  <a:pt x="130" y="106"/>
                  <a:pt x="130" y="106"/>
                  <a:pt x="130" y="106"/>
                </a:cubicBezTo>
                <a:cubicBezTo>
                  <a:pt x="106" y="114"/>
                  <a:pt x="106" y="114"/>
                  <a:pt x="106" y="114"/>
                </a:cubicBezTo>
                <a:cubicBezTo>
                  <a:pt x="106" y="114"/>
                  <a:pt x="90" y="130"/>
                  <a:pt x="89" y="130"/>
                </a:cubicBezTo>
                <a:cubicBezTo>
                  <a:pt x="89" y="130"/>
                  <a:pt x="68" y="118"/>
                  <a:pt x="66" y="119"/>
                </a:cubicBezTo>
                <a:cubicBezTo>
                  <a:pt x="64" y="119"/>
                  <a:pt x="65" y="125"/>
                  <a:pt x="64" y="126"/>
                </a:cubicBezTo>
                <a:cubicBezTo>
                  <a:pt x="63" y="127"/>
                  <a:pt x="60" y="128"/>
                  <a:pt x="60" y="128"/>
                </a:cubicBezTo>
                <a:cubicBezTo>
                  <a:pt x="60" y="127"/>
                  <a:pt x="60" y="127"/>
                  <a:pt x="60" y="126"/>
                </a:cubicBezTo>
                <a:cubicBezTo>
                  <a:pt x="58" y="122"/>
                  <a:pt x="56" y="120"/>
                  <a:pt x="54" y="117"/>
                </a:cubicBezTo>
                <a:cubicBezTo>
                  <a:pt x="51" y="114"/>
                  <a:pt x="46" y="101"/>
                  <a:pt x="43" y="99"/>
                </a:cubicBezTo>
                <a:cubicBezTo>
                  <a:pt x="40" y="97"/>
                  <a:pt x="38" y="98"/>
                  <a:pt x="36" y="94"/>
                </a:cubicBezTo>
                <a:cubicBezTo>
                  <a:pt x="33" y="89"/>
                  <a:pt x="32" y="88"/>
                  <a:pt x="32" y="84"/>
                </a:cubicBezTo>
                <a:cubicBezTo>
                  <a:pt x="32" y="80"/>
                  <a:pt x="34" y="79"/>
                  <a:pt x="31" y="76"/>
                </a:cubicBezTo>
                <a:cubicBezTo>
                  <a:pt x="29" y="72"/>
                  <a:pt x="24" y="66"/>
                  <a:pt x="22" y="65"/>
                </a:cubicBezTo>
                <a:cubicBezTo>
                  <a:pt x="20" y="64"/>
                  <a:pt x="19" y="63"/>
                  <a:pt x="18" y="60"/>
                </a:cubicBezTo>
                <a:cubicBezTo>
                  <a:pt x="17" y="58"/>
                  <a:pt x="16" y="53"/>
                  <a:pt x="13" y="49"/>
                </a:cubicBezTo>
                <a:cubicBezTo>
                  <a:pt x="10" y="46"/>
                  <a:pt x="4" y="35"/>
                  <a:pt x="3" y="34"/>
                </a:cubicBezTo>
                <a:cubicBezTo>
                  <a:pt x="1" y="33"/>
                  <a:pt x="0" y="33"/>
                  <a:pt x="0" y="30"/>
                </a:cubicBezTo>
                <a:cubicBezTo>
                  <a:pt x="0" y="28"/>
                  <a:pt x="1" y="26"/>
                  <a:pt x="1" y="25"/>
                </a:cubicBezTo>
                <a:cubicBezTo>
                  <a:pt x="1" y="25"/>
                  <a:pt x="1" y="25"/>
                  <a:pt x="1" y="25"/>
                </a:cubicBezTo>
                <a:lnTo>
                  <a:pt x="1" y="24"/>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6" name="Freeform 199"/>
          <p:cNvSpPr>
            <a:spLocks/>
          </p:cNvSpPr>
          <p:nvPr>
            <p:custDataLst>
              <p:tags r:id="rId132"/>
            </p:custDataLst>
          </p:nvPr>
        </p:nvSpPr>
        <p:spPr bwMode="auto">
          <a:xfrm>
            <a:off x="6422634" y="3260416"/>
            <a:ext cx="249366" cy="266927"/>
          </a:xfrm>
          <a:custGeom>
            <a:avLst/>
            <a:gdLst>
              <a:gd name="T0" fmla="*/ 176538 w 83"/>
              <a:gd name="T1" fmla="*/ 229671 h 83"/>
              <a:gd name="T2" fmla="*/ 5432 w 83"/>
              <a:gd name="T3" fmla="*/ 229671 h 83"/>
              <a:gd name="T4" fmla="*/ 5432 w 83"/>
              <a:gd name="T5" fmla="*/ 63959 h 83"/>
              <a:gd name="T6" fmla="*/ 0 w 83"/>
              <a:gd name="T7" fmla="*/ 37794 h 83"/>
              <a:gd name="T8" fmla="*/ 10864 w 83"/>
              <a:gd name="T9" fmla="*/ 23258 h 83"/>
              <a:gd name="T10" fmla="*/ 10864 w 83"/>
              <a:gd name="T11" fmla="*/ 5814 h 83"/>
              <a:gd name="T12" fmla="*/ 38023 w 83"/>
              <a:gd name="T13" fmla="*/ 5814 h 83"/>
              <a:gd name="T14" fmla="*/ 89627 w 83"/>
              <a:gd name="T15" fmla="*/ 20351 h 83"/>
              <a:gd name="T16" fmla="*/ 119502 w 83"/>
              <a:gd name="T17" fmla="*/ 5814 h 83"/>
              <a:gd name="T18" fmla="*/ 133082 w 83"/>
              <a:gd name="T19" fmla="*/ 2907 h 83"/>
              <a:gd name="T20" fmla="*/ 149378 w 83"/>
              <a:gd name="T21" fmla="*/ 5814 h 83"/>
              <a:gd name="T22" fmla="*/ 165674 w 83"/>
              <a:gd name="T23" fmla="*/ 17443 h 83"/>
              <a:gd name="T24" fmla="*/ 192833 w 83"/>
              <a:gd name="T25" fmla="*/ 11629 h 83"/>
              <a:gd name="T26" fmla="*/ 209129 w 83"/>
              <a:gd name="T27" fmla="*/ 61052 h 83"/>
              <a:gd name="T28" fmla="*/ 209129 w 83"/>
              <a:gd name="T29" fmla="*/ 61052 h 83"/>
              <a:gd name="T30" fmla="*/ 198265 w 83"/>
              <a:gd name="T31" fmla="*/ 87217 h 83"/>
              <a:gd name="T32" fmla="*/ 187402 w 83"/>
              <a:gd name="T33" fmla="*/ 81402 h 83"/>
              <a:gd name="T34" fmla="*/ 168390 w 83"/>
              <a:gd name="T35" fmla="*/ 46516 h 83"/>
              <a:gd name="T36" fmla="*/ 157526 w 83"/>
              <a:gd name="T37" fmla="*/ 43608 h 83"/>
              <a:gd name="T38" fmla="*/ 154810 w 83"/>
              <a:gd name="T39" fmla="*/ 52330 h 83"/>
              <a:gd name="T40" fmla="*/ 176538 w 83"/>
              <a:gd name="T41" fmla="*/ 95939 h 83"/>
              <a:gd name="T42" fmla="*/ 190117 w 83"/>
              <a:gd name="T43" fmla="*/ 122104 h 83"/>
              <a:gd name="T44" fmla="*/ 222709 w 83"/>
              <a:gd name="T45" fmla="*/ 186063 h 83"/>
              <a:gd name="T46" fmla="*/ 225425 w 83"/>
              <a:gd name="T47" fmla="*/ 209320 h 83"/>
              <a:gd name="T48" fmla="*/ 211845 w 83"/>
              <a:gd name="T49" fmla="*/ 212228 h 83"/>
              <a:gd name="T50" fmla="*/ 206413 w 83"/>
              <a:gd name="T51" fmla="*/ 226764 h 83"/>
              <a:gd name="T52" fmla="*/ 190117 w 83"/>
              <a:gd name="T53" fmla="*/ 238393 h 83"/>
              <a:gd name="T54" fmla="*/ 176538 w 83"/>
              <a:gd name="T55" fmla="*/ 229671 h 8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3" h="83">
                <a:moveTo>
                  <a:pt x="65" y="79"/>
                </a:moveTo>
                <a:cubicBezTo>
                  <a:pt x="2" y="79"/>
                  <a:pt x="2" y="79"/>
                  <a:pt x="2" y="79"/>
                </a:cubicBezTo>
                <a:cubicBezTo>
                  <a:pt x="2" y="22"/>
                  <a:pt x="2" y="22"/>
                  <a:pt x="2" y="22"/>
                </a:cubicBezTo>
                <a:cubicBezTo>
                  <a:pt x="2" y="22"/>
                  <a:pt x="0" y="17"/>
                  <a:pt x="0" y="13"/>
                </a:cubicBezTo>
                <a:cubicBezTo>
                  <a:pt x="0" y="10"/>
                  <a:pt x="4" y="10"/>
                  <a:pt x="4" y="8"/>
                </a:cubicBezTo>
                <a:cubicBezTo>
                  <a:pt x="4" y="6"/>
                  <a:pt x="4" y="2"/>
                  <a:pt x="4" y="2"/>
                </a:cubicBezTo>
                <a:cubicBezTo>
                  <a:pt x="7" y="2"/>
                  <a:pt x="11" y="2"/>
                  <a:pt x="14" y="2"/>
                </a:cubicBezTo>
                <a:cubicBezTo>
                  <a:pt x="16" y="2"/>
                  <a:pt x="30" y="7"/>
                  <a:pt x="33" y="7"/>
                </a:cubicBezTo>
                <a:cubicBezTo>
                  <a:pt x="37" y="7"/>
                  <a:pt x="42" y="3"/>
                  <a:pt x="44" y="2"/>
                </a:cubicBezTo>
                <a:cubicBezTo>
                  <a:pt x="47" y="1"/>
                  <a:pt x="47" y="1"/>
                  <a:pt x="49" y="1"/>
                </a:cubicBezTo>
                <a:cubicBezTo>
                  <a:pt x="52" y="0"/>
                  <a:pt x="53" y="1"/>
                  <a:pt x="55" y="2"/>
                </a:cubicBezTo>
                <a:cubicBezTo>
                  <a:pt x="57" y="3"/>
                  <a:pt x="59" y="6"/>
                  <a:pt x="61" y="6"/>
                </a:cubicBezTo>
                <a:cubicBezTo>
                  <a:pt x="64" y="5"/>
                  <a:pt x="69" y="6"/>
                  <a:pt x="71" y="4"/>
                </a:cubicBezTo>
                <a:cubicBezTo>
                  <a:pt x="77" y="21"/>
                  <a:pt x="77" y="21"/>
                  <a:pt x="77" y="21"/>
                </a:cubicBezTo>
                <a:cubicBezTo>
                  <a:pt x="77" y="21"/>
                  <a:pt x="77" y="21"/>
                  <a:pt x="77" y="21"/>
                </a:cubicBezTo>
                <a:cubicBezTo>
                  <a:pt x="75" y="23"/>
                  <a:pt x="74" y="30"/>
                  <a:pt x="73" y="30"/>
                </a:cubicBezTo>
                <a:cubicBezTo>
                  <a:pt x="72" y="30"/>
                  <a:pt x="71" y="30"/>
                  <a:pt x="69" y="28"/>
                </a:cubicBezTo>
                <a:cubicBezTo>
                  <a:pt x="68" y="26"/>
                  <a:pt x="63" y="18"/>
                  <a:pt x="62" y="16"/>
                </a:cubicBezTo>
                <a:cubicBezTo>
                  <a:pt x="61" y="13"/>
                  <a:pt x="59" y="13"/>
                  <a:pt x="58" y="15"/>
                </a:cubicBezTo>
                <a:cubicBezTo>
                  <a:pt x="57" y="17"/>
                  <a:pt x="58" y="17"/>
                  <a:pt x="57" y="18"/>
                </a:cubicBezTo>
                <a:cubicBezTo>
                  <a:pt x="57" y="20"/>
                  <a:pt x="63" y="31"/>
                  <a:pt x="65" y="33"/>
                </a:cubicBezTo>
                <a:cubicBezTo>
                  <a:pt x="67" y="35"/>
                  <a:pt x="68" y="39"/>
                  <a:pt x="70" y="42"/>
                </a:cubicBezTo>
                <a:cubicBezTo>
                  <a:pt x="73" y="45"/>
                  <a:pt x="82" y="62"/>
                  <a:pt x="82" y="64"/>
                </a:cubicBezTo>
                <a:cubicBezTo>
                  <a:pt x="82" y="65"/>
                  <a:pt x="82" y="69"/>
                  <a:pt x="83" y="72"/>
                </a:cubicBezTo>
                <a:cubicBezTo>
                  <a:pt x="83" y="72"/>
                  <a:pt x="80" y="73"/>
                  <a:pt x="78" y="73"/>
                </a:cubicBezTo>
                <a:cubicBezTo>
                  <a:pt x="77" y="73"/>
                  <a:pt x="76" y="78"/>
                  <a:pt x="76" y="78"/>
                </a:cubicBezTo>
                <a:cubicBezTo>
                  <a:pt x="76" y="78"/>
                  <a:pt x="72" y="81"/>
                  <a:pt x="70" y="82"/>
                </a:cubicBezTo>
                <a:cubicBezTo>
                  <a:pt x="68" y="83"/>
                  <a:pt x="67" y="80"/>
                  <a:pt x="65" y="7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7" name="Freeform 200"/>
          <p:cNvSpPr>
            <a:spLocks/>
          </p:cNvSpPr>
          <p:nvPr>
            <p:custDataLst>
              <p:tags r:id="rId133"/>
            </p:custDataLst>
          </p:nvPr>
        </p:nvSpPr>
        <p:spPr bwMode="auto">
          <a:xfrm>
            <a:off x="6064390" y="3218268"/>
            <a:ext cx="370536" cy="361756"/>
          </a:xfrm>
          <a:custGeom>
            <a:avLst/>
            <a:gdLst>
              <a:gd name="T0" fmla="*/ 16340 w 123"/>
              <a:gd name="T1" fmla="*/ 154753 h 112"/>
              <a:gd name="T2" fmla="*/ 10893 w 123"/>
              <a:gd name="T3" fmla="*/ 84676 h 112"/>
              <a:gd name="T4" fmla="*/ 8170 w 123"/>
              <a:gd name="T5" fmla="*/ 72997 h 112"/>
              <a:gd name="T6" fmla="*/ 27233 w 123"/>
              <a:gd name="T7" fmla="*/ 72997 h 112"/>
              <a:gd name="T8" fmla="*/ 29956 w 123"/>
              <a:gd name="T9" fmla="*/ 43798 h 112"/>
              <a:gd name="T10" fmla="*/ 46296 w 123"/>
              <a:gd name="T11" fmla="*/ 23359 h 112"/>
              <a:gd name="T12" fmla="*/ 51742 w 123"/>
              <a:gd name="T13" fmla="*/ 0 h 112"/>
              <a:gd name="T14" fmla="*/ 51742 w 123"/>
              <a:gd name="T15" fmla="*/ 0 h 112"/>
              <a:gd name="T16" fmla="*/ 57189 w 123"/>
              <a:gd name="T17" fmla="*/ 2920 h 112"/>
              <a:gd name="T18" fmla="*/ 87145 w 123"/>
              <a:gd name="T19" fmla="*/ 8760 h 112"/>
              <a:gd name="T20" fmla="*/ 125271 w 123"/>
              <a:gd name="T21" fmla="*/ 23359 h 112"/>
              <a:gd name="T22" fmla="*/ 141610 w 123"/>
              <a:gd name="T23" fmla="*/ 46718 h 112"/>
              <a:gd name="T24" fmla="*/ 177013 w 123"/>
              <a:gd name="T25" fmla="*/ 52558 h 112"/>
              <a:gd name="T26" fmla="*/ 204246 w 123"/>
              <a:gd name="T27" fmla="*/ 72997 h 112"/>
              <a:gd name="T28" fmla="*/ 228755 w 123"/>
              <a:gd name="T29" fmla="*/ 55477 h 112"/>
              <a:gd name="T30" fmla="*/ 228755 w 123"/>
              <a:gd name="T31" fmla="*/ 29199 h 112"/>
              <a:gd name="T32" fmla="*/ 255988 w 123"/>
              <a:gd name="T33" fmla="*/ 8760 h 112"/>
              <a:gd name="T34" fmla="*/ 285944 w 123"/>
              <a:gd name="T35" fmla="*/ 11679 h 112"/>
              <a:gd name="T36" fmla="*/ 288667 w 123"/>
              <a:gd name="T37" fmla="*/ 23359 h 112"/>
              <a:gd name="T38" fmla="*/ 324070 w 123"/>
              <a:gd name="T39" fmla="*/ 32119 h 112"/>
              <a:gd name="T40" fmla="*/ 332240 w 123"/>
              <a:gd name="T41" fmla="*/ 43798 h 112"/>
              <a:gd name="T42" fmla="*/ 334963 w 123"/>
              <a:gd name="T43" fmla="*/ 43798 h 112"/>
              <a:gd name="T44" fmla="*/ 334963 w 123"/>
              <a:gd name="T45" fmla="*/ 61317 h 112"/>
              <a:gd name="T46" fmla="*/ 324070 w 123"/>
              <a:gd name="T47" fmla="*/ 75917 h 112"/>
              <a:gd name="T48" fmla="*/ 329516 w 123"/>
              <a:gd name="T49" fmla="*/ 102195 h 112"/>
              <a:gd name="T50" fmla="*/ 329516 w 123"/>
              <a:gd name="T51" fmla="*/ 268628 h 112"/>
              <a:gd name="T52" fmla="*/ 329516 w 123"/>
              <a:gd name="T53" fmla="*/ 318265 h 112"/>
              <a:gd name="T54" fmla="*/ 307730 w 123"/>
              <a:gd name="T55" fmla="*/ 318265 h 112"/>
              <a:gd name="T56" fmla="*/ 307730 w 123"/>
              <a:gd name="T57" fmla="*/ 327025 h 112"/>
              <a:gd name="T58" fmla="*/ 141610 w 123"/>
              <a:gd name="T59" fmla="*/ 236509 h 112"/>
              <a:gd name="T60" fmla="*/ 122547 w 123"/>
              <a:gd name="T61" fmla="*/ 245269 h 112"/>
              <a:gd name="T62" fmla="*/ 103485 w 123"/>
              <a:gd name="T63" fmla="*/ 256948 h 112"/>
              <a:gd name="T64" fmla="*/ 81698 w 123"/>
              <a:gd name="T65" fmla="*/ 242349 h 112"/>
              <a:gd name="T66" fmla="*/ 59912 w 123"/>
              <a:gd name="T67" fmla="*/ 233589 h 112"/>
              <a:gd name="T68" fmla="*/ 54466 w 123"/>
              <a:gd name="T69" fmla="*/ 236509 h 112"/>
              <a:gd name="T70" fmla="*/ 46296 w 123"/>
              <a:gd name="T71" fmla="*/ 213150 h 112"/>
              <a:gd name="T72" fmla="*/ 21786 w 123"/>
              <a:gd name="T73" fmla="*/ 207310 h 112"/>
              <a:gd name="T74" fmla="*/ 5447 w 123"/>
              <a:gd name="T75" fmla="*/ 175192 h 112"/>
              <a:gd name="T76" fmla="*/ 16340 w 123"/>
              <a:gd name="T77" fmla="*/ 154753 h 1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3" h="112">
                <a:moveTo>
                  <a:pt x="6" y="53"/>
                </a:moveTo>
                <a:cubicBezTo>
                  <a:pt x="6" y="51"/>
                  <a:pt x="5" y="34"/>
                  <a:pt x="4" y="29"/>
                </a:cubicBezTo>
                <a:cubicBezTo>
                  <a:pt x="4" y="28"/>
                  <a:pt x="3" y="27"/>
                  <a:pt x="3" y="25"/>
                </a:cubicBezTo>
                <a:cubicBezTo>
                  <a:pt x="6" y="25"/>
                  <a:pt x="10" y="25"/>
                  <a:pt x="10" y="25"/>
                </a:cubicBezTo>
                <a:cubicBezTo>
                  <a:pt x="11" y="24"/>
                  <a:pt x="9" y="17"/>
                  <a:pt x="11" y="15"/>
                </a:cubicBezTo>
                <a:cubicBezTo>
                  <a:pt x="12" y="14"/>
                  <a:pt x="16" y="9"/>
                  <a:pt x="17" y="8"/>
                </a:cubicBezTo>
                <a:cubicBezTo>
                  <a:pt x="19" y="6"/>
                  <a:pt x="18" y="1"/>
                  <a:pt x="19" y="0"/>
                </a:cubicBezTo>
                <a:cubicBezTo>
                  <a:pt x="19" y="0"/>
                  <a:pt x="19" y="0"/>
                  <a:pt x="19" y="0"/>
                </a:cubicBezTo>
                <a:cubicBezTo>
                  <a:pt x="20" y="1"/>
                  <a:pt x="20" y="1"/>
                  <a:pt x="21" y="1"/>
                </a:cubicBezTo>
                <a:cubicBezTo>
                  <a:pt x="23" y="3"/>
                  <a:pt x="30" y="3"/>
                  <a:pt x="32" y="3"/>
                </a:cubicBezTo>
                <a:cubicBezTo>
                  <a:pt x="35" y="3"/>
                  <a:pt x="45" y="6"/>
                  <a:pt x="46" y="8"/>
                </a:cubicBezTo>
                <a:cubicBezTo>
                  <a:pt x="48" y="9"/>
                  <a:pt x="50" y="15"/>
                  <a:pt x="52" y="16"/>
                </a:cubicBezTo>
                <a:cubicBezTo>
                  <a:pt x="54" y="17"/>
                  <a:pt x="62" y="17"/>
                  <a:pt x="65" y="18"/>
                </a:cubicBezTo>
                <a:cubicBezTo>
                  <a:pt x="68" y="20"/>
                  <a:pt x="72" y="25"/>
                  <a:pt x="75" y="25"/>
                </a:cubicBezTo>
                <a:cubicBezTo>
                  <a:pt x="78" y="25"/>
                  <a:pt x="84" y="22"/>
                  <a:pt x="84" y="19"/>
                </a:cubicBezTo>
                <a:cubicBezTo>
                  <a:pt x="84" y="16"/>
                  <a:pt x="81" y="13"/>
                  <a:pt x="84" y="10"/>
                </a:cubicBezTo>
                <a:cubicBezTo>
                  <a:pt x="86" y="7"/>
                  <a:pt x="91" y="4"/>
                  <a:pt x="94" y="3"/>
                </a:cubicBezTo>
                <a:cubicBezTo>
                  <a:pt x="97" y="3"/>
                  <a:pt x="104" y="4"/>
                  <a:pt x="105" y="4"/>
                </a:cubicBezTo>
                <a:cubicBezTo>
                  <a:pt x="106" y="5"/>
                  <a:pt x="105" y="8"/>
                  <a:pt x="106" y="8"/>
                </a:cubicBezTo>
                <a:cubicBezTo>
                  <a:pt x="108" y="8"/>
                  <a:pt x="118" y="11"/>
                  <a:pt x="119" y="11"/>
                </a:cubicBezTo>
                <a:cubicBezTo>
                  <a:pt x="121" y="11"/>
                  <a:pt x="120" y="15"/>
                  <a:pt x="122" y="15"/>
                </a:cubicBezTo>
                <a:cubicBezTo>
                  <a:pt x="122" y="15"/>
                  <a:pt x="123" y="15"/>
                  <a:pt x="123" y="15"/>
                </a:cubicBezTo>
                <a:cubicBezTo>
                  <a:pt x="123" y="15"/>
                  <a:pt x="123" y="19"/>
                  <a:pt x="123" y="21"/>
                </a:cubicBezTo>
                <a:cubicBezTo>
                  <a:pt x="123" y="23"/>
                  <a:pt x="119" y="23"/>
                  <a:pt x="119" y="26"/>
                </a:cubicBezTo>
                <a:cubicBezTo>
                  <a:pt x="119" y="30"/>
                  <a:pt x="121" y="35"/>
                  <a:pt x="121" y="35"/>
                </a:cubicBezTo>
                <a:cubicBezTo>
                  <a:pt x="121" y="92"/>
                  <a:pt x="121" y="92"/>
                  <a:pt x="121" y="92"/>
                </a:cubicBezTo>
                <a:cubicBezTo>
                  <a:pt x="121" y="109"/>
                  <a:pt x="121" y="109"/>
                  <a:pt x="121" y="109"/>
                </a:cubicBezTo>
                <a:cubicBezTo>
                  <a:pt x="113" y="109"/>
                  <a:pt x="113" y="109"/>
                  <a:pt x="113" y="109"/>
                </a:cubicBezTo>
                <a:cubicBezTo>
                  <a:pt x="113" y="112"/>
                  <a:pt x="113" y="112"/>
                  <a:pt x="113" y="112"/>
                </a:cubicBezTo>
                <a:cubicBezTo>
                  <a:pt x="52" y="81"/>
                  <a:pt x="52" y="81"/>
                  <a:pt x="52" y="81"/>
                </a:cubicBezTo>
                <a:cubicBezTo>
                  <a:pt x="45" y="84"/>
                  <a:pt x="45" y="84"/>
                  <a:pt x="45" y="84"/>
                </a:cubicBezTo>
                <a:cubicBezTo>
                  <a:pt x="38" y="88"/>
                  <a:pt x="38" y="88"/>
                  <a:pt x="38" y="88"/>
                </a:cubicBezTo>
                <a:cubicBezTo>
                  <a:pt x="30" y="83"/>
                  <a:pt x="30" y="83"/>
                  <a:pt x="30" y="83"/>
                </a:cubicBezTo>
                <a:cubicBezTo>
                  <a:pt x="22" y="80"/>
                  <a:pt x="22" y="80"/>
                  <a:pt x="22" y="80"/>
                </a:cubicBezTo>
                <a:cubicBezTo>
                  <a:pt x="22" y="80"/>
                  <a:pt x="21" y="80"/>
                  <a:pt x="20" y="81"/>
                </a:cubicBezTo>
                <a:cubicBezTo>
                  <a:pt x="17" y="73"/>
                  <a:pt x="17" y="73"/>
                  <a:pt x="17" y="73"/>
                </a:cubicBezTo>
                <a:cubicBezTo>
                  <a:pt x="16" y="72"/>
                  <a:pt x="10" y="71"/>
                  <a:pt x="8" y="71"/>
                </a:cubicBezTo>
                <a:cubicBezTo>
                  <a:pt x="7" y="70"/>
                  <a:pt x="5" y="63"/>
                  <a:pt x="2" y="60"/>
                </a:cubicBezTo>
                <a:cubicBezTo>
                  <a:pt x="0" y="58"/>
                  <a:pt x="6" y="55"/>
                  <a:pt x="6" y="5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8" name="Freeform 202"/>
          <p:cNvSpPr>
            <a:spLocks/>
          </p:cNvSpPr>
          <p:nvPr>
            <p:custDataLst>
              <p:tags r:id="rId134"/>
            </p:custDataLst>
          </p:nvPr>
        </p:nvSpPr>
        <p:spPr bwMode="auto">
          <a:xfrm>
            <a:off x="7448194" y="2933780"/>
            <a:ext cx="252878" cy="114146"/>
          </a:xfrm>
          <a:custGeom>
            <a:avLst/>
            <a:gdLst>
              <a:gd name="T0" fmla="*/ 21771 w 84"/>
              <a:gd name="T1" fmla="*/ 100322 h 36"/>
              <a:gd name="T2" fmla="*/ 0 w 84"/>
              <a:gd name="T3" fmla="*/ 100322 h 36"/>
              <a:gd name="T4" fmla="*/ 2721 w 84"/>
              <a:gd name="T5" fmla="*/ 85990 h 36"/>
              <a:gd name="T6" fmla="*/ 19050 w 84"/>
              <a:gd name="T7" fmla="*/ 83124 h 36"/>
              <a:gd name="T8" fmla="*/ 27214 w 84"/>
              <a:gd name="T9" fmla="*/ 77391 h 36"/>
              <a:gd name="T10" fmla="*/ 43543 w 84"/>
              <a:gd name="T11" fmla="*/ 77391 h 36"/>
              <a:gd name="T12" fmla="*/ 59871 w 84"/>
              <a:gd name="T13" fmla="*/ 71658 h 36"/>
              <a:gd name="T14" fmla="*/ 78921 w 84"/>
              <a:gd name="T15" fmla="*/ 63059 h 36"/>
              <a:gd name="T16" fmla="*/ 59871 w 84"/>
              <a:gd name="T17" fmla="*/ 54460 h 36"/>
              <a:gd name="T18" fmla="*/ 32657 w 84"/>
              <a:gd name="T19" fmla="*/ 51594 h 36"/>
              <a:gd name="T20" fmla="*/ 27214 w 84"/>
              <a:gd name="T21" fmla="*/ 45861 h 36"/>
              <a:gd name="T22" fmla="*/ 38100 w 84"/>
              <a:gd name="T23" fmla="*/ 34396 h 36"/>
              <a:gd name="T24" fmla="*/ 27214 w 84"/>
              <a:gd name="T25" fmla="*/ 22931 h 36"/>
              <a:gd name="T26" fmla="*/ 40821 w 84"/>
              <a:gd name="T27" fmla="*/ 8599 h 36"/>
              <a:gd name="T28" fmla="*/ 84364 w 84"/>
              <a:gd name="T29" fmla="*/ 20064 h 36"/>
              <a:gd name="T30" fmla="*/ 95250 w 84"/>
              <a:gd name="T31" fmla="*/ 0 h 36"/>
              <a:gd name="T32" fmla="*/ 127907 w 84"/>
              <a:gd name="T33" fmla="*/ 8599 h 36"/>
              <a:gd name="T34" fmla="*/ 176893 w 84"/>
              <a:gd name="T35" fmla="*/ 8599 h 36"/>
              <a:gd name="T36" fmla="*/ 209550 w 84"/>
              <a:gd name="T37" fmla="*/ 17198 h 36"/>
              <a:gd name="T38" fmla="*/ 228600 w 84"/>
              <a:gd name="T39" fmla="*/ 25797 h 36"/>
              <a:gd name="T40" fmla="*/ 225879 w 84"/>
              <a:gd name="T41" fmla="*/ 31530 h 36"/>
              <a:gd name="T42" fmla="*/ 187779 w 84"/>
              <a:gd name="T43" fmla="*/ 54460 h 36"/>
              <a:gd name="T44" fmla="*/ 157843 w 84"/>
              <a:gd name="T45" fmla="*/ 57327 h 36"/>
              <a:gd name="T46" fmla="*/ 152400 w 84"/>
              <a:gd name="T47" fmla="*/ 77391 h 36"/>
              <a:gd name="T48" fmla="*/ 136071 w 84"/>
              <a:gd name="T49" fmla="*/ 77391 h 36"/>
              <a:gd name="T50" fmla="*/ 127907 w 84"/>
              <a:gd name="T51" fmla="*/ 68792 h 36"/>
              <a:gd name="T52" fmla="*/ 92529 w 84"/>
              <a:gd name="T53" fmla="*/ 94589 h 36"/>
              <a:gd name="T54" fmla="*/ 89807 w 84"/>
              <a:gd name="T55" fmla="*/ 100322 h 36"/>
              <a:gd name="T56" fmla="*/ 89807 w 84"/>
              <a:gd name="T57" fmla="*/ 100322 h 36"/>
              <a:gd name="T58" fmla="*/ 48986 w 84"/>
              <a:gd name="T59" fmla="*/ 100322 h 36"/>
              <a:gd name="T60" fmla="*/ 21771 w 84"/>
              <a:gd name="T61" fmla="*/ 100322 h 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4" h="36">
                <a:moveTo>
                  <a:pt x="8" y="35"/>
                </a:moveTo>
                <a:cubicBezTo>
                  <a:pt x="7" y="35"/>
                  <a:pt x="0" y="36"/>
                  <a:pt x="0" y="35"/>
                </a:cubicBezTo>
                <a:cubicBezTo>
                  <a:pt x="0" y="34"/>
                  <a:pt x="0" y="32"/>
                  <a:pt x="1" y="30"/>
                </a:cubicBezTo>
                <a:cubicBezTo>
                  <a:pt x="2" y="29"/>
                  <a:pt x="6" y="29"/>
                  <a:pt x="7" y="29"/>
                </a:cubicBezTo>
                <a:cubicBezTo>
                  <a:pt x="8" y="29"/>
                  <a:pt x="9" y="28"/>
                  <a:pt x="10" y="27"/>
                </a:cubicBezTo>
                <a:cubicBezTo>
                  <a:pt x="16" y="27"/>
                  <a:pt x="16" y="27"/>
                  <a:pt x="16" y="27"/>
                </a:cubicBezTo>
                <a:cubicBezTo>
                  <a:pt x="18" y="27"/>
                  <a:pt x="21" y="26"/>
                  <a:pt x="22" y="25"/>
                </a:cubicBezTo>
                <a:cubicBezTo>
                  <a:pt x="24" y="24"/>
                  <a:pt x="29" y="24"/>
                  <a:pt x="29" y="22"/>
                </a:cubicBezTo>
                <a:cubicBezTo>
                  <a:pt x="29" y="21"/>
                  <a:pt x="24" y="19"/>
                  <a:pt x="22" y="19"/>
                </a:cubicBezTo>
                <a:cubicBezTo>
                  <a:pt x="20" y="18"/>
                  <a:pt x="14" y="19"/>
                  <a:pt x="12" y="18"/>
                </a:cubicBezTo>
                <a:cubicBezTo>
                  <a:pt x="12" y="17"/>
                  <a:pt x="10" y="16"/>
                  <a:pt x="10" y="16"/>
                </a:cubicBezTo>
                <a:cubicBezTo>
                  <a:pt x="14" y="12"/>
                  <a:pt x="14" y="12"/>
                  <a:pt x="14" y="12"/>
                </a:cubicBezTo>
                <a:cubicBezTo>
                  <a:pt x="10" y="8"/>
                  <a:pt x="10" y="8"/>
                  <a:pt x="10" y="8"/>
                </a:cubicBezTo>
                <a:cubicBezTo>
                  <a:pt x="12" y="6"/>
                  <a:pt x="14" y="3"/>
                  <a:pt x="15" y="3"/>
                </a:cubicBezTo>
                <a:cubicBezTo>
                  <a:pt x="16" y="3"/>
                  <a:pt x="30" y="7"/>
                  <a:pt x="31" y="7"/>
                </a:cubicBezTo>
                <a:cubicBezTo>
                  <a:pt x="32" y="7"/>
                  <a:pt x="32" y="0"/>
                  <a:pt x="35" y="0"/>
                </a:cubicBezTo>
                <a:cubicBezTo>
                  <a:pt x="38" y="0"/>
                  <a:pt x="45" y="3"/>
                  <a:pt x="47" y="3"/>
                </a:cubicBezTo>
                <a:cubicBezTo>
                  <a:pt x="48" y="3"/>
                  <a:pt x="61" y="3"/>
                  <a:pt x="65" y="3"/>
                </a:cubicBezTo>
                <a:cubicBezTo>
                  <a:pt x="68" y="3"/>
                  <a:pt x="76" y="5"/>
                  <a:pt x="77" y="6"/>
                </a:cubicBezTo>
                <a:cubicBezTo>
                  <a:pt x="84" y="9"/>
                  <a:pt x="84" y="9"/>
                  <a:pt x="84" y="9"/>
                </a:cubicBezTo>
                <a:cubicBezTo>
                  <a:pt x="84" y="10"/>
                  <a:pt x="84" y="10"/>
                  <a:pt x="83" y="11"/>
                </a:cubicBezTo>
                <a:cubicBezTo>
                  <a:pt x="82" y="13"/>
                  <a:pt x="72" y="18"/>
                  <a:pt x="69" y="19"/>
                </a:cubicBezTo>
                <a:cubicBezTo>
                  <a:pt x="66" y="20"/>
                  <a:pt x="60" y="20"/>
                  <a:pt x="58" y="20"/>
                </a:cubicBezTo>
                <a:cubicBezTo>
                  <a:pt x="56" y="20"/>
                  <a:pt x="58" y="26"/>
                  <a:pt x="56" y="27"/>
                </a:cubicBezTo>
                <a:cubicBezTo>
                  <a:pt x="54" y="28"/>
                  <a:pt x="51" y="28"/>
                  <a:pt x="50" y="27"/>
                </a:cubicBezTo>
                <a:cubicBezTo>
                  <a:pt x="49" y="27"/>
                  <a:pt x="49" y="24"/>
                  <a:pt x="47" y="24"/>
                </a:cubicBezTo>
                <a:cubicBezTo>
                  <a:pt x="45" y="24"/>
                  <a:pt x="36" y="31"/>
                  <a:pt x="34" y="33"/>
                </a:cubicBezTo>
                <a:cubicBezTo>
                  <a:pt x="33" y="33"/>
                  <a:pt x="33" y="34"/>
                  <a:pt x="33" y="35"/>
                </a:cubicBezTo>
                <a:cubicBezTo>
                  <a:pt x="33" y="35"/>
                  <a:pt x="33" y="35"/>
                  <a:pt x="33" y="35"/>
                </a:cubicBezTo>
                <a:cubicBezTo>
                  <a:pt x="18" y="35"/>
                  <a:pt x="18" y="35"/>
                  <a:pt x="18" y="35"/>
                </a:cubicBezTo>
                <a:cubicBezTo>
                  <a:pt x="16" y="35"/>
                  <a:pt x="10" y="35"/>
                  <a:pt x="8" y="35"/>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39" name="Freeform 203"/>
          <p:cNvSpPr>
            <a:spLocks/>
          </p:cNvSpPr>
          <p:nvPr>
            <p:custDataLst>
              <p:tags r:id="rId135"/>
            </p:custDataLst>
          </p:nvPr>
        </p:nvSpPr>
        <p:spPr bwMode="auto">
          <a:xfrm>
            <a:off x="7402536" y="3002268"/>
            <a:ext cx="175610" cy="114146"/>
          </a:xfrm>
          <a:custGeom>
            <a:avLst/>
            <a:gdLst>
              <a:gd name="T0" fmla="*/ 24216 w 59"/>
              <a:gd name="T1" fmla="*/ 70757 h 35"/>
              <a:gd name="T2" fmla="*/ 5381 w 59"/>
              <a:gd name="T3" fmla="*/ 38327 h 35"/>
              <a:gd name="T4" fmla="*/ 24216 w 59"/>
              <a:gd name="T5" fmla="*/ 26534 h 35"/>
              <a:gd name="T6" fmla="*/ 43051 w 59"/>
              <a:gd name="T7" fmla="*/ 5896 h 35"/>
              <a:gd name="T8" fmla="*/ 61886 w 59"/>
              <a:gd name="T9" fmla="*/ 0 h 35"/>
              <a:gd name="T10" fmla="*/ 69958 w 59"/>
              <a:gd name="T11" fmla="*/ 8845 h 35"/>
              <a:gd name="T12" fmla="*/ 69958 w 59"/>
              <a:gd name="T13" fmla="*/ 14741 h 35"/>
              <a:gd name="T14" fmla="*/ 61886 w 59"/>
              <a:gd name="T15" fmla="*/ 20638 h 35"/>
              <a:gd name="T16" fmla="*/ 45742 w 59"/>
              <a:gd name="T17" fmla="*/ 23586 h 35"/>
              <a:gd name="T18" fmla="*/ 43051 w 59"/>
              <a:gd name="T19" fmla="*/ 38327 h 35"/>
              <a:gd name="T20" fmla="*/ 64576 w 59"/>
              <a:gd name="T21" fmla="*/ 38327 h 35"/>
              <a:gd name="T22" fmla="*/ 91483 w 59"/>
              <a:gd name="T23" fmla="*/ 38327 h 35"/>
              <a:gd name="T24" fmla="*/ 131843 w 59"/>
              <a:gd name="T25" fmla="*/ 38327 h 35"/>
              <a:gd name="T26" fmla="*/ 131843 w 59"/>
              <a:gd name="T27" fmla="*/ 38327 h 35"/>
              <a:gd name="T28" fmla="*/ 137225 w 59"/>
              <a:gd name="T29" fmla="*/ 58965 h 35"/>
              <a:gd name="T30" fmla="*/ 156059 w 59"/>
              <a:gd name="T31" fmla="*/ 64861 h 35"/>
              <a:gd name="T32" fmla="*/ 158750 w 59"/>
              <a:gd name="T33" fmla="*/ 88447 h 35"/>
              <a:gd name="T34" fmla="*/ 142606 w 59"/>
              <a:gd name="T35" fmla="*/ 88447 h 35"/>
              <a:gd name="T36" fmla="*/ 115699 w 59"/>
              <a:gd name="T37" fmla="*/ 91395 h 35"/>
              <a:gd name="T38" fmla="*/ 91483 w 59"/>
              <a:gd name="T39" fmla="*/ 100240 h 35"/>
              <a:gd name="T40" fmla="*/ 88792 w 59"/>
              <a:gd name="T41" fmla="*/ 73706 h 35"/>
              <a:gd name="T42" fmla="*/ 72648 w 59"/>
              <a:gd name="T43" fmla="*/ 61913 h 35"/>
              <a:gd name="T44" fmla="*/ 59195 w 59"/>
              <a:gd name="T45" fmla="*/ 85499 h 35"/>
              <a:gd name="T46" fmla="*/ 21525 w 59"/>
              <a:gd name="T47" fmla="*/ 103188 h 35"/>
              <a:gd name="T48" fmla="*/ 5381 w 59"/>
              <a:gd name="T49" fmla="*/ 94343 h 35"/>
              <a:gd name="T50" fmla="*/ 16144 w 59"/>
              <a:gd name="T51" fmla="*/ 79602 h 35"/>
              <a:gd name="T52" fmla="*/ 24216 w 59"/>
              <a:gd name="T53" fmla="*/ 70757 h 3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9" h="35">
                <a:moveTo>
                  <a:pt x="9" y="24"/>
                </a:moveTo>
                <a:cubicBezTo>
                  <a:pt x="8" y="22"/>
                  <a:pt x="0" y="15"/>
                  <a:pt x="2" y="13"/>
                </a:cubicBezTo>
                <a:cubicBezTo>
                  <a:pt x="3" y="11"/>
                  <a:pt x="8" y="11"/>
                  <a:pt x="9" y="9"/>
                </a:cubicBezTo>
                <a:cubicBezTo>
                  <a:pt x="10" y="8"/>
                  <a:pt x="15" y="3"/>
                  <a:pt x="16" y="2"/>
                </a:cubicBezTo>
                <a:cubicBezTo>
                  <a:pt x="18" y="2"/>
                  <a:pt x="23" y="0"/>
                  <a:pt x="23" y="0"/>
                </a:cubicBezTo>
                <a:cubicBezTo>
                  <a:pt x="23" y="0"/>
                  <a:pt x="26" y="2"/>
                  <a:pt x="26" y="3"/>
                </a:cubicBezTo>
                <a:cubicBezTo>
                  <a:pt x="26" y="4"/>
                  <a:pt x="26" y="4"/>
                  <a:pt x="26" y="5"/>
                </a:cubicBezTo>
                <a:cubicBezTo>
                  <a:pt x="25" y="6"/>
                  <a:pt x="24" y="7"/>
                  <a:pt x="23" y="7"/>
                </a:cubicBezTo>
                <a:cubicBezTo>
                  <a:pt x="22" y="7"/>
                  <a:pt x="18" y="7"/>
                  <a:pt x="17" y="8"/>
                </a:cubicBezTo>
                <a:cubicBezTo>
                  <a:pt x="16" y="10"/>
                  <a:pt x="16" y="12"/>
                  <a:pt x="16" y="13"/>
                </a:cubicBezTo>
                <a:cubicBezTo>
                  <a:pt x="16" y="14"/>
                  <a:pt x="23" y="13"/>
                  <a:pt x="24" y="13"/>
                </a:cubicBezTo>
                <a:cubicBezTo>
                  <a:pt x="26" y="13"/>
                  <a:pt x="32" y="13"/>
                  <a:pt x="34" y="13"/>
                </a:cubicBezTo>
                <a:cubicBezTo>
                  <a:pt x="49" y="13"/>
                  <a:pt x="49" y="13"/>
                  <a:pt x="49" y="13"/>
                </a:cubicBezTo>
                <a:cubicBezTo>
                  <a:pt x="49" y="13"/>
                  <a:pt x="49" y="13"/>
                  <a:pt x="49" y="13"/>
                </a:cubicBezTo>
                <a:cubicBezTo>
                  <a:pt x="48" y="16"/>
                  <a:pt x="49" y="19"/>
                  <a:pt x="51" y="20"/>
                </a:cubicBezTo>
                <a:cubicBezTo>
                  <a:pt x="53" y="21"/>
                  <a:pt x="56" y="21"/>
                  <a:pt x="58" y="22"/>
                </a:cubicBezTo>
                <a:cubicBezTo>
                  <a:pt x="59" y="22"/>
                  <a:pt x="59" y="26"/>
                  <a:pt x="59" y="30"/>
                </a:cubicBezTo>
                <a:cubicBezTo>
                  <a:pt x="53" y="30"/>
                  <a:pt x="53" y="30"/>
                  <a:pt x="53" y="30"/>
                </a:cubicBezTo>
                <a:cubicBezTo>
                  <a:pt x="53" y="30"/>
                  <a:pt x="45" y="30"/>
                  <a:pt x="43" y="31"/>
                </a:cubicBezTo>
                <a:cubicBezTo>
                  <a:pt x="41" y="32"/>
                  <a:pt x="36" y="34"/>
                  <a:pt x="34" y="34"/>
                </a:cubicBezTo>
                <a:cubicBezTo>
                  <a:pt x="32" y="35"/>
                  <a:pt x="34" y="25"/>
                  <a:pt x="33" y="25"/>
                </a:cubicBezTo>
                <a:cubicBezTo>
                  <a:pt x="33" y="24"/>
                  <a:pt x="29" y="20"/>
                  <a:pt x="27" y="21"/>
                </a:cubicBezTo>
                <a:cubicBezTo>
                  <a:pt x="26" y="22"/>
                  <a:pt x="23" y="27"/>
                  <a:pt x="22" y="29"/>
                </a:cubicBezTo>
                <a:cubicBezTo>
                  <a:pt x="21" y="30"/>
                  <a:pt x="10" y="34"/>
                  <a:pt x="8" y="35"/>
                </a:cubicBezTo>
                <a:cubicBezTo>
                  <a:pt x="7" y="35"/>
                  <a:pt x="4" y="32"/>
                  <a:pt x="2" y="32"/>
                </a:cubicBezTo>
                <a:cubicBezTo>
                  <a:pt x="6" y="27"/>
                  <a:pt x="6" y="27"/>
                  <a:pt x="6" y="27"/>
                </a:cubicBezTo>
                <a:cubicBezTo>
                  <a:pt x="7" y="26"/>
                  <a:pt x="9" y="26"/>
                  <a:pt x="9" y="2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0" name="Freeform 204"/>
          <p:cNvSpPr>
            <a:spLocks/>
          </p:cNvSpPr>
          <p:nvPr>
            <p:custDataLst>
              <p:tags r:id="rId136"/>
            </p:custDataLst>
          </p:nvPr>
        </p:nvSpPr>
        <p:spPr bwMode="auto">
          <a:xfrm>
            <a:off x="7142634" y="2861780"/>
            <a:ext cx="393366" cy="244098"/>
          </a:xfrm>
          <a:custGeom>
            <a:avLst/>
            <a:gdLst>
              <a:gd name="T0" fmla="*/ 21716 w 131"/>
              <a:gd name="T1" fmla="*/ 116138 h 76"/>
              <a:gd name="T2" fmla="*/ 0 w 131"/>
              <a:gd name="T3" fmla="*/ 116138 h 76"/>
              <a:gd name="T4" fmla="*/ 0 w 131"/>
              <a:gd name="T5" fmla="*/ 14517 h 76"/>
              <a:gd name="T6" fmla="*/ 54290 w 131"/>
              <a:gd name="T7" fmla="*/ 0 h 76"/>
              <a:gd name="T8" fmla="*/ 48861 w 131"/>
              <a:gd name="T9" fmla="*/ 17421 h 76"/>
              <a:gd name="T10" fmla="*/ 57005 w 131"/>
              <a:gd name="T11" fmla="*/ 40648 h 76"/>
              <a:gd name="T12" fmla="*/ 78721 w 131"/>
              <a:gd name="T13" fmla="*/ 46455 h 76"/>
              <a:gd name="T14" fmla="*/ 97722 w 131"/>
              <a:gd name="T15" fmla="*/ 31938 h 76"/>
              <a:gd name="T16" fmla="*/ 111295 w 131"/>
              <a:gd name="T17" fmla="*/ 40648 h 76"/>
              <a:gd name="T18" fmla="*/ 124867 w 131"/>
              <a:gd name="T19" fmla="*/ 58069 h 76"/>
              <a:gd name="T20" fmla="*/ 190015 w 131"/>
              <a:gd name="T21" fmla="*/ 49359 h 76"/>
              <a:gd name="T22" fmla="*/ 209017 w 131"/>
              <a:gd name="T23" fmla="*/ 95814 h 76"/>
              <a:gd name="T24" fmla="*/ 222589 w 131"/>
              <a:gd name="T25" fmla="*/ 101621 h 76"/>
              <a:gd name="T26" fmla="*/ 222589 w 131"/>
              <a:gd name="T27" fmla="*/ 119042 h 76"/>
              <a:gd name="T28" fmla="*/ 260592 w 131"/>
              <a:gd name="T29" fmla="*/ 121945 h 76"/>
              <a:gd name="T30" fmla="*/ 298595 w 131"/>
              <a:gd name="T31" fmla="*/ 92911 h 76"/>
              <a:gd name="T32" fmla="*/ 304024 w 131"/>
              <a:gd name="T33" fmla="*/ 87104 h 76"/>
              <a:gd name="T34" fmla="*/ 314882 w 131"/>
              <a:gd name="T35" fmla="*/ 98718 h 76"/>
              <a:gd name="T36" fmla="*/ 304024 w 131"/>
              <a:gd name="T37" fmla="*/ 110332 h 76"/>
              <a:gd name="T38" fmla="*/ 309453 w 131"/>
              <a:gd name="T39" fmla="*/ 116138 h 76"/>
              <a:gd name="T40" fmla="*/ 336598 w 131"/>
              <a:gd name="T41" fmla="*/ 119042 h 76"/>
              <a:gd name="T42" fmla="*/ 355600 w 131"/>
              <a:gd name="T43" fmla="*/ 127752 h 76"/>
              <a:gd name="T44" fmla="*/ 336598 w 131"/>
              <a:gd name="T45" fmla="*/ 136463 h 76"/>
              <a:gd name="T46" fmla="*/ 320311 w 131"/>
              <a:gd name="T47" fmla="*/ 142270 h 76"/>
              <a:gd name="T48" fmla="*/ 304024 w 131"/>
              <a:gd name="T49" fmla="*/ 142270 h 76"/>
              <a:gd name="T50" fmla="*/ 304024 w 131"/>
              <a:gd name="T51" fmla="*/ 136463 h 76"/>
              <a:gd name="T52" fmla="*/ 295881 w 131"/>
              <a:gd name="T53" fmla="*/ 127752 h 76"/>
              <a:gd name="T54" fmla="*/ 276879 w 131"/>
              <a:gd name="T55" fmla="*/ 133559 h 76"/>
              <a:gd name="T56" fmla="*/ 257878 w 131"/>
              <a:gd name="T57" fmla="*/ 153883 h 76"/>
              <a:gd name="T58" fmla="*/ 238876 w 131"/>
              <a:gd name="T59" fmla="*/ 165497 h 76"/>
              <a:gd name="T60" fmla="*/ 257878 w 131"/>
              <a:gd name="T61" fmla="*/ 197435 h 76"/>
              <a:gd name="T62" fmla="*/ 249734 w 131"/>
              <a:gd name="T63" fmla="*/ 206146 h 76"/>
              <a:gd name="T64" fmla="*/ 238876 w 131"/>
              <a:gd name="T65" fmla="*/ 220663 h 76"/>
              <a:gd name="T66" fmla="*/ 217160 w 131"/>
              <a:gd name="T67" fmla="*/ 220663 h 76"/>
              <a:gd name="T68" fmla="*/ 219875 w 131"/>
              <a:gd name="T69" fmla="*/ 203242 h 76"/>
              <a:gd name="T70" fmla="*/ 135725 w 131"/>
              <a:gd name="T71" fmla="*/ 150980 h 76"/>
              <a:gd name="T72" fmla="*/ 119438 w 131"/>
              <a:gd name="T73" fmla="*/ 119042 h 76"/>
              <a:gd name="T74" fmla="*/ 86864 w 131"/>
              <a:gd name="T75" fmla="*/ 116138 h 76"/>
              <a:gd name="T76" fmla="*/ 81435 w 131"/>
              <a:gd name="T77" fmla="*/ 92911 h 76"/>
              <a:gd name="T78" fmla="*/ 54290 w 131"/>
              <a:gd name="T79" fmla="*/ 78393 h 76"/>
              <a:gd name="T80" fmla="*/ 29860 w 131"/>
              <a:gd name="T81" fmla="*/ 90007 h 76"/>
              <a:gd name="T82" fmla="*/ 21716 w 131"/>
              <a:gd name="T83" fmla="*/ 116138 h 7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31" h="76">
                <a:moveTo>
                  <a:pt x="8" y="40"/>
                </a:moveTo>
                <a:cubicBezTo>
                  <a:pt x="7" y="40"/>
                  <a:pt x="3" y="40"/>
                  <a:pt x="0" y="40"/>
                </a:cubicBezTo>
                <a:cubicBezTo>
                  <a:pt x="0" y="5"/>
                  <a:pt x="0" y="5"/>
                  <a:pt x="0" y="5"/>
                </a:cubicBezTo>
                <a:cubicBezTo>
                  <a:pt x="20" y="0"/>
                  <a:pt x="20" y="0"/>
                  <a:pt x="20" y="0"/>
                </a:cubicBezTo>
                <a:cubicBezTo>
                  <a:pt x="19" y="2"/>
                  <a:pt x="19" y="4"/>
                  <a:pt x="18" y="6"/>
                </a:cubicBezTo>
                <a:cubicBezTo>
                  <a:pt x="16" y="10"/>
                  <a:pt x="19" y="13"/>
                  <a:pt x="21" y="14"/>
                </a:cubicBezTo>
                <a:cubicBezTo>
                  <a:pt x="21" y="14"/>
                  <a:pt x="26" y="16"/>
                  <a:pt x="29" y="16"/>
                </a:cubicBezTo>
                <a:cubicBezTo>
                  <a:pt x="31" y="16"/>
                  <a:pt x="33" y="14"/>
                  <a:pt x="36" y="11"/>
                </a:cubicBezTo>
                <a:cubicBezTo>
                  <a:pt x="41" y="14"/>
                  <a:pt x="41" y="14"/>
                  <a:pt x="41" y="14"/>
                </a:cubicBezTo>
                <a:cubicBezTo>
                  <a:pt x="41" y="14"/>
                  <a:pt x="45" y="20"/>
                  <a:pt x="46" y="20"/>
                </a:cubicBezTo>
                <a:cubicBezTo>
                  <a:pt x="47" y="20"/>
                  <a:pt x="69" y="17"/>
                  <a:pt x="70" y="17"/>
                </a:cubicBezTo>
                <a:cubicBezTo>
                  <a:pt x="71" y="18"/>
                  <a:pt x="77" y="32"/>
                  <a:pt x="77" y="33"/>
                </a:cubicBezTo>
                <a:cubicBezTo>
                  <a:pt x="76" y="34"/>
                  <a:pt x="81" y="35"/>
                  <a:pt x="82" y="35"/>
                </a:cubicBezTo>
                <a:cubicBezTo>
                  <a:pt x="82" y="35"/>
                  <a:pt x="81" y="41"/>
                  <a:pt x="82" y="41"/>
                </a:cubicBezTo>
                <a:cubicBezTo>
                  <a:pt x="83" y="41"/>
                  <a:pt x="95" y="42"/>
                  <a:pt x="96" y="42"/>
                </a:cubicBezTo>
                <a:cubicBezTo>
                  <a:pt x="97" y="42"/>
                  <a:pt x="108" y="33"/>
                  <a:pt x="110" y="32"/>
                </a:cubicBezTo>
                <a:cubicBezTo>
                  <a:pt x="111" y="31"/>
                  <a:pt x="111" y="31"/>
                  <a:pt x="112" y="30"/>
                </a:cubicBezTo>
                <a:cubicBezTo>
                  <a:pt x="116" y="34"/>
                  <a:pt x="116" y="34"/>
                  <a:pt x="116" y="34"/>
                </a:cubicBezTo>
                <a:cubicBezTo>
                  <a:pt x="112" y="38"/>
                  <a:pt x="112" y="38"/>
                  <a:pt x="112" y="38"/>
                </a:cubicBezTo>
                <a:cubicBezTo>
                  <a:pt x="112" y="38"/>
                  <a:pt x="114" y="39"/>
                  <a:pt x="114" y="40"/>
                </a:cubicBezTo>
                <a:cubicBezTo>
                  <a:pt x="116" y="41"/>
                  <a:pt x="122" y="40"/>
                  <a:pt x="124" y="41"/>
                </a:cubicBezTo>
                <a:cubicBezTo>
                  <a:pt x="126" y="41"/>
                  <a:pt x="131" y="43"/>
                  <a:pt x="131" y="44"/>
                </a:cubicBezTo>
                <a:cubicBezTo>
                  <a:pt x="131" y="46"/>
                  <a:pt x="126" y="46"/>
                  <a:pt x="124" y="47"/>
                </a:cubicBezTo>
                <a:cubicBezTo>
                  <a:pt x="123" y="48"/>
                  <a:pt x="120" y="49"/>
                  <a:pt x="118" y="49"/>
                </a:cubicBezTo>
                <a:cubicBezTo>
                  <a:pt x="112" y="49"/>
                  <a:pt x="112" y="49"/>
                  <a:pt x="112" y="49"/>
                </a:cubicBezTo>
                <a:cubicBezTo>
                  <a:pt x="112" y="48"/>
                  <a:pt x="112" y="48"/>
                  <a:pt x="112" y="47"/>
                </a:cubicBezTo>
                <a:cubicBezTo>
                  <a:pt x="112" y="46"/>
                  <a:pt x="109" y="44"/>
                  <a:pt x="109" y="44"/>
                </a:cubicBezTo>
                <a:cubicBezTo>
                  <a:pt x="109" y="44"/>
                  <a:pt x="104" y="46"/>
                  <a:pt x="102" y="46"/>
                </a:cubicBezTo>
                <a:cubicBezTo>
                  <a:pt x="101" y="47"/>
                  <a:pt x="96" y="52"/>
                  <a:pt x="95" y="53"/>
                </a:cubicBezTo>
                <a:cubicBezTo>
                  <a:pt x="94" y="55"/>
                  <a:pt x="89" y="55"/>
                  <a:pt x="88" y="57"/>
                </a:cubicBezTo>
                <a:cubicBezTo>
                  <a:pt x="86" y="59"/>
                  <a:pt x="94" y="66"/>
                  <a:pt x="95" y="68"/>
                </a:cubicBezTo>
                <a:cubicBezTo>
                  <a:pt x="95" y="70"/>
                  <a:pt x="93" y="70"/>
                  <a:pt x="92" y="71"/>
                </a:cubicBezTo>
                <a:cubicBezTo>
                  <a:pt x="88" y="76"/>
                  <a:pt x="88" y="76"/>
                  <a:pt x="88" y="76"/>
                </a:cubicBezTo>
                <a:cubicBezTo>
                  <a:pt x="88" y="76"/>
                  <a:pt x="84" y="76"/>
                  <a:pt x="80" y="76"/>
                </a:cubicBezTo>
                <a:cubicBezTo>
                  <a:pt x="81" y="70"/>
                  <a:pt x="81" y="70"/>
                  <a:pt x="81" y="70"/>
                </a:cubicBezTo>
                <a:cubicBezTo>
                  <a:pt x="80" y="69"/>
                  <a:pt x="51" y="52"/>
                  <a:pt x="50" y="52"/>
                </a:cubicBezTo>
                <a:cubicBezTo>
                  <a:pt x="48" y="51"/>
                  <a:pt x="46" y="42"/>
                  <a:pt x="44" y="41"/>
                </a:cubicBezTo>
                <a:cubicBezTo>
                  <a:pt x="42" y="40"/>
                  <a:pt x="34" y="40"/>
                  <a:pt x="32" y="40"/>
                </a:cubicBezTo>
                <a:cubicBezTo>
                  <a:pt x="31" y="39"/>
                  <a:pt x="31" y="32"/>
                  <a:pt x="30" y="32"/>
                </a:cubicBezTo>
                <a:cubicBezTo>
                  <a:pt x="29" y="31"/>
                  <a:pt x="22" y="27"/>
                  <a:pt x="20" y="27"/>
                </a:cubicBezTo>
                <a:cubicBezTo>
                  <a:pt x="19" y="27"/>
                  <a:pt x="15" y="30"/>
                  <a:pt x="11" y="31"/>
                </a:cubicBezTo>
                <a:cubicBezTo>
                  <a:pt x="7" y="32"/>
                  <a:pt x="9" y="40"/>
                  <a:pt x="8" y="4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1" name="Freeform 205"/>
          <p:cNvSpPr>
            <a:spLocks/>
          </p:cNvSpPr>
          <p:nvPr>
            <p:custDataLst>
              <p:tags r:id="rId137"/>
            </p:custDataLst>
          </p:nvPr>
        </p:nvSpPr>
        <p:spPr bwMode="auto">
          <a:xfrm>
            <a:off x="7060097" y="2947829"/>
            <a:ext cx="324878" cy="216000"/>
          </a:xfrm>
          <a:custGeom>
            <a:avLst/>
            <a:gdLst>
              <a:gd name="T0" fmla="*/ 16316 w 108"/>
              <a:gd name="T1" fmla="*/ 14572 h 67"/>
              <a:gd name="T2" fmla="*/ 43509 w 108"/>
              <a:gd name="T3" fmla="*/ 14572 h 67"/>
              <a:gd name="T4" fmla="*/ 62545 w 108"/>
              <a:gd name="T5" fmla="*/ 37887 h 67"/>
              <a:gd name="T6" fmla="*/ 73422 w 108"/>
              <a:gd name="T7" fmla="*/ 37887 h 67"/>
              <a:gd name="T8" fmla="*/ 95177 w 108"/>
              <a:gd name="T9" fmla="*/ 37887 h 67"/>
              <a:gd name="T10" fmla="*/ 103335 w 108"/>
              <a:gd name="T11" fmla="*/ 11657 h 67"/>
              <a:gd name="T12" fmla="*/ 127809 w 108"/>
              <a:gd name="T13" fmla="*/ 0 h 67"/>
              <a:gd name="T14" fmla="*/ 155002 w 108"/>
              <a:gd name="T15" fmla="*/ 14572 h 67"/>
              <a:gd name="T16" fmla="*/ 160441 w 108"/>
              <a:gd name="T17" fmla="*/ 37887 h 67"/>
              <a:gd name="T18" fmla="*/ 193073 w 108"/>
              <a:gd name="T19" fmla="*/ 40801 h 67"/>
              <a:gd name="T20" fmla="*/ 209389 w 108"/>
              <a:gd name="T21" fmla="*/ 72859 h 67"/>
              <a:gd name="T22" fmla="*/ 293688 w 108"/>
              <a:gd name="T23" fmla="*/ 125318 h 67"/>
              <a:gd name="T24" fmla="*/ 290969 w 108"/>
              <a:gd name="T25" fmla="*/ 142804 h 67"/>
              <a:gd name="T26" fmla="*/ 258337 w 108"/>
              <a:gd name="T27" fmla="*/ 145719 h 67"/>
              <a:gd name="T28" fmla="*/ 244740 w 108"/>
              <a:gd name="T29" fmla="*/ 171948 h 67"/>
              <a:gd name="T30" fmla="*/ 217547 w 108"/>
              <a:gd name="T31" fmla="*/ 192349 h 67"/>
              <a:gd name="T32" fmla="*/ 198511 w 108"/>
              <a:gd name="T33" fmla="*/ 189434 h 67"/>
              <a:gd name="T34" fmla="*/ 182195 w 108"/>
              <a:gd name="T35" fmla="*/ 186520 h 67"/>
              <a:gd name="T36" fmla="*/ 182195 w 108"/>
              <a:gd name="T37" fmla="*/ 160291 h 67"/>
              <a:gd name="T38" fmla="*/ 160441 w 108"/>
              <a:gd name="T39" fmla="*/ 157376 h 67"/>
              <a:gd name="T40" fmla="*/ 135967 w 108"/>
              <a:gd name="T41" fmla="*/ 136976 h 67"/>
              <a:gd name="T42" fmla="*/ 100615 w 108"/>
              <a:gd name="T43" fmla="*/ 122404 h 67"/>
              <a:gd name="T44" fmla="*/ 67983 w 108"/>
              <a:gd name="T45" fmla="*/ 122404 h 67"/>
              <a:gd name="T46" fmla="*/ 46229 w 108"/>
              <a:gd name="T47" fmla="*/ 139890 h 67"/>
              <a:gd name="T48" fmla="*/ 29913 w 108"/>
              <a:gd name="T49" fmla="*/ 139890 h 67"/>
              <a:gd name="T50" fmla="*/ 29913 w 108"/>
              <a:gd name="T51" fmla="*/ 99089 h 67"/>
              <a:gd name="T52" fmla="*/ 8158 w 108"/>
              <a:gd name="T53" fmla="*/ 72859 h 67"/>
              <a:gd name="T54" fmla="*/ 8158 w 108"/>
              <a:gd name="T55" fmla="*/ 43716 h 67"/>
              <a:gd name="T56" fmla="*/ 0 w 108"/>
              <a:gd name="T57" fmla="*/ 23315 h 67"/>
              <a:gd name="T58" fmla="*/ 16316 w 108"/>
              <a:gd name="T59" fmla="*/ 14572 h 6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08" h="67">
                <a:moveTo>
                  <a:pt x="6" y="5"/>
                </a:moveTo>
                <a:cubicBezTo>
                  <a:pt x="8" y="4"/>
                  <a:pt x="13" y="3"/>
                  <a:pt x="16" y="5"/>
                </a:cubicBezTo>
                <a:cubicBezTo>
                  <a:pt x="18" y="7"/>
                  <a:pt x="22" y="12"/>
                  <a:pt x="23" y="13"/>
                </a:cubicBezTo>
                <a:cubicBezTo>
                  <a:pt x="24" y="13"/>
                  <a:pt x="25" y="13"/>
                  <a:pt x="27" y="13"/>
                </a:cubicBezTo>
                <a:cubicBezTo>
                  <a:pt x="30" y="13"/>
                  <a:pt x="34" y="13"/>
                  <a:pt x="35" y="13"/>
                </a:cubicBezTo>
                <a:cubicBezTo>
                  <a:pt x="36" y="13"/>
                  <a:pt x="34" y="5"/>
                  <a:pt x="38" y="4"/>
                </a:cubicBezTo>
                <a:cubicBezTo>
                  <a:pt x="42" y="3"/>
                  <a:pt x="46" y="0"/>
                  <a:pt x="47" y="0"/>
                </a:cubicBezTo>
                <a:cubicBezTo>
                  <a:pt x="49" y="0"/>
                  <a:pt x="56" y="4"/>
                  <a:pt x="57" y="5"/>
                </a:cubicBezTo>
                <a:cubicBezTo>
                  <a:pt x="58" y="5"/>
                  <a:pt x="58" y="12"/>
                  <a:pt x="59" y="13"/>
                </a:cubicBezTo>
                <a:cubicBezTo>
                  <a:pt x="61" y="13"/>
                  <a:pt x="69" y="13"/>
                  <a:pt x="71" y="14"/>
                </a:cubicBezTo>
                <a:cubicBezTo>
                  <a:pt x="73" y="15"/>
                  <a:pt x="75" y="24"/>
                  <a:pt x="77" y="25"/>
                </a:cubicBezTo>
                <a:cubicBezTo>
                  <a:pt x="78" y="25"/>
                  <a:pt x="107" y="42"/>
                  <a:pt x="108" y="43"/>
                </a:cubicBezTo>
                <a:cubicBezTo>
                  <a:pt x="107" y="49"/>
                  <a:pt x="107" y="49"/>
                  <a:pt x="107" y="49"/>
                </a:cubicBezTo>
                <a:cubicBezTo>
                  <a:pt x="102" y="49"/>
                  <a:pt x="96" y="49"/>
                  <a:pt x="95" y="50"/>
                </a:cubicBezTo>
                <a:cubicBezTo>
                  <a:pt x="92" y="51"/>
                  <a:pt x="92" y="58"/>
                  <a:pt x="90" y="59"/>
                </a:cubicBezTo>
                <a:cubicBezTo>
                  <a:pt x="88" y="60"/>
                  <a:pt x="83" y="64"/>
                  <a:pt x="80" y="66"/>
                </a:cubicBezTo>
                <a:cubicBezTo>
                  <a:pt x="77" y="67"/>
                  <a:pt x="75" y="65"/>
                  <a:pt x="73" y="65"/>
                </a:cubicBezTo>
                <a:cubicBezTo>
                  <a:pt x="67" y="64"/>
                  <a:pt x="67" y="64"/>
                  <a:pt x="67" y="64"/>
                </a:cubicBezTo>
                <a:cubicBezTo>
                  <a:pt x="67" y="59"/>
                  <a:pt x="67" y="55"/>
                  <a:pt x="67" y="55"/>
                </a:cubicBezTo>
                <a:cubicBezTo>
                  <a:pt x="65" y="55"/>
                  <a:pt x="61" y="55"/>
                  <a:pt x="59" y="54"/>
                </a:cubicBezTo>
                <a:cubicBezTo>
                  <a:pt x="58" y="53"/>
                  <a:pt x="52" y="47"/>
                  <a:pt x="50" y="47"/>
                </a:cubicBezTo>
                <a:cubicBezTo>
                  <a:pt x="48" y="46"/>
                  <a:pt x="41" y="43"/>
                  <a:pt x="37" y="42"/>
                </a:cubicBezTo>
                <a:cubicBezTo>
                  <a:pt x="34" y="41"/>
                  <a:pt x="28" y="42"/>
                  <a:pt x="25" y="42"/>
                </a:cubicBezTo>
                <a:cubicBezTo>
                  <a:pt x="21" y="42"/>
                  <a:pt x="18" y="47"/>
                  <a:pt x="17" y="48"/>
                </a:cubicBezTo>
                <a:cubicBezTo>
                  <a:pt x="17" y="48"/>
                  <a:pt x="15" y="48"/>
                  <a:pt x="11" y="48"/>
                </a:cubicBezTo>
                <a:cubicBezTo>
                  <a:pt x="11" y="43"/>
                  <a:pt x="11" y="35"/>
                  <a:pt x="11" y="34"/>
                </a:cubicBezTo>
                <a:cubicBezTo>
                  <a:pt x="11" y="32"/>
                  <a:pt x="3" y="27"/>
                  <a:pt x="3" y="25"/>
                </a:cubicBezTo>
                <a:cubicBezTo>
                  <a:pt x="1" y="22"/>
                  <a:pt x="3" y="17"/>
                  <a:pt x="3" y="15"/>
                </a:cubicBezTo>
                <a:cubicBezTo>
                  <a:pt x="3" y="13"/>
                  <a:pt x="1" y="10"/>
                  <a:pt x="0" y="8"/>
                </a:cubicBezTo>
                <a:lnTo>
                  <a:pt x="6" y="5"/>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2" name="Freeform 206"/>
          <p:cNvSpPr>
            <a:spLocks/>
          </p:cNvSpPr>
          <p:nvPr>
            <p:custDataLst>
              <p:tags r:id="rId138"/>
            </p:custDataLst>
          </p:nvPr>
        </p:nvSpPr>
        <p:spPr bwMode="auto">
          <a:xfrm>
            <a:off x="6921365" y="2545684"/>
            <a:ext cx="941268" cy="449561"/>
          </a:xfrm>
          <a:custGeom>
            <a:avLst/>
            <a:gdLst>
              <a:gd name="T0" fmla="*/ 8182 w 312"/>
              <a:gd name="T1" fmla="*/ 165463 h 140"/>
              <a:gd name="T2" fmla="*/ 40909 w 312"/>
              <a:gd name="T3" fmla="*/ 168366 h 140"/>
              <a:gd name="T4" fmla="*/ 51818 w 312"/>
              <a:gd name="T5" fmla="*/ 139337 h 140"/>
              <a:gd name="T6" fmla="*/ 144544 w 312"/>
              <a:gd name="T7" fmla="*/ 116114 h 140"/>
              <a:gd name="T8" fmla="*/ 196362 w 312"/>
              <a:gd name="T9" fmla="*/ 145143 h 140"/>
              <a:gd name="T10" fmla="*/ 245452 w 312"/>
              <a:gd name="T11" fmla="*/ 127726 h 140"/>
              <a:gd name="T12" fmla="*/ 286361 w 312"/>
              <a:gd name="T13" fmla="*/ 139337 h 140"/>
              <a:gd name="T14" fmla="*/ 316360 w 312"/>
              <a:gd name="T15" fmla="*/ 119017 h 140"/>
              <a:gd name="T16" fmla="*/ 305451 w 312"/>
              <a:gd name="T17" fmla="*/ 89989 h 140"/>
              <a:gd name="T18" fmla="*/ 310906 w 312"/>
              <a:gd name="T19" fmla="*/ 43543 h 140"/>
              <a:gd name="T20" fmla="*/ 411814 w 312"/>
              <a:gd name="T21" fmla="*/ 23223 h 140"/>
              <a:gd name="T22" fmla="*/ 474540 w 312"/>
              <a:gd name="T23" fmla="*/ 0 h 140"/>
              <a:gd name="T24" fmla="*/ 515449 w 312"/>
              <a:gd name="T25" fmla="*/ 34834 h 140"/>
              <a:gd name="T26" fmla="*/ 564539 w 312"/>
              <a:gd name="T27" fmla="*/ 58057 h 140"/>
              <a:gd name="T28" fmla="*/ 629993 w 312"/>
              <a:gd name="T29" fmla="*/ 31931 h 140"/>
              <a:gd name="T30" fmla="*/ 698174 w 312"/>
              <a:gd name="T31" fmla="*/ 133531 h 140"/>
              <a:gd name="T32" fmla="*/ 739083 w 312"/>
              <a:gd name="T33" fmla="*/ 133531 h 140"/>
              <a:gd name="T34" fmla="*/ 801810 w 312"/>
              <a:gd name="T35" fmla="*/ 165463 h 140"/>
              <a:gd name="T36" fmla="*/ 839991 w 312"/>
              <a:gd name="T37" fmla="*/ 171269 h 140"/>
              <a:gd name="T38" fmla="*/ 834537 w 312"/>
              <a:gd name="T39" fmla="*/ 200297 h 140"/>
              <a:gd name="T40" fmla="*/ 812719 w 312"/>
              <a:gd name="T41" fmla="*/ 243840 h 140"/>
              <a:gd name="T42" fmla="*/ 744538 w 312"/>
              <a:gd name="T43" fmla="*/ 287383 h 140"/>
              <a:gd name="T44" fmla="*/ 711811 w 312"/>
              <a:gd name="T45" fmla="*/ 345440 h 140"/>
              <a:gd name="T46" fmla="*/ 687265 w 312"/>
              <a:gd name="T47" fmla="*/ 365760 h 140"/>
              <a:gd name="T48" fmla="*/ 605448 w 312"/>
              <a:gd name="T49" fmla="*/ 357051 h 140"/>
              <a:gd name="T50" fmla="*/ 561812 w 312"/>
              <a:gd name="T51" fmla="*/ 368663 h 140"/>
              <a:gd name="T52" fmla="*/ 504540 w 312"/>
              <a:gd name="T53" fmla="*/ 371566 h 140"/>
              <a:gd name="T54" fmla="*/ 460904 w 312"/>
              <a:gd name="T55" fmla="*/ 406400 h 140"/>
              <a:gd name="T56" fmla="*/ 422723 w 312"/>
              <a:gd name="T57" fmla="*/ 386080 h 140"/>
              <a:gd name="T58" fmla="*/ 389996 w 312"/>
              <a:gd name="T59" fmla="*/ 333829 h 140"/>
              <a:gd name="T60" fmla="*/ 310906 w 312"/>
              <a:gd name="T61" fmla="*/ 325120 h 140"/>
              <a:gd name="T62" fmla="*/ 299997 w 312"/>
              <a:gd name="T63" fmla="*/ 298994 h 140"/>
              <a:gd name="T64" fmla="*/ 308179 w 312"/>
              <a:gd name="T65" fmla="*/ 267063 h 140"/>
              <a:gd name="T66" fmla="*/ 280906 w 312"/>
              <a:gd name="T67" fmla="*/ 264160 h 140"/>
              <a:gd name="T68" fmla="*/ 253634 w 312"/>
              <a:gd name="T69" fmla="*/ 284480 h 140"/>
              <a:gd name="T70" fmla="*/ 199089 w 312"/>
              <a:gd name="T71" fmla="*/ 400594 h 140"/>
              <a:gd name="T72" fmla="*/ 169089 w 312"/>
              <a:gd name="T73" fmla="*/ 377371 h 140"/>
              <a:gd name="T74" fmla="*/ 125453 w 312"/>
              <a:gd name="T75" fmla="*/ 386080 h 140"/>
              <a:gd name="T76" fmla="*/ 128180 w 312"/>
              <a:gd name="T77" fmla="*/ 362857 h 140"/>
              <a:gd name="T78" fmla="*/ 100908 w 312"/>
              <a:gd name="T79" fmla="*/ 354149 h 140"/>
              <a:gd name="T80" fmla="*/ 84545 w 312"/>
              <a:gd name="T81" fmla="*/ 328023 h 140"/>
              <a:gd name="T82" fmla="*/ 100908 w 312"/>
              <a:gd name="T83" fmla="*/ 313509 h 140"/>
              <a:gd name="T84" fmla="*/ 100908 w 312"/>
              <a:gd name="T85" fmla="*/ 290286 h 140"/>
              <a:gd name="T86" fmla="*/ 136362 w 312"/>
              <a:gd name="T87" fmla="*/ 272869 h 140"/>
              <a:gd name="T88" fmla="*/ 100908 w 312"/>
              <a:gd name="T89" fmla="*/ 246743 h 140"/>
              <a:gd name="T90" fmla="*/ 59999 w 312"/>
              <a:gd name="T91" fmla="*/ 269966 h 140"/>
              <a:gd name="T92" fmla="*/ 46363 w 312"/>
              <a:gd name="T93" fmla="*/ 235131 h 140"/>
              <a:gd name="T94" fmla="*/ 0 w 312"/>
              <a:gd name="T95" fmla="*/ 206103 h 1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2" h="140">
                <a:moveTo>
                  <a:pt x="0" y="71"/>
                </a:moveTo>
                <a:cubicBezTo>
                  <a:pt x="0" y="71"/>
                  <a:pt x="3" y="58"/>
                  <a:pt x="3" y="57"/>
                </a:cubicBezTo>
                <a:cubicBezTo>
                  <a:pt x="3" y="55"/>
                  <a:pt x="7" y="52"/>
                  <a:pt x="8" y="51"/>
                </a:cubicBezTo>
                <a:cubicBezTo>
                  <a:pt x="9" y="50"/>
                  <a:pt x="14" y="58"/>
                  <a:pt x="15" y="58"/>
                </a:cubicBezTo>
                <a:cubicBezTo>
                  <a:pt x="16" y="58"/>
                  <a:pt x="19" y="55"/>
                  <a:pt x="20" y="54"/>
                </a:cubicBezTo>
                <a:cubicBezTo>
                  <a:pt x="21" y="54"/>
                  <a:pt x="18" y="48"/>
                  <a:pt x="19" y="48"/>
                </a:cubicBezTo>
                <a:cubicBezTo>
                  <a:pt x="21" y="47"/>
                  <a:pt x="33" y="38"/>
                  <a:pt x="34" y="38"/>
                </a:cubicBezTo>
                <a:cubicBezTo>
                  <a:pt x="36" y="38"/>
                  <a:pt x="52" y="39"/>
                  <a:pt x="53" y="40"/>
                </a:cubicBezTo>
                <a:cubicBezTo>
                  <a:pt x="54" y="40"/>
                  <a:pt x="61" y="48"/>
                  <a:pt x="63" y="48"/>
                </a:cubicBezTo>
                <a:cubicBezTo>
                  <a:pt x="64" y="48"/>
                  <a:pt x="71" y="51"/>
                  <a:pt x="72" y="50"/>
                </a:cubicBezTo>
                <a:cubicBezTo>
                  <a:pt x="73" y="49"/>
                  <a:pt x="76" y="45"/>
                  <a:pt x="79" y="45"/>
                </a:cubicBezTo>
                <a:cubicBezTo>
                  <a:pt x="82" y="44"/>
                  <a:pt x="88" y="44"/>
                  <a:pt x="90" y="44"/>
                </a:cubicBezTo>
                <a:cubicBezTo>
                  <a:pt x="91" y="44"/>
                  <a:pt x="98" y="49"/>
                  <a:pt x="100" y="49"/>
                </a:cubicBezTo>
                <a:cubicBezTo>
                  <a:pt x="102" y="49"/>
                  <a:pt x="104" y="48"/>
                  <a:pt x="105" y="48"/>
                </a:cubicBezTo>
                <a:cubicBezTo>
                  <a:pt x="107" y="48"/>
                  <a:pt x="113" y="48"/>
                  <a:pt x="114" y="47"/>
                </a:cubicBezTo>
                <a:cubicBezTo>
                  <a:pt x="116" y="46"/>
                  <a:pt x="116" y="42"/>
                  <a:pt x="116" y="41"/>
                </a:cubicBezTo>
                <a:cubicBezTo>
                  <a:pt x="116" y="40"/>
                  <a:pt x="104" y="37"/>
                  <a:pt x="105" y="35"/>
                </a:cubicBezTo>
                <a:cubicBezTo>
                  <a:pt x="106" y="34"/>
                  <a:pt x="111" y="33"/>
                  <a:pt x="112" y="31"/>
                </a:cubicBezTo>
                <a:cubicBezTo>
                  <a:pt x="112" y="29"/>
                  <a:pt x="110" y="26"/>
                  <a:pt x="110" y="25"/>
                </a:cubicBezTo>
                <a:cubicBezTo>
                  <a:pt x="111" y="25"/>
                  <a:pt x="113" y="15"/>
                  <a:pt x="114" y="15"/>
                </a:cubicBezTo>
                <a:cubicBezTo>
                  <a:pt x="115" y="14"/>
                  <a:pt x="119" y="15"/>
                  <a:pt x="122" y="14"/>
                </a:cubicBezTo>
                <a:cubicBezTo>
                  <a:pt x="125" y="14"/>
                  <a:pt x="148" y="8"/>
                  <a:pt x="151" y="8"/>
                </a:cubicBezTo>
                <a:cubicBezTo>
                  <a:pt x="154" y="7"/>
                  <a:pt x="165" y="4"/>
                  <a:pt x="167" y="3"/>
                </a:cubicBezTo>
                <a:cubicBezTo>
                  <a:pt x="168" y="2"/>
                  <a:pt x="172" y="0"/>
                  <a:pt x="174" y="0"/>
                </a:cubicBezTo>
                <a:cubicBezTo>
                  <a:pt x="175" y="0"/>
                  <a:pt x="185" y="0"/>
                  <a:pt x="186" y="1"/>
                </a:cubicBezTo>
                <a:cubicBezTo>
                  <a:pt x="187" y="2"/>
                  <a:pt x="188" y="11"/>
                  <a:pt x="189" y="12"/>
                </a:cubicBezTo>
                <a:cubicBezTo>
                  <a:pt x="190" y="13"/>
                  <a:pt x="205" y="13"/>
                  <a:pt x="206" y="14"/>
                </a:cubicBezTo>
                <a:cubicBezTo>
                  <a:pt x="206" y="15"/>
                  <a:pt x="205" y="20"/>
                  <a:pt x="207" y="20"/>
                </a:cubicBezTo>
                <a:cubicBezTo>
                  <a:pt x="209" y="20"/>
                  <a:pt x="214" y="18"/>
                  <a:pt x="217" y="17"/>
                </a:cubicBezTo>
                <a:cubicBezTo>
                  <a:pt x="220" y="16"/>
                  <a:pt x="229" y="11"/>
                  <a:pt x="231" y="11"/>
                </a:cubicBezTo>
                <a:cubicBezTo>
                  <a:pt x="232" y="11"/>
                  <a:pt x="234" y="15"/>
                  <a:pt x="235" y="18"/>
                </a:cubicBezTo>
                <a:cubicBezTo>
                  <a:pt x="237" y="20"/>
                  <a:pt x="256" y="46"/>
                  <a:pt x="256" y="46"/>
                </a:cubicBezTo>
                <a:cubicBezTo>
                  <a:pt x="256" y="46"/>
                  <a:pt x="263" y="43"/>
                  <a:pt x="264" y="43"/>
                </a:cubicBezTo>
                <a:cubicBezTo>
                  <a:pt x="266" y="43"/>
                  <a:pt x="267" y="44"/>
                  <a:pt x="271" y="46"/>
                </a:cubicBezTo>
                <a:cubicBezTo>
                  <a:pt x="275" y="48"/>
                  <a:pt x="281" y="45"/>
                  <a:pt x="284" y="46"/>
                </a:cubicBezTo>
                <a:cubicBezTo>
                  <a:pt x="287" y="47"/>
                  <a:pt x="292" y="54"/>
                  <a:pt x="294" y="57"/>
                </a:cubicBezTo>
                <a:cubicBezTo>
                  <a:pt x="297" y="59"/>
                  <a:pt x="299" y="60"/>
                  <a:pt x="302" y="59"/>
                </a:cubicBezTo>
                <a:cubicBezTo>
                  <a:pt x="305" y="59"/>
                  <a:pt x="306" y="57"/>
                  <a:pt x="308" y="59"/>
                </a:cubicBezTo>
                <a:cubicBezTo>
                  <a:pt x="309" y="60"/>
                  <a:pt x="311" y="61"/>
                  <a:pt x="312" y="62"/>
                </a:cubicBezTo>
                <a:cubicBezTo>
                  <a:pt x="306" y="69"/>
                  <a:pt x="306" y="69"/>
                  <a:pt x="306" y="69"/>
                </a:cubicBezTo>
                <a:cubicBezTo>
                  <a:pt x="305" y="70"/>
                  <a:pt x="303" y="70"/>
                  <a:pt x="301" y="71"/>
                </a:cubicBezTo>
                <a:cubicBezTo>
                  <a:pt x="299" y="72"/>
                  <a:pt x="301" y="82"/>
                  <a:pt x="298" y="84"/>
                </a:cubicBezTo>
                <a:cubicBezTo>
                  <a:pt x="295" y="85"/>
                  <a:pt x="281" y="82"/>
                  <a:pt x="281" y="82"/>
                </a:cubicBezTo>
                <a:cubicBezTo>
                  <a:pt x="281" y="82"/>
                  <a:pt x="275" y="99"/>
                  <a:pt x="273" y="99"/>
                </a:cubicBezTo>
                <a:cubicBezTo>
                  <a:pt x="272" y="99"/>
                  <a:pt x="258" y="103"/>
                  <a:pt x="258" y="103"/>
                </a:cubicBezTo>
                <a:cubicBezTo>
                  <a:pt x="258" y="103"/>
                  <a:pt x="261" y="118"/>
                  <a:pt x="261" y="119"/>
                </a:cubicBezTo>
                <a:cubicBezTo>
                  <a:pt x="261" y="120"/>
                  <a:pt x="260" y="125"/>
                  <a:pt x="259" y="129"/>
                </a:cubicBezTo>
                <a:cubicBezTo>
                  <a:pt x="252" y="126"/>
                  <a:pt x="252" y="126"/>
                  <a:pt x="252" y="126"/>
                </a:cubicBezTo>
                <a:cubicBezTo>
                  <a:pt x="251" y="125"/>
                  <a:pt x="243" y="123"/>
                  <a:pt x="240" y="123"/>
                </a:cubicBezTo>
                <a:cubicBezTo>
                  <a:pt x="236" y="123"/>
                  <a:pt x="223" y="123"/>
                  <a:pt x="222" y="123"/>
                </a:cubicBezTo>
                <a:cubicBezTo>
                  <a:pt x="220" y="123"/>
                  <a:pt x="213" y="120"/>
                  <a:pt x="210" y="120"/>
                </a:cubicBezTo>
                <a:cubicBezTo>
                  <a:pt x="207" y="120"/>
                  <a:pt x="207" y="127"/>
                  <a:pt x="206" y="127"/>
                </a:cubicBezTo>
                <a:cubicBezTo>
                  <a:pt x="205" y="127"/>
                  <a:pt x="191" y="123"/>
                  <a:pt x="190" y="123"/>
                </a:cubicBezTo>
                <a:cubicBezTo>
                  <a:pt x="189" y="123"/>
                  <a:pt x="187" y="126"/>
                  <a:pt x="185" y="128"/>
                </a:cubicBezTo>
                <a:cubicBezTo>
                  <a:pt x="184" y="129"/>
                  <a:pt x="184" y="129"/>
                  <a:pt x="183" y="130"/>
                </a:cubicBezTo>
                <a:cubicBezTo>
                  <a:pt x="181" y="131"/>
                  <a:pt x="170" y="140"/>
                  <a:pt x="169" y="140"/>
                </a:cubicBezTo>
                <a:cubicBezTo>
                  <a:pt x="168" y="140"/>
                  <a:pt x="156" y="139"/>
                  <a:pt x="155" y="139"/>
                </a:cubicBezTo>
                <a:cubicBezTo>
                  <a:pt x="154" y="139"/>
                  <a:pt x="155" y="133"/>
                  <a:pt x="155" y="133"/>
                </a:cubicBezTo>
                <a:cubicBezTo>
                  <a:pt x="154" y="133"/>
                  <a:pt x="149" y="132"/>
                  <a:pt x="150" y="131"/>
                </a:cubicBezTo>
                <a:cubicBezTo>
                  <a:pt x="150" y="130"/>
                  <a:pt x="144" y="116"/>
                  <a:pt x="143" y="115"/>
                </a:cubicBezTo>
                <a:cubicBezTo>
                  <a:pt x="142" y="115"/>
                  <a:pt x="120" y="118"/>
                  <a:pt x="119" y="118"/>
                </a:cubicBezTo>
                <a:cubicBezTo>
                  <a:pt x="118" y="118"/>
                  <a:pt x="114" y="112"/>
                  <a:pt x="114" y="112"/>
                </a:cubicBezTo>
                <a:cubicBezTo>
                  <a:pt x="109" y="109"/>
                  <a:pt x="109" y="109"/>
                  <a:pt x="109" y="109"/>
                </a:cubicBezTo>
                <a:cubicBezTo>
                  <a:pt x="112" y="106"/>
                  <a:pt x="110" y="106"/>
                  <a:pt x="110" y="103"/>
                </a:cubicBezTo>
                <a:cubicBezTo>
                  <a:pt x="110" y="100"/>
                  <a:pt x="108" y="98"/>
                  <a:pt x="108" y="96"/>
                </a:cubicBezTo>
                <a:cubicBezTo>
                  <a:pt x="108" y="93"/>
                  <a:pt x="111" y="94"/>
                  <a:pt x="113" y="92"/>
                </a:cubicBezTo>
                <a:cubicBezTo>
                  <a:pt x="115" y="90"/>
                  <a:pt x="110" y="89"/>
                  <a:pt x="108" y="88"/>
                </a:cubicBezTo>
                <a:cubicBezTo>
                  <a:pt x="107" y="88"/>
                  <a:pt x="104" y="89"/>
                  <a:pt x="103" y="91"/>
                </a:cubicBezTo>
                <a:cubicBezTo>
                  <a:pt x="102" y="92"/>
                  <a:pt x="99" y="94"/>
                  <a:pt x="97" y="94"/>
                </a:cubicBezTo>
                <a:cubicBezTo>
                  <a:pt x="95" y="94"/>
                  <a:pt x="94" y="96"/>
                  <a:pt x="93" y="98"/>
                </a:cubicBezTo>
                <a:cubicBezTo>
                  <a:pt x="73" y="103"/>
                  <a:pt x="73" y="103"/>
                  <a:pt x="73" y="103"/>
                </a:cubicBezTo>
                <a:cubicBezTo>
                  <a:pt x="73" y="138"/>
                  <a:pt x="73" y="138"/>
                  <a:pt x="73" y="138"/>
                </a:cubicBezTo>
                <a:cubicBezTo>
                  <a:pt x="71" y="138"/>
                  <a:pt x="70" y="138"/>
                  <a:pt x="69" y="138"/>
                </a:cubicBezTo>
                <a:cubicBezTo>
                  <a:pt x="68" y="137"/>
                  <a:pt x="64" y="132"/>
                  <a:pt x="62" y="130"/>
                </a:cubicBezTo>
                <a:cubicBezTo>
                  <a:pt x="59" y="128"/>
                  <a:pt x="54" y="129"/>
                  <a:pt x="52" y="130"/>
                </a:cubicBezTo>
                <a:cubicBezTo>
                  <a:pt x="46" y="133"/>
                  <a:pt x="46" y="133"/>
                  <a:pt x="46" y="133"/>
                </a:cubicBezTo>
                <a:cubicBezTo>
                  <a:pt x="46" y="133"/>
                  <a:pt x="46" y="132"/>
                  <a:pt x="45" y="132"/>
                </a:cubicBezTo>
                <a:cubicBezTo>
                  <a:pt x="45" y="130"/>
                  <a:pt x="47" y="126"/>
                  <a:pt x="47" y="125"/>
                </a:cubicBezTo>
                <a:cubicBezTo>
                  <a:pt x="47" y="125"/>
                  <a:pt x="44" y="121"/>
                  <a:pt x="41" y="121"/>
                </a:cubicBezTo>
                <a:cubicBezTo>
                  <a:pt x="39" y="121"/>
                  <a:pt x="38" y="123"/>
                  <a:pt x="37" y="122"/>
                </a:cubicBezTo>
                <a:cubicBezTo>
                  <a:pt x="36" y="120"/>
                  <a:pt x="39" y="119"/>
                  <a:pt x="37" y="117"/>
                </a:cubicBezTo>
                <a:cubicBezTo>
                  <a:pt x="35" y="115"/>
                  <a:pt x="33" y="114"/>
                  <a:pt x="31" y="113"/>
                </a:cubicBezTo>
                <a:cubicBezTo>
                  <a:pt x="29" y="111"/>
                  <a:pt x="30" y="111"/>
                  <a:pt x="29" y="109"/>
                </a:cubicBezTo>
                <a:cubicBezTo>
                  <a:pt x="29" y="107"/>
                  <a:pt x="36" y="109"/>
                  <a:pt x="37" y="108"/>
                </a:cubicBezTo>
                <a:cubicBezTo>
                  <a:pt x="38" y="108"/>
                  <a:pt x="35" y="105"/>
                  <a:pt x="34" y="104"/>
                </a:cubicBezTo>
                <a:cubicBezTo>
                  <a:pt x="33" y="102"/>
                  <a:pt x="36" y="101"/>
                  <a:pt x="37" y="100"/>
                </a:cubicBezTo>
                <a:cubicBezTo>
                  <a:pt x="39" y="99"/>
                  <a:pt x="47" y="99"/>
                  <a:pt x="48" y="99"/>
                </a:cubicBezTo>
                <a:cubicBezTo>
                  <a:pt x="49" y="99"/>
                  <a:pt x="49" y="95"/>
                  <a:pt x="50" y="94"/>
                </a:cubicBezTo>
                <a:cubicBezTo>
                  <a:pt x="50" y="92"/>
                  <a:pt x="50" y="88"/>
                  <a:pt x="48" y="87"/>
                </a:cubicBezTo>
                <a:cubicBezTo>
                  <a:pt x="47" y="85"/>
                  <a:pt x="39" y="85"/>
                  <a:pt x="37" y="85"/>
                </a:cubicBezTo>
                <a:cubicBezTo>
                  <a:pt x="35" y="85"/>
                  <a:pt x="28" y="88"/>
                  <a:pt x="27" y="90"/>
                </a:cubicBezTo>
                <a:cubicBezTo>
                  <a:pt x="26" y="91"/>
                  <a:pt x="24" y="92"/>
                  <a:pt x="22" y="93"/>
                </a:cubicBezTo>
                <a:cubicBezTo>
                  <a:pt x="17" y="87"/>
                  <a:pt x="17" y="87"/>
                  <a:pt x="17" y="87"/>
                </a:cubicBezTo>
                <a:cubicBezTo>
                  <a:pt x="18" y="86"/>
                  <a:pt x="18" y="83"/>
                  <a:pt x="17" y="81"/>
                </a:cubicBezTo>
                <a:cubicBezTo>
                  <a:pt x="15" y="79"/>
                  <a:pt x="9" y="78"/>
                  <a:pt x="7" y="77"/>
                </a:cubicBezTo>
                <a:cubicBezTo>
                  <a:pt x="5" y="76"/>
                  <a:pt x="0" y="71"/>
                  <a:pt x="0" y="7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3" name="Freeform 218"/>
          <p:cNvSpPr>
            <a:spLocks/>
          </p:cNvSpPr>
          <p:nvPr>
            <p:custDataLst>
              <p:tags r:id="rId139"/>
            </p:custDataLst>
          </p:nvPr>
        </p:nvSpPr>
        <p:spPr bwMode="auto">
          <a:xfrm>
            <a:off x="6387512" y="2519342"/>
            <a:ext cx="217756" cy="163317"/>
          </a:xfrm>
          <a:custGeom>
            <a:avLst/>
            <a:gdLst>
              <a:gd name="T0" fmla="*/ 13483 w 73"/>
              <a:gd name="T1" fmla="*/ 124479 h 51"/>
              <a:gd name="T2" fmla="*/ 0 w 73"/>
              <a:gd name="T3" fmla="*/ 115795 h 51"/>
              <a:gd name="T4" fmla="*/ 16179 w 73"/>
              <a:gd name="T5" fmla="*/ 92636 h 51"/>
              <a:gd name="T6" fmla="*/ 8090 w 73"/>
              <a:gd name="T7" fmla="*/ 66582 h 51"/>
              <a:gd name="T8" fmla="*/ 35055 w 73"/>
              <a:gd name="T9" fmla="*/ 63687 h 51"/>
              <a:gd name="T10" fmla="*/ 51235 w 73"/>
              <a:gd name="T11" fmla="*/ 52108 h 51"/>
              <a:gd name="T12" fmla="*/ 56628 w 73"/>
              <a:gd name="T13" fmla="*/ 37633 h 51"/>
              <a:gd name="T14" fmla="*/ 70111 w 73"/>
              <a:gd name="T15" fmla="*/ 31843 h 51"/>
              <a:gd name="T16" fmla="*/ 72808 w 73"/>
              <a:gd name="T17" fmla="*/ 14474 h 51"/>
              <a:gd name="T18" fmla="*/ 102470 w 73"/>
              <a:gd name="T19" fmla="*/ 0 h 51"/>
              <a:gd name="T20" fmla="*/ 129436 w 73"/>
              <a:gd name="T21" fmla="*/ 5790 h 51"/>
              <a:gd name="T22" fmla="*/ 159098 w 73"/>
              <a:gd name="T23" fmla="*/ 14474 h 51"/>
              <a:gd name="T24" fmla="*/ 159098 w 73"/>
              <a:gd name="T25" fmla="*/ 37633 h 51"/>
              <a:gd name="T26" fmla="*/ 175277 w 73"/>
              <a:gd name="T27" fmla="*/ 60792 h 51"/>
              <a:gd name="T28" fmla="*/ 194153 w 73"/>
              <a:gd name="T29" fmla="*/ 86846 h 51"/>
              <a:gd name="T30" fmla="*/ 169884 w 73"/>
              <a:gd name="T31" fmla="*/ 92636 h 51"/>
              <a:gd name="T32" fmla="*/ 175277 w 73"/>
              <a:gd name="T33" fmla="*/ 118689 h 51"/>
              <a:gd name="T34" fmla="*/ 161795 w 73"/>
              <a:gd name="T35" fmla="*/ 124479 h 51"/>
              <a:gd name="T36" fmla="*/ 153705 w 73"/>
              <a:gd name="T37" fmla="*/ 144743 h 51"/>
              <a:gd name="T38" fmla="*/ 129436 w 73"/>
              <a:gd name="T39" fmla="*/ 141848 h 51"/>
              <a:gd name="T40" fmla="*/ 94380 w 73"/>
              <a:gd name="T41" fmla="*/ 133164 h 51"/>
              <a:gd name="T42" fmla="*/ 53932 w 73"/>
              <a:gd name="T43" fmla="*/ 124479 h 51"/>
              <a:gd name="T44" fmla="*/ 32359 w 73"/>
              <a:gd name="T45" fmla="*/ 130269 h 51"/>
              <a:gd name="T46" fmla="*/ 10786 w 73"/>
              <a:gd name="T47" fmla="*/ 138953 h 51"/>
              <a:gd name="T48" fmla="*/ 10786 w 73"/>
              <a:gd name="T49" fmla="*/ 138953 h 51"/>
              <a:gd name="T50" fmla="*/ 13483 w 73"/>
              <a:gd name="T51" fmla="*/ 124479 h 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3" h="51">
                <a:moveTo>
                  <a:pt x="5" y="43"/>
                </a:moveTo>
                <a:cubicBezTo>
                  <a:pt x="3" y="42"/>
                  <a:pt x="0" y="41"/>
                  <a:pt x="0" y="40"/>
                </a:cubicBezTo>
                <a:cubicBezTo>
                  <a:pt x="0" y="39"/>
                  <a:pt x="6" y="34"/>
                  <a:pt x="6" y="32"/>
                </a:cubicBezTo>
                <a:cubicBezTo>
                  <a:pt x="6" y="31"/>
                  <a:pt x="4" y="26"/>
                  <a:pt x="3" y="23"/>
                </a:cubicBezTo>
                <a:cubicBezTo>
                  <a:pt x="3" y="23"/>
                  <a:pt x="11" y="23"/>
                  <a:pt x="13" y="22"/>
                </a:cubicBezTo>
                <a:cubicBezTo>
                  <a:pt x="14" y="20"/>
                  <a:pt x="18" y="19"/>
                  <a:pt x="19" y="18"/>
                </a:cubicBezTo>
                <a:cubicBezTo>
                  <a:pt x="20" y="17"/>
                  <a:pt x="21" y="13"/>
                  <a:pt x="21" y="13"/>
                </a:cubicBezTo>
                <a:cubicBezTo>
                  <a:pt x="26" y="11"/>
                  <a:pt x="26" y="11"/>
                  <a:pt x="26" y="11"/>
                </a:cubicBezTo>
                <a:cubicBezTo>
                  <a:pt x="27" y="5"/>
                  <a:pt x="27" y="5"/>
                  <a:pt x="27" y="5"/>
                </a:cubicBezTo>
                <a:cubicBezTo>
                  <a:pt x="29" y="5"/>
                  <a:pt x="38" y="0"/>
                  <a:pt x="38" y="0"/>
                </a:cubicBezTo>
                <a:cubicBezTo>
                  <a:pt x="40" y="0"/>
                  <a:pt x="45" y="1"/>
                  <a:pt x="48" y="2"/>
                </a:cubicBezTo>
                <a:cubicBezTo>
                  <a:pt x="51" y="3"/>
                  <a:pt x="57" y="3"/>
                  <a:pt x="59" y="5"/>
                </a:cubicBezTo>
                <a:cubicBezTo>
                  <a:pt x="61" y="7"/>
                  <a:pt x="59" y="11"/>
                  <a:pt x="59" y="13"/>
                </a:cubicBezTo>
                <a:cubicBezTo>
                  <a:pt x="59" y="15"/>
                  <a:pt x="63" y="18"/>
                  <a:pt x="65" y="21"/>
                </a:cubicBezTo>
                <a:cubicBezTo>
                  <a:pt x="67" y="23"/>
                  <a:pt x="73" y="28"/>
                  <a:pt x="72" y="30"/>
                </a:cubicBezTo>
                <a:cubicBezTo>
                  <a:pt x="72" y="32"/>
                  <a:pt x="63" y="30"/>
                  <a:pt x="63" y="32"/>
                </a:cubicBezTo>
                <a:cubicBezTo>
                  <a:pt x="62" y="33"/>
                  <a:pt x="65" y="41"/>
                  <a:pt x="65" y="41"/>
                </a:cubicBezTo>
                <a:cubicBezTo>
                  <a:pt x="63" y="42"/>
                  <a:pt x="61" y="43"/>
                  <a:pt x="60" y="43"/>
                </a:cubicBezTo>
                <a:cubicBezTo>
                  <a:pt x="59" y="44"/>
                  <a:pt x="59" y="49"/>
                  <a:pt x="57" y="50"/>
                </a:cubicBezTo>
                <a:cubicBezTo>
                  <a:pt x="56" y="51"/>
                  <a:pt x="51" y="50"/>
                  <a:pt x="48" y="49"/>
                </a:cubicBezTo>
                <a:cubicBezTo>
                  <a:pt x="45" y="49"/>
                  <a:pt x="38" y="47"/>
                  <a:pt x="35" y="46"/>
                </a:cubicBezTo>
                <a:cubicBezTo>
                  <a:pt x="33" y="46"/>
                  <a:pt x="23" y="43"/>
                  <a:pt x="20" y="43"/>
                </a:cubicBezTo>
                <a:cubicBezTo>
                  <a:pt x="17" y="43"/>
                  <a:pt x="14" y="44"/>
                  <a:pt x="12" y="45"/>
                </a:cubicBezTo>
                <a:cubicBezTo>
                  <a:pt x="4" y="48"/>
                  <a:pt x="4" y="48"/>
                  <a:pt x="4" y="48"/>
                </a:cubicBezTo>
                <a:cubicBezTo>
                  <a:pt x="4" y="48"/>
                  <a:pt x="4" y="48"/>
                  <a:pt x="4" y="48"/>
                </a:cubicBezTo>
                <a:cubicBezTo>
                  <a:pt x="5" y="46"/>
                  <a:pt x="6" y="45"/>
                  <a:pt x="5" y="43"/>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4" name="Freeform 207"/>
          <p:cNvSpPr>
            <a:spLocks/>
          </p:cNvSpPr>
          <p:nvPr>
            <p:custDataLst>
              <p:tags r:id="rId140"/>
            </p:custDataLst>
          </p:nvPr>
        </p:nvSpPr>
        <p:spPr bwMode="auto">
          <a:xfrm>
            <a:off x="9968194" y="1904707"/>
            <a:ext cx="89561" cy="36878"/>
          </a:xfrm>
          <a:custGeom>
            <a:avLst/>
            <a:gdLst>
              <a:gd name="T0" fmla="*/ 80963 w 30"/>
              <a:gd name="T1" fmla="*/ 13891 h 12"/>
              <a:gd name="T2" fmla="*/ 64770 w 30"/>
              <a:gd name="T3" fmla="*/ 27782 h 12"/>
              <a:gd name="T4" fmla="*/ 21590 w 30"/>
              <a:gd name="T5" fmla="*/ 30560 h 12"/>
              <a:gd name="T6" fmla="*/ 0 w 30"/>
              <a:gd name="T7" fmla="*/ 27782 h 12"/>
              <a:gd name="T8" fmla="*/ 32385 w 30"/>
              <a:gd name="T9" fmla="*/ 5556 h 12"/>
              <a:gd name="T10" fmla="*/ 80963 w 30"/>
              <a:gd name="T11" fmla="*/ 13891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2">
                <a:moveTo>
                  <a:pt x="30" y="5"/>
                </a:moveTo>
                <a:cubicBezTo>
                  <a:pt x="30" y="8"/>
                  <a:pt x="27" y="10"/>
                  <a:pt x="24" y="10"/>
                </a:cubicBezTo>
                <a:cubicBezTo>
                  <a:pt x="22" y="11"/>
                  <a:pt x="13" y="11"/>
                  <a:pt x="8" y="11"/>
                </a:cubicBezTo>
                <a:cubicBezTo>
                  <a:pt x="4" y="11"/>
                  <a:pt x="0" y="12"/>
                  <a:pt x="0" y="10"/>
                </a:cubicBezTo>
                <a:cubicBezTo>
                  <a:pt x="0" y="8"/>
                  <a:pt x="9" y="3"/>
                  <a:pt x="12" y="2"/>
                </a:cubicBezTo>
                <a:cubicBezTo>
                  <a:pt x="16" y="0"/>
                  <a:pt x="30" y="3"/>
                  <a:pt x="30" y="5"/>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5" name="Freeform 208"/>
          <p:cNvSpPr>
            <a:spLocks/>
          </p:cNvSpPr>
          <p:nvPr>
            <p:custDataLst>
              <p:tags r:id="rId141"/>
            </p:custDataLst>
          </p:nvPr>
        </p:nvSpPr>
        <p:spPr bwMode="auto">
          <a:xfrm>
            <a:off x="9227120" y="1716805"/>
            <a:ext cx="108878" cy="35122"/>
          </a:xfrm>
          <a:custGeom>
            <a:avLst/>
            <a:gdLst>
              <a:gd name="T0" fmla="*/ 5468 w 36"/>
              <a:gd name="T1" fmla="*/ 23091 h 11"/>
              <a:gd name="T2" fmla="*/ 0 w 36"/>
              <a:gd name="T3" fmla="*/ 0 h 11"/>
              <a:gd name="T4" fmla="*/ 27340 w 36"/>
              <a:gd name="T5" fmla="*/ 0 h 11"/>
              <a:gd name="T6" fmla="*/ 54681 w 36"/>
              <a:gd name="T7" fmla="*/ 11545 h 11"/>
              <a:gd name="T8" fmla="*/ 92957 w 36"/>
              <a:gd name="T9" fmla="*/ 17318 h 11"/>
              <a:gd name="T10" fmla="*/ 82021 w 36"/>
              <a:gd name="T11" fmla="*/ 31750 h 11"/>
              <a:gd name="T12" fmla="*/ 49213 w 36"/>
              <a:gd name="T13" fmla="*/ 31750 h 11"/>
              <a:gd name="T14" fmla="*/ 5468 w 36"/>
              <a:gd name="T15" fmla="*/ 23091 h 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6" h="11">
                <a:moveTo>
                  <a:pt x="2" y="8"/>
                </a:moveTo>
                <a:cubicBezTo>
                  <a:pt x="0" y="7"/>
                  <a:pt x="0" y="3"/>
                  <a:pt x="0" y="0"/>
                </a:cubicBezTo>
                <a:cubicBezTo>
                  <a:pt x="0" y="0"/>
                  <a:pt x="8" y="0"/>
                  <a:pt x="10" y="0"/>
                </a:cubicBezTo>
                <a:cubicBezTo>
                  <a:pt x="12" y="0"/>
                  <a:pt x="18" y="3"/>
                  <a:pt x="20" y="4"/>
                </a:cubicBezTo>
                <a:cubicBezTo>
                  <a:pt x="22" y="5"/>
                  <a:pt x="32" y="4"/>
                  <a:pt x="34" y="6"/>
                </a:cubicBezTo>
                <a:cubicBezTo>
                  <a:pt x="36" y="8"/>
                  <a:pt x="33" y="10"/>
                  <a:pt x="30" y="11"/>
                </a:cubicBezTo>
                <a:cubicBezTo>
                  <a:pt x="28" y="11"/>
                  <a:pt x="22" y="11"/>
                  <a:pt x="18" y="11"/>
                </a:cubicBezTo>
                <a:cubicBezTo>
                  <a:pt x="14" y="11"/>
                  <a:pt x="4" y="9"/>
                  <a:pt x="2" y="8"/>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6" name="Freeform 209"/>
          <p:cNvSpPr>
            <a:spLocks/>
          </p:cNvSpPr>
          <p:nvPr>
            <p:custDataLst>
              <p:tags r:id="rId142"/>
            </p:custDataLst>
          </p:nvPr>
        </p:nvSpPr>
        <p:spPr bwMode="auto">
          <a:xfrm>
            <a:off x="9118243" y="2565000"/>
            <a:ext cx="57951" cy="279220"/>
          </a:xfrm>
          <a:custGeom>
            <a:avLst/>
            <a:gdLst>
              <a:gd name="T0" fmla="*/ 13097 w 20"/>
              <a:gd name="T1" fmla="*/ 101545 h 87"/>
              <a:gd name="T2" fmla="*/ 5239 w 20"/>
              <a:gd name="T3" fmla="*/ 78335 h 87"/>
              <a:gd name="T4" fmla="*/ 5239 w 20"/>
              <a:gd name="T5" fmla="*/ 37717 h 87"/>
              <a:gd name="T6" fmla="*/ 13097 w 20"/>
              <a:gd name="T7" fmla="*/ 26112 h 87"/>
              <a:gd name="T8" fmla="*/ 20955 w 20"/>
              <a:gd name="T9" fmla="*/ 0 h 87"/>
              <a:gd name="T10" fmla="*/ 28813 w 20"/>
              <a:gd name="T11" fmla="*/ 31914 h 87"/>
              <a:gd name="T12" fmla="*/ 31433 w 20"/>
              <a:gd name="T13" fmla="*/ 66730 h 87"/>
              <a:gd name="T14" fmla="*/ 34052 w 20"/>
              <a:gd name="T15" fmla="*/ 89940 h 87"/>
              <a:gd name="T16" fmla="*/ 49769 w 20"/>
              <a:gd name="T17" fmla="*/ 145065 h 87"/>
              <a:gd name="T18" fmla="*/ 47149 w 20"/>
              <a:gd name="T19" fmla="*/ 162473 h 87"/>
              <a:gd name="T20" fmla="*/ 31433 w 20"/>
              <a:gd name="T21" fmla="*/ 162473 h 87"/>
              <a:gd name="T22" fmla="*/ 26194 w 20"/>
              <a:gd name="T23" fmla="*/ 205992 h 87"/>
              <a:gd name="T24" fmla="*/ 36672 w 20"/>
              <a:gd name="T25" fmla="*/ 223400 h 87"/>
              <a:gd name="T26" fmla="*/ 34052 w 20"/>
              <a:gd name="T27" fmla="*/ 249512 h 87"/>
              <a:gd name="T28" fmla="*/ 20955 w 20"/>
              <a:gd name="T29" fmla="*/ 235005 h 87"/>
              <a:gd name="T30" fmla="*/ 10478 w 20"/>
              <a:gd name="T31" fmla="*/ 249512 h 87"/>
              <a:gd name="T32" fmla="*/ 2619 w 20"/>
              <a:gd name="T33" fmla="*/ 237907 h 87"/>
              <a:gd name="T34" fmla="*/ 5239 w 20"/>
              <a:gd name="T35" fmla="*/ 217597 h 87"/>
              <a:gd name="T36" fmla="*/ 7858 w 20"/>
              <a:gd name="T37" fmla="*/ 191486 h 87"/>
              <a:gd name="T38" fmla="*/ 2619 w 20"/>
              <a:gd name="T39" fmla="*/ 171177 h 87"/>
              <a:gd name="T40" fmla="*/ 10478 w 20"/>
              <a:gd name="T41" fmla="*/ 147966 h 87"/>
              <a:gd name="T42" fmla="*/ 5239 w 20"/>
              <a:gd name="T43" fmla="*/ 121855 h 87"/>
              <a:gd name="T44" fmla="*/ 13097 w 20"/>
              <a:gd name="T45" fmla="*/ 10154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87">
                <a:moveTo>
                  <a:pt x="5" y="35"/>
                </a:moveTo>
                <a:cubicBezTo>
                  <a:pt x="5" y="33"/>
                  <a:pt x="4" y="28"/>
                  <a:pt x="2" y="27"/>
                </a:cubicBezTo>
                <a:cubicBezTo>
                  <a:pt x="1" y="26"/>
                  <a:pt x="3" y="15"/>
                  <a:pt x="2" y="13"/>
                </a:cubicBezTo>
                <a:cubicBezTo>
                  <a:pt x="2" y="13"/>
                  <a:pt x="4" y="10"/>
                  <a:pt x="5" y="9"/>
                </a:cubicBezTo>
                <a:cubicBezTo>
                  <a:pt x="6" y="8"/>
                  <a:pt x="5" y="0"/>
                  <a:pt x="8" y="0"/>
                </a:cubicBezTo>
                <a:cubicBezTo>
                  <a:pt x="11" y="1"/>
                  <a:pt x="10" y="8"/>
                  <a:pt x="11" y="11"/>
                </a:cubicBezTo>
                <a:cubicBezTo>
                  <a:pt x="12" y="14"/>
                  <a:pt x="13" y="20"/>
                  <a:pt x="12" y="23"/>
                </a:cubicBezTo>
                <a:cubicBezTo>
                  <a:pt x="11" y="27"/>
                  <a:pt x="12" y="29"/>
                  <a:pt x="13" y="31"/>
                </a:cubicBezTo>
                <a:cubicBezTo>
                  <a:pt x="14" y="33"/>
                  <a:pt x="18" y="47"/>
                  <a:pt x="19" y="50"/>
                </a:cubicBezTo>
                <a:cubicBezTo>
                  <a:pt x="20" y="53"/>
                  <a:pt x="20" y="58"/>
                  <a:pt x="18" y="56"/>
                </a:cubicBezTo>
                <a:cubicBezTo>
                  <a:pt x="16" y="54"/>
                  <a:pt x="14" y="55"/>
                  <a:pt x="12" y="56"/>
                </a:cubicBezTo>
                <a:cubicBezTo>
                  <a:pt x="9" y="58"/>
                  <a:pt x="8" y="69"/>
                  <a:pt x="10" y="71"/>
                </a:cubicBezTo>
                <a:cubicBezTo>
                  <a:pt x="13" y="73"/>
                  <a:pt x="14" y="75"/>
                  <a:pt x="14" y="77"/>
                </a:cubicBezTo>
                <a:cubicBezTo>
                  <a:pt x="14" y="79"/>
                  <a:pt x="14" y="86"/>
                  <a:pt x="13" y="86"/>
                </a:cubicBezTo>
                <a:cubicBezTo>
                  <a:pt x="12" y="86"/>
                  <a:pt x="10" y="82"/>
                  <a:pt x="8" y="81"/>
                </a:cubicBezTo>
                <a:cubicBezTo>
                  <a:pt x="7" y="80"/>
                  <a:pt x="5" y="86"/>
                  <a:pt x="4" y="86"/>
                </a:cubicBezTo>
                <a:cubicBezTo>
                  <a:pt x="2" y="87"/>
                  <a:pt x="1" y="84"/>
                  <a:pt x="1" y="82"/>
                </a:cubicBezTo>
                <a:cubicBezTo>
                  <a:pt x="1" y="81"/>
                  <a:pt x="1" y="77"/>
                  <a:pt x="2" y="75"/>
                </a:cubicBezTo>
                <a:cubicBezTo>
                  <a:pt x="3" y="72"/>
                  <a:pt x="3" y="68"/>
                  <a:pt x="3" y="66"/>
                </a:cubicBezTo>
                <a:cubicBezTo>
                  <a:pt x="3" y="64"/>
                  <a:pt x="3" y="62"/>
                  <a:pt x="1" y="59"/>
                </a:cubicBezTo>
                <a:cubicBezTo>
                  <a:pt x="0" y="57"/>
                  <a:pt x="3" y="55"/>
                  <a:pt x="4" y="51"/>
                </a:cubicBezTo>
                <a:cubicBezTo>
                  <a:pt x="5" y="47"/>
                  <a:pt x="3" y="44"/>
                  <a:pt x="2" y="42"/>
                </a:cubicBezTo>
                <a:cubicBezTo>
                  <a:pt x="2" y="40"/>
                  <a:pt x="5" y="37"/>
                  <a:pt x="5" y="35"/>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7" name="Freeform 210"/>
          <p:cNvSpPr>
            <a:spLocks/>
          </p:cNvSpPr>
          <p:nvPr>
            <p:custDataLst>
              <p:tags r:id="rId143"/>
            </p:custDataLst>
          </p:nvPr>
        </p:nvSpPr>
        <p:spPr bwMode="auto">
          <a:xfrm>
            <a:off x="9065561" y="1790562"/>
            <a:ext cx="93073" cy="45659"/>
          </a:xfrm>
          <a:custGeom>
            <a:avLst/>
            <a:gdLst>
              <a:gd name="T0" fmla="*/ 15776 w 32"/>
              <a:gd name="T1" fmla="*/ 8845 h 14"/>
              <a:gd name="T2" fmla="*/ 42069 w 32"/>
              <a:gd name="T3" fmla="*/ 0 h 14"/>
              <a:gd name="T4" fmla="*/ 73621 w 32"/>
              <a:gd name="T5" fmla="*/ 11793 h 14"/>
              <a:gd name="T6" fmla="*/ 73621 w 32"/>
              <a:gd name="T7" fmla="*/ 35379 h 14"/>
              <a:gd name="T8" fmla="*/ 26293 w 32"/>
              <a:gd name="T9" fmla="*/ 26534 h 14"/>
              <a:gd name="T10" fmla="*/ 5259 w 32"/>
              <a:gd name="T11" fmla="*/ 23586 h 14"/>
              <a:gd name="T12" fmla="*/ 15776 w 32"/>
              <a:gd name="T13" fmla="*/ 8845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14">
                <a:moveTo>
                  <a:pt x="6" y="3"/>
                </a:moveTo>
                <a:cubicBezTo>
                  <a:pt x="8" y="1"/>
                  <a:pt x="12" y="0"/>
                  <a:pt x="16" y="0"/>
                </a:cubicBezTo>
                <a:cubicBezTo>
                  <a:pt x="16" y="0"/>
                  <a:pt x="24" y="1"/>
                  <a:pt x="28" y="4"/>
                </a:cubicBezTo>
                <a:cubicBezTo>
                  <a:pt x="32" y="6"/>
                  <a:pt x="30" y="10"/>
                  <a:pt x="28" y="12"/>
                </a:cubicBezTo>
                <a:cubicBezTo>
                  <a:pt x="26" y="14"/>
                  <a:pt x="14" y="9"/>
                  <a:pt x="10" y="9"/>
                </a:cubicBezTo>
                <a:cubicBezTo>
                  <a:pt x="6" y="8"/>
                  <a:pt x="4" y="9"/>
                  <a:pt x="2" y="8"/>
                </a:cubicBezTo>
                <a:cubicBezTo>
                  <a:pt x="0" y="6"/>
                  <a:pt x="4" y="4"/>
                  <a:pt x="6" y="3"/>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8" name="Freeform 211"/>
          <p:cNvSpPr>
            <a:spLocks/>
          </p:cNvSpPr>
          <p:nvPr>
            <p:custDataLst>
              <p:tags r:id="rId144"/>
            </p:custDataLst>
          </p:nvPr>
        </p:nvSpPr>
        <p:spPr bwMode="auto">
          <a:xfrm>
            <a:off x="9004097" y="1676416"/>
            <a:ext cx="191415" cy="94829"/>
          </a:xfrm>
          <a:custGeom>
            <a:avLst/>
            <a:gdLst>
              <a:gd name="T0" fmla="*/ 8111 w 64"/>
              <a:gd name="T1" fmla="*/ 57150 h 30"/>
              <a:gd name="T2" fmla="*/ 13519 w 64"/>
              <a:gd name="T3" fmla="*/ 22860 h 30"/>
              <a:gd name="T4" fmla="*/ 48667 w 64"/>
              <a:gd name="T5" fmla="*/ 5715 h 30"/>
              <a:gd name="T6" fmla="*/ 81112 w 64"/>
              <a:gd name="T7" fmla="*/ 34290 h 30"/>
              <a:gd name="T8" fmla="*/ 89223 w 64"/>
              <a:gd name="T9" fmla="*/ 11430 h 30"/>
              <a:gd name="T10" fmla="*/ 118964 w 64"/>
              <a:gd name="T11" fmla="*/ 25718 h 30"/>
              <a:gd name="T12" fmla="*/ 170334 w 64"/>
              <a:gd name="T13" fmla="*/ 34290 h 30"/>
              <a:gd name="T14" fmla="*/ 164927 w 64"/>
              <a:gd name="T15" fmla="*/ 57150 h 30"/>
              <a:gd name="T16" fmla="*/ 113556 w 64"/>
              <a:gd name="T17" fmla="*/ 68580 h 30"/>
              <a:gd name="T18" fmla="*/ 62186 w 64"/>
              <a:gd name="T19" fmla="*/ 65723 h 30"/>
              <a:gd name="T20" fmla="*/ 43260 w 64"/>
              <a:gd name="T21" fmla="*/ 80010 h 30"/>
              <a:gd name="T22" fmla="*/ 8111 w 64"/>
              <a:gd name="T23" fmla="*/ 57150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4" h="30">
                <a:moveTo>
                  <a:pt x="3" y="20"/>
                </a:moveTo>
                <a:cubicBezTo>
                  <a:pt x="0" y="17"/>
                  <a:pt x="2" y="10"/>
                  <a:pt x="5" y="8"/>
                </a:cubicBezTo>
                <a:cubicBezTo>
                  <a:pt x="8" y="6"/>
                  <a:pt x="14" y="0"/>
                  <a:pt x="18" y="2"/>
                </a:cubicBezTo>
                <a:cubicBezTo>
                  <a:pt x="20" y="4"/>
                  <a:pt x="26" y="12"/>
                  <a:pt x="30" y="12"/>
                </a:cubicBezTo>
                <a:cubicBezTo>
                  <a:pt x="32" y="11"/>
                  <a:pt x="30" y="5"/>
                  <a:pt x="33" y="4"/>
                </a:cubicBezTo>
                <a:cubicBezTo>
                  <a:pt x="36" y="3"/>
                  <a:pt x="40" y="9"/>
                  <a:pt x="44" y="9"/>
                </a:cubicBezTo>
                <a:cubicBezTo>
                  <a:pt x="48" y="9"/>
                  <a:pt x="63" y="11"/>
                  <a:pt x="63" y="12"/>
                </a:cubicBezTo>
                <a:cubicBezTo>
                  <a:pt x="63" y="14"/>
                  <a:pt x="64" y="18"/>
                  <a:pt x="61" y="20"/>
                </a:cubicBezTo>
                <a:cubicBezTo>
                  <a:pt x="58" y="21"/>
                  <a:pt x="48" y="25"/>
                  <a:pt x="42" y="24"/>
                </a:cubicBezTo>
                <a:cubicBezTo>
                  <a:pt x="36" y="22"/>
                  <a:pt x="26" y="23"/>
                  <a:pt x="23" y="23"/>
                </a:cubicBezTo>
                <a:cubicBezTo>
                  <a:pt x="20" y="24"/>
                  <a:pt x="22" y="30"/>
                  <a:pt x="16" y="28"/>
                </a:cubicBezTo>
                <a:cubicBezTo>
                  <a:pt x="12" y="27"/>
                  <a:pt x="3" y="20"/>
                  <a:pt x="3" y="20"/>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49" name="Freeform 212"/>
          <p:cNvSpPr>
            <a:spLocks/>
          </p:cNvSpPr>
          <p:nvPr>
            <p:custDataLst>
              <p:tags r:id="rId145"/>
            </p:custDataLst>
          </p:nvPr>
        </p:nvSpPr>
        <p:spPr bwMode="auto">
          <a:xfrm>
            <a:off x="8141853" y="1513099"/>
            <a:ext cx="138732" cy="89561"/>
          </a:xfrm>
          <a:custGeom>
            <a:avLst/>
            <a:gdLst>
              <a:gd name="T0" fmla="*/ 40896 w 46"/>
              <a:gd name="T1" fmla="*/ 62971 h 27"/>
              <a:gd name="T2" fmla="*/ 2726 w 46"/>
              <a:gd name="T3" fmla="*/ 71967 h 27"/>
              <a:gd name="T4" fmla="*/ 19085 w 46"/>
              <a:gd name="T5" fmla="*/ 44979 h 27"/>
              <a:gd name="T6" fmla="*/ 46348 w 46"/>
              <a:gd name="T7" fmla="*/ 5997 h 27"/>
              <a:gd name="T8" fmla="*/ 57254 w 46"/>
              <a:gd name="T9" fmla="*/ 8996 h 27"/>
              <a:gd name="T10" fmla="*/ 68159 w 46"/>
              <a:gd name="T11" fmla="*/ 0 h 27"/>
              <a:gd name="T12" fmla="*/ 68159 w 46"/>
              <a:gd name="T13" fmla="*/ 32985 h 27"/>
              <a:gd name="T14" fmla="*/ 89970 w 46"/>
              <a:gd name="T15" fmla="*/ 14993 h 27"/>
              <a:gd name="T16" fmla="*/ 117234 w 46"/>
              <a:gd name="T17" fmla="*/ 32985 h 27"/>
              <a:gd name="T18" fmla="*/ 125413 w 46"/>
              <a:gd name="T19" fmla="*/ 47978 h 27"/>
              <a:gd name="T20" fmla="*/ 111781 w 46"/>
              <a:gd name="T21" fmla="*/ 59973 h 27"/>
              <a:gd name="T22" fmla="*/ 89970 w 46"/>
              <a:gd name="T23" fmla="*/ 59973 h 27"/>
              <a:gd name="T24" fmla="*/ 40896 w 46"/>
              <a:gd name="T25" fmla="*/ 62971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27">
                <a:moveTo>
                  <a:pt x="15" y="21"/>
                </a:moveTo>
                <a:cubicBezTo>
                  <a:pt x="12" y="21"/>
                  <a:pt x="2" y="27"/>
                  <a:pt x="1" y="24"/>
                </a:cubicBezTo>
                <a:cubicBezTo>
                  <a:pt x="0" y="21"/>
                  <a:pt x="5" y="18"/>
                  <a:pt x="7" y="15"/>
                </a:cubicBezTo>
                <a:cubicBezTo>
                  <a:pt x="9" y="13"/>
                  <a:pt x="14" y="2"/>
                  <a:pt x="17" y="2"/>
                </a:cubicBezTo>
                <a:cubicBezTo>
                  <a:pt x="20" y="1"/>
                  <a:pt x="18" y="3"/>
                  <a:pt x="21" y="3"/>
                </a:cubicBezTo>
                <a:cubicBezTo>
                  <a:pt x="24" y="3"/>
                  <a:pt x="23" y="0"/>
                  <a:pt x="25" y="0"/>
                </a:cubicBezTo>
                <a:cubicBezTo>
                  <a:pt x="26" y="0"/>
                  <a:pt x="22" y="11"/>
                  <a:pt x="25" y="11"/>
                </a:cubicBezTo>
                <a:cubicBezTo>
                  <a:pt x="28" y="11"/>
                  <a:pt x="32" y="4"/>
                  <a:pt x="33" y="5"/>
                </a:cubicBezTo>
                <a:cubicBezTo>
                  <a:pt x="35" y="5"/>
                  <a:pt x="42" y="11"/>
                  <a:pt x="43" y="11"/>
                </a:cubicBezTo>
                <a:cubicBezTo>
                  <a:pt x="44" y="11"/>
                  <a:pt x="46" y="14"/>
                  <a:pt x="46" y="16"/>
                </a:cubicBezTo>
                <a:cubicBezTo>
                  <a:pt x="46" y="17"/>
                  <a:pt x="44" y="20"/>
                  <a:pt x="41" y="20"/>
                </a:cubicBezTo>
                <a:cubicBezTo>
                  <a:pt x="39" y="20"/>
                  <a:pt x="35" y="20"/>
                  <a:pt x="33" y="20"/>
                </a:cubicBezTo>
                <a:cubicBezTo>
                  <a:pt x="30" y="20"/>
                  <a:pt x="18" y="20"/>
                  <a:pt x="15" y="21"/>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0" name="Freeform 213"/>
          <p:cNvSpPr>
            <a:spLocks/>
          </p:cNvSpPr>
          <p:nvPr>
            <p:custDataLst>
              <p:tags r:id="rId146"/>
            </p:custDataLst>
          </p:nvPr>
        </p:nvSpPr>
        <p:spPr bwMode="auto">
          <a:xfrm>
            <a:off x="8010145" y="1474463"/>
            <a:ext cx="147512" cy="73756"/>
          </a:xfrm>
          <a:custGeom>
            <a:avLst/>
            <a:gdLst>
              <a:gd name="T0" fmla="*/ 2721 w 49"/>
              <a:gd name="T1" fmla="*/ 26090 h 23"/>
              <a:gd name="T2" fmla="*/ 27214 w 49"/>
              <a:gd name="T3" fmla="*/ 11596 h 23"/>
              <a:gd name="T4" fmla="*/ 65314 w 49"/>
              <a:gd name="T5" fmla="*/ 2899 h 23"/>
              <a:gd name="T6" fmla="*/ 87086 w 49"/>
              <a:gd name="T7" fmla="*/ 2899 h 23"/>
              <a:gd name="T8" fmla="*/ 76200 w 49"/>
              <a:gd name="T9" fmla="*/ 17393 h 23"/>
              <a:gd name="T10" fmla="*/ 97971 w 49"/>
              <a:gd name="T11" fmla="*/ 17393 h 23"/>
              <a:gd name="T12" fmla="*/ 108857 w 49"/>
              <a:gd name="T13" fmla="*/ 5798 h 23"/>
              <a:gd name="T14" fmla="*/ 133350 w 49"/>
              <a:gd name="T15" fmla="*/ 14495 h 23"/>
              <a:gd name="T16" fmla="*/ 125186 w 49"/>
              <a:gd name="T17" fmla="*/ 40585 h 23"/>
              <a:gd name="T18" fmla="*/ 130629 w 49"/>
              <a:gd name="T19" fmla="*/ 55079 h 23"/>
              <a:gd name="T20" fmla="*/ 122464 w 49"/>
              <a:gd name="T21" fmla="*/ 60877 h 23"/>
              <a:gd name="T22" fmla="*/ 81643 w 49"/>
              <a:gd name="T23" fmla="*/ 60877 h 23"/>
              <a:gd name="T24" fmla="*/ 65314 w 49"/>
              <a:gd name="T25" fmla="*/ 55079 h 23"/>
              <a:gd name="T26" fmla="*/ 24493 w 49"/>
              <a:gd name="T27" fmla="*/ 52180 h 23"/>
              <a:gd name="T28" fmla="*/ 16329 w 49"/>
              <a:gd name="T29" fmla="*/ 34787 h 23"/>
              <a:gd name="T30" fmla="*/ 2721 w 49"/>
              <a:gd name="T31" fmla="*/ 26090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9" h="23">
                <a:moveTo>
                  <a:pt x="1" y="9"/>
                </a:moveTo>
                <a:cubicBezTo>
                  <a:pt x="2" y="7"/>
                  <a:pt x="7" y="4"/>
                  <a:pt x="10" y="4"/>
                </a:cubicBezTo>
                <a:cubicBezTo>
                  <a:pt x="12" y="3"/>
                  <a:pt x="20" y="1"/>
                  <a:pt x="24" y="1"/>
                </a:cubicBezTo>
                <a:cubicBezTo>
                  <a:pt x="27" y="1"/>
                  <a:pt x="32" y="0"/>
                  <a:pt x="32" y="1"/>
                </a:cubicBezTo>
                <a:cubicBezTo>
                  <a:pt x="32" y="3"/>
                  <a:pt x="28" y="5"/>
                  <a:pt x="28" y="6"/>
                </a:cubicBezTo>
                <a:cubicBezTo>
                  <a:pt x="30" y="7"/>
                  <a:pt x="34" y="7"/>
                  <a:pt x="36" y="6"/>
                </a:cubicBezTo>
                <a:cubicBezTo>
                  <a:pt x="38" y="5"/>
                  <a:pt x="38" y="2"/>
                  <a:pt x="40" y="2"/>
                </a:cubicBezTo>
                <a:cubicBezTo>
                  <a:pt x="42" y="2"/>
                  <a:pt x="49" y="3"/>
                  <a:pt x="49" y="5"/>
                </a:cubicBezTo>
                <a:cubicBezTo>
                  <a:pt x="49" y="7"/>
                  <a:pt x="46" y="12"/>
                  <a:pt x="46" y="14"/>
                </a:cubicBezTo>
                <a:cubicBezTo>
                  <a:pt x="47" y="15"/>
                  <a:pt x="48" y="18"/>
                  <a:pt x="48" y="19"/>
                </a:cubicBezTo>
                <a:cubicBezTo>
                  <a:pt x="48" y="20"/>
                  <a:pt x="45" y="21"/>
                  <a:pt x="45" y="21"/>
                </a:cubicBezTo>
                <a:cubicBezTo>
                  <a:pt x="43" y="21"/>
                  <a:pt x="34" y="23"/>
                  <a:pt x="30" y="21"/>
                </a:cubicBezTo>
                <a:cubicBezTo>
                  <a:pt x="27" y="20"/>
                  <a:pt x="26" y="19"/>
                  <a:pt x="24" y="19"/>
                </a:cubicBezTo>
                <a:cubicBezTo>
                  <a:pt x="22" y="19"/>
                  <a:pt x="12" y="19"/>
                  <a:pt x="9" y="18"/>
                </a:cubicBezTo>
                <a:cubicBezTo>
                  <a:pt x="7" y="16"/>
                  <a:pt x="6" y="13"/>
                  <a:pt x="6" y="12"/>
                </a:cubicBezTo>
                <a:cubicBezTo>
                  <a:pt x="6" y="11"/>
                  <a:pt x="0" y="10"/>
                  <a:pt x="1" y="9"/>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1" name="Freeform 214"/>
          <p:cNvSpPr>
            <a:spLocks/>
          </p:cNvSpPr>
          <p:nvPr>
            <p:custDataLst>
              <p:tags r:id="rId147"/>
            </p:custDataLst>
          </p:nvPr>
        </p:nvSpPr>
        <p:spPr bwMode="auto">
          <a:xfrm>
            <a:off x="7955707" y="1411245"/>
            <a:ext cx="156293" cy="89561"/>
          </a:xfrm>
          <a:custGeom>
            <a:avLst/>
            <a:gdLst>
              <a:gd name="T0" fmla="*/ 5434 w 52"/>
              <a:gd name="T1" fmla="*/ 78071 h 28"/>
              <a:gd name="T2" fmla="*/ 0 w 52"/>
              <a:gd name="T3" fmla="*/ 63614 h 28"/>
              <a:gd name="T4" fmla="*/ 10868 w 52"/>
              <a:gd name="T5" fmla="*/ 60722 h 28"/>
              <a:gd name="T6" fmla="*/ 32605 w 52"/>
              <a:gd name="T7" fmla="*/ 57831 h 28"/>
              <a:gd name="T8" fmla="*/ 21737 w 52"/>
              <a:gd name="T9" fmla="*/ 43373 h 28"/>
              <a:gd name="T10" fmla="*/ 38039 w 52"/>
              <a:gd name="T11" fmla="*/ 31807 h 28"/>
              <a:gd name="T12" fmla="*/ 38039 w 52"/>
              <a:gd name="T13" fmla="*/ 17349 h 28"/>
              <a:gd name="T14" fmla="*/ 62493 w 52"/>
              <a:gd name="T15" fmla="*/ 11566 h 28"/>
              <a:gd name="T16" fmla="*/ 84229 w 52"/>
              <a:gd name="T17" fmla="*/ 0 h 28"/>
              <a:gd name="T18" fmla="*/ 95098 w 52"/>
              <a:gd name="T19" fmla="*/ 0 h 28"/>
              <a:gd name="T20" fmla="*/ 114117 w 52"/>
              <a:gd name="T21" fmla="*/ 17349 h 28"/>
              <a:gd name="T22" fmla="*/ 138571 w 52"/>
              <a:gd name="T23" fmla="*/ 23132 h 28"/>
              <a:gd name="T24" fmla="*/ 141288 w 52"/>
              <a:gd name="T25" fmla="*/ 31807 h 28"/>
              <a:gd name="T26" fmla="*/ 124986 w 52"/>
              <a:gd name="T27" fmla="*/ 37590 h 28"/>
              <a:gd name="T28" fmla="*/ 124986 w 52"/>
              <a:gd name="T29" fmla="*/ 40482 h 28"/>
              <a:gd name="T30" fmla="*/ 103249 w 52"/>
              <a:gd name="T31" fmla="*/ 49156 h 28"/>
              <a:gd name="T32" fmla="*/ 65210 w 52"/>
              <a:gd name="T33" fmla="*/ 57831 h 28"/>
              <a:gd name="T34" fmla="*/ 48907 w 52"/>
              <a:gd name="T35" fmla="*/ 66505 h 28"/>
              <a:gd name="T36" fmla="*/ 32605 w 52"/>
              <a:gd name="T37" fmla="*/ 80963 h 28"/>
              <a:gd name="T38" fmla="*/ 5434 w 52"/>
              <a:gd name="T39" fmla="*/ 78071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2" h="28">
                <a:moveTo>
                  <a:pt x="2" y="27"/>
                </a:moveTo>
                <a:cubicBezTo>
                  <a:pt x="0" y="26"/>
                  <a:pt x="0" y="24"/>
                  <a:pt x="0" y="22"/>
                </a:cubicBezTo>
                <a:cubicBezTo>
                  <a:pt x="0" y="20"/>
                  <a:pt x="2" y="21"/>
                  <a:pt x="4" y="21"/>
                </a:cubicBezTo>
                <a:cubicBezTo>
                  <a:pt x="6" y="21"/>
                  <a:pt x="11" y="20"/>
                  <a:pt x="12" y="20"/>
                </a:cubicBezTo>
                <a:cubicBezTo>
                  <a:pt x="13" y="20"/>
                  <a:pt x="8" y="17"/>
                  <a:pt x="8" y="15"/>
                </a:cubicBezTo>
                <a:cubicBezTo>
                  <a:pt x="7" y="12"/>
                  <a:pt x="13" y="13"/>
                  <a:pt x="14" y="11"/>
                </a:cubicBezTo>
                <a:cubicBezTo>
                  <a:pt x="15" y="9"/>
                  <a:pt x="12" y="7"/>
                  <a:pt x="14" y="6"/>
                </a:cubicBezTo>
                <a:cubicBezTo>
                  <a:pt x="16" y="6"/>
                  <a:pt x="23" y="4"/>
                  <a:pt x="23" y="4"/>
                </a:cubicBezTo>
                <a:cubicBezTo>
                  <a:pt x="27" y="3"/>
                  <a:pt x="30" y="0"/>
                  <a:pt x="31" y="0"/>
                </a:cubicBezTo>
                <a:cubicBezTo>
                  <a:pt x="32" y="0"/>
                  <a:pt x="35" y="0"/>
                  <a:pt x="35" y="0"/>
                </a:cubicBezTo>
                <a:cubicBezTo>
                  <a:pt x="35" y="0"/>
                  <a:pt x="41" y="5"/>
                  <a:pt x="42" y="6"/>
                </a:cubicBezTo>
                <a:cubicBezTo>
                  <a:pt x="44" y="6"/>
                  <a:pt x="51" y="8"/>
                  <a:pt x="51" y="8"/>
                </a:cubicBezTo>
                <a:cubicBezTo>
                  <a:pt x="52" y="11"/>
                  <a:pt x="52" y="11"/>
                  <a:pt x="52" y="11"/>
                </a:cubicBezTo>
                <a:cubicBezTo>
                  <a:pt x="52" y="11"/>
                  <a:pt x="46" y="12"/>
                  <a:pt x="46" y="13"/>
                </a:cubicBezTo>
                <a:cubicBezTo>
                  <a:pt x="45" y="14"/>
                  <a:pt x="46" y="13"/>
                  <a:pt x="46" y="14"/>
                </a:cubicBezTo>
                <a:cubicBezTo>
                  <a:pt x="46" y="15"/>
                  <a:pt x="42" y="17"/>
                  <a:pt x="38" y="17"/>
                </a:cubicBezTo>
                <a:cubicBezTo>
                  <a:pt x="34" y="17"/>
                  <a:pt x="27" y="18"/>
                  <a:pt x="24" y="20"/>
                </a:cubicBezTo>
                <a:cubicBezTo>
                  <a:pt x="20" y="21"/>
                  <a:pt x="19" y="21"/>
                  <a:pt x="18" y="23"/>
                </a:cubicBezTo>
                <a:cubicBezTo>
                  <a:pt x="16" y="24"/>
                  <a:pt x="14" y="28"/>
                  <a:pt x="12" y="28"/>
                </a:cubicBezTo>
                <a:cubicBezTo>
                  <a:pt x="10" y="28"/>
                  <a:pt x="4" y="28"/>
                  <a:pt x="2" y="2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2" name="Freeform 215"/>
          <p:cNvSpPr>
            <a:spLocks/>
          </p:cNvSpPr>
          <p:nvPr>
            <p:custDataLst>
              <p:tags r:id="rId148"/>
            </p:custDataLst>
          </p:nvPr>
        </p:nvSpPr>
        <p:spPr bwMode="auto">
          <a:xfrm>
            <a:off x="7033757" y="1639538"/>
            <a:ext cx="409171" cy="314341"/>
          </a:xfrm>
          <a:custGeom>
            <a:avLst/>
            <a:gdLst>
              <a:gd name="T0" fmla="*/ 43516 w 136"/>
              <a:gd name="T1" fmla="*/ 255167 h 98"/>
              <a:gd name="T2" fmla="*/ 13599 w 136"/>
              <a:gd name="T3" fmla="*/ 246468 h 98"/>
              <a:gd name="T4" fmla="*/ 10879 w 136"/>
              <a:gd name="T5" fmla="*/ 220371 h 98"/>
              <a:gd name="T6" fmla="*/ 29917 w 136"/>
              <a:gd name="T7" fmla="*/ 211672 h 98"/>
              <a:gd name="T8" fmla="*/ 43516 w 136"/>
              <a:gd name="T9" fmla="*/ 173977 h 98"/>
              <a:gd name="T10" fmla="*/ 65274 w 136"/>
              <a:gd name="T11" fmla="*/ 162379 h 98"/>
              <a:gd name="T12" fmla="*/ 59835 w 136"/>
              <a:gd name="T13" fmla="*/ 144981 h 98"/>
              <a:gd name="T14" fmla="*/ 92472 w 136"/>
              <a:gd name="T15" fmla="*/ 115985 h 98"/>
              <a:gd name="T16" fmla="*/ 108791 w 136"/>
              <a:gd name="T17" fmla="*/ 104386 h 98"/>
              <a:gd name="T18" fmla="*/ 114230 w 136"/>
              <a:gd name="T19" fmla="*/ 78290 h 98"/>
              <a:gd name="T20" fmla="*/ 146867 w 136"/>
              <a:gd name="T21" fmla="*/ 63792 h 98"/>
              <a:gd name="T22" fmla="*/ 193103 w 136"/>
              <a:gd name="T23" fmla="*/ 43494 h 98"/>
              <a:gd name="T24" fmla="*/ 217581 w 136"/>
              <a:gd name="T25" fmla="*/ 31896 h 98"/>
              <a:gd name="T26" fmla="*/ 244779 w 136"/>
              <a:gd name="T27" fmla="*/ 34795 h 98"/>
              <a:gd name="T28" fmla="*/ 299174 w 136"/>
              <a:gd name="T29" fmla="*/ 23197 h 98"/>
              <a:gd name="T30" fmla="*/ 342690 w 136"/>
              <a:gd name="T31" fmla="*/ 0 h 98"/>
              <a:gd name="T32" fmla="*/ 369888 w 136"/>
              <a:gd name="T33" fmla="*/ 14498 h 98"/>
              <a:gd name="T34" fmla="*/ 350850 w 136"/>
              <a:gd name="T35" fmla="*/ 40595 h 98"/>
              <a:gd name="T36" fmla="*/ 206702 w 136"/>
              <a:gd name="T37" fmla="*/ 84089 h 98"/>
              <a:gd name="T38" fmla="*/ 163186 w 136"/>
              <a:gd name="T39" fmla="*/ 118885 h 98"/>
              <a:gd name="T40" fmla="*/ 119670 w 136"/>
              <a:gd name="T41" fmla="*/ 156580 h 98"/>
              <a:gd name="T42" fmla="*/ 87032 w 136"/>
              <a:gd name="T43" fmla="*/ 202974 h 98"/>
              <a:gd name="T44" fmla="*/ 95192 w 136"/>
              <a:gd name="T45" fmla="*/ 240669 h 98"/>
              <a:gd name="T46" fmla="*/ 135988 w 136"/>
              <a:gd name="T47" fmla="*/ 275464 h 98"/>
              <a:gd name="T48" fmla="*/ 97912 w 136"/>
              <a:gd name="T49" fmla="*/ 278364 h 98"/>
              <a:gd name="T50" fmla="*/ 62555 w 136"/>
              <a:gd name="T51" fmla="*/ 275464 h 98"/>
              <a:gd name="T52" fmla="*/ 43516 w 136"/>
              <a:gd name="T53" fmla="*/ 255167 h 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36" h="98">
                <a:moveTo>
                  <a:pt x="16" y="88"/>
                </a:moveTo>
                <a:cubicBezTo>
                  <a:pt x="14" y="85"/>
                  <a:pt x="7" y="87"/>
                  <a:pt x="5" y="85"/>
                </a:cubicBezTo>
                <a:cubicBezTo>
                  <a:pt x="3" y="83"/>
                  <a:pt x="0" y="78"/>
                  <a:pt x="4" y="76"/>
                </a:cubicBezTo>
                <a:cubicBezTo>
                  <a:pt x="7" y="74"/>
                  <a:pt x="11" y="73"/>
                  <a:pt x="11" y="73"/>
                </a:cubicBezTo>
                <a:cubicBezTo>
                  <a:pt x="11" y="73"/>
                  <a:pt x="14" y="63"/>
                  <a:pt x="16" y="60"/>
                </a:cubicBezTo>
                <a:cubicBezTo>
                  <a:pt x="18" y="58"/>
                  <a:pt x="24" y="58"/>
                  <a:pt x="24" y="56"/>
                </a:cubicBezTo>
                <a:cubicBezTo>
                  <a:pt x="26" y="55"/>
                  <a:pt x="22" y="52"/>
                  <a:pt x="22" y="50"/>
                </a:cubicBezTo>
                <a:cubicBezTo>
                  <a:pt x="23" y="48"/>
                  <a:pt x="32" y="41"/>
                  <a:pt x="34" y="40"/>
                </a:cubicBezTo>
                <a:cubicBezTo>
                  <a:pt x="35" y="38"/>
                  <a:pt x="40" y="38"/>
                  <a:pt x="40" y="36"/>
                </a:cubicBezTo>
                <a:cubicBezTo>
                  <a:pt x="42" y="34"/>
                  <a:pt x="40" y="29"/>
                  <a:pt x="42" y="27"/>
                </a:cubicBezTo>
                <a:cubicBezTo>
                  <a:pt x="44" y="26"/>
                  <a:pt x="52" y="23"/>
                  <a:pt x="54" y="22"/>
                </a:cubicBezTo>
                <a:cubicBezTo>
                  <a:pt x="56" y="20"/>
                  <a:pt x="71" y="15"/>
                  <a:pt x="71" y="15"/>
                </a:cubicBezTo>
                <a:cubicBezTo>
                  <a:pt x="71" y="15"/>
                  <a:pt x="79" y="11"/>
                  <a:pt x="80" y="11"/>
                </a:cubicBezTo>
                <a:cubicBezTo>
                  <a:pt x="82" y="11"/>
                  <a:pt x="86" y="12"/>
                  <a:pt x="90" y="12"/>
                </a:cubicBezTo>
                <a:cubicBezTo>
                  <a:pt x="93" y="12"/>
                  <a:pt x="108" y="10"/>
                  <a:pt x="110" y="8"/>
                </a:cubicBezTo>
                <a:cubicBezTo>
                  <a:pt x="114" y="6"/>
                  <a:pt x="120" y="0"/>
                  <a:pt x="126" y="0"/>
                </a:cubicBezTo>
                <a:cubicBezTo>
                  <a:pt x="132" y="0"/>
                  <a:pt x="136" y="1"/>
                  <a:pt x="136" y="5"/>
                </a:cubicBezTo>
                <a:cubicBezTo>
                  <a:pt x="135" y="8"/>
                  <a:pt x="132" y="14"/>
                  <a:pt x="129" y="14"/>
                </a:cubicBezTo>
                <a:cubicBezTo>
                  <a:pt x="126" y="14"/>
                  <a:pt x="82" y="26"/>
                  <a:pt x="76" y="29"/>
                </a:cubicBezTo>
                <a:cubicBezTo>
                  <a:pt x="69" y="32"/>
                  <a:pt x="63" y="40"/>
                  <a:pt x="60" y="41"/>
                </a:cubicBezTo>
                <a:cubicBezTo>
                  <a:pt x="56" y="43"/>
                  <a:pt x="48" y="50"/>
                  <a:pt x="44" y="54"/>
                </a:cubicBezTo>
                <a:cubicBezTo>
                  <a:pt x="41" y="58"/>
                  <a:pt x="32" y="65"/>
                  <a:pt x="32" y="70"/>
                </a:cubicBezTo>
                <a:cubicBezTo>
                  <a:pt x="32" y="76"/>
                  <a:pt x="32" y="80"/>
                  <a:pt x="35" y="83"/>
                </a:cubicBezTo>
                <a:cubicBezTo>
                  <a:pt x="38" y="87"/>
                  <a:pt x="52" y="93"/>
                  <a:pt x="50" y="95"/>
                </a:cubicBezTo>
                <a:cubicBezTo>
                  <a:pt x="48" y="97"/>
                  <a:pt x="40" y="98"/>
                  <a:pt x="36" y="96"/>
                </a:cubicBezTo>
                <a:cubicBezTo>
                  <a:pt x="30" y="95"/>
                  <a:pt x="23" y="95"/>
                  <a:pt x="23" y="95"/>
                </a:cubicBezTo>
                <a:cubicBezTo>
                  <a:pt x="18" y="93"/>
                  <a:pt x="18" y="90"/>
                  <a:pt x="16" y="88"/>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3" name="Freeform 216"/>
          <p:cNvSpPr>
            <a:spLocks/>
          </p:cNvSpPr>
          <p:nvPr>
            <p:custDataLst>
              <p:tags r:id="rId149"/>
            </p:custDataLst>
          </p:nvPr>
        </p:nvSpPr>
        <p:spPr bwMode="auto">
          <a:xfrm>
            <a:off x="6958244" y="2001293"/>
            <a:ext cx="57951" cy="35122"/>
          </a:xfrm>
          <a:custGeom>
            <a:avLst/>
            <a:gdLst>
              <a:gd name="T0" fmla="*/ 24815 w 19"/>
              <a:gd name="T1" fmla="*/ 31750 h 11"/>
              <a:gd name="T2" fmla="*/ 2757 w 19"/>
              <a:gd name="T3" fmla="*/ 25977 h 11"/>
              <a:gd name="T4" fmla="*/ 16544 w 19"/>
              <a:gd name="T5" fmla="*/ 0 h 11"/>
              <a:gd name="T6" fmla="*/ 41359 w 19"/>
              <a:gd name="T7" fmla="*/ 2886 h 11"/>
              <a:gd name="T8" fmla="*/ 49631 w 19"/>
              <a:gd name="T9" fmla="*/ 17318 h 11"/>
              <a:gd name="T10" fmla="*/ 24815 w 19"/>
              <a:gd name="T11" fmla="*/ 3175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1">
                <a:moveTo>
                  <a:pt x="9" y="11"/>
                </a:moveTo>
                <a:cubicBezTo>
                  <a:pt x="7" y="11"/>
                  <a:pt x="2" y="10"/>
                  <a:pt x="1" y="9"/>
                </a:cubicBezTo>
                <a:cubicBezTo>
                  <a:pt x="0" y="7"/>
                  <a:pt x="4" y="1"/>
                  <a:pt x="6" y="0"/>
                </a:cubicBezTo>
                <a:cubicBezTo>
                  <a:pt x="7" y="0"/>
                  <a:pt x="12" y="0"/>
                  <a:pt x="15" y="1"/>
                </a:cubicBezTo>
                <a:cubicBezTo>
                  <a:pt x="17" y="3"/>
                  <a:pt x="19" y="5"/>
                  <a:pt x="18" y="6"/>
                </a:cubicBezTo>
                <a:cubicBezTo>
                  <a:pt x="17" y="7"/>
                  <a:pt x="12" y="11"/>
                  <a:pt x="9" y="11"/>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4" name="Freeform 217"/>
          <p:cNvSpPr>
            <a:spLocks/>
          </p:cNvSpPr>
          <p:nvPr>
            <p:custDataLst>
              <p:tags r:id="rId150"/>
            </p:custDataLst>
          </p:nvPr>
        </p:nvSpPr>
        <p:spPr bwMode="auto">
          <a:xfrm>
            <a:off x="6482342" y="1604416"/>
            <a:ext cx="3752779" cy="1387317"/>
          </a:xfrm>
          <a:custGeom>
            <a:avLst/>
            <a:gdLst>
              <a:gd name="T0" fmla="*/ 59899 w 1246"/>
              <a:gd name="T1" fmla="*/ 698353 h 431"/>
              <a:gd name="T2" fmla="*/ 49009 w 1246"/>
              <a:gd name="T3" fmla="*/ 535404 h 431"/>
              <a:gd name="T4" fmla="*/ 57177 w 1246"/>
              <a:gd name="T5" fmla="*/ 363725 h 431"/>
              <a:gd name="T6" fmla="*/ 272270 w 1246"/>
              <a:gd name="T7" fmla="*/ 419012 h 431"/>
              <a:gd name="T8" fmla="*/ 95295 w 1246"/>
              <a:gd name="T9" fmla="*/ 448110 h 431"/>
              <a:gd name="T10" fmla="*/ 220539 w 1246"/>
              <a:gd name="T11" fmla="*/ 570321 h 431"/>
              <a:gd name="T12" fmla="*/ 258657 w 1246"/>
              <a:gd name="T13" fmla="*/ 509215 h 431"/>
              <a:gd name="T14" fmla="*/ 353951 w 1246"/>
              <a:gd name="T15" fmla="*/ 424831 h 431"/>
              <a:gd name="T16" fmla="*/ 397515 w 1246"/>
              <a:gd name="T17" fmla="*/ 462659 h 431"/>
              <a:gd name="T18" fmla="*/ 598995 w 1246"/>
              <a:gd name="T19" fmla="*/ 389914 h 431"/>
              <a:gd name="T20" fmla="*/ 656171 w 1246"/>
              <a:gd name="T21" fmla="*/ 322988 h 431"/>
              <a:gd name="T22" fmla="*/ 841315 w 1246"/>
              <a:gd name="T23" fmla="*/ 354996 h 431"/>
              <a:gd name="T24" fmla="*/ 944778 w 1246"/>
              <a:gd name="T25" fmla="*/ 229874 h 431"/>
              <a:gd name="T26" fmla="*/ 947501 w 1246"/>
              <a:gd name="T27" fmla="*/ 413192 h 431"/>
              <a:gd name="T28" fmla="*/ 969282 w 1246"/>
              <a:gd name="T29" fmla="*/ 439380 h 431"/>
              <a:gd name="T30" fmla="*/ 1061854 w 1246"/>
              <a:gd name="T31" fmla="*/ 430651 h 431"/>
              <a:gd name="T32" fmla="*/ 969282 w 1246"/>
              <a:gd name="T33" fmla="*/ 331718 h 431"/>
              <a:gd name="T34" fmla="*/ 1001955 w 1246"/>
              <a:gd name="T35" fmla="*/ 267702 h 431"/>
              <a:gd name="T36" fmla="*/ 1029182 w 1246"/>
              <a:gd name="T37" fmla="*/ 256063 h 431"/>
              <a:gd name="T38" fmla="*/ 1127199 w 1246"/>
              <a:gd name="T39" fmla="*/ 267702 h 431"/>
              <a:gd name="T40" fmla="*/ 1173485 w 1246"/>
              <a:gd name="T41" fmla="*/ 314259 h 431"/>
              <a:gd name="T42" fmla="*/ 1238830 w 1246"/>
              <a:gd name="T43" fmla="*/ 174588 h 431"/>
              <a:gd name="T44" fmla="*/ 1410360 w 1246"/>
              <a:gd name="T45" fmla="*/ 72745 h 431"/>
              <a:gd name="T46" fmla="*/ 1603672 w 1246"/>
              <a:gd name="T47" fmla="*/ 0 h 431"/>
              <a:gd name="T48" fmla="*/ 1728916 w 1246"/>
              <a:gd name="T49" fmla="*/ 43647 h 431"/>
              <a:gd name="T50" fmla="*/ 1655403 w 1246"/>
              <a:gd name="T51" fmla="*/ 183318 h 431"/>
              <a:gd name="T52" fmla="*/ 1777925 w 1246"/>
              <a:gd name="T53" fmla="*/ 180408 h 431"/>
              <a:gd name="T54" fmla="*/ 1995741 w 1246"/>
              <a:gd name="T55" fmla="*/ 192047 h 431"/>
              <a:gd name="T56" fmla="*/ 2110095 w 1246"/>
              <a:gd name="T57" fmla="*/ 258972 h 431"/>
              <a:gd name="T58" fmla="*/ 2251675 w 1246"/>
              <a:gd name="T59" fmla="*/ 270612 h 431"/>
              <a:gd name="T60" fmla="*/ 2325188 w 1246"/>
              <a:gd name="T61" fmla="*/ 244423 h 431"/>
              <a:gd name="T62" fmla="*/ 2534837 w 1246"/>
              <a:gd name="T63" fmla="*/ 244423 h 431"/>
              <a:gd name="T64" fmla="*/ 2755375 w 1246"/>
              <a:gd name="T65" fmla="*/ 346267 h 431"/>
              <a:gd name="T66" fmla="*/ 2956856 w 1246"/>
              <a:gd name="T67" fmla="*/ 372455 h 431"/>
              <a:gd name="T68" fmla="*/ 3199176 w 1246"/>
              <a:gd name="T69" fmla="*/ 387004 h 431"/>
              <a:gd name="T70" fmla="*/ 3359816 w 1246"/>
              <a:gd name="T71" fmla="*/ 506306 h 431"/>
              <a:gd name="T72" fmla="*/ 3220958 w 1246"/>
              <a:gd name="T73" fmla="*/ 512125 h 431"/>
              <a:gd name="T74" fmla="*/ 3101159 w 1246"/>
              <a:gd name="T75" fmla="*/ 544133 h 431"/>
              <a:gd name="T76" fmla="*/ 3019478 w 1246"/>
              <a:gd name="T77" fmla="*/ 663435 h 431"/>
              <a:gd name="T78" fmla="*/ 2826166 w 1246"/>
              <a:gd name="T79" fmla="*/ 727451 h 431"/>
              <a:gd name="T80" fmla="*/ 2807107 w 1246"/>
              <a:gd name="T81" fmla="*/ 826384 h 431"/>
              <a:gd name="T82" fmla="*/ 2722703 w 1246"/>
              <a:gd name="T83" fmla="*/ 957325 h 431"/>
              <a:gd name="T84" fmla="*/ 2801661 w 1246"/>
              <a:gd name="T85" fmla="*/ 689623 h 431"/>
              <a:gd name="T86" fmla="*/ 2768989 w 1246"/>
              <a:gd name="T87" fmla="*/ 675074 h 431"/>
              <a:gd name="T88" fmla="*/ 2638299 w 1246"/>
              <a:gd name="T89" fmla="*/ 736180 h 431"/>
              <a:gd name="T90" fmla="*/ 2355138 w 1246"/>
              <a:gd name="T91" fmla="*/ 771098 h 431"/>
              <a:gd name="T92" fmla="*/ 2317020 w 1246"/>
              <a:gd name="T93" fmla="*/ 881670 h 431"/>
              <a:gd name="T94" fmla="*/ 2229894 w 1246"/>
              <a:gd name="T95" fmla="*/ 1198839 h 431"/>
              <a:gd name="T96" fmla="*/ 2202667 w 1246"/>
              <a:gd name="T97" fmla="*/ 1149372 h 431"/>
              <a:gd name="T98" fmla="*/ 2050195 w 1246"/>
              <a:gd name="T99" fmla="*/ 925317 h 431"/>
              <a:gd name="T100" fmla="*/ 1835102 w 1246"/>
              <a:gd name="T101" fmla="*/ 1006792 h 431"/>
              <a:gd name="T102" fmla="*/ 1489319 w 1246"/>
              <a:gd name="T103" fmla="*/ 945686 h 431"/>
              <a:gd name="T104" fmla="*/ 1260612 w 1246"/>
              <a:gd name="T105" fmla="*/ 1035890 h 431"/>
              <a:gd name="T106" fmla="*/ 1037350 w 1246"/>
              <a:gd name="T107" fmla="*/ 902039 h 431"/>
              <a:gd name="T108" fmla="*/ 808643 w 1246"/>
              <a:gd name="T109" fmla="*/ 872941 h 431"/>
              <a:gd name="T110" fmla="*/ 669785 w 1246"/>
              <a:gd name="T111" fmla="*/ 992243 h 431"/>
              <a:gd name="T112" fmla="*/ 438355 w 1246"/>
              <a:gd name="T113" fmla="*/ 1018431 h 431"/>
              <a:gd name="T114" fmla="*/ 432910 w 1246"/>
              <a:gd name="T115" fmla="*/ 1131913 h 431"/>
              <a:gd name="T116" fmla="*/ 405683 w 1246"/>
              <a:gd name="T117" fmla="*/ 1242486 h 431"/>
              <a:gd name="T118" fmla="*/ 234152 w 1246"/>
              <a:gd name="T119" fmla="*/ 1172651 h 431"/>
              <a:gd name="T120" fmla="*/ 228707 w 1246"/>
              <a:gd name="T121" fmla="*/ 1088266 h 431"/>
              <a:gd name="T122" fmla="*/ 136135 w 1246"/>
              <a:gd name="T123" fmla="*/ 939866 h 4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46" h="431">
                <a:moveTo>
                  <a:pt x="16" y="286"/>
                </a:moveTo>
                <a:cubicBezTo>
                  <a:pt x="13" y="285"/>
                  <a:pt x="8" y="284"/>
                  <a:pt x="6" y="284"/>
                </a:cubicBezTo>
                <a:cubicBezTo>
                  <a:pt x="5" y="284"/>
                  <a:pt x="5" y="278"/>
                  <a:pt x="4" y="276"/>
                </a:cubicBezTo>
                <a:cubicBezTo>
                  <a:pt x="4" y="274"/>
                  <a:pt x="3" y="268"/>
                  <a:pt x="2" y="268"/>
                </a:cubicBezTo>
                <a:cubicBezTo>
                  <a:pt x="1" y="267"/>
                  <a:pt x="0" y="261"/>
                  <a:pt x="1" y="258"/>
                </a:cubicBezTo>
                <a:cubicBezTo>
                  <a:pt x="5" y="247"/>
                  <a:pt x="5" y="247"/>
                  <a:pt x="5" y="247"/>
                </a:cubicBezTo>
                <a:cubicBezTo>
                  <a:pt x="6" y="247"/>
                  <a:pt x="6" y="243"/>
                  <a:pt x="7" y="242"/>
                </a:cubicBezTo>
                <a:cubicBezTo>
                  <a:pt x="9" y="242"/>
                  <a:pt x="18" y="242"/>
                  <a:pt x="19" y="242"/>
                </a:cubicBezTo>
                <a:cubicBezTo>
                  <a:pt x="20" y="242"/>
                  <a:pt x="22" y="241"/>
                  <a:pt x="22" y="240"/>
                </a:cubicBezTo>
                <a:cubicBezTo>
                  <a:pt x="22" y="239"/>
                  <a:pt x="15" y="238"/>
                  <a:pt x="14" y="237"/>
                </a:cubicBezTo>
                <a:cubicBezTo>
                  <a:pt x="13" y="236"/>
                  <a:pt x="10" y="234"/>
                  <a:pt x="10" y="232"/>
                </a:cubicBezTo>
                <a:cubicBezTo>
                  <a:pt x="10" y="232"/>
                  <a:pt x="10" y="232"/>
                  <a:pt x="8" y="232"/>
                </a:cubicBezTo>
                <a:cubicBezTo>
                  <a:pt x="12" y="227"/>
                  <a:pt x="12" y="227"/>
                  <a:pt x="12" y="227"/>
                </a:cubicBezTo>
                <a:cubicBezTo>
                  <a:pt x="14" y="225"/>
                  <a:pt x="30" y="212"/>
                  <a:pt x="31" y="209"/>
                </a:cubicBezTo>
                <a:cubicBezTo>
                  <a:pt x="32" y="206"/>
                  <a:pt x="31" y="203"/>
                  <a:pt x="28" y="202"/>
                </a:cubicBezTo>
                <a:cubicBezTo>
                  <a:pt x="26" y="201"/>
                  <a:pt x="21" y="199"/>
                  <a:pt x="21" y="197"/>
                </a:cubicBezTo>
                <a:cubicBezTo>
                  <a:pt x="20" y="196"/>
                  <a:pt x="25" y="192"/>
                  <a:pt x="24" y="190"/>
                </a:cubicBezTo>
                <a:cubicBezTo>
                  <a:pt x="23" y="188"/>
                  <a:pt x="18" y="187"/>
                  <a:pt x="18" y="184"/>
                </a:cubicBezTo>
                <a:cubicBezTo>
                  <a:pt x="19" y="180"/>
                  <a:pt x="20" y="177"/>
                  <a:pt x="20" y="174"/>
                </a:cubicBezTo>
                <a:cubicBezTo>
                  <a:pt x="20" y="172"/>
                  <a:pt x="20" y="168"/>
                  <a:pt x="19" y="166"/>
                </a:cubicBezTo>
                <a:cubicBezTo>
                  <a:pt x="18" y="163"/>
                  <a:pt x="13" y="160"/>
                  <a:pt x="14" y="157"/>
                </a:cubicBezTo>
                <a:cubicBezTo>
                  <a:pt x="14" y="154"/>
                  <a:pt x="20" y="150"/>
                  <a:pt x="20" y="147"/>
                </a:cubicBezTo>
                <a:cubicBezTo>
                  <a:pt x="20" y="145"/>
                  <a:pt x="13" y="143"/>
                  <a:pt x="11" y="141"/>
                </a:cubicBezTo>
                <a:cubicBezTo>
                  <a:pt x="10" y="139"/>
                  <a:pt x="10" y="136"/>
                  <a:pt x="10" y="136"/>
                </a:cubicBezTo>
                <a:cubicBezTo>
                  <a:pt x="12" y="131"/>
                  <a:pt x="12" y="131"/>
                  <a:pt x="12" y="131"/>
                </a:cubicBezTo>
                <a:cubicBezTo>
                  <a:pt x="14" y="132"/>
                  <a:pt x="16" y="132"/>
                  <a:pt x="16" y="130"/>
                </a:cubicBezTo>
                <a:cubicBezTo>
                  <a:pt x="16" y="124"/>
                  <a:pt x="19" y="127"/>
                  <a:pt x="21" y="125"/>
                </a:cubicBezTo>
                <a:cubicBezTo>
                  <a:pt x="22" y="123"/>
                  <a:pt x="23" y="119"/>
                  <a:pt x="23" y="119"/>
                </a:cubicBezTo>
                <a:cubicBezTo>
                  <a:pt x="26" y="120"/>
                  <a:pt x="34" y="122"/>
                  <a:pt x="35" y="122"/>
                </a:cubicBezTo>
                <a:cubicBezTo>
                  <a:pt x="36" y="122"/>
                  <a:pt x="35" y="118"/>
                  <a:pt x="38" y="119"/>
                </a:cubicBezTo>
                <a:cubicBezTo>
                  <a:pt x="41" y="119"/>
                  <a:pt x="45" y="119"/>
                  <a:pt x="45" y="120"/>
                </a:cubicBezTo>
                <a:cubicBezTo>
                  <a:pt x="45" y="121"/>
                  <a:pt x="41" y="122"/>
                  <a:pt x="41" y="124"/>
                </a:cubicBezTo>
                <a:cubicBezTo>
                  <a:pt x="41" y="125"/>
                  <a:pt x="46" y="125"/>
                  <a:pt x="50" y="125"/>
                </a:cubicBezTo>
                <a:cubicBezTo>
                  <a:pt x="54" y="126"/>
                  <a:pt x="61" y="126"/>
                  <a:pt x="64" y="127"/>
                </a:cubicBezTo>
                <a:cubicBezTo>
                  <a:pt x="68" y="128"/>
                  <a:pt x="80" y="133"/>
                  <a:pt x="83" y="136"/>
                </a:cubicBezTo>
                <a:cubicBezTo>
                  <a:pt x="86" y="138"/>
                  <a:pt x="98" y="144"/>
                  <a:pt x="100" y="144"/>
                </a:cubicBezTo>
                <a:cubicBezTo>
                  <a:pt x="102" y="144"/>
                  <a:pt x="105" y="145"/>
                  <a:pt x="105" y="146"/>
                </a:cubicBezTo>
                <a:cubicBezTo>
                  <a:pt x="106" y="147"/>
                  <a:pt x="105" y="151"/>
                  <a:pt x="106" y="152"/>
                </a:cubicBezTo>
                <a:cubicBezTo>
                  <a:pt x="107" y="154"/>
                  <a:pt x="108" y="157"/>
                  <a:pt x="105" y="159"/>
                </a:cubicBezTo>
                <a:cubicBezTo>
                  <a:pt x="103" y="160"/>
                  <a:pt x="100" y="165"/>
                  <a:pt x="93" y="166"/>
                </a:cubicBezTo>
                <a:cubicBezTo>
                  <a:pt x="79" y="169"/>
                  <a:pt x="75" y="165"/>
                  <a:pt x="73" y="164"/>
                </a:cubicBezTo>
                <a:cubicBezTo>
                  <a:pt x="70" y="164"/>
                  <a:pt x="64" y="163"/>
                  <a:pt x="61" y="162"/>
                </a:cubicBezTo>
                <a:cubicBezTo>
                  <a:pt x="58" y="160"/>
                  <a:pt x="52" y="158"/>
                  <a:pt x="49" y="157"/>
                </a:cubicBezTo>
                <a:cubicBezTo>
                  <a:pt x="46" y="156"/>
                  <a:pt x="44" y="155"/>
                  <a:pt x="42" y="154"/>
                </a:cubicBezTo>
                <a:cubicBezTo>
                  <a:pt x="39" y="153"/>
                  <a:pt x="36" y="153"/>
                  <a:pt x="35" y="154"/>
                </a:cubicBezTo>
                <a:cubicBezTo>
                  <a:pt x="34" y="154"/>
                  <a:pt x="38" y="157"/>
                  <a:pt x="39" y="159"/>
                </a:cubicBezTo>
                <a:cubicBezTo>
                  <a:pt x="41" y="160"/>
                  <a:pt x="46" y="164"/>
                  <a:pt x="50" y="166"/>
                </a:cubicBezTo>
                <a:cubicBezTo>
                  <a:pt x="53" y="168"/>
                  <a:pt x="57" y="169"/>
                  <a:pt x="57" y="171"/>
                </a:cubicBezTo>
                <a:cubicBezTo>
                  <a:pt x="56" y="173"/>
                  <a:pt x="53" y="176"/>
                  <a:pt x="54" y="177"/>
                </a:cubicBezTo>
                <a:cubicBezTo>
                  <a:pt x="55" y="178"/>
                  <a:pt x="58" y="182"/>
                  <a:pt x="58" y="183"/>
                </a:cubicBezTo>
                <a:cubicBezTo>
                  <a:pt x="58" y="185"/>
                  <a:pt x="58" y="187"/>
                  <a:pt x="59" y="188"/>
                </a:cubicBezTo>
                <a:cubicBezTo>
                  <a:pt x="61" y="190"/>
                  <a:pt x="66" y="189"/>
                  <a:pt x="66" y="190"/>
                </a:cubicBezTo>
                <a:cubicBezTo>
                  <a:pt x="67" y="192"/>
                  <a:pt x="69" y="194"/>
                  <a:pt x="72" y="195"/>
                </a:cubicBezTo>
                <a:cubicBezTo>
                  <a:pt x="74" y="196"/>
                  <a:pt x="80" y="197"/>
                  <a:pt x="81" y="196"/>
                </a:cubicBezTo>
                <a:cubicBezTo>
                  <a:pt x="82" y="195"/>
                  <a:pt x="83" y="191"/>
                  <a:pt x="81" y="189"/>
                </a:cubicBezTo>
                <a:cubicBezTo>
                  <a:pt x="79" y="187"/>
                  <a:pt x="76" y="188"/>
                  <a:pt x="74" y="187"/>
                </a:cubicBezTo>
                <a:cubicBezTo>
                  <a:pt x="73" y="186"/>
                  <a:pt x="70" y="184"/>
                  <a:pt x="70" y="183"/>
                </a:cubicBezTo>
                <a:cubicBezTo>
                  <a:pt x="70" y="182"/>
                  <a:pt x="72" y="179"/>
                  <a:pt x="73" y="179"/>
                </a:cubicBezTo>
                <a:cubicBezTo>
                  <a:pt x="74" y="179"/>
                  <a:pt x="78" y="179"/>
                  <a:pt x="79" y="181"/>
                </a:cubicBezTo>
                <a:cubicBezTo>
                  <a:pt x="80" y="182"/>
                  <a:pt x="92" y="187"/>
                  <a:pt x="94" y="187"/>
                </a:cubicBezTo>
                <a:cubicBezTo>
                  <a:pt x="95" y="187"/>
                  <a:pt x="99" y="186"/>
                  <a:pt x="100" y="185"/>
                </a:cubicBezTo>
                <a:cubicBezTo>
                  <a:pt x="102" y="183"/>
                  <a:pt x="100" y="182"/>
                  <a:pt x="99" y="180"/>
                </a:cubicBezTo>
                <a:cubicBezTo>
                  <a:pt x="97" y="178"/>
                  <a:pt x="95" y="177"/>
                  <a:pt x="95" y="175"/>
                </a:cubicBezTo>
                <a:cubicBezTo>
                  <a:pt x="95" y="174"/>
                  <a:pt x="98" y="172"/>
                  <a:pt x="98" y="172"/>
                </a:cubicBezTo>
                <a:cubicBezTo>
                  <a:pt x="98" y="172"/>
                  <a:pt x="103" y="170"/>
                  <a:pt x="105" y="169"/>
                </a:cubicBezTo>
                <a:cubicBezTo>
                  <a:pt x="106" y="168"/>
                  <a:pt x="114" y="162"/>
                  <a:pt x="115" y="162"/>
                </a:cubicBezTo>
                <a:cubicBezTo>
                  <a:pt x="116" y="162"/>
                  <a:pt x="120" y="162"/>
                  <a:pt x="121" y="164"/>
                </a:cubicBezTo>
                <a:cubicBezTo>
                  <a:pt x="123" y="165"/>
                  <a:pt x="126" y="169"/>
                  <a:pt x="128" y="169"/>
                </a:cubicBezTo>
                <a:cubicBezTo>
                  <a:pt x="131" y="168"/>
                  <a:pt x="131" y="162"/>
                  <a:pt x="132" y="160"/>
                </a:cubicBezTo>
                <a:cubicBezTo>
                  <a:pt x="132" y="158"/>
                  <a:pt x="132" y="155"/>
                  <a:pt x="130" y="155"/>
                </a:cubicBezTo>
                <a:cubicBezTo>
                  <a:pt x="128" y="154"/>
                  <a:pt x="126" y="154"/>
                  <a:pt x="126" y="152"/>
                </a:cubicBezTo>
                <a:cubicBezTo>
                  <a:pt x="126" y="151"/>
                  <a:pt x="130" y="148"/>
                  <a:pt x="130" y="146"/>
                </a:cubicBezTo>
                <a:cubicBezTo>
                  <a:pt x="130" y="143"/>
                  <a:pt x="129" y="139"/>
                  <a:pt x="127" y="138"/>
                </a:cubicBezTo>
                <a:cubicBezTo>
                  <a:pt x="125" y="137"/>
                  <a:pt x="122" y="135"/>
                  <a:pt x="123" y="134"/>
                </a:cubicBezTo>
                <a:cubicBezTo>
                  <a:pt x="123" y="133"/>
                  <a:pt x="128" y="135"/>
                  <a:pt x="130" y="135"/>
                </a:cubicBezTo>
                <a:cubicBezTo>
                  <a:pt x="131" y="135"/>
                  <a:pt x="141" y="135"/>
                  <a:pt x="142" y="136"/>
                </a:cubicBezTo>
                <a:cubicBezTo>
                  <a:pt x="144" y="137"/>
                  <a:pt x="150" y="144"/>
                  <a:pt x="149" y="145"/>
                </a:cubicBezTo>
                <a:cubicBezTo>
                  <a:pt x="148" y="146"/>
                  <a:pt x="141" y="146"/>
                  <a:pt x="139" y="146"/>
                </a:cubicBezTo>
                <a:cubicBezTo>
                  <a:pt x="137" y="146"/>
                  <a:pt x="135" y="149"/>
                  <a:pt x="135" y="151"/>
                </a:cubicBezTo>
                <a:cubicBezTo>
                  <a:pt x="135" y="153"/>
                  <a:pt x="139" y="153"/>
                  <a:pt x="140" y="154"/>
                </a:cubicBezTo>
                <a:cubicBezTo>
                  <a:pt x="141" y="156"/>
                  <a:pt x="142" y="159"/>
                  <a:pt x="146" y="159"/>
                </a:cubicBezTo>
                <a:cubicBezTo>
                  <a:pt x="149" y="159"/>
                  <a:pt x="155" y="159"/>
                  <a:pt x="156" y="157"/>
                </a:cubicBezTo>
                <a:cubicBezTo>
                  <a:pt x="157" y="155"/>
                  <a:pt x="156" y="147"/>
                  <a:pt x="158" y="147"/>
                </a:cubicBezTo>
                <a:cubicBezTo>
                  <a:pt x="160" y="147"/>
                  <a:pt x="167" y="146"/>
                  <a:pt x="170" y="144"/>
                </a:cubicBezTo>
                <a:cubicBezTo>
                  <a:pt x="173" y="143"/>
                  <a:pt x="180" y="137"/>
                  <a:pt x="182" y="137"/>
                </a:cubicBezTo>
                <a:cubicBezTo>
                  <a:pt x="184" y="137"/>
                  <a:pt x="188" y="135"/>
                  <a:pt x="191" y="134"/>
                </a:cubicBezTo>
                <a:cubicBezTo>
                  <a:pt x="195" y="134"/>
                  <a:pt x="206" y="129"/>
                  <a:pt x="208" y="129"/>
                </a:cubicBezTo>
                <a:cubicBezTo>
                  <a:pt x="210" y="128"/>
                  <a:pt x="204" y="136"/>
                  <a:pt x="204" y="137"/>
                </a:cubicBezTo>
                <a:cubicBezTo>
                  <a:pt x="204" y="139"/>
                  <a:pt x="207" y="140"/>
                  <a:pt x="210" y="140"/>
                </a:cubicBezTo>
                <a:cubicBezTo>
                  <a:pt x="213" y="139"/>
                  <a:pt x="218" y="134"/>
                  <a:pt x="220" y="134"/>
                </a:cubicBezTo>
                <a:cubicBezTo>
                  <a:pt x="222" y="134"/>
                  <a:pt x="224" y="136"/>
                  <a:pt x="227" y="136"/>
                </a:cubicBezTo>
                <a:cubicBezTo>
                  <a:pt x="229" y="135"/>
                  <a:pt x="235" y="132"/>
                  <a:pt x="238" y="131"/>
                </a:cubicBezTo>
                <a:cubicBezTo>
                  <a:pt x="241" y="130"/>
                  <a:pt x="243" y="130"/>
                  <a:pt x="244" y="132"/>
                </a:cubicBezTo>
                <a:cubicBezTo>
                  <a:pt x="245" y="133"/>
                  <a:pt x="241" y="138"/>
                  <a:pt x="244" y="138"/>
                </a:cubicBezTo>
                <a:cubicBezTo>
                  <a:pt x="248" y="138"/>
                  <a:pt x="250" y="137"/>
                  <a:pt x="250" y="137"/>
                </a:cubicBezTo>
                <a:cubicBezTo>
                  <a:pt x="251" y="136"/>
                  <a:pt x="258" y="132"/>
                  <a:pt x="256" y="129"/>
                </a:cubicBezTo>
                <a:cubicBezTo>
                  <a:pt x="254" y="127"/>
                  <a:pt x="253" y="124"/>
                  <a:pt x="252" y="122"/>
                </a:cubicBezTo>
                <a:cubicBezTo>
                  <a:pt x="250" y="120"/>
                  <a:pt x="241" y="117"/>
                  <a:pt x="240" y="115"/>
                </a:cubicBezTo>
                <a:cubicBezTo>
                  <a:pt x="239" y="114"/>
                  <a:pt x="239" y="112"/>
                  <a:pt x="241" y="111"/>
                </a:cubicBezTo>
                <a:cubicBezTo>
                  <a:pt x="243" y="110"/>
                  <a:pt x="245" y="111"/>
                  <a:pt x="247" y="113"/>
                </a:cubicBezTo>
                <a:cubicBezTo>
                  <a:pt x="249" y="114"/>
                  <a:pt x="256" y="118"/>
                  <a:pt x="257" y="118"/>
                </a:cubicBezTo>
                <a:cubicBezTo>
                  <a:pt x="264" y="119"/>
                  <a:pt x="272" y="118"/>
                  <a:pt x="276" y="119"/>
                </a:cubicBezTo>
                <a:cubicBezTo>
                  <a:pt x="280" y="121"/>
                  <a:pt x="290" y="126"/>
                  <a:pt x="291" y="126"/>
                </a:cubicBezTo>
                <a:cubicBezTo>
                  <a:pt x="292" y="127"/>
                  <a:pt x="307" y="134"/>
                  <a:pt x="308" y="135"/>
                </a:cubicBezTo>
                <a:cubicBezTo>
                  <a:pt x="309" y="136"/>
                  <a:pt x="311" y="141"/>
                  <a:pt x="313" y="141"/>
                </a:cubicBezTo>
                <a:cubicBezTo>
                  <a:pt x="316" y="141"/>
                  <a:pt x="318" y="133"/>
                  <a:pt x="319" y="131"/>
                </a:cubicBezTo>
                <a:cubicBezTo>
                  <a:pt x="320" y="129"/>
                  <a:pt x="314" y="129"/>
                  <a:pt x="313" y="127"/>
                </a:cubicBezTo>
                <a:cubicBezTo>
                  <a:pt x="313" y="125"/>
                  <a:pt x="310" y="122"/>
                  <a:pt x="309" y="122"/>
                </a:cubicBezTo>
                <a:cubicBezTo>
                  <a:pt x="308" y="121"/>
                  <a:pt x="303" y="121"/>
                  <a:pt x="302" y="121"/>
                </a:cubicBezTo>
                <a:cubicBezTo>
                  <a:pt x="302" y="120"/>
                  <a:pt x="303" y="117"/>
                  <a:pt x="303" y="116"/>
                </a:cubicBezTo>
                <a:cubicBezTo>
                  <a:pt x="303" y="114"/>
                  <a:pt x="308" y="106"/>
                  <a:pt x="307" y="105"/>
                </a:cubicBezTo>
                <a:cubicBezTo>
                  <a:pt x="305" y="104"/>
                  <a:pt x="300" y="107"/>
                  <a:pt x="299" y="104"/>
                </a:cubicBezTo>
                <a:cubicBezTo>
                  <a:pt x="299" y="101"/>
                  <a:pt x="301" y="98"/>
                  <a:pt x="303" y="98"/>
                </a:cubicBezTo>
                <a:cubicBezTo>
                  <a:pt x="304" y="97"/>
                  <a:pt x="312" y="95"/>
                  <a:pt x="313" y="93"/>
                </a:cubicBezTo>
                <a:cubicBezTo>
                  <a:pt x="313" y="91"/>
                  <a:pt x="319" y="75"/>
                  <a:pt x="321" y="74"/>
                </a:cubicBezTo>
                <a:cubicBezTo>
                  <a:pt x="322" y="74"/>
                  <a:pt x="334" y="76"/>
                  <a:pt x="336" y="76"/>
                </a:cubicBezTo>
                <a:cubicBezTo>
                  <a:pt x="339" y="76"/>
                  <a:pt x="347" y="78"/>
                  <a:pt x="347" y="79"/>
                </a:cubicBezTo>
                <a:cubicBezTo>
                  <a:pt x="348" y="81"/>
                  <a:pt x="348" y="84"/>
                  <a:pt x="346" y="86"/>
                </a:cubicBezTo>
                <a:cubicBezTo>
                  <a:pt x="345" y="88"/>
                  <a:pt x="340" y="93"/>
                  <a:pt x="340" y="95"/>
                </a:cubicBezTo>
                <a:cubicBezTo>
                  <a:pt x="340" y="97"/>
                  <a:pt x="346" y="99"/>
                  <a:pt x="346" y="102"/>
                </a:cubicBezTo>
                <a:cubicBezTo>
                  <a:pt x="347" y="104"/>
                  <a:pt x="347" y="110"/>
                  <a:pt x="346" y="111"/>
                </a:cubicBezTo>
                <a:cubicBezTo>
                  <a:pt x="345" y="113"/>
                  <a:pt x="343" y="112"/>
                  <a:pt x="344" y="115"/>
                </a:cubicBezTo>
                <a:cubicBezTo>
                  <a:pt x="345" y="117"/>
                  <a:pt x="346" y="119"/>
                  <a:pt x="346" y="121"/>
                </a:cubicBezTo>
                <a:cubicBezTo>
                  <a:pt x="346" y="123"/>
                  <a:pt x="344" y="127"/>
                  <a:pt x="345" y="130"/>
                </a:cubicBezTo>
                <a:cubicBezTo>
                  <a:pt x="346" y="132"/>
                  <a:pt x="354" y="135"/>
                  <a:pt x="353" y="137"/>
                </a:cubicBezTo>
                <a:cubicBezTo>
                  <a:pt x="352" y="138"/>
                  <a:pt x="347" y="139"/>
                  <a:pt x="348" y="142"/>
                </a:cubicBezTo>
                <a:cubicBezTo>
                  <a:pt x="349" y="144"/>
                  <a:pt x="350" y="147"/>
                  <a:pt x="349" y="147"/>
                </a:cubicBezTo>
                <a:cubicBezTo>
                  <a:pt x="349" y="148"/>
                  <a:pt x="342" y="153"/>
                  <a:pt x="340" y="155"/>
                </a:cubicBezTo>
                <a:cubicBezTo>
                  <a:pt x="339" y="157"/>
                  <a:pt x="330" y="160"/>
                  <a:pt x="328" y="159"/>
                </a:cubicBezTo>
                <a:cubicBezTo>
                  <a:pt x="326" y="158"/>
                  <a:pt x="320" y="156"/>
                  <a:pt x="319" y="158"/>
                </a:cubicBezTo>
                <a:cubicBezTo>
                  <a:pt x="318" y="160"/>
                  <a:pt x="322" y="163"/>
                  <a:pt x="325" y="164"/>
                </a:cubicBezTo>
                <a:cubicBezTo>
                  <a:pt x="328" y="165"/>
                  <a:pt x="341" y="166"/>
                  <a:pt x="343" y="166"/>
                </a:cubicBezTo>
                <a:cubicBezTo>
                  <a:pt x="345" y="166"/>
                  <a:pt x="344" y="160"/>
                  <a:pt x="347" y="160"/>
                </a:cubicBezTo>
                <a:cubicBezTo>
                  <a:pt x="349" y="160"/>
                  <a:pt x="354" y="159"/>
                  <a:pt x="355" y="158"/>
                </a:cubicBezTo>
                <a:cubicBezTo>
                  <a:pt x="357" y="157"/>
                  <a:pt x="355" y="152"/>
                  <a:pt x="356" y="151"/>
                </a:cubicBezTo>
                <a:cubicBezTo>
                  <a:pt x="357" y="150"/>
                  <a:pt x="362" y="150"/>
                  <a:pt x="362" y="147"/>
                </a:cubicBezTo>
                <a:cubicBezTo>
                  <a:pt x="362" y="144"/>
                  <a:pt x="363" y="141"/>
                  <a:pt x="362" y="140"/>
                </a:cubicBezTo>
                <a:cubicBezTo>
                  <a:pt x="361" y="139"/>
                  <a:pt x="360" y="137"/>
                  <a:pt x="360" y="136"/>
                </a:cubicBezTo>
                <a:cubicBezTo>
                  <a:pt x="361" y="134"/>
                  <a:pt x="363" y="132"/>
                  <a:pt x="363" y="132"/>
                </a:cubicBezTo>
                <a:cubicBezTo>
                  <a:pt x="363" y="132"/>
                  <a:pt x="374" y="130"/>
                  <a:pt x="376" y="130"/>
                </a:cubicBezTo>
                <a:cubicBezTo>
                  <a:pt x="377" y="131"/>
                  <a:pt x="381" y="136"/>
                  <a:pt x="381" y="137"/>
                </a:cubicBezTo>
                <a:cubicBezTo>
                  <a:pt x="381" y="138"/>
                  <a:pt x="379" y="144"/>
                  <a:pt x="380" y="146"/>
                </a:cubicBezTo>
                <a:cubicBezTo>
                  <a:pt x="382" y="148"/>
                  <a:pt x="385" y="150"/>
                  <a:pt x="386" y="150"/>
                </a:cubicBezTo>
                <a:cubicBezTo>
                  <a:pt x="386" y="150"/>
                  <a:pt x="389" y="148"/>
                  <a:pt x="390" y="148"/>
                </a:cubicBezTo>
                <a:cubicBezTo>
                  <a:pt x="391" y="148"/>
                  <a:pt x="386" y="145"/>
                  <a:pt x="386" y="144"/>
                </a:cubicBezTo>
                <a:cubicBezTo>
                  <a:pt x="385" y="143"/>
                  <a:pt x="385" y="141"/>
                  <a:pt x="387" y="141"/>
                </a:cubicBezTo>
                <a:cubicBezTo>
                  <a:pt x="389" y="141"/>
                  <a:pt x="389" y="139"/>
                  <a:pt x="388" y="137"/>
                </a:cubicBezTo>
                <a:cubicBezTo>
                  <a:pt x="387" y="136"/>
                  <a:pt x="385" y="132"/>
                  <a:pt x="385" y="130"/>
                </a:cubicBezTo>
                <a:cubicBezTo>
                  <a:pt x="384" y="128"/>
                  <a:pt x="379" y="127"/>
                  <a:pt x="377" y="126"/>
                </a:cubicBezTo>
                <a:cubicBezTo>
                  <a:pt x="375" y="125"/>
                  <a:pt x="372" y="124"/>
                  <a:pt x="368" y="125"/>
                </a:cubicBezTo>
                <a:cubicBezTo>
                  <a:pt x="364" y="126"/>
                  <a:pt x="359" y="128"/>
                  <a:pt x="357" y="127"/>
                </a:cubicBezTo>
                <a:cubicBezTo>
                  <a:pt x="355" y="127"/>
                  <a:pt x="357" y="124"/>
                  <a:pt x="356" y="122"/>
                </a:cubicBezTo>
                <a:cubicBezTo>
                  <a:pt x="355" y="120"/>
                  <a:pt x="354" y="116"/>
                  <a:pt x="356" y="114"/>
                </a:cubicBezTo>
                <a:cubicBezTo>
                  <a:pt x="358" y="113"/>
                  <a:pt x="362" y="110"/>
                  <a:pt x="361" y="107"/>
                </a:cubicBezTo>
                <a:cubicBezTo>
                  <a:pt x="360" y="104"/>
                  <a:pt x="351" y="98"/>
                  <a:pt x="351" y="96"/>
                </a:cubicBezTo>
                <a:cubicBezTo>
                  <a:pt x="351" y="94"/>
                  <a:pt x="354" y="91"/>
                  <a:pt x="354" y="91"/>
                </a:cubicBezTo>
                <a:cubicBezTo>
                  <a:pt x="354" y="91"/>
                  <a:pt x="363" y="89"/>
                  <a:pt x="363" y="88"/>
                </a:cubicBezTo>
                <a:cubicBezTo>
                  <a:pt x="363" y="87"/>
                  <a:pt x="366" y="82"/>
                  <a:pt x="363" y="79"/>
                </a:cubicBezTo>
                <a:cubicBezTo>
                  <a:pt x="361" y="76"/>
                  <a:pt x="357" y="75"/>
                  <a:pt x="358" y="73"/>
                </a:cubicBezTo>
                <a:cubicBezTo>
                  <a:pt x="359" y="72"/>
                  <a:pt x="363" y="73"/>
                  <a:pt x="365" y="73"/>
                </a:cubicBezTo>
                <a:cubicBezTo>
                  <a:pt x="366" y="74"/>
                  <a:pt x="371" y="79"/>
                  <a:pt x="371" y="81"/>
                </a:cubicBezTo>
                <a:cubicBezTo>
                  <a:pt x="371" y="83"/>
                  <a:pt x="368" y="90"/>
                  <a:pt x="368" y="92"/>
                </a:cubicBezTo>
                <a:cubicBezTo>
                  <a:pt x="367" y="94"/>
                  <a:pt x="366" y="96"/>
                  <a:pt x="368" y="98"/>
                </a:cubicBezTo>
                <a:cubicBezTo>
                  <a:pt x="370" y="100"/>
                  <a:pt x="375" y="101"/>
                  <a:pt x="377" y="101"/>
                </a:cubicBezTo>
                <a:cubicBezTo>
                  <a:pt x="380" y="101"/>
                  <a:pt x="382" y="101"/>
                  <a:pt x="384" y="101"/>
                </a:cubicBezTo>
                <a:cubicBezTo>
                  <a:pt x="385" y="102"/>
                  <a:pt x="389" y="105"/>
                  <a:pt x="390" y="104"/>
                </a:cubicBezTo>
                <a:cubicBezTo>
                  <a:pt x="391" y="103"/>
                  <a:pt x="390" y="100"/>
                  <a:pt x="390" y="99"/>
                </a:cubicBezTo>
                <a:cubicBezTo>
                  <a:pt x="389" y="97"/>
                  <a:pt x="388" y="97"/>
                  <a:pt x="386" y="97"/>
                </a:cubicBezTo>
                <a:cubicBezTo>
                  <a:pt x="385" y="97"/>
                  <a:pt x="380" y="96"/>
                  <a:pt x="378" y="95"/>
                </a:cubicBezTo>
                <a:cubicBezTo>
                  <a:pt x="376" y="93"/>
                  <a:pt x="373" y="92"/>
                  <a:pt x="373" y="90"/>
                </a:cubicBezTo>
                <a:cubicBezTo>
                  <a:pt x="374" y="89"/>
                  <a:pt x="377" y="88"/>
                  <a:pt x="378" y="88"/>
                </a:cubicBezTo>
                <a:cubicBezTo>
                  <a:pt x="379" y="88"/>
                  <a:pt x="382" y="91"/>
                  <a:pt x="384" y="91"/>
                </a:cubicBezTo>
                <a:cubicBezTo>
                  <a:pt x="386" y="91"/>
                  <a:pt x="389" y="91"/>
                  <a:pt x="389" y="89"/>
                </a:cubicBezTo>
                <a:cubicBezTo>
                  <a:pt x="389" y="87"/>
                  <a:pt x="386" y="84"/>
                  <a:pt x="384" y="84"/>
                </a:cubicBezTo>
                <a:cubicBezTo>
                  <a:pt x="381" y="84"/>
                  <a:pt x="379" y="83"/>
                  <a:pt x="379" y="82"/>
                </a:cubicBezTo>
                <a:cubicBezTo>
                  <a:pt x="379" y="81"/>
                  <a:pt x="384" y="80"/>
                  <a:pt x="385" y="80"/>
                </a:cubicBezTo>
                <a:cubicBezTo>
                  <a:pt x="386" y="79"/>
                  <a:pt x="389" y="80"/>
                  <a:pt x="390" y="81"/>
                </a:cubicBezTo>
                <a:cubicBezTo>
                  <a:pt x="391" y="83"/>
                  <a:pt x="394" y="84"/>
                  <a:pt x="395" y="84"/>
                </a:cubicBezTo>
                <a:cubicBezTo>
                  <a:pt x="398" y="83"/>
                  <a:pt x="403" y="86"/>
                  <a:pt x="404" y="86"/>
                </a:cubicBezTo>
                <a:cubicBezTo>
                  <a:pt x="406" y="86"/>
                  <a:pt x="411" y="92"/>
                  <a:pt x="414" y="92"/>
                </a:cubicBezTo>
                <a:cubicBezTo>
                  <a:pt x="417" y="93"/>
                  <a:pt x="424" y="92"/>
                  <a:pt x="424" y="93"/>
                </a:cubicBezTo>
                <a:cubicBezTo>
                  <a:pt x="425" y="97"/>
                  <a:pt x="419" y="96"/>
                  <a:pt x="419" y="98"/>
                </a:cubicBezTo>
                <a:cubicBezTo>
                  <a:pt x="419" y="100"/>
                  <a:pt x="418" y="101"/>
                  <a:pt x="420" y="103"/>
                </a:cubicBezTo>
                <a:cubicBezTo>
                  <a:pt x="422" y="104"/>
                  <a:pt x="420" y="106"/>
                  <a:pt x="419" y="108"/>
                </a:cubicBezTo>
                <a:cubicBezTo>
                  <a:pt x="418" y="110"/>
                  <a:pt x="417" y="111"/>
                  <a:pt x="420" y="113"/>
                </a:cubicBezTo>
                <a:cubicBezTo>
                  <a:pt x="422" y="115"/>
                  <a:pt x="429" y="119"/>
                  <a:pt x="430" y="119"/>
                </a:cubicBezTo>
                <a:cubicBezTo>
                  <a:pt x="432" y="120"/>
                  <a:pt x="434" y="121"/>
                  <a:pt x="435" y="120"/>
                </a:cubicBezTo>
                <a:cubicBezTo>
                  <a:pt x="435" y="119"/>
                  <a:pt x="427" y="113"/>
                  <a:pt x="427" y="112"/>
                </a:cubicBezTo>
                <a:cubicBezTo>
                  <a:pt x="427" y="110"/>
                  <a:pt x="432" y="110"/>
                  <a:pt x="431" y="108"/>
                </a:cubicBezTo>
                <a:cubicBezTo>
                  <a:pt x="430" y="105"/>
                  <a:pt x="428" y="101"/>
                  <a:pt x="428" y="99"/>
                </a:cubicBezTo>
                <a:cubicBezTo>
                  <a:pt x="429" y="97"/>
                  <a:pt x="432" y="95"/>
                  <a:pt x="431" y="92"/>
                </a:cubicBezTo>
                <a:cubicBezTo>
                  <a:pt x="429" y="90"/>
                  <a:pt x="426" y="88"/>
                  <a:pt x="424" y="87"/>
                </a:cubicBezTo>
                <a:cubicBezTo>
                  <a:pt x="422" y="85"/>
                  <a:pt x="413" y="82"/>
                  <a:pt x="410" y="82"/>
                </a:cubicBezTo>
                <a:cubicBezTo>
                  <a:pt x="408" y="82"/>
                  <a:pt x="411" y="76"/>
                  <a:pt x="410" y="74"/>
                </a:cubicBezTo>
                <a:cubicBezTo>
                  <a:pt x="408" y="72"/>
                  <a:pt x="404" y="68"/>
                  <a:pt x="405" y="67"/>
                </a:cubicBezTo>
                <a:cubicBezTo>
                  <a:pt x="407" y="66"/>
                  <a:pt x="411" y="65"/>
                  <a:pt x="414" y="65"/>
                </a:cubicBezTo>
                <a:cubicBezTo>
                  <a:pt x="417" y="65"/>
                  <a:pt x="438" y="63"/>
                  <a:pt x="441" y="63"/>
                </a:cubicBezTo>
                <a:cubicBezTo>
                  <a:pt x="443" y="63"/>
                  <a:pt x="455" y="63"/>
                  <a:pt x="455" y="60"/>
                </a:cubicBezTo>
                <a:cubicBezTo>
                  <a:pt x="455" y="58"/>
                  <a:pt x="455" y="56"/>
                  <a:pt x="454" y="55"/>
                </a:cubicBezTo>
                <a:cubicBezTo>
                  <a:pt x="452" y="54"/>
                  <a:pt x="448" y="55"/>
                  <a:pt x="448" y="53"/>
                </a:cubicBezTo>
                <a:cubicBezTo>
                  <a:pt x="448" y="51"/>
                  <a:pt x="440" y="53"/>
                  <a:pt x="440" y="51"/>
                </a:cubicBezTo>
                <a:cubicBezTo>
                  <a:pt x="441" y="49"/>
                  <a:pt x="449" y="49"/>
                  <a:pt x="451" y="48"/>
                </a:cubicBezTo>
                <a:cubicBezTo>
                  <a:pt x="453" y="48"/>
                  <a:pt x="455" y="45"/>
                  <a:pt x="457" y="45"/>
                </a:cubicBezTo>
                <a:cubicBezTo>
                  <a:pt x="460" y="44"/>
                  <a:pt x="467" y="38"/>
                  <a:pt x="471" y="37"/>
                </a:cubicBezTo>
                <a:cubicBezTo>
                  <a:pt x="476" y="36"/>
                  <a:pt x="495" y="32"/>
                  <a:pt x="497" y="32"/>
                </a:cubicBezTo>
                <a:cubicBezTo>
                  <a:pt x="499" y="32"/>
                  <a:pt x="502" y="27"/>
                  <a:pt x="503" y="27"/>
                </a:cubicBezTo>
                <a:cubicBezTo>
                  <a:pt x="504" y="26"/>
                  <a:pt x="514" y="26"/>
                  <a:pt x="518" y="25"/>
                </a:cubicBezTo>
                <a:cubicBezTo>
                  <a:pt x="521" y="25"/>
                  <a:pt x="533" y="21"/>
                  <a:pt x="533" y="23"/>
                </a:cubicBezTo>
                <a:cubicBezTo>
                  <a:pt x="533" y="25"/>
                  <a:pt x="530" y="27"/>
                  <a:pt x="531" y="28"/>
                </a:cubicBezTo>
                <a:cubicBezTo>
                  <a:pt x="531" y="29"/>
                  <a:pt x="545" y="25"/>
                  <a:pt x="548" y="25"/>
                </a:cubicBezTo>
                <a:cubicBezTo>
                  <a:pt x="551" y="25"/>
                  <a:pt x="546" y="20"/>
                  <a:pt x="547" y="20"/>
                </a:cubicBezTo>
                <a:cubicBezTo>
                  <a:pt x="548" y="20"/>
                  <a:pt x="560" y="21"/>
                  <a:pt x="562" y="20"/>
                </a:cubicBezTo>
                <a:cubicBezTo>
                  <a:pt x="563" y="19"/>
                  <a:pt x="565" y="18"/>
                  <a:pt x="565" y="16"/>
                </a:cubicBezTo>
                <a:cubicBezTo>
                  <a:pt x="565" y="15"/>
                  <a:pt x="562" y="13"/>
                  <a:pt x="563" y="12"/>
                </a:cubicBezTo>
                <a:cubicBezTo>
                  <a:pt x="565" y="11"/>
                  <a:pt x="574" y="5"/>
                  <a:pt x="576" y="3"/>
                </a:cubicBezTo>
                <a:cubicBezTo>
                  <a:pt x="578" y="2"/>
                  <a:pt x="586" y="0"/>
                  <a:pt x="589" y="0"/>
                </a:cubicBezTo>
                <a:cubicBezTo>
                  <a:pt x="591" y="0"/>
                  <a:pt x="600" y="2"/>
                  <a:pt x="601" y="4"/>
                </a:cubicBezTo>
                <a:cubicBezTo>
                  <a:pt x="602" y="5"/>
                  <a:pt x="602" y="6"/>
                  <a:pt x="602" y="7"/>
                </a:cubicBezTo>
                <a:cubicBezTo>
                  <a:pt x="602" y="8"/>
                  <a:pt x="589" y="10"/>
                  <a:pt x="589" y="11"/>
                </a:cubicBezTo>
                <a:cubicBezTo>
                  <a:pt x="590" y="13"/>
                  <a:pt x="598" y="13"/>
                  <a:pt x="601" y="13"/>
                </a:cubicBezTo>
                <a:cubicBezTo>
                  <a:pt x="604" y="12"/>
                  <a:pt x="612" y="11"/>
                  <a:pt x="612" y="13"/>
                </a:cubicBezTo>
                <a:cubicBezTo>
                  <a:pt x="612" y="15"/>
                  <a:pt x="603" y="19"/>
                  <a:pt x="607" y="19"/>
                </a:cubicBezTo>
                <a:cubicBezTo>
                  <a:pt x="610" y="20"/>
                  <a:pt x="615" y="19"/>
                  <a:pt x="616" y="19"/>
                </a:cubicBezTo>
                <a:cubicBezTo>
                  <a:pt x="618" y="19"/>
                  <a:pt x="617" y="15"/>
                  <a:pt x="619" y="15"/>
                </a:cubicBezTo>
                <a:cubicBezTo>
                  <a:pt x="620" y="15"/>
                  <a:pt x="630" y="15"/>
                  <a:pt x="635" y="15"/>
                </a:cubicBezTo>
                <a:cubicBezTo>
                  <a:pt x="639" y="15"/>
                  <a:pt x="643" y="16"/>
                  <a:pt x="648" y="18"/>
                </a:cubicBezTo>
                <a:cubicBezTo>
                  <a:pt x="653" y="20"/>
                  <a:pt x="656" y="23"/>
                  <a:pt x="658" y="25"/>
                </a:cubicBezTo>
                <a:cubicBezTo>
                  <a:pt x="660" y="28"/>
                  <a:pt x="662" y="28"/>
                  <a:pt x="662" y="30"/>
                </a:cubicBezTo>
                <a:cubicBezTo>
                  <a:pt x="662" y="32"/>
                  <a:pt x="657" y="32"/>
                  <a:pt x="657" y="33"/>
                </a:cubicBezTo>
                <a:cubicBezTo>
                  <a:pt x="657" y="34"/>
                  <a:pt x="662" y="35"/>
                  <a:pt x="660" y="38"/>
                </a:cubicBezTo>
                <a:cubicBezTo>
                  <a:pt x="658" y="41"/>
                  <a:pt x="648" y="46"/>
                  <a:pt x="647" y="46"/>
                </a:cubicBezTo>
                <a:cubicBezTo>
                  <a:pt x="645" y="46"/>
                  <a:pt x="634" y="51"/>
                  <a:pt x="632" y="53"/>
                </a:cubicBezTo>
                <a:cubicBezTo>
                  <a:pt x="630" y="54"/>
                  <a:pt x="623" y="60"/>
                  <a:pt x="621" y="61"/>
                </a:cubicBezTo>
                <a:cubicBezTo>
                  <a:pt x="620" y="61"/>
                  <a:pt x="611" y="62"/>
                  <a:pt x="608" y="63"/>
                </a:cubicBezTo>
                <a:cubicBezTo>
                  <a:pt x="605" y="65"/>
                  <a:pt x="604" y="69"/>
                  <a:pt x="603" y="70"/>
                </a:cubicBezTo>
                <a:cubicBezTo>
                  <a:pt x="602" y="70"/>
                  <a:pt x="599" y="75"/>
                  <a:pt x="601" y="75"/>
                </a:cubicBezTo>
                <a:cubicBezTo>
                  <a:pt x="603" y="76"/>
                  <a:pt x="608" y="71"/>
                  <a:pt x="611" y="71"/>
                </a:cubicBezTo>
                <a:cubicBezTo>
                  <a:pt x="613" y="71"/>
                  <a:pt x="617" y="69"/>
                  <a:pt x="620" y="69"/>
                </a:cubicBezTo>
                <a:cubicBezTo>
                  <a:pt x="624" y="69"/>
                  <a:pt x="634" y="68"/>
                  <a:pt x="634" y="66"/>
                </a:cubicBezTo>
                <a:cubicBezTo>
                  <a:pt x="634" y="64"/>
                  <a:pt x="628" y="64"/>
                  <a:pt x="628" y="63"/>
                </a:cubicBezTo>
                <a:cubicBezTo>
                  <a:pt x="629" y="62"/>
                  <a:pt x="633" y="59"/>
                  <a:pt x="634" y="59"/>
                </a:cubicBezTo>
                <a:cubicBezTo>
                  <a:pt x="635" y="59"/>
                  <a:pt x="640" y="62"/>
                  <a:pt x="643" y="62"/>
                </a:cubicBezTo>
                <a:cubicBezTo>
                  <a:pt x="647" y="63"/>
                  <a:pt x="653" y="63"/>
                  <a:pt x="653" y="62"/>
                </a:cubicBezTo>
                <a:cubicBezTo>
                  <a:pt x="653" y="61"/>
                  <a:pt x="653" y="60"/>
                  <a:pt x="654" y="59"/>
                </a:cubicBezTo>
                <a:cubicBezTo>
                  <a:pt x="655" y="59"/>
                  <a:pt x="658" y="63"/>
                  <a:pt x="659" y="64"/>
                </a:cubicBezTo>
                <a:cubicBezTo>
                  <a:pt x="660" y="65"/>
                  <a:pt x="666" y="65"/>
                  <a:pt x="668" y="65"/>
                </a:cubicBezTo>
                <a:cubicBezTo>
                  <a:pt x="670" y="64"/>
                  <a:pt x="675" y="63"/>
                  <a:pt x="678" y="63"/>
                </a:cubicBezTo>
                <a:cubicBezTo>
                  <a:pt x="681" y="63"/>
                  <a:pt x="700" y="65"/>
                  <a:pt x="700" y="66"/>
                </a:cubicBezTo>
                <a:cubicBezTo>
                  <a:pt x="701" y="67"/>
                  <a:pt x="696" y="69"/>
                  <a:pt x="697" y="70"/>
                </a:cubicBezTo>
                <a:cubicBezTo>
                  <a:pt x="699" y="71"/>
                  <a:pt x="705" y="71"/>
                  <a:pt x="709" y="72"/>
                </a:cubicBezTo>
                <a:cubicBezTo>
                  <a:pt x="713" y="73"/>
                  <a:pt x="733" y="76"/>
                  <a:pt x="734" y="74"/>
                </a:cubicBezTo>
                <a:cubicBezTo>
                  <a:pt x="735" y="73"/>
                  <a:pt x="731" y="68"/>
                  <a:pt x="733" y="66"/>
                </a:cubicBezTo>
                <a:cubicBezTo>
                  <a:pt x="734" y="65"/>
                  <a:pt x="738" y="61"/>
                  <a:pt x="741" y="61"/>
                </a:cubicBezTo>
                <a:cubicBezTo>
                  <a:pt x="744" y="60"/>
                  <a:pt x="745" y="62"/>
                  <a:pt x="749" y="64"/>
                </a:cubicBezTo>
                <a:cubicBezTo>
                  <a:pt x="753" y="65"/>
                  <a:pt x="760" y="68"/>
                  <a:pt x="761" y="67"/>
                </a:cubicBezTo>
                <a:cubicBezTo>
                  <a:pt x="761" y="66"/>
                  <a:pt x="763" y="64"/>
                  <a:pt x="765" y="65"/>
                </a:cubicBezTo>
                <a:cubicBezTo>
                  <a:pt x="768" y="65"/>
                  <a:pt x="771" y="67"/>
                  <a:pt x="774" y="69"/>
                </a:cubicBezTo>
                <a:cubicBezTo>
                  <a:pt x="777" y="70"/>
                  <a:pt x="781" y="73"/>
                  <a:pt x="781" y="74"/>
                </a:cubicBezTo>
                <a:cubicBezTo>
                  <a:pt x="781" y="75"/>
                  <a:pt x="782" y="80"/>
                  <a:pt x="779" y="80"/>
                </a:cubicBezTo>
                <a:cubicBezTo>
                  <a:pt x="776" y="80"/>
                  <a:pt x="781" y="82"/>
                  <a:pt x="781" y="84"/>
                </a:cubicBezTo>
                <a:cubicBezTo>
                  <a:pt x="781" y="86"/>
                  <a:pt x="775" y="88"/>
                  <a:pt x="775" y="89"/>
                </a:cubicBezTo>
                <a:cubicBezTo>
                  <a:pt x="775" y="90"/>
                  <a:pt x="777" y="93"/>
                  <a:pt x="779" y="94"/>
                </a:cubicBezTo>
                <a:cubicBezTo>
                  <a:pt x="780" y="95"/>
                  <a:pt x="783" y="100"/>
                  <a:pt x="785" y="101"/>
                </a:cubicBezTo>
                <a:cubicBezTo>
                  <a:pt x="787" y="101"/>
                  <a:pt x="791" y="103"/>
                  <a:pt x="792" y="103"/>
                </a:cubicBezTo>
                <a:cubicBezTo>
                  <a:pt x="793" y="103"/>
                  <a:pt x="791" y="106"/>
                  <a:pt x="795" y="105"/>
                </a:cubicBezTo>
                <a:cubicBezTo>
                  <a:pt x="798" y="105"/>
                  <a:pt x="799" y="100"/>
                  <a:pt x="800" y="98"/>
                </a:cubicBezTo>
                <a:cubicBezTo>
                  <a:pt x="801" y="96"/>
                  <a:pt x="804" y="88"/>
                  <a:pt x="806" y="88"/>
                </a:cubicBezTo>
                <a:cubicBezTo>
                  <a:pt x="808" y="88"/>
                  <a:pt x="806" y="92"/>
                  <a:pt x="808" y="94"/>
                </a:cubicBezTo>
                <a:cubicBezTo>
                  <a:pt x="810" y="95"/>
                  <a:pt x="816" y="97"/>
                  <a:pt x="819" y="96"/>
                </a:cubicBezTo>
                <a:cubicBezTo>
                  <a:pt x="822" y="96"/>
                  <a:pt x="824" y="93"/>
                  <a:pt x="827" y="93"/>
                </a:cubicBezTo>
                <a:cubicBezTo>
                  <a:pt x="830" y="93"/>
                  <a:pt x="834" y="94"/>
                  <a:pt x="838" y="95"/>
                </a:cubicBezTo>
                <a:cubicBezTo>
                  <a:pt x="842" y="96"/>
                  <a:pt x="844" y="100"/>
                  <a:pt x="846" y="99"/>
                </a:cubicBezTo>
                <a:cubicBezTo>
                  <a:pt x="847" y="98"/>
                  <a:pt x="847" y="93"/>
                  <a:pt x="848" y="93"/>
                </a:cubicBezTo>
                <a:cubicBezTo>
                  <a:pt x="849" y="93"/>
                  <a:pt x="854" y="93"/>
                  <a:pt x="854" y="94"/>
                </a:cubicBezTo>
                <a:cubicBezTo>
                  <a:pt x="855" y="95"/>
                  <a:pt x="854" y="96"/>
                  <a:pt x="856" y="96"/>
                </a:cubicBezTo>
                <a:cubicBezTo>
                  <a:pt x="858" y="96"/>
                  <a:pt x="860" y="96"/>
                  <a:pt x="861" y="95"/>
                </a:cubicBezTo>
                <a:cubicBezTo>
                  <a:pt x="862" y="94"/>
                  <a:pt x="859" y="91"/>
                  <a:pt x="860" y="89"/>
                </a:cubicBezTo>
                <a:cubicBezTo>
                  <a:pt x="860" y="88"/>
                  <a:pt x="862" y="87"/>
                  <a:pt x="862" y="86"/>
                </a:cubicBezTo>
                <a:cubicBezTo>
                  <a:pt x="862" y="85"/>
                  <a:pt x="854" y="85"/>
                  <a:pt x="854" y="84"/>
                </a:cubicBezTo>
                <a:cubicBezTo>
                  <a:pt x="854" y="83"/>
                  <a:pt x="859" y="81"/>
                  <a:pt x="859" y="81"/>
                </a:cubicBezTo>
                <a:cubicBezTo>
                  <a:pt x="859" y="81"/>
                  <a:pt x="861" y="80"/>
                  <a:pt x="862" y="80"/>
                </a:cubicBezTo>
                <a:cubicBezTo>
                  <a:pt x="863" y="80"/>
                  <a:pt x="868" y="81"/>
                  <a:pt x="869" y="81"/>
                </a:cubicBezTo>
                <a:cubicBezTo>
                  <a:pt x="870" y="80"/>
                  <a:pt x="866" y="75"/>
                  <a:pt x="867" y="75"/>
                </a:cubicBezTo>
                <a:cubicBezTo>
                  <a:pt x="868" y="74"/>
                  <a:pt x="871" y="75"/>
                  <a:pt x="872" y="75"/>
                </a:cubicBezTo>
                <a:cubicBezTo>
                  <a:pt x="873" y="75"/>
                  <a:pt x="877" y="78"/>
                  <a:pt x="880" y="78"/>
                </a:cubicBezTo>
                <a:cubicBezTo>
                  <a:pt x="883" y="78"/>
                  <a:pt x="903" y="80"/>
                  <a:pt x="906" y="80"/>
                </a:cubicBezTo>
                <a:cubicBezTo>
                  <a:pt x="909" y="81"/>
                  <a:pt x="912" y="83"/>
                  <a:pt x="915" y="83"/>
                </a:cubicBezTo>
                <a:cubicBezTo>
                  <a:pt x="918" y="83"/>
                  <a:pt x="929" y="84"/>
                  <a:pt x="931" y="84"/>
                </a:cubicBezTo>
                <a:cubicBezTo>
                  <a:pt x="934" y="85"/>
                  <a:pt x="938" y="88"/>
                  <a:pt x="937" y="90"/>
                </a:cubicBezTo>
                <a:cubicBezTo>
                  <a:pt x="937" y="91"/>
                  <a:pt x="933" y="91"/>
                  <a:pt x="934" y="93"/>
                </a:cubicBezTo>
                <a:cubicBezTo>
                  <a:pt x="935" y="95"/>
                  <a:pt x="942" y="95"/>
                  <a:pt x="945" y="96"/>
                </a:cubicBezTo>
                <a:cubicBezTo>
                  <a:pt x="947" y="98"/>
                  <a:pt x="952" y="101"/>
                  <a:pt x="953" y="102"/>
                </a:cubicBezTo>
                <a:cubicBezTo>
                  <a:pt x="955" y="104"/>
                  <a:pt x="960" y="105"/>
                  <a:pt x="963" y="104"/>
                </a:cubicBezTo>
                <a:cubicBezTo>
                  <a:pt x="967" y="104"/>
                  <a:pt x="981" y="100"/>
                  <a:pt x="986" y="101"/>
                </a:cubicBezTo>
                <a:cubicBezTo>
                  <a:pt x="992" y="101"/>
                  <a:pt x="1002" y="103"/>
                  <a:pt x="1005" y="103"/>
                </a:cubicBezTo>
                <a:cubicBezTo>
                  <a:pt x="1008" y="104"/>
                  <a:pt x="1015" y="109"/>
                  <a:pt x="1015" y="111"/>
                </a:cubicBezTo>
                <a:cubicBezTo>
                  <a:pt x="1015" y="113"/>
                  <a:pt x="1008" y="116"/>
                  <a:pt x="1012" y="119"/>
                </a:cubicBezTo>
                <a:cubicBezTo>
                  <a:pt x="1016" y="121"/>
                  <a:pt x="1019" y="121"/>
                  <a:pt x="1020" y="121"/>
                </a:cubicBezTo>
                <a:cubicBezTo>
                  <a:pt x="1022" y="122"/>
                  <a:pt x="1020" y="128"/>
                  <a:pt x="1023" y="127"/>
                </a:cubicBezTo>
                <a:cubicBezTo>
                  <a:pt x="1027" y="126"/>
                  <a:pt x="1030" y="122"/>
                  <a:pt x="1033" y="121"/>
                </a:cubicBezTo>
                <a:cubicBezTo>
                  <a:pt x="1037" y="121"/>
                  <a:pt x="1045" y="119"/>
                  <a:pt x="1046" y="120"/>
                </a:cubicBezTo>
                <a:cubicBezTo>
                  <a:pt x="1048" y="120"/>
                  <a:pt x="1064" y="123"/>
                  <a:pt x="1066" y="123"/>
                </a:cubicBezTo>
                <a:cubicBezTo>
                  <a:pt x="1068" y="123"/>
                  <a:pt x="1072" y="119"/>
                  <a:pt x="1074" y="118"/>
                </a:cubicBezTo>
                <a:cubicBezTo>
                  <a:pt x="1075" y="118"/>
                  <a:pt x="1076" y="120"/>
                  <a:pt x="1077" y="122"/>
                </a:cubicBezTo>
                <a:cubicBezTo>
                  <a:pt x="1078" y="123"/>
                  <a:pt x="1076" y="127"/>
                  <a:pt x="1078" y="127"/>
                </a:cubicBezTo>
                <a:cubicBezTo>
                  <a:pt x="1081" y="128"/>
                  <a:pt x="1085" y="127"/>
                  <a:pt x="1086" y="128"/>
                </a:cubicBezTo>
                <a:cubicBezTo>
                  <a:pt x="1087" y="129"/>
                  <a:pt x="1085" y="133"/>
                  <a:pt x="1088" y="133"/>
                </a:cubicBezTo>
                <a:cubicBezTo>
                  <a:pt x="1091" y="133"/>
                  <a:pt x="1099" y="132"/>
                  <a:pt x="1098" y="129"/>
                </a:cubicBezTo>
                <a:cubicBezTo>
                  <a:pt x="1097" y="126"/>
                  <a:pt x="1093" y="121"/>
                  <a:pt x="1093" y="120"/>
                </a:cubicBezTo>
                <a:cubicBezTo>
                  <a:pt x="1093" y="118"/>
                  <a:pt x="1092" y="115"/>
                  <a:pt x="1094" y="115"/>
                </a:cubicBezTo>
                <a:cubicBezTo>
                  <a:pt x="1096" y="114"/>
                  <a:pt x="1111" y="117"/>
                  <a:pt x="1116" y="118"/>
                </a:cubicBezTo>
                <a:cubicBezTo>
                  <a:pt x="1122" y="118"/>
                  <a:pt x="1134" y="118"/>
                  <a:pt x="1136" y="118"/>
                </a:cubicBezTo>
                <a:cubicBezTo>
                  <a:pt x="1139" y="118"/>
                  <a:pt x="1144" y="120"/>
                  <a:pt x="1148" y="122"/>
                </a:cubicBezTo>
                <a:cubicBezTo>
                  <a:pt x="1152" y="123"/>
                  <a:pt x="1161" y="125"/>
                  <a:pt x="1163" y="126"/>
                </a:cubicBezTo>
                <a:cubicBezTo>
                  <a:pt x="1165" y="128"/>
                  <a:pt x="1173" y="131"/>
                  <a:pt x="1175" y="133"/>
                </a:cubicBezTo>
                <a:cubicBezTo>
                  <a:pt x="1177" y="134"/>
                  <a:pt x="1198" y="144"/>
                  <a:pt x="1203" y="147"/>
                </a:cubicBezTo>
                <a:cubicBezTo>
                  <a:pt x="1208" y="151"/>
                  <a:pt x="1207" y="154"/>
                  <a:pt x="1207" y="155"/>
                </a:cubicBezTo>
                <a:cubicBezTo>
                  <a:pt x="1207" y="156"/>
                  <a:pt x="1206" y="160"/>
                  <a:pt x="1208" y="161"/>
                </a:cubicBezTo>
                <a:cubicBezTo>
                  <a:pt x="1210" y="162"/>
                  <a:pt x="1213" y="165"/>
                  <a:pt x="1214" y="163"/>
                </a:cubicBezTo>
                <a:cubicBezTo>
                  <a:pt x="1214" y="161"/>
                  <a:pt x="1212" y="154"/>
                  <a:pt x="1213" y="154"/>
                </a:cubicBezTo>
                <a:cubicBezTo>
                  <a:pt x="1214" y="154"/>
                  <a:pt x="1229" y="156"/>
                  <a:pt x="1230" y="156"/>
                </a:cubicBezTo>
                <a:cubicBezTo>
                  <a:pt x="1231" y="157"/>
                  <a:pt x="1246" y="165"/>
                  <a:pt x="1246" y="167"/>
                </a:cubicBezTo>
                <a:cubicBezTo>
                  <a:pt x="1246" y="168"/>
                  <a:pt x="1240" y="169"/>
                  <a:pt x="1240" y="170"/>
                </a:cubicBezTo>
                <a:cubicBezTo>
                  <a:pt x="1240" y="171"/>
                  <a:pt x="1237" y="173"/>
                  <a:pt x="1234" y="174"/>
                </a:cubicBezTo>
                <a:cubicBezTo>
                  <a:pt x="1232" y="175"/>
                  <a:pt x="1225" y="172"/>
                  <a:pt x="1225" y="173"/>
                </a:cubicBezTo>
                <a:cubicBezTo>
                  <a:pt x="1225" y="175"/>
                  <a:pt x="1228" y="180"/>
                  <a:pt x="1227" y="181"/>
                </a:cubicBezTo>
                <a:cubicBezTo>
                  <a:pt x="1226" y="182"/>
                  <a:pt x="1221" y="183"/>
                  <a:pt x="1221" y="185"/>
                </a:cubicBezTo>
                <a:cubicBezTo>
                  <a:pt x="1221" y="187"/>
                  <a:pt x="1224" y="191"/>
                  <a:pt x="1221" y="191"/>
                </a:cubicBezTo>
                <a:cubicBezTo>
                  <a:pt x="1218" y="191"/>
                  <a:pt x="1213" y="189"/>
                  <a:pt x="1210" y="187"/>
                </a:cubicBezTo>
                <a:cubicBezTo>
                  <a:pt x="1207" y="185"/>
                  <a:pt x="1199" y="183"/>
                  <a:pt x="1199" y="181"/>
                </a:cubicBezTo>
                <a:cubicBezTo>
                  <a:pt x="1199" y="179"/>
                  <a:pt x="1198" y="174"/>
                  <a:pt x="1197" y="174"/>
                </a:cubicBezTo>
                <a:cubicBezTo>
                  <a:pt x="1196" y="173"/>
                  <a:pt x="1190" y="173"/>
                  <a:pt x="1189" y="173"/>
                </a:cubicBezTo>
                <a:cubicBezTo>
                  <a:pt x="1187" y="173"/>
                  <a:pt x="1186" y="176"/>
                  <a:pt x="1183" y="176"/>
                </a:cubicBezTo>
                <a:cubicBezTo>
                  <a:pt x="1179" y="175"/>
                  <a:pt x="1178" y="175"/>
                  <a:pt x="1178" y="173"/>
                </a:cubicBezTo>
                <a:cubicBezTo>
                  <a:pt x="1178" y="172"/>
                  <a:pt x="1179" y="166"/>
                  <a:pt x="1178" y="164"/>
                </a:cubicBezTo>
                <a:cubicBezTo>
                  <a:pt x="1178" y="163"/>
                  <a:pt x="1169" y="165"/>
                  <a:pt x="1168" y="167"/>
                </a:cubicBezTo>
                <a:cubicBezTo>
                  <a:pt x="1167" y="168"/>
                  <a:pt x="1165" y="170"/>
                  <a:pt x="1168" y="172"/>
                </a:cubicBezTo>
                <a:cubicBezTo>
                  <a:pt x="1170" y="173"/>
                  <a:pt x="1173" y="173"/>
                  <a:pt x="1172" y="175"/>
                </a:cubicBezTo>
                <a:cubicBezTo>
                  <a:pt x="1171" y="176"/>
                  <a:pt x="1163" y="184"/>
                  <a:pt x="1161" y="184"/>
                </a:cubicBezTo>
                <a:cubicBezTo>
                  <a:pt x="1158" y="184"/>
                  <a:pt x="1147" y="182"/>
                  <a:pt x="1146" y="182"/>
                </a:cubicBezTo>
                <a:cubicBezTo>
                  <a:pt x="1145" y="182"/>
                  <a:pt x="1138" y="181"/>
                  <a:pt x="1137" y="182"/>
                </a:cubicBezTo>
                <a:cubicBezTo>
                  <a:pt x="1137" y="183"/>
                  <a:pt x="1137" y="186"/>
                  <a:pt x="1139" y="187"/>
                </a:cubicBezTo>
                <a:cubicBezTo>
                  <a:pt x="1141" y="187"/>
                  <a:pt x="1144" y="187"/>
                  <a:pt x="1146" y="187"/>
                </a:cubicBezTo>
                <a:cubicBezTo>
                  <a:pt x="1147" y="188"/>
                  <a:pt x="1149" y="192"/>
                  <a:pt x="1151" y="192"/>
                </a:cubicBezTo>
                <a:cubicBezTo>
                  <a:pt x="1154" y="192"/>
                  <a:pt x="1154" y="190"/>
                  <a:pt x="1155" y="191"/>
                </a:cubicBezTo>
                <a:cubicBezTo>
                  <a:pt x="1156" y="191"/>
                  <a:pt x="1156" y="197"/>
                  <a:pt x="1158" y="199"/>
                </a:cubicBezTo>
                <a:cubicBezTo>
                  <a:pt x="1160" y="201"/>
                  <a:pt x="1165" y="207"/>
                  <a:pt x="1164" y="208"/>
                </a:cubicBezTo>
                <a:cubicBezTo>
                  <a:pt x="1163" y="209"/>
                  <a:pt x="1159" y="212"/>
                  <a:pt x="1159" y="214"/>
                </a:cubicBezTo>
                <a:cubicBezTo>
                  <a:pt x="1159" y="215"/>
                  <a:pt x="1150" y="210"/>
                  <a:pt x="1146" y="211"/>
                </a:cubicBezTo>
                <a:cubicBezTo>
                  <a:pt x="1142" y="212"/>
                  <a:pt x="1129" y="218"/>
                  <a:pt x="1126" y="219"/>
                </a:cubicBezTo>
                <a:cubicBezTo>
                  <a:pt x="1123" y="220"/>
                  <a:pt x="1111" y="225"/>
                  <a:pt x="1109" y="228"/>
                </a:cubicBezTo>
                <a:cubicBezTo>
                  <a:pt x="1106" y="230"/>
                  <a:pt x="1098" y="234"/>
                  <a:pt x="1097" y="235"/>
                </a:cubicBezTo>
                <a:cubicBezTo>
                  <a:pt x="1096" y="236"/>
                  <a:pt x="1095" y="241"/>
                  <a:pt x="1093" y="241"/>
                </a:cubicBezTo>
                <a:cubicBezTo>
                  <a:pt x="1090" y="241"/>
                  <a:pt x="1088" y="235"/>
                  <a:pt x="1085" y="234"/>
                </a:cubicBezTo>
                <a:cubicBezTo>
                  <a:pt x="1081" y="234"/>
                  <a:pt x="1073" y="234"/>
                  <a:pt x="1071" y="236"/>
                </a:cubicBezTo>
                <a:cubicBezTo>
                  <a:pt x="1069" y="238"/>
                  <a:pt x="1062" y="245"/>
                  <a:pt x="1061" y="244"/>
                </a:cubicBezTo>
                <a:cubicBezTo>
                  <a:pt x="1060" y="243"/>
                  <a:pt x="1063" y="236"/>
                  <a:pt x="1061" y="235"/>
                </a:cubicBezTo>
                <a:cubicBezTo>
                  <a:pt x="1059" y="234"/>
                  <a:pt x="1053" y="240"/>
                  <a:pt x="1052" y="241"/>
                </a:cubicBezTo>
                <a:cubicBezTo>
                  <a:pt x="1051" y="242"/>
                  <a:pt x="1047" y="238"/>
                  <a:pt x="1045" y="240"/>
                </a:cubicBezTo>
                <a:cubicBezTo>
                  <a:pt x="1042" y="242"/>
                  <a:pt x="1039" y="247"/>
                  <a:pt x="1038" y="250"/>
                </a:cubicBezTo>
                <a:cubicBezTo>
                  <a:pt x="1037" y="252"/>
                  <a:pt x="1030" y="256"/>
                  <a:pt x="1029" y="260"/>
                </a:cubicBezTo>
                <a:cubicBezTo>
                  <a:pt x="1029" y="265"/>
                  <a:pt x="1032" y="266"/>
                  <a:pt x="1033" y="265"/>
                </a:cubicBezTo>
                <a:cubicBezTo>
                  <a:pt x="1034" y="265"/>
                  <a:pt x="1037" y="263"/>
                  <a:pt x="1038" y="264"/>
                </a:cubicBezTo>
                <a:cubicBezTo>
                  <a:pt x="1039" y="265"/>
                  <a:pt x="1040" y="267"/>
                  <a:pt x="1039" y="268"/>
                </a:cubicBezTo>
                <a:cubicBezTo>
                  <a:pt x="1038" y="269"/>
                  <a:pt x="1034" y="272"/>
                  <a:pt x="1034" y="273"/>
                </a:cubicBezTo>
                <a:cubicBezTo>
                  <a:pt x="1034" y="274"/>
                  <a:pt x="1034" y="277"/>
                  <a:pt x="1035" y="277"/>
                </a:cubicBezTo>
                <a:cubicBezTo>
                  <a:pt x="1036" y="277"/>
                  <a:pt x="1040" y="275"/>
                  <a:pt x="1040" y="276"/>
                </a:cubicBezTo>
                <a:cubicBezTo>
                  <a:pt x="1040" y="278"/>
                  <a:pt x="1040" y="285"/>
                  <a:pt x="1039" y="285"/>
                </a:cubicBezTo>
                <a:cubicBezTo>
                  <a:pt x="1037" y="285"/>
                  <a:pt x="1033" y="282"/>
                  <a:pt x="1031" y="284"/>
                </a:cubicBezTo>
                <a:cubicBezTo>
                  <a:pt x="1029" y="286"/>
                  <a:pt x="1028" y="290"/>
                  <a:pt x="1028" y="291"/>
                </a:cubicBezTo>
                <a:cubicBezTo>
                  <a:pt x="1028" y="293"/>
                  <a:pt x="1032" y="298"/>
                  <a:pt x="1031" y="299"/>
                </a:cubicBezTo>
                <a:cubicBezTo>
                  <a:pt x="1029" y="300"/>
                  <a:pt x="1026" y="303"/>
                  <a:pt x="1024" y="301"/>
                </a:cubicBezTo>
                <a:cubicBezTo>
                  <a:pt x="1023" y="300"/>
                  <a:pt x="1019" y="300"/>
                  <a:pt x="1016" y="302"/>
                </a:cubicBezTo>
                <a:cubicBezTo>
                  <a:pt x="1013" y="304"/>
                  <a:pt x="1013" y="308"/>
                  <a:pt x="1013" y="309"/>
                </a:cubicBezTo>
                <a:cubicBezTo>
                  <a:pt x="1014" y="311"/>
                  <a:pt x="1014" y="313"/>
                  <a:pt x="1014" y="314"/>
                </a:cubicBezTo>
                <a:cubicBezTo>
                  <a:pt x="1014" y="315"/>
                  <a:pt x="1010" y="315"/>
                  <a:pt x="1007" y="316"/>
                </a:cubicBezTo>
                <a:cubicBezTo>
                  <a:pt x="1005" y="317"/>
                  <a:pt x="1002" y="318"/>
                  <a:pt x="1002" y="321"/>
                </a:cubicBezTo>
                <a:cubicBezTo>
                  <a:pt x="1003" y="324"/>
                  <a:pt x="1002" y="327"/>
                  <a:pt x="1000" y="329"/>
                </a:cubicBezTo>
                <a:cubicBezTo>
                  <a:pt x="997" y="331"/>
                  <a:pt x="992" y="338"/>
                  <a:pt x="990" y="337"/>
                </a:cubicBezTo>
                <a:cubicBezTo>
                  <a:pt x="987" y="337"/>
                  <a:pt x="987" y="329"/>
                  <a:pt x="987" y="326"/>
                </a:cubicBezTo>
                <a:cubicBezTo>
                  <a:pt x="987" y="324"/>
                  <a:pt x="984" y="312"/>
                  <a:pt x="983" y="307"/>
                </a:cubicBezTo>
                <a:cubicBezTo>
                  <a:pt x="981" y="302"/>
                  <a:pt x="980" y="284"/>
                  <a:pt x="983" y="279"/>
                </a:cubicBezTo>
                <a:cubicBezTo>
                  <a:pt x="985" y="275"/>
                  <a:pt x="989" y="273"/>
                  <a:pt x="989" y="272"/>
                </a:cubicBezTo>
                <a:cubicBezTo>
                  <a:pt x="990" y="271"/>
                  <a:pt x="989" y="266"/>
                  <a:pt x="991" y="265"/>
                </a:cubicBezTo>
                <a:cubicBezTo>
                  <a:pt x="992" y="264"/>
                  <a:pt x="996" y="265"/>
                  <a:pt x="999" y="263"/>
                </a:cubicBezTo>
                <a:cubicBezTo>
                  <a:pt x="1002" y="261"/>
                  <a:pt x="1014" y="253"/>
                  <a:pt x="1016" y="249"/>
                </a:cubicBezTo>
                <a:cubicBezTo>
                  <a:pt x="1018" y="246"/>
                  <a:pt x="1027" y="238"/>
                  <a:pt x="1029" y="237"/>
                </a:cubicBezTo>
                <a:cubicBezTo>
                  <a:pt x="1031" y="235"/>
                  <a:pt x="1042" y="231"/>
                  <a:pt x="1042" y="230"/>
                </a:cubicBezTo>
                <a:cubicBezTo>
                  <a:pt x="1043" y="228"/>
                  <a:pt x="1045" y="225"/>
                  <a:pt x="1045" y="224"/>
                </a:cubicBezTo>
                <a:cubicBezTo>
                  <a:pt x="1045" y="222"/>
                  <a:pt x="1046" y="216"/>
                  <a:pt x="1047" y="215"/>
                </a:cubicBezTo>
                <a:cubicBezTo>
                  <a:pt x="1049" y="214"/>
                  <a:pt x="1053" y="213"/>
                  <a:pt x="1053" y="212"/>
                </a:cubicBezTo>
                <a:cubicBezTo>
                  <a:pt x="1053" y="210"/>
                  <a:pt x="1050" y="208"/>
                  <a:pt x="1046" y="208"/>
                </a:cubicBezTo>
                <a:cubicBezTo>
                  <a:pt x="1043" y="209"/>
                  <a:pt x="1038" y="210"/>
                  <a:pt x="1037" y="213"/>
                </a:cubicBezTo>
                <a:cubicBezTo>
                  <a:pt x="1037" y="216"/>
                  <a:pt x="1038" y="221"/>
                  <a:pt x="1037" y="222"/>
                </a:cubicBezTo>
                <a:cubicBezTo>
                  <a:pt x="1036" y="222"/>
                  <a:pt x="1030" y="221"/>
                  <a:pt x="1028" y="224"/>
                </a:cubicBezTo>
                <a:cubicBezTo>
                  <a:pt x="1027" y="227"/>
                  <a:pt x="1020" y="232"/>
                  <a:pt x="1017" y="232"/>
                </a:cubicBezTo>
                <a:cubicBezTo>
                  <a:pt x="1014" y="232"/>
                  <a:pt x="1014" y="229"/>
                  <a:pt x="1014" y="227"/>
                </a:cubicBezTo>
                <a:cubicBezTo>
                  <a:pt x="1015" y="225"/>
                  <a:pt x="1018" y="218"/>
                  <a:pt x="1016" y="218"/>
                </a:cubicBezTo>
                <a:cubicBezTo>
                  <a:pt x="1014" y="217"/>
                  <a:pt x="1011" y="219"/>
                  <a:pt x="1006" y="219"/>
                </a:cubicBezTo>
                <a:cubicBezTo>
                  <a:pt x="1002" y="219"/>
                  <a:pt x="993" y="219"/>
                  <a:pt x="991" y="223"/>
                </a:cubicBezTo>
                <a:cubicBezTo>
                  <a:pt x="989" y="227"/>
                  <a:pt x="987" y="230"/>
                  <a:pt x="984" y="232"/>
                </a:cubicBezTo>
                <a:cubicBezTo>
                  <a:pt x="981" y="233"/>
                  <a:pt x="971" y="240"/>
                  <a:pt x="971" y="242"/>
                </a:cubicBezTo>
                <a:cubicBezTo>
                  <a:pt x="971" y="243"/>
                  <a:pt x="969" y="245"/>
                  <a:pt x="971" y="246"/>
                </a:cubicBezTo>
                <a:cubicBezTo>
                  <a:pt x="972" y="246"/>
                  <a:pt x="979" y="246"/>
                  <a:pt x="978" y="248"/>
                </a:cubicBezTo>
                <a:cubicBezTo>
                  <a:pt x="978" y="251"/>
                  <a:pt x="974" y="253"/>
                  <a:pt x="969" y="253"/>
                </a:cubicBezTo>
                <a:cubicBezTo>
                  <a:pt x="965" y="253"/>
                  <a:pt x="960" y="253"/>
                  <a:pt x="956" y="253"/>
                </a:cubicBezTo>
                <a:cubicBezTo>
                  <a:pt x="952" y="254"/>
                  <a:pt x="948" y="254"/>
                  <a:pt x="948" y="252"/>
                </a:cubicBezTo>
                <a:cubicBezTo>
                  <a:pt x="948" y="251"/>
                  <a:pt x="951" y="246"/>
                  <a:pt x="947" y="246"/>
                </a:cubicBezTo>
                <a:cubicBezTo>
                  <a:pt x="942" y="245"/>
                  <a:pt x="936" y="242"/>
                  <a:pt x="933" y="243"/>
                </a:cubicBezTo>
                <a:cubicBezTo>
                  <a:pt x="930" y="244"/>
                  <a:pt x="931" y="248"/>
                  <a:pt x="928" y="249"/>
                </a:cubicBezTo>
                <a:cubicBezTo>
                  <a:pt x="924" y="249"/>
                  <a:pt x="912" y="248"/>
                  <a:pt x="909" y="248"/>
                </a:cubicBezTo>
                <a:cubicBezTo>
                  <a:pt x="906" y="248"/>
                  <a:pt x="894" y="248"/>
                  <a:pt x="890" y="248"/>
                </a:cubicBezTo>
                <a:cubicBezTo>
                  <a:pt x="885" y="248"/>
                  <a:pt x="878" y="251"/>
                  <a:pt x="875" y="255"/>
                </a:cubicBezTo>
                <a:cubicBezTo>
                  <a:pt x="872" y="259"/>
                  <a:pt x="868" y="262"/>
                  <a:pt x="865" y="265"/>
                </a:cubicBezTo>
                <a:cubicBezTo>
                  <a:pt x="861" y="267"/>
                  <a:pt x="854" y="272"/>
                  <a:pt x="852" y="274"/>
                </a:cubicBezTo>
                <a:cubicBezTo>
                  <a:pt x="851" y="276"/>
                  <a:pt x="838" y="287"/>
                  <a:pt x="834" y="290"/>
                </a:cubicBezTo>
                <a:cubicBezTo>
                  <a:pt x="830" y="292"/>
                  <a:pt x="822" y="296"/>
                  <a:pt x="824" y="298"/>
                </a:cubicBezTo>
                <a:cubicBezTo>
                  <a:pt x="826" y="300"/>
                  <a:pt x="829" y="300"/>
                  <a:pt x="831" y="300"/>
                </a:cubicBezTo>
                <a:cubicBezTo>
                  <a:pt x="833" y="300"/>
                  <a:pt x="836" y="300"/>
                  <a:pt x="837" y="300"/>
                </a:cubicBezTo>
                <a:cubicBezTo>
                  <a:pt x="837" y="300"/>
                  <a:pt x="835" y="308"/>
                  <a:pt x="838" y="308"/>
                </a:cubicBezTo>
                <a:cubicBezTo>
                  <a:pt x="840" y="308"/>
                  <a:pt x="840" y="307"/>
                  <a:pt x="842" y="307"/>
                </a:cubicBezTo>
                <a:cubicBezTo>
                  <a:pt x="843" y="307"/>
                  <a:pt x="848" y="312"/>
                  <a:pt x="849" y="311"/>
                </a:cubicBezTo>
                <a:cubicBezTo>
                  <a:pt x="851" y="311"/>
                  <a:pt x="850" y="303"/>
                  <a:pt x="851" y="303"/>
                </a:cubicBezTo>
                <a:cubicBezTo>
                  <a:pt x="853" y="303"/>
                  <a:pt x="858" y="303"/>
                  <a:pt x="859" y="303"/>
                </a:cubicBezTo>
                <a:cubicBezTo>
                  <a:pt x="861" y="302"/>
                  <a:pt x="867" y="311"/>
                  <a:pt x="869" y="312"/>
                </a:cubicBezTo>
                <a:cubicBezTo>
                  <a:pt x="871" y="313"/>
                  <a:pt x="872" y="315"/>
                  <a:pt x="871" y="317"/>
                </a:cubicBezTo>
                <a:cubicBezTo>
                  <a:pt x="870" y="318"/>
                  <a:pt x="870" y="323"/>
                  <a:pt x="869" y="326"/>
                </a:cubicBezTo>
                <a:cubicBezTo>
                  <a:pt x="869" y="328"/>
                  <a:pt x="867" y="331"/>
                  <a:pt x="866" y="335"/>
                </a:cubicBezTo>
                <a:cubicBezTo>
                  <a:pt x="865" y="339"/>
                  <a:pt x="863" y="359"/>
                  <a:pt x="862" y="361"/>
                </a:cubicBezTo>
                <a:cubicBezTo>
                  <a:pt x="862" y="363"/>
                  <a:pt x="853" y="371"/>
                  <a:pt x="851" y="375"/>
                </a:cubicBezTo>
                <a:cubicBezTo>
                  <a:pt x="849" y="380"/>
                  <a:pt x="843" y="387"/>
                  <a:pt x="839" y="392"/>
                </a:cubicBezTo>
                <a:cubicBezTo>
                  <a:pt x="835" y="397"/>
                  <a:pt x="823" y="410"/>
                  <a:pt x="819" y="412"/>
                </a:cubicBezTo>
                <a:cubicBezTo>
                  <a:pt x="815" y="415"/>
                  <a:pt x="810" y="419"/>
                  <a:pt x="806" y="417"/>
                </a:cubicBezTo>
                <a:cubicBezTo>
                  <a:pt x="803" y="414"/>
                  <a:pt x="802" y="413"/>
                  <a:pt x="799" y="414"/>
                </a:cubicBezTo>
                <a:cubicBezTo>
                  <a:pt x="795" y="415"/>
                  <a:pt x="796" y="417"/>
                  <a:pt x="793" y="419"/>
                </a:cubicBezTo>
                <a:cubicBezTo>
                  <a:pt x="792" y="420"/>
                  <a:pt x="792" y="420"/>
                  <a:pt x="790" y="421"/>
                </a:cubicBezTo>
                <a:cubicBezTo>
                  <a:pt x="787" y="414"/>
                  <a:pt x="787" y="414"/>
                  <a:pt x="787" y="414"/>
                </a:cubicBezTo>
                <a:cubicBezTo>
                  <a:pt x="788" y="413"/>
                  <a:pt x="790" y="413"/>
                  <a:pt x="790" y="413"/>
                </a:cubicBezTo>
                <a:cubicBezTo>
                  <a:pt x="792" y="412"/>
                  <a:pt x="793" y="400"/>
                  <a:pt x="792" y="398"/>
                </a:cubicBezTo>
                <a:cubicBezTo>
                  <a:pt x="790" y="396"/>
                  <a:pt x="795" y="395"/>
                  <a:pt x="797" y="394"/>
                </a:cubicBezTo>
                <a:cubicBezTo>
                  <a:pt x="800" y="393"/>
                  <a:pt x="809" y="395"/>
                  <a:pt x="809" y="395"/>
                </a:cubicBezTo>
                <a:cubicBezTo>
                  <a:pt x="810" y="395"/>
                  <a:pt x="814" y="383"/>
                  <a:pt x="815" y="380"/>
                </a:cubicBezTo>
                <a:cubicBezTo>
                  <a:pt x="815" y="378"/>
                  <a:pt x="820" y="372"/>
                  <a:pt x="821" y="370"/>
                </a:cubicBezTo>
                <a:cubicBezTo>
                  <a:pt x="821" y="369"/>
                  <a:pt x="821" y="365"/>
                  <a:pt x="819" y="363"/>
                </a:cubicBezTo>
                <a:cubicBezTo>
                  <a:pt x="817" y="360"/>
                  <a:pt x="806" y="367"/>
                  <a:pt x="804" y="369"/>
                </a:cubicBezTo>
                <a:cubicBezTo>
                  <a:pt x="802" y="370"/>
                  <a:pt x="794" y="370"/>
                  <a:pt x="793" y="370"/>
                </a:cubicBezTo>
                <a:cubicBezTo>
                  <a:pt x="792" y="370"/>
                  <a:pt x="789" y="359"/>
                  <a:pt x="787" y="357"/>
                </a:cubicBezTo>
                <a:cubicBezTo>
                  <a:pt x="785" y="355"/>
                  <a:pt x="771" y="353"/>
                  <a:pt x="768" y="351"/>
                </a:cubicBezTo>
                <a:cubicBezTo>
                  <a:pt x="765" y="349"/>
                  <a:pt x="765" y="347"/>
                  <a:pt x="765" y="344"/>
                </a:cubicBezTo>
                <a:cubicBezTo>
                  <a:pt x="764" y="342"/>
                  <a:pt x="755" y="320"/>
                  <a:pt x="753" y="318"/>
                </a:cubicBezTo>
                <a:cubicBezTo>
                  <a:pt x="752" y="316"/>
                  <a:pt x="743" y="315"/>
                  <a:pt x="738" y="312"/>
                </a:cubicBezTo>
                <a:cubicBezTo>
                  <a:pt x="734" y="309"/>
                  <a:pt x="718" y="312"/>
                  <a:pt x="715" y="313"/>
                </a:cubicBezTo>
                <a:cubicBezTo>
                  <a:pt x="711" y="314"/>
                  <a:pt x="707" y="318"/>
                  <a:pt x="707" y="320"/>
                </a:cubicBezTo>
                <a:cubicBezTo>
                  <a:pt x="707" y="322"/>
                  <a:pt x="713" y="322"/>
                  <a:pt x="713" y="323"/>
                </a:cubicBezTo>
                <a:cubicBezTo>
                  <a:pt x="714" y="324"/>
                  <a:pt x="714" y="327"/>
                  <a:pt x="712" y="330"/>
                </a:cubicBezTo>
                <a:cubicBezTo>
                  <a:pt x="710" y="333"/>
                  <a:pt x="703" y="342"/>
                  <a:pt x="703" y="344"/>
                </a:cubicBezTo>
                <a:cubicBezTo>
                  <a:pt x="702" y="346"/>
                  <a:pt x="695" y="350"/>
                  <a:pt x="694" y="351"/>
                </a:cubicBezTo>
                <a:cubicBezTo>
                  <a:pt x="693" y="352"/>
                  <a:pt x="683" y="349"/>
                  <a:pt x="682" y="349"/>
                </a:cubicBezTo>
                <a:cubicBezTo>
                  <a:pt x="674" y="346"/>
                  <a:pt x="674" y="346"/>
                  <a:pt x="674" y="346"/>
                </a:cubicBezTo>
                <a:cubicBezTo>
                  <a:pt x="671" y="346"/>
                  <a:pt x="663" y="343"/>
                  <a:pt x="658" y="348"/>
                </a:cubicBezTo>
                <a:cubicBezTo>
                  <a:pt x="652" y="353"/>
                  <a:pt x="646" y="354"/>
                  <a:pt x="641" y="355"/>
                </a:cubicBezTo>
                <a:cubicBezTo>
                  <a:pt x="637" y="355"/>
                  <a:pt x="623" y="355"/>
                  <a:pt x="620" y="353"/>
                </a:cubicBezTo>
                <a:cubicBezTo>
                  <a:pt x="618" y="352"/>
                  <a:pt x="616" y="346"/>
                  <a:pt x="614" y="346"/>
                </a:cubicBezTo>
                <a:cubicBezTo>
                  <a:pt x="612" y="345"/>
                  <a:pt x="600" y="343"/>
                  <a:pt x="598" y="342"/>
                </a:cubicBezTo>
                <a:cubicBezTo>
                  <a:pt x="595" y="342"/>
                  <a:pt x="588" y="345"/>
                  <a:pt x="585" y="345"/>
                </a:cubicBezTo>
                <a:cubicBezTo>
                  <a:pt x="581" y="345"/>
                  <a:pt x="574" y="342"/>
                  <a:pt x="573" y="340"/>
                </a:cubicBezTo>
                <a:cubicBezTo>
                  <a:pt x="572" y="337"/>
                  <a:pt x="573" y="335"/>
                  <a:pt x="572" y="333"/>
                </a:cubicBezTo>
                <a:cubicBezTo>
                  <a:pt x="572" y="331"/>
                  <a:pt x="549" y="326"/>
                  <a:pt x="547" y="325"/>
                </a:cubicBezTo>
                <a:cubicBezTo>
                  <a:pt x="545" y="325"/>
                  <a:pt x="540" y="332"/>
                  <a:pt x="540" y="335"/>
                </a:cubicBezTo>
                <a:cubicBezTo>
                  <a:pt x="540" y="337"/>
                  <a:pt x="544" y="344"/>
                  <a:pt x="542" y="346"/>
                </a:cubicBezTo>
                <a:cubicBezTo>
                  <a:pt x="539" y="348"/>
                  <a:pt x="537" y="350"/>
                  <a:pt x="533" y="349"/>
                </a:cubicBezTo>
                <a:cubicBezTo>
                  <a:pt x="529" y="348"/>
                  <a:pt x="517" y="348"/>
                  <a:pt x="515" y="346"/>
                </a:cubicBezTo>
                <a:cubicBezTo>
                  <a:pt x="513" y="344"/>
                  <a:pt x="510" y="341"/>
                  <a:pt x="509" y="340"/>
                </a:cubicBezTo>
                <a:cubicBezTo>
                  <a:pt x="509" y="339"/>
                  <a:pt x="498" y="340"/>
                  <a:pt x="495" y="341"/>
                </a:cubicBezTo>
                <a:cubicBezTo>
                  <a:pt x="491" y="342"/>
                  <a:pt x="482" y="345"/>
                  <a:pt x="479" y="346"/>
                </a:cubicBezTo>
                <a:cubicBezTo>
                  <a:pt x="477" y="348"/>
                  <a:pt x="469" y="352"/>
                  <a:pt x="469" y="352"/>
                </a:cubicBezTo>
                <a:cubicBezTo>
                  <a:pt x="463" y="356"/>
                  <a:pt x="463" y="356"/>
                  <a:pt x="463" y="356"/>
                </a:cubicBezTo>
                <a:cubicBezTo>
                  <a:pt x="463" y="356"/>
                  <a:pt x="460" y="355"/>
                  <a:pt x="458" y="354"/>
                </a:cubicBezTo>
                <a:cubicBezTo>
                  <a:pt x="457" y="353"/>
                  <a:pt x="455" y="352"/>
                  <a:pt x="454" y="351"/>
                </a:cubicBezTo>
                <a:cubicBezTo>
                  <a:pt x="452" y="349"/>
                  <a:pt x="451" y="351"/>
                  <a:pt x="448" y="351"/>
                </a:cubicBezTo>
                <a:cubicBezTo>
                  <a:pt x="445" y="352"/>
                  <a:pt x="443" y="351"/>
                  <a:pt x="440" y="349"/>
                </a:cubicBezTo>
                <a:cubicBezTo>
                  <a:pt x="438" y="346"/>
                  <a:pt x="433" y="339"/>
                  <a:pt x="430" y="338"/>
                </a:cubicBezTo>
                <a:cubicBezTo>
                  <a:pt x="427" y="337"/>
                  <a:pt x="421" y="340"/>
                  <a:pt x="417" y="338"/>
                </a:cubicBezTo>
                <a:cubicBezTo>
                  <a:pt x="413" y="336"/>
                  <a:pt x="412" y="335"/>
                  <a:pt x="410" y="335"/>
                </a:cubicBezTo>
                <a:cubicBezTo>
                  <a:pt x="409" y="335"/>
                  <a:pt x="402" y="338"/>
                  <a:pt x="402" y="338"/>
                </a:cubicBezTo>
                <a:cubicBezTo>
                  <a:pt x="402" y="338"/>
                  <a:pt x="383" y="312"/>
                  <a:pt x="381" y="310"/>
                </a:cubicBezTo>
                <a:cubicBezTo>
                  <a:pt x="380" y="307"/>
                  <a:pt x="378" y="303"/>
                  <a:pt x="377" y="303"/>
                </a:cubicBezTo>
                <a:cubicBezTo>
                  <a:pt x="375" y="303"/>
                  <a:pt x="366" y="308"/>
                  <a:pt x="363" y="309"/>
                </a:cubicBezTo>
                <a:cubicBezTo>
                  <a:pt x="360" y="310"/>
                  <a:pt x="355" y="312"/>
                  <a:pt x="353" y="312"/>
                </a:cubicBezTo>
                <a:cubicBezTo>
                  <a:pt x="351" y="312"/>
                  <a:pt x="352" y="307"/>
                  <a:pt x="352" y="306"/>
                </a:cubicBezTo>
                <a:cubicBezTo>
                  <a:pt x="351" y="305"/>
                  <a:pt x="336" y="305"/>
                  <a:pt x="335" y="304"/>
                </a:cubicBezTo>
                <a:cubicBezTo>
                  <a:pt x="334" y="303"/>
                  <a:pt x="333" y="294"/>
                  <a:pt x="332" y="293"/>
                </a:cubicBezTo>
                <a:cubicBezTo>
                  <a:pt x="331" y="292"/>
                  <a:pt x="321" y="292"/>
                  <a:pt x="320" y="292"/>
                </a:cubicBezTo>
                <a:cubicBezTo>
                  <a:pt x="318" y="292"/>
                  <a:pt x="314" y="294"/>
                  <a:pt x="313" y="295"/>
                </a:cubicBezTo>
                <a:cubicBezTo>
                  <a:pt x="311" y="296"/>
                  <a:pt x="300" y="299"/>
                  <a:pt x="297" y="300"/>
                </a:cubicBezTo>
                <a:cubicBezTo>
                  <a:pt x="294" y="300"/>
                  <a:pt x="271" y="306"/>
                  <a:pt x="268" y="306"/>
                </a:cubicBezTo>
                <a:cubicBezTo>
                  <a:pt x="265" y="307"/>
                  <a:pt x="261" y="306"/>
                  <a:pt x="260" y="307"/>
                </a:cubicBezTo>
                <a:cubicBezTo>
                  <a:pt x="259" y="307"/>
                  <a:pt x="257" y="317"/>
                  <a:pt x="256" y="317"/>
                </a:cubicBezTo>
                <a:cubicBezTo>
                  <a:pt x="256" y="318"/>
                  <a:pt x="258" y="321"/>
                  <a:pt x="258" y="323"/>
                </a:cubicBezTo>
                <a:cubicBezTo>
                  <a:pt x="257" y="325"/>
                  <a:pt x="252" y="326"/>
                  <a:pt x="251" y="327"/>
                </a:cubicBezTo>
                <a:cubicBezTo>
                  <a:pt x="250" y="329"/>
                  <a:pt x="262" y="332"/>
                  <a:pt x="262" y="333"/>
                </a:cubicBezTo>
                <a:cubicBezTo>
                  <a:pt x="262" y="334"/>
                  <a:pt x="262" y="338"/>
                  <a:pt x="260" y="339"/>
                </a:cubicBezTo>
                <a:cubicBezTo>
                  <a:pt x="259" y="340"/>
                  <a:pt x="253" y="340"/>
                  <a:pt x="251" y="340"/>
                </a:cubicBezTo>
                <a:cubicBezTo>
                  <a:pt x="250" y="340"/>
                  <a:pt x="248" y="341"/>
                  <a:pt x="246" y="341"/>
                </a:cubicBezTo>
                <a:cubicBezTo>
                  <a:pt x="244" y="341"/>
                  <a:pt x="237" y="336"/>
                  <a:pt x="236" y="336"/>
                </a:cubicBezTo>
                <a:cubicBezTo>
                  <a:pt x="234" y="336"/>
                  <a:pt x="228" y="336"/>
                  <a:pt x="225" y="337"/>
                </a:cubicBezTo>
                <a:cubicBezTo>
                  <a:pt x="222" y="337"/>
                  <a:pt x="219" y="341"/>
                  <a:pt x="218" y="342"/>
                </a:cubicBezTo>
                <a:cubicBezTo>
                  <a:pt x="217" y="343"/>
                  <a:pt x="210" y="340"/>
                  <a:pt x="209" y="340"/>
                </a:cubicBezTo>
                <a:cubicBezTo>
                  <a:pt x="207" y="340"/>
                  <a:pt x="200" y="332"/>
                  <a:pt x="199" y="332"/>
                </a:cubicBezTo>
                <a:cubicBezTo>
                  <a:pt x="198" y="331"/>
                  <a:pt x="182" y="330"/>
                  <a:pt x="180" y="330"/>
                </a:cubicBezTo>
                <a:cubicBezTo>
                  <a:pt x="179" y="330"/>
                  <a:pt x="167" y="339"/>
                  <a:pt x="165" y="340"/>
                </a:cubicBezTo>
                <a:cubicBezTo>
                  <a:pt x="164" y="340"/>
                  <a:pt x="167" y="346"/>
                  <a:pt x="166" y="346"/>
                </a:cubicBezTo>
                <a:cubicBezTo>
                  <a:pt x="165" y="347"/>
                  <a:pt x="162" y="350"/>
                  <a:pt x="161" y="350"/>
                </a:cubicBezTo>
                <a:cubicBezTo>
                  <a:pt x="160" y="350"/>
                  <a:pt x="155" y="342"/>
                  <a:pt x="154" y="343"/>
                </a:cubicBezTo>
                <a:cubicBezTo>
                  <a:pt x="153" y="344"/>
                  <a:pt x="149" y="347"/>
                  <a:pt x="149" y="349"/>
                </a:cubicBezTo>
                <a:cubicBezTo>
                  <a:pt x="149" y="350"/>
                  <a:pt x="146" y="363"/>
                  <a:pt x="146" y="363"/>
                </a:cubicBezTo>
                <a:cubicBezTo>
                  <a:pt x="146" y="363"/>
                  <a:pt x="151" y="368"/>
                  <a:pt x="153" y="369"/>
                </a:cubicBezTo>
                <a:cubicBezTo>
                  <a:pt x="155" y="370"/>
                  <a:pt x="161" y="371"/>
                  <a:pt x="163" y="373"/>
                </a:cubicBezTo>
                <a:cubicBezTo>
                  <a:pt x="164" y="375"/>
                  <a:pt x="164" y="378"/>
                  <a:pt x="163" y="379"/>
                </a:cubicBezTo>
                <a:cubicBezTo>
                  <a:pt x="168" y="385"/>
                  <a:pt x="168" y="385"/>
                  <a:pt x="168" y="385"/>
                </a:cubicBezTo>
                <a:cubicBezTo>
                  <a:pt x="167" y="386"/>
                  <a:pt x="166" y="387"/>
                  <a:pt x="165" y="387"/>
                </a:cubicBezTo>
                <a:cubicBezTo>
                  <a:pt x="164" y="389"/>
                  <a:pt x="161" y="389"/>
                  <a:pt x="159" y="389"/>
                </a:cubicBezTo>
                <a:cubicBezTo>
                  <a:pt x="157" y="389"/>
                  <a:pt x="155" y="392"/>
                  <a:pt x="154" y="394"/>
                </a:cubicBezTo>
                <a:cubicBezTo>
                  <a:pt x="154" y="397"/>
                  <a:pt x="149" y="397"/>
                  <a:pt x="149" y="400"/>
                </a:cubicBezTo>
                <a:cubicBezTo>
                  <a:pt x="148" y="402"/>
                  <a:pt x="151" y="402"/>
                  <a:pt x="152" y="403"/>
                </a:cubicBezTo>
                <a:cubicBezTo>
                  <a:pt x="154" y="403"/>
                  <a:pt x="156" y="406"/>
                  <a:pt x="155" y="408"/>
                </a:cubicBezTo>
                <a:cubicBezTo>
                  <a:pt x="155" y="409"/>
                  <a:pt x="155" y="413"/>
                  <a:pt x="155" y="416"/>
                </a:cubicBezTo>
                <a:cubicBezTo>
                  <a:pt x="156" y="418"/>
                  <a:pt x="160" y="422"/>
                  <a:pt x="163" y="425"/>
                </a:cubicBezTo>
                <a:cubicBezTo>
                  <a:pt x="159" y="429"/>
                  <a:pt x="159" y="429"/>
                  <a:pt x="159" y="429"/>
                </a:cubicBezTo>
                <a:cubicBezTo>
                  <a:pt x="158" y="430"/>
                  <a:pt x="157" y="431"/>
                  <a:pt x="155" y="431"/>
                </a:cubicBezTo>
                <a:cubicBezTo>
                  <a:pt x="154" y="431"/>
                  <a:pt x="151" y="429"/>
                  <a:pt x="149" y="427"/>
                </a:cubicBezTo>
                <a:cubicBezTo>
                  <a:pt x="148" y="426"/>
                  <a:pt x="147" y="425"/>
                  <a:pt x="146" y="425"/>
                </a:cubicBezTo>
                <a:cubicBezTo>
                  <a:pt x="145" y="424"/>
                  <a:pt x="138" y="418"/>
                  <a:pt x="136" y="417"/>
                </a:cubicBezTo>
                <a:cubicBezTo>
                  <a:pt x="134" y="417"/>
                  <a:pt x="132" y="417"/>
                  <a:pt x="129" y="418"/>
                </a:cubicBezTo>
                <a:cubicBezTo>
                  <a:pt x="126" y="418"/>
                  <a:pt x="125" y="417"/>
                  <a:pt x="123" y="415"/>
                </a:cubicBezTo>
                <a:cubicBezTo>
                  <a:pt x="121" y="413"/>
                  <a:pt x="115" y="411"/>
                  <a:pt x="113" y="410"/>
                </a:cubicBezTo>
                <a:cubicBezTo>
                  <a:pt x="111" y="409"/>
                  <a:pt x="101" y="407"/>
                  <a:pt x="100" y="407"/>
                </a:cubicBezTo>
                <a:cubicBezTo>
                  <a:pt x="99" y="407"/>
                  <a:pt x="97" y="412"/>
                  <a:pt x="97" y="412"/>
                </a:cubicBezTo>
                <a:cubicBezTo>
                  <a:pt x="96" y="411"/>
                  <a:pt x="95" y="411"/>
                  <a:pt x="95" y="410"/>
                </a:cubicBezTo>
                <a:cubicBezTo>
                  <a:pt x="92" y="408"/>
                  <a:pt x="88" y="403"/>
                  <a:pt x="86" y="403"/>
                </a:cubicBezTo>
                <a:cubicBezTo>
                  <a:pt x="83" y="402"/>
                  <a:pt x="79" y="400"/>
                  <a:pt x="77" y="399"/>
                </a:cubicBezTo>
                <a:cubicBezTo>
                  <a:pt x="75" y="397"/>
                  <a:pt x="72" y="399"/>
                  <a:pt x="72" y="397"/>
                </a:cubicBezTo>
                <a:cubicBezTo>
                  <a:pt x="72" y="396"/>
                  <a:pt x="72" y="392"/>
                  <a:pt x="73" y="392"/>
                </a:cubicBezTo>
                <a:cubicBezTo>
                  <a:pt x="74" y="392"/>
                  <a:pt x="78" y="393"/>
                  <a:pt x="79" y="392"/>
                </a:cubicBezTo>
                <a:cubicBezTo>
                  <a:pt x="79" y="391"/>
                  <a:pt x="84" y="385"/>
                  <a:pt x="84" y="384"/>
                </a:cubicBezTo>
                <a:cubicBezTo>
                  <a:pt x="83" y="383"/>
                  <a:pt x="81" y="381"/>
                  <a:pt x="82" y="381"/>
                </a:cubicBezTo>
                <a:cubicBezTo>
                  <a:pt x="83" y="380"/>
                  <a:pt x="92" y="378"/>
                  <a:pt x="92" y="377"/>
                </a:cubicBezTo>
                <a:cubicBezTo>
                  <a:pt x="93" y="377"/>
                  <a:pt x="91" y="373"/>
                  <a:pt x="90" y="372"/>
                </a:cubicBezTo>
                <a:cubicBezTo>
                  <a:pt x="90" y="372"/>
                  <a:pt x="87" y="373"/>
                  <a:pt x="84" y="374"/>
                </a:cubicBezTo>
                <a:cubicBezTo>
                  <a:pt x="84" y="369"/>
                  <a:pt x="84" y="369"/>
                  <a:pt x="84" y="369"/>
                </a:cubicBezTo>
                <a:cubicBezTo>
                  <a:pt x="85" y="367"/>
                  <a:pt x="93" y="367"/>
                  <a:pt x="94" y="367"/>
                </a:cubicBezTo>
                <a:cubicBezTo>
                  <a:pt x="95" y="368"/>
                  <a:pt x="97" y="364"/>
                  <a:pt x="97" y="362"/>
                </a:cubicBezTo>
                <a:cubicBezTo>
                  <a:pt x="97" y="360"/>
                  <a:pt x="98" y="354"/>
                  <a:pt x="98" y="352"/>
                </a:cubicBezTo>
                <a:cubicBezTo>
                  <a:pt x="98" y="351"/>
                  <a:pt x="85" y="348"/>
                  <a:pt x="83" y="347"/>
                </a:cubicBezTo>
                <a:cubicBezTo>
                  <a:pt x="81" y="346"/>
                  <a:pt x="65" y="344"/>
                  <a:pt x="63" y="342"/>
                </a:cubicBezTo>
                <a:cubicBezTo>
                  <a:pt x="62" y="341"/>
                  <a:pt x="61" y="337"/>
                  <a:pt x="60" y="335"/>
                </a:cubicBezTo>
                <a:cubicBezTo>
                  <a:pt x="58" y="334"/>
                  <a:pt x="53" y="336"/>
                  <a:pt x="53" y="333"/>
                </a:cubicBezTo>
                <a:cubicBezTo>
                  <a:pt x="53" y="330"/>
                  <a:pt x="52" y="324"/>
                  <a:pt x="50" y="323"/>
                </a:cubicBezTo>
                <a:cubicBezTo>
                  <a:pt x="49" y="322"/>
                  <a:pt x="42" y="324"/>
                  <a:pt x="40" y="324"/>
                </a:cubicBezTo>
                <a:cubicBezTo>
                  <a:pt x="39" y="324"/>
                  <a:pt x="36" y="325"/>
                  <a:pt x="33" y="325"/>
                </a:cubicBezTo>
                <a:cubicBezTo>
                  <a:pt x="33" y="325"/>
                  <a:pt x="30" y="317"/>
                  <a:pt x="31" y="316"/>
                </a:cubicBezTo>
                <a:cubicBezTo>
                  <a:pt x="31" y="314"/>
                  <a:pt x="40" y="316"/>
                  <a:pt x="40" y="314"/>
                </a:cubicBezTo>
                <a:cubicBezTo>
                  <a:pt x="41" y="312"/>
                  <a:pt x="35" y="307"/>
                  <a:pt x="33" y="305"/>
                </a:cubicBezTo>
                <a:cubicBezTo>
                  <a:pt x="31" y="302"/>
                  <a:pt x="27" y="299"/>
                  <a:pt x="27" y="297"/>
                </a:cubicBezTo>
                <a:cubicBezTo>
                  <a:pt x="27" y="295"/>
                  <a:pt x="29" y="291"/>
                  <a:pt x="27" y="289"/>
                </a:cubicBezTo>
                <a:cubicBezTo>
                  <a:pt x="25" y="287"/>
                  <a:pt x="19" y="287"/>
                  <a:pt x="16" y="286"/>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5" name="Freeform 219"/>
          <p:cNvSpPr>
            <a:spLocks/>
          </p:cNvSpPr>
          <p:nvPr>
            <p:custDataLst>
              <p:tags r:id="rId151"/>
            </p:custDataLst>
          </p:nvPr>
        </p:nvSpPr>
        <p:spPr bwMode="auto">
          <a:xfrm>
            <a:off x="6306732" y="2538659"/>
            <a:ext cx="77268" cy="42146"/>
          </a:xfrm>
          <a:custGeom>
            <a:avLst/>
            <a:gdLst>
              <a:gd name="T0" fmla="*/ 2794 w 25"/>
              <a:gd name="T1" fmla="*/ 38100 h 13"/>
              <a:gd name="T2" fmla="*/ 0 w 25"/>
              <a:gd name="T3" fmla="*/ 29308 h 13"/>
              <a:gd name="T4" fmla="*/ 16764 w 25"/>
              <a:gd name="T5" fmla="*/ 17585 h 13"/>
              <a:gd name="T6" fmla="*/ 30734 w 25"/>
              <a:gd name="T7" fmla="*/ 0 h 13"/>
              <a:gd name="T8" fmla="*/ 67056 w 25"/>
              <a:gd name="T9" fmla="*/ 17585 h 13"/>
              <a:gd name="T10" fmla="*/ 67056 w 25"/>
              <a:gd name="T11" fmla="*/ 35169 h 13"/>
              <a:gd name="T12" fmla="*/ 2794 w 25"/>
              <a:gd name="T13" fmla="*/ 38100 h 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13">
                <a:moveTo>
                  <a:pt x="1" y="13"/>
                </a:moveTo>
                <a:cubicBezTo>
                  <a:pt x="1" y="12"/>
                  <a:pt x="0" y="10"/>
                  <a:pt x="0" y="10"/>
                </a:cubicBezTo>
                <a:cubicBezTo>
                  <a:pt x="3" y="9"/>
                  <a:pt x="6" y="7"/>
                  <a:pt x="6" y="6"/>
                </a:cubicBezTo>
                <a:cubicBezTo>
                  <a:pt x="7" y="5"/>
                  <a:pt x="11" y="2"/>
                  <a:pt x="11" y="0"/>
                </a:cubicBezTo>
                <a:cubicBezTo>
                  <a:pt x="11" y="0"/>
                  <a:pt x="23" y="5"/>
                  <a:pt x="24" y="6"/>
                </a:cubicBezTo>
                <a:cubicBezTo>
                  <a:pt x="25" y="7"/>
                  <a:pt x="24" y="12"/>
                  <a:pt x="24" y="12"/>
                </a:cubicBezTo>
                <a:cubicBezTo>
                  <a:pt x="23" y="12"/>
                  <a:pt x="3" y="13"/>
                  <a:pt x="1" y="1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6" name="Freeform 222"/>
          <p:cNvSpPr>
            <a:spLocks/>
          </p:cNvSpPr>
          <p:nvPr>
            <p:custDataLst>
              <p:tags r:id="rId152"/>
            </p:custDataLst>
          </p:nvPr>
        </p:nvSpPr>
        <p:spPr bwMode="auto">
          <a:xfrm>
            <a:off x="6893269" y="2972415"/>
            <a:ext cx="122927" cy="101854"/>
          </a:xfrm>
          <a:custGeom>
            <a:avLst/>
            <a:gdLst>
              <a:gd name="T0" fmla="*/ 5421 w 41"/>
              <a:gd name="T1" fmla="*/ 11881 h 31"/>
              <a:gd name="T2" fmla="*/ 29814 w 41"/>
              <a:gd name="T3" fmla="*/ 20791 h 31"/>
              <a:gd name="T4" fmla="*/ 35235 w 41"/>
              <a:gd name="T5" fmla="*/ 5940 h 31"/>
              <a:gd name="T6" fmla="*/ 51497 w 41"/>
              <a:gd name="T7" fmla="*/ 17821 h 31"/>
              <a:gd name="T8" fmla="*/ 62338 w 41"/>
              <a:gd name="T9" fmla="*/ 11881 h 31"/>
              <a:gd name="T10" fmla="*/ 73180 w 41"/>
              <a:gd name="T11" fmla="*/ 0 h 31"/>
              <a:gd name="T12" fmla="*/ 78601 w 41"/>
              <a:gd name="T13" fmla="*/ 2970 h 31"/>
              <a:gd name="T14" fmla="*/ 89442 w 41"/>
              <a:gd name="T15" fmla="*/ 26731 h 31"/>
              <a:gd name="T16" fmla="*/ 111125 w 41"/>
              <a:gd name="T17" fmla="*/ 38612 h 31"/>
              <a:gd name="T18" fmla="*/ 94863 w 41"/>
              <a:gd name="T19" fmla="*/ 47523 h 31"/>
              <a:gd name="T20" fmla="*/ 89442 w 41"/>
              <a:gd name="T21" fmla="*/ 65344 h 31"/>
              <a:gd name="T22" fmla="*/ 78601 w 41"/>
              <a:gd name="T23" fmla="*/ 77224 h 31"/>
              <a:gd name="T24" fmla="*/ 78601 w 41"/>
              <a:gd name="T25" fmla="*/ 92075 h 31"/>
              <a:gd name="T26" fmla="*/ 59628 w 41"/>
              <a:gd name="T27" fmla="*/ 80194 h 31"/>
              <a:gd name="T28" fmla="*/ 65049 w 41"/>
              <a:gd name="T29" fmla="*/ 68314 h 31"/>
              <a:gd name="T30" fmla="*/ 56918 w 41"/>
              <a:gd name="T31" fmla="*/ 56433 h 31"/>
              <a:gd name="T32" fmla="*/ 29814 w 41"/>
              <a:gd name="T33" fmla="*/ 74254 h 31"/>
              <a:gd name="T34" fmla="*/ 13552 w 41"/>
              <a:gd name="T35" fmla="*/ 56433 h 31"/>
              <a:gd name="T36" fmla="*/ 16262 w 41"/>
              <a:gd name="T37" fmla="*/ 44552 h 31"/>
              <a:gd name="T38" fmla="*/ 10841 w 41"/>
              <a:gd name="T39" fmla="*/ 35642 h 31"/>
              <a:gd name="T40" fmla="*/ 0 w 41"/>
              <a:gd name="T41" fmla="*/ 14851 h 31"/>
              <a:gd name="T42" fmla="*/ 5421 w 41"/>
              <a:gd name="T43" fmla="*/ 11881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1" h="31">
                <a:moveTo>
                  <a:pt x="2" y="4"/>
                </a:moveTo>
                <a:cubicBezTo>
                  <a:pt x="4" y="3"/>
                  <a:pt x="8" y="7"/>
                  <a:pt x="11" y="7"/>
                </a:cubicBezTo>
                <a:cubicBezTo>
                  <a:pt x="13" y="7"/>
                  <a:pt x="13" y="2"/>
                  <a:pt x="13" y="2"/>
                </a:cubicBezTo>
                <a:cubicBezTo>
                  <a:pt x="15" y="4"/>
                  <a:pt x="18" y="6"/>
                  <a:pt x="19" y="6"/>
                </a:cubicBezTo>
                <a:cubicBezTo>
                  <a:pt x="21" y="6"/>
                  <a:pt x="22" y="5"/>
                  <a:pt x="23" y="4"/>
                </a:cubicBezTo>
                <a:cubicBezTo>
                  <a:pt x="27" y="0"/>
                  <a:pt x="27" y="0"/>
                  <a:pt x="27" y="0"/>
                </a:cubicBezTo>
                <a:cubicBezTo>
                  <a:pt x="28" y="0"/>
                  <a:pt x="28" y="1"/>
                  <a:pt x="29" y="1"/>
                </a:cubicBezTo>
                <a:cubicBezTo>
                  <a:pt x="31" y="4"/>
                  <a:pt x="32" y="6"/>
                  <a:pt x="33" y="9"/>
                </a:cubicBezTo>
                <a:cubicBezTo>
                  <a:pt x="34" y="11"/>
                  <a:pt x="41" y="11"/>
                  <a:pt x="41" y="13"/>
                </a:cubicBezTo>
                <a:cubicBezTo>
                  <a:pt x="41" y="15"/>
                  <a:pt x="38" y="15"/>
                  <a:pt x="35" y="16"/>
                </a:cubicBezTo>
                <a:cubicBezTo>
                  <a:pt x="32" y="16"/>
                  <a:pt x="33" y="20"/>
                  <a:pt x="33" y="22"/>
                </a:cubicBezTo>
                <a:cubicBezTo>
                  <a:pt x="33" y="24"/>
                  <a:pt x="31" y="25"/>
                  <a:pt x="29" y="26"/>
                </a:cubicBezTo>
                <a:cubicBezTo>
                  <a:pt x="29" y="26"/>
                  <a:pt x="29" y="29"/>
                  <a:pt x="29" y="31"/>
                </a:cubicBezTo>
                <a:cubicBezTo>
                  <a:pt x="27" y="31"/>
                  <a:pt x="22" y="27"/>
                  <a:pt x="22" y="27"/>
                </a:cubicBezTo>
                <a:cubicBezTo>
                  <a:pt x="24" y="23"/>
                  <a:pt x="24" y="23"/>
                  <a:pt x="24" y="23"/>
                </a:cubicBezTo>
                <a:cubicBezTo>
                  <a:pt x="21" y="19"/>
                  <a:pt x="21" y="19"/>
                  <a:pt x="21" y="19"/>
                </a:cubicBezTo>
                <a:cubicBezTo>
                  <a:pt x="11" y="25"/>
                  <a:pt x="11" y="25"/>
                  <a:pt x="11" y="25"/>
                </a:cubicBezTo>
                <a:cubicBezTo>
                  <a:pt x="5" y="19"/>
                  <a:pt x="5" y="19"/>
                  <a:pt x="5" y="19"/>
                </a:cubicBezTo>
                <a:cubicBezTo>
                  <a:pt x="6" y="15"/>
                  <a:pt x="6" y="15"/>
                  <a:pt x="6" y="15"/>
                </a:cubicBezTo>
                <a:cubicBezTo>
                  <a:pt x="4" y="12"/>
                  <a:pt x="4" y="12"/>
                  <a:pt x="4" y="12"/>
                </a:cubicBezTo>
                <a:cubicBezTo>
                  <a:pt x="0" y="5"/>
                  <a:pt x="0" y="5"/>
                  <a:pt x="0" y="5"/>
                </a:cubicBezTo>
                <a:cubicBezTo>
                  <a:pt x="1" y="5"/>
                  <a:pt x="1" y="4"/>
                  <a:pt x="2" y="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7" name="Freeform 223"/>
          <p:cNvSpPr>
            <a:spLocks/>
          </p:cNvSpPr>
          <p:nvPr>
            <p:custDataLst>
              <p:tags r:id="rId153"/>
            </p:custDataLst>
          </p:nvPr>
        </p:nvSpPr>
        <p:spPr bwMode="auto">
          <a:xfrm>
            <a:off x="6856390" y="2988221"/>
            <a:ext cx="68488" cy="82537"/>
          </a:xfrm>
          <a:custGeom>
            <a:avLst/>
            <a:gdLst>
              <a:gd name="T0" fmla="*/ 21535 w 23"/>
              <a:gd name="T1" fmla="*/ 44768 h 25"/>
              <a:gd name="T2" fmla="*/ 2692 w 23"/>
              <a:gd name="T3" fmla="*/ 32830 h 25"/>
              <a:gd name="T4" fmla="*/ 0 w 23"/>
              <a:gd name="T5" fmla="*/ 5969 h 25"/>
              <a:gd name="T6" fmla="*/ 32302 w 23"/>
              <a:gd name="T7" fmla="*/ 0 h 25"/>
              <a:gd name="T8" fmla="*/ 43070 w 23"/>
              <a:gd name="T9" fmla="*/ 20892 h 25"/>
              <a:gd name="T10" fmla="*/ 48454 w 23"/>
              <a:gd name="T11" fmla="*/ 29845 h 25"/>
              <a:gd name="T12" fmla="*/ 45762 w 23"/>
              <a:gd name="T13" fmla="*/ 41783 h 25"/>
              <a:gd name="T14" fmla="*/ 61913 w 23"/>
              <a:gd name="T15" fmla="*/ 59690 h 25"/>
              <a:gd name="T16" fmla="*/ 37686 w 23"/>
              <a:gd name="T17" fmla="*/ 68644 h 25"/>
              <a:gd name="T18" fmla="*/ 21535 w 23"/>
              <a:gd name="T19" fmla="*/ 44768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 h="25">
                <a:moveTo>
                  <a:pt x="8" y="15"/>
                </a:moveTo>
                <a:cubicBezTo>
                  <a:pt x="5" y="13"/>
                  <a:pt x="1" y="13"/>
                  <a:pt x="1" y="11"/>
                </a:cubicBezTo>
                <a:cubicBezTo>
                  <a:pt x="0" y="2"/>
                  <a:pt x="0" y="2"/>
                  <a:pt x="0" y="2"/>
                </a:cubicBezTo>
                <a:cubicBezTo>
                  <a:pt x="3" y="3"/>
                  <a:pt x="8" y="1"/>
                  <a:pt x="12" y="0"/>
                </a:cubicBezTo>
                <a:cubicBezTo>
                  <a:pt x="16" y="7"/>
                  <a:pt x="16" y="7"/>
                  <a:pt x="16" y="7"/>
                </a:cubicBezTo>
                <a:cubicBezTo>
                  <a:pt x="18" y="10"/>
                  <a:pt x="18" y="10"/>
                  <a:pt x="18" y="10"/>
                </a:cubicBezTo>
                <a:cubicBezTo>
                  <a:pt x="17" y="14"/>
                  <a:pt x="17" y="14"/>
                  <a:pt x="17" y="14"/>
                </a:cubicBezTo>
                <a:cubicBezTo>
                  <a:pt x="23" y="20"/>
                  <a:pt x="23" y="20"/>
                  <a:pt x="23" y="20"/>
                </a:cubicBezTo>
                <a:cubicBezTo>
                  <a:pt x="23" y="20"/>
                  <a:pt x="17" y="25"/>
                  <a:pt x="14" y="23"/>
                </a:cubicBezTo>
                <a:cubicBezTo>
                  <a:pt x="13" y="21"/>
                  <a:pt x="11" y="16"/>
                  <a:pt x="8" y="15"/>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8" name="Freeform 224"/>
          <p:cNvSpPr>
            <a:spLocks/>
          </p:cNvSpPr>
          <p:nvPr>
            <p:custDataLst>
              <p:tags r:id="rId154"/>
            </p:custDataLst>
          </p:nvPr>
        </p:nvSpPr>
        <p:spPr bwMode="auto">
          <a:xfrm>
            <a:off x="6773854" y="2916221"/>
            <a:ext cx="158049" cy="82537"/>
          </a:xfrm>
          <a:custGeom>
            <a:avLst/>
            <a:gdLst>
              <a:gd name="T0" fmla="*/ 0 w 52"/>
              <a:gd name="T1" fmla="*/ 14349 h 26"/>
              <a:gd name="T2" fmla="*/ 8243 w 52"/>
              <a:gd name="T3" fmla="*/ 0 h 26"/>
              <a:gd name="T4" fmla="*/ 43962 w 52"/>
              <a:gd name="T5" fmla="*/ 8609 h 26"/>
              <a:gd name="T6" fmla="*/ 71438 w 52"/>
              <a:gd name="T7" fmla="*/ 22958 h 26"/>
              <a:gd name="T8" fmla="*/ 87923 w 52"/>
              <a:gd name="T9" fmla="*/ 31567 h 26"/>
              <a:gd name="T10" fmla="*/ 107156 w 52"/>
              <a:gd name="T11" fmla="*/ 28697 h 26"/>
              <a:gd name="T12" fmla="*/ 134632 w 52"/>
              <a:gd name="T13" fmla="*/ 51655 h 26"/>
              <a:gd name="T14" fmla="*/ 142875 w 52"/>
              <a:gd name="T15" fmla="*/ 57395 h 26"/>
              <a:gd name="T16" fmla="*/ 137380 w 52"/>
              <a:gd name="T17" fmla="*/ 71743 h 26"/>
              <a:gd name="T18" fmla="*/ 112651 w 52"/>
              <a:gd name="T19" fmla="*/ 63134 h 26"/>
              <a:gd name="T20" fmla="*/ 107156 w 52"/>
              <a:gd name="T21" fmla="*/ 66004 h 26"/>
              <a:gd name="T22" fmla="*/ 74185 w 52"/>
              <a:gd name="T23" fmla="*/ 71743 h 26"/>
              <a:gd name="T24" fmla="*/ 57700 w 52"/>
              <a:gd name="T25" fmla="*/ 60264 h 26"/>
              <a:gd name="T26" fmla="*/ 35719 w 52"/>
              <a:gd name="T27" fmla="*/ 57395 h 26"/>
              <a:gd name="T28" fmla="*/ 35719 w 52"/>
              <a:gd name="T29" fmla="*/ 51655 h 26"/>
              <a:gd name="T30" fmla="*/ 27476 w 52"/>
              <a:gd name="T31" fmla="*/ 28697 h 26"/>
              <a:gd name="T32" fmla="*/ 0 w 52"/>
              <a:gd name="T33" fmla="*/ 14349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6">
                <a:moveTo>
                  <a:pt x="0" y="5"/>
                </a:moveTo>
                <a:cubicBezTo>
                  <a:pt x="0" y="5"/>
                  <a:pt x="2" y="0"/>
                  <a:pt x="3" y="0"/>
                </a:cubicBezTo>
                <a:cubicBezTo>
                  <a:pt x="4" y="0"/>
                  <a:pt x="14" y="2"/>
                  <a:pt x="16" y="3"/>
                </a:cubicBezTo>
                <a:cubicBezTo>
                  <a:pt x="18" y="4"/>
                  <a:pt x="24" y="6"/>
                  <a:pt x="26" y="8"/>
                </a:cubicBezTo>
                <a:cubicBezTo>
                  <a:pt x="28" y="10"/>
                  <a:pt x="29" y="11"/>
                  <a:pt x="32" y="11"/>
                </a:cubicBezTo>
                <a:cubicBezTo>
                  <a:pt x="35" y="10"/>
                  <a:pt x="37" y="10"/>
                  <a:pt x="39" y="10"/>
                </a:cubicBezTo>
                <a:cubicBezTo>
                  <a:pt x="41" y="11"/>
                  <a:pt x="48" y="17"/>
                  <a:pt x="49" y="18"/>
                </a:cubicBezTo>
                <a:cubicBezTo>
                  <a:pt x="50" y="18"/>
                  <a:pt x="51" y="19"/>
                  <a:pt x="52" y="20"/>
                </a:cubicBezTo>
                <a:cubicBezTo>
                  <a:pt x="52" y="20"/>
                  <a:pt x="52" y="25"/>
                  <a:pt x="50" y="25"/>
                </a:cubicBezTo>
                <a:cubicBezTo>
                  <a:pt x="47" y="25"/>
                  <a:pt x="43" y="21"/>
                  <a:pt x="41" y="22"/>
                </a:cubicBezTo>
                <a:cubicBezTo>
                  <a:pt x="40" y="22"/>
                  <a:pt x="40" y="23"/>
                  <a:pt x="39" y="23"/>
                </a:cubicBezTo>
                <a:cubicBezTo>
                  <a:pt x="35" y="24"/>
                  <a:pt x="30" y="26"/>
                  <a:pt x="27" y="25"/>
                </a:cubicBezTo>
                <a:cubicBezTo>
                  <a:pt x="24" y="24"/>
                  <a:pt x="23" y="21"/>
                  <a:pt x="21" y="21"/>
                </a:cubicBezTo>
                <a:cubicBezTo>
                  <a:pt x="20" y="21"/>
                  <a:pt x="13" y="20"/>
                  <a:pt x="13" y="20"/>
                </a:cubicBezTo>
                <a:cubicBezTo>
                  <a:pt x="13" y="19"/>
                  <a:pt x="13" y="19"/>
                  <a:pt x="13" y="18"/>
                </a:cubicBezTo>
                <a:cubicBezTo>
                  <a:pt x="13" y="15"/>
                  <a:pt x="12" y="12"/>
                  <a:pt x="10" y="10"/>
                </a:cubicBezTo>
                <a:cubicBezTo>
                  <a:pt x="8" y="8"/>
                  <a:pt x="3" y="6"/>
                  <a:pt x="0" y="5"/>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59" name="Freeform 225"/>
          <p:cNvSpPr>
            <a:spLocks/>
          </p:cNvSpPr>
          <p:nvPr>
            <p:custDataLst>
              <p:tags r:id="rId155"/>
            </p:custDataLst>
          </p:nvPr>
        </p:nvSpPr>
        <p:spPr bwMode="auto">
          <a:xfrm>
            <a:off x="6636879" y="3218268"/>
            <a:ext cx="47415" cy="110634"/>
          </a:xfrm>
          <a:custGeom>
            <a:avLst/>
            <a:gdLst>
              <a:gd name="T0" fmla="*/ 5358 w 16"/>
              <a:gd name="T1" fmla="*/ 47065 h 34"/>
              <a:gd name="T2" fmla="*/ 24110 w 16"/>
              <a:gd name="T3" fmla="*/ 0 h 34"/>
              <a:gd name="T4" fmla="*/ 32147 w 16"/>
              <a:gd name="T5" fmla="*/ 0 h 34"/>
              <a:gd name="T6" fmla="*/ 42863 w 16"/>
              <a:gd name="T7" fmla="*/ 5883 h 34"/>
              <a:gd name="T8" fmla="*/ 37505 w 16"/>
              <a:gd name="T9" fmla="*/ 17649 h 34"/>
              <a:gd name="T10" fmla="*/ 32147 w 16"/>
              <a:gd name="T11" fmla="*/ 41182 h 34"/>
              <a:gd name="T12" fmla="*/ 21432 w 16"/>
              <a:gd name="T13" fmla="*/ 97071 h 34"/>
              <a:gd name="T14" fmla="*/ 18753 w 16"/>
              <a:gd name="T15" fmla="*/ 97071 h 34"/>
              <a:gd name="T16" fmla="*/ 16074 w 16"/>
              <a:gd name="T17" fmla="*/ 100013 h 34"/>
              <a:gd name="T18" fmla="*/ 0 w 16"/>
              <a:gd name="T19" fmla="*/ 50007 h 34"/>
              <a:gd name="T20" fmla="*/ 5358 w 16"/>
              <a:gd name="T21" fmla="*/ 4706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34">
                <a:moveTo>
                  <a:pt x="2" y="16"/>
                </a:moveTo>
                <a:cubicBezTo>
                  <a:pt x="3" y="14"/>
                  <a:pt x="7" y="6"/>
                  <a:pt x="9" y="0"/>
                </a:cubicBezTo>
                <a:cubicBezTo>
                  <a:pt x="12" y="0"/>
                  <a:pt x="12" y="0"/>
                  <a:pt x="12" y="0"/>
                </a:cubicBezTo>
                <a:cubicBezTo>
                  <a:pt x="16" y="2"/>
                  <a:pt x="16" y="2"/>
                  <a:pt x="16" y="2"/>
                </a:cubicBezTo>
                <a:cubicBezTo>
                  <a:pt x="15" y="4"/>
                  <a:pt x="15" y="5"/>
                  <a:pt x="14" y="6"/>
                </a:cubicBezTo>
                <a:cubicBezTo>
                  <a:pt x="13" y="7"/>
                  <a:pt x="12" y="12"/>
                  <a:pt x="12" y="14"/>
                </a:cubicBezTo>
                <a:cubicBezTo>
                  <a:pt x="8" y="33"/>
                  <a:pt x="8" y="33"/>
                  <a:pt x="8" y="33"/>
                </a:cubicBezTo>
                <a:cubicBezTo>
                  <a:pt x="7" y="33"/>
                  <a:pt x="7" y="33"/>
                  <a:pt x="7" y="33"/>
                </a:cubicBezTo>
                <a:cubicBezTo>
                  <a:pt x="7" y="33"/>
                  <a:pt x="6" y="33"/>
                  <a:pt x="6" y="34"/>
                </a:cubicBezTo>
                <a:cubicBezTo>
                  <a:pt x="0" y="17"/>
                  <a:pt x="0" y="17"/>
                  <a:pt x="0" y="17"/>
                </a:cubicBezTo>
                <a:cubicBezTo>
                  <a:pt x="1" y="17"/>
                  <a:pt x="2" y="17"/>
                  <a:pt x="2" y="1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0" name="Freeform 226"/>
          <p:cNvSpPr>
            <a:spLocks/>
          </p:cNvSpPr>
          <p:nvPr>
            <p:custDataLst>
              <p:tags r:id="rId156"/>
            </p:custDataLst>
          </p:nvPr>
        </p:nvSpPr>
        <p:spPr bwMode="auto">
          <a:xfrm>
            <a:off x="6471806" y="2773977"/>
            <a:ext cx="63219" cy="89561"/>
          </a:xfrm>
          <a:custGeom>
            <a:avLst/>
            <a:gdLst>
              <a:gd name="T0" fmla="*/ 0 w 21"/>
              <a:gd name="T1" fmla="*/ 0 h 28"/>
              <a:gd name="T2" fmla="*/ 5443 w 21"/>
              <a:gd name="T3" fmla="*/ 0 h 28"/>
              <a:gd name="T4" fmla="*/ 29936 w 21"/>
              <a:gd name="T5" fmla="*/ 2892 h 28"/>
              <a:gd name="T6" fmla="*/ 51707 w 21"/>
              <a:gd name="T7" fmla="*/ 14458 h 28"/>
              <a:gd name="T8" fmla="*/ 54429 w 21"/>
              <a:gd name="T9" fmla="*/ 28915 h 28"/>
              <a:gd name="T10" fmla="*/ 54429 w 21"/>
              <a:gd name="T11" fmla="*/ 52048 h 28"/>
              <a:gd name="T12" fmla="*/ 43543 w 21"/>
              <a:gd name="T13" fmla="*/ 57831 h 28"/>
              <a:gd name="T14" fmla="*/ 38100 w 21"/>
              <a:gd name="T15" fmla="*/ 80963 h 28"/>
              <a:gd name="T16" fmla="*/ 27214 w 21"/>
              <a:gd name="T17" fmla="*/ 78071 h 28"/>
              <a:gd name="T18" fmla="*/ 24493 w 21"/>
              <a:gd name="T19" fmla="*/ 43373 h 28"/>
              <a:gd name="T20" fmla="*/ 5443 w 21"/>
              <a:gd name="T21" fmla="*/ 17349 h 28"/>
              <a:gd name="T22" fmla="*/ 0 w 21"/>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 h="28">
                <a:moveTo>
                  <a:pt x="0" y="0"/>
                </a:moveTo>
                <a:cubicBezTo>
                  <a:pt x="1" y="0"/>
                  <a:pt x="1" y="0"/>
                  <a:pt x="2" y="0"/>
                </a:cubicBezTo>
                <a:cubicBezTo>
                  <a:pt x="3" y="0"/>
                  <a:pt x="9" y="0"/>
                  <a:pt x="11" y="1"/>
                </a:cubicBezTo>
                <a:cubicBezTo>
                  <a:pt x="13" y="2"/>
                  <a:pt x="18" y="3"/>
                  <a:pt x="19" y="5"/>
                </a:cubicBezTo>
                <a:cubicBezTo>
                  <a:pt x="19" y="7"/>
                  <a:pt x="19" y="9"/>
                  <a:pt x="20" y="10"/>
                </a:cubicBezTo>
                <a:cubicBezTo>
                  <a:pt x="21" y="12"/>
                  <a:pt x="20" y="18"/>
                  <a:pt x="20" y="18"/>
                </a:cubicBezTo>
                <a:cubicBezTo>
                  <a:pt x="20" y="18"/>
                  <a:pt x="16" y="19"/>
                  <a:pt x="16" y="20"/>
                </a:cubicBezTo>
                <a:cubicBezTo>
                  <a:pt x="14" y="28"/>
                  <a:pt x="14" y="28"/>
                  <a:pt x="14" y="28"/>
                </a:cubicBezTo>
                <a:cubicBezTo>
                  <a:pt x="12" y="28"/>
                  <a:pt x="10" y="28"/>
                  <a:pt x="10" y="27"/>
                </a:cubicBezTo>
                <a:cubicBezTo>
                  <a:pt x="10" y="25"/>
                  <a:pt x="11" y="17"/>
                  <a:pt x="9" y="15"/>
                </a:cubicBezTo>
                <a:cubicBezTo>
                  <a:pt x="8" y="12"/>
                  <a:pt x="3" y="7"/>
                  <a:pt x="2" y="6"/>
                </a:cubicBezTo>
                <a:lnTo>
                  <a:pt x="0" y="0"/>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1" name="Freeform 227"/>
          <p:cNvSpPr>
            <a:spLocks/>
          </p:cNvSpPr>
          <p:nvPr>
            <p:custDataLst>
              <p:tags r:id="rId157"/>
            </p:custDataLst>
          </p:nvPr>
        </p:nvSpPr>
        <p:spPr bwMode="auto">
          <a:xfrm>
            <a:off x="6448975" y="2967146"/>
            <a:ext cx="437268" cy="180878"/>
          </a:xfrm>
          <a:custGeom>
            <a:avLst/>
            <a:gdLst>
              <a:gd name="T0" fmla="*/ 16357 w 145"/>
              <a:gd name="T1" fmla="*/ 75917 h 56"/>
              <a:gd name="T2" fmla="*/ 0 w 145"/>
              <a:gd name="T3" fmla="*/ 72997 h 56"/>
              <a:gd name="T4" fmla="*/ 8178 w 145"/>
              <a:gd name="T5" fmla="*/ 49638 h 56"/>
              <a:gd name="T6" fmla="*/ 19083 w 145"/>
              <a:gd name="T7" fmla="*/ 46718 h 56"/>
              <a:gd name="T8" fmla="*/ 24535 w 145"/>
              <a:gd name="T9" fmla="*/ 46718 h 56"/>
              <a:gd name="T10" fmla="*/ 65427 w 145"/>
              <a:gd name="T11" fmla="*/ 46718 h 56"/>
              <a:gd name="T12" fmla="*/ 76331 w 145"/>
              <a:gd name="T13" fmla="*/ 37958 h 56"/>
              <a:gd name="T14" fmla="*/ 70879 w 145"/>
              <a:gd name="T15" fmla="*/ 26279 h 56"/>
              <a:gd name="T16" fmla="*/ 81784 w 145"/>
              <a:gd name="T17" fmla="*/ 23359 h 56"/>
              <a:gd name="T18" fmla="*/ 111771 w 145"/>
              <a:gd name="T19" fmla="*/ 26279 h 56"/>
              <a:gd name="T20" fmla="*/ 136306 w 145"/>
              <a:gd name="T21" fmla="*/ 11680 h 56"/>
              <a:gd name="T22" fmla="*/ 166294 w 145"/>
              <a:gd name="T23" fmla="*/ 0 h 56"/>
              <a:gd name="T24" fmla="*/ 190829 w 145"/>
              <a:gd name="T25" fmla="*/ 0 h 56"/>
              <a:gd name="T26" fmla="*/ 196281 w 145"/>
              <a:gd name="T27" fmla="*/ 8760 h 56"/>
              <a:gd name="T28" fmla="*/ 212638 w 145"/>
              <a:gd name="T29" fmla="*/ 8760 h 56"/>
              <a:gd name="T30" fmla="*/ 226268 w 145"/>
              <a:gd name="T31" fmla="*/ 17519 h 56"/>
              <a:gd name="T32" fmla="*/ 256256 w 145"/>
              <a:gd name="T33" fmla="*/ 26279 h 56"/>
              <a:gd name="T34" fmla="*/ 280791 w 145"/>
              <a:gd name="T35" fmla="*/ 26279 h 56"/>
              <a:gd name="T36" fmla="*/ 302600 w 145"/>
              <a:gd name="T37" fmla="*/ 29199 h 56"/>
              <a:gd name="T38" fmla="*/ 329861 w 145"/>
              <a:gd name="T39" fmla="*/ 11680 h 56"/>
              <a:gd name="T40" fmla="*/ 351670 w 145"/>
              <a:gd name="T41" fmla="*/ 14599 h 56"/>
              <a:gd name="T42" fmla="*/ 368027 w 145"/>
              <a:gd name="T43" fmla="*/ 26279 h 56"/>
              <a:gd name="T44" fmla="*/ 370753 w 145"/>
              <a:gd name="T45" fmla="*/ 52558 h 56"/>
              <a:gd name="T46" fmla="*/ 389836 w 145"/>
              <a:gd name="T47" fmla="*/ 64237 h 56"/>
              <a:gd name="T48" fmla="*/ 381657 w 145"/>
              <a:gd name="T49" fmla="*/ 78837 h 56"/>
              <a:gd name="T50" fmla="*/ 387110 w 145"/>
              <a:gd name="T51" fmla="*/ 108035 h 56"/>
              <a:gd name="T52" fmla="*/ 395288 w 145"/>
              <a:gd name="T53" fmla="*/ 128475 h 56"/>
              <a:gd name="T54" fmla="*/ 354396 w 145"/>
              <a:gd name="T55" fmla="*/ 125555 h 56"/>
              <a:gd name="T56" fmla="*/ 343492 w 145"/>
              <a:gd name="T57" fmla="*/ 131394 h 56"/>
              <a:gd name="T58" fmla="*/ 332587 w 145"/>
              <a:gd name="T59" fmla="*/ 122635 h 56"/>
              <a:gd name="T60" fmla="*/ 308052 w 145"/>
              <a:gd name="T61" fmla="*/ 131394 h 56"/>
              <a:gd name="T62" fmla="*/ 269886 w 145"/>
              <a:gd name="T63" fmla="*/ 140154 h 56"/>
              <a:gd name="T64" fmla="*/ 256256 w 145"/>
              <a:gd name="T65" fmla="*/ 134314 h 56"/>
              <a:gd name="T66" fmla="*/ 231721 w 145"/>
              <a:gd name="T67" fmla="*/ 140154 h 56"/>
              <a:gd name="T68" fmla="*/ 223542 w 145"/>
              <a:gd name="T69" fmla="*/ 154753 h 56"/>
              <a:gd name="T70" fmla="*/ 212638 w 145"/>
              <a:gd name="T71" fmla="*/ 160593 h 56"/>
              <a:gd name="T72" fmla="*/ 212638 w 145"/>
              <a:gd name="T73" fmla="*/ 154753 h 56"/>
              <a:gd name="T74" fmla="*/ 209912 w 145"/>
              <a:gd name="T75" fmla="*/ 151834 h 56"/>
              <a:gd name="T76" fmla="*/ 212638 w 145"/>
              <a:gd name="T77" fmla="*/ 131394 h 56"/>
              <a:gd name="T78" fmla="*/ 196281 w 145"/>
              <a:gd name="T79" fmla="*/ 143074 h 56"/>
              <a:gd name="T80" fmla="*/ 182650 w 145"/>
              <a:gd name="T81" fmla="*/ 140154 h 56"/>
              <a:gd name="T82" fmla="*/ 160841 w 145"/>
              <a:gd name="T83" fmla="*/ 154753 h 56"/>
              <a:gd name="T84" fmla="*/ 136306 w 145"/>
              <a:gd name="T85" fmla="*/ 157673 h 56"/>
              <a:gd name="T86" fmla="*/ 109045 w 145"/>
              <a:gd name="T87" fmla="*/ 137234 h 56"/>
              <a:gd name="T88" fmla="*/ 98140 w 145"/>
              <a:gd name="T89" fmla="*/ 137234 h 56"/>
              <a:gd name="T90" fmla="*/ 92688 w 145"/>
              <a:gd name="T91" fmla="*/ 151834 h 56"/>
              <a:gd name="T92" fmla="*/ 76331 w 145"/>
              <a:gd name="T93" fmla="*/ 154753 h 56"/>
              <a:gd name="T94" fmla="*/ 65427 w 145"/>
              <a:gd name="T95" fmla="*/ 140154 h 56"/>
              <a:gd name="T96" fmla="*/ 43618 w 145"/>
              <a:gd name="T97" fmla="*/ 140154 h 56"/>
              <a:gd name="T98" fmla="*/ 27261 w 145"/>
              <a:gd name="T99" fmla="*/ 134314 h 56"/>
              <a:gd name="T100" fmla="*/ 32713 w 145"/>
              <a:gd name="T101" fmla="*/ 125555 h 56"/>
              <a:gd name="T102" fmla="*/ 19083 w 145"/>
              <a:gd name="T103" fmla="*/ 113875 h 56"/>
              <a:gd name="T104" fmla="*/ 27261 w 145"/>
              <a:gd name="T105" fmla="*/ 105116 h 56"/>
              <a:gd name="T106" fmla="*/ 5452 w 145"/>
              <a:gd name="T107" fmla="*/ 96356 h 56"/>
              <a:gd name="T108" fmla="*/ 21809 w 145"/>
              <a:gd name="T109" fmla="*/ 87596 h 56"/>
              <a:gd name="T110" fmla="*/ 16357 w 145"/>
              <a:gd name="T111" fmla="*/ 75917 h 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 h="56">
                <a:moveTo>
                  <a:pt x="6" y="26"/>
                </a:moveTo>
                <a:cubicBezTo>
                  <a:pt x="6" y="26"/>
                  <a:pt x="0" y="26"/>
                  <a:pt x="0" y="25"/>
                </a:cubicBezTo>
                <a:cubicBezTo>
                  <a:pt x="0" y="23"/>
                  <a:pt x="2" y="18"/>
                  <a:pt x="3" y="17"/>
                </a:cubicBezTo>
                <a:cubicBezTo>
                  <a:pt x="4" y="17"/>
                  <a:pt x="5" y="16"/>
                  <a:pt x="7" y="16"/>
                </a:cubicBezTo>
                <a:cubicBezTo>
                  <a:pt x="7" y="16"/>
                  <a:pt x="8" y="16"/>
                  <a:pt x="9" y="16"/>
                </a:cubicBezTo>
                <a:cubicBezTo>
                  <a:pt x="11" y="17"/>
                  <a:pt x="22" y="16"/>
                  <a:pt x="24" y="16"/>
                </a:cubicBezTo>
                <a:cubicBezTo>
                  <a:pt x="27" y="16"/>
                  <a:pt x="28" y="15"/>
                  <a:pt x="28" y="13"/>
                </a:cubicBezTo>
                <a:cubicBezTo>
                  <a:pt x="29" y="12"/>
                  <a:pt x="26" y="10"/>
                  <a:pt x="26" y="9"/>
                </a:cubicBezTo>
                <a:cubicBezTo>
                  <a:pt x="26" y="8"/>
                  <a:pt x="28" y="8"/>
                  <a:pt x="30" y="8"/>
                </a:cubicBezTo>
                <a:cubicBezTo>
                  <a:pt x="32" y="8"/>
                  <a:pt x="38" y="10"/>
                  <a:pt x="41" y="9"/>
                </a:cubicBezTo>
                <a:cubicBezTo>
                  <a:pt x="43" y="7"/>
                  <a:pt x="48" y="6"/>
                  <a:pt x="50" y="4"/>
                </a:cubicBezTo>
                <a:cubicBezTo>
                  <a:pt x="52" y="3"/>
                  <a:pt x="57" y="0"/>
                  <a:pt x="61" y="0"/>
                </a:cubicBezTo>
                <a:cubicBezTo>
                  <a:pt x="65" y="1"/>
                  <a:pt x="67" y="0"/>
                  <a:pt x="70" y="0"/>
                </a:cubicBezTo>
                <a:cubicBezTo>
                  <a:pt x="72" y="0"/>
                  <a:pt x="70" y="3"/>
                  <a:pt x="72" y="3"/>
                </a:cubicBezTo>
                <a:cubicBezTo>
                  <a:pt x="75" y="4"/>
                  <a:pt x="77" y="2"/>
                  <a:pt x="78" y="3"/>
                </a:cubicBezTo>
                <a:cubicBezTo>
                  <a:pt x="79" y="3"/>
                  <a:pt x="79" y="5"/>
                  <a:pt x="83" y="6"/>
                </a:cubicBezTo>
                <a:cubicBezTo>
                  <a:pt x="86" y="8"/>
                  <a:pt x="90" y="9"/>
                  <a:pt x="94" y="9"/>
                </a:cubicBezTo>
                <a:cubicBezTo>
                  <a:pt x="98" y="10"/>
                  <a:pt x="100" y="9"/>
                  <a:pt x="103" y="9"/>
                </a:cubicBezTo>
                <a:cubicBezTo>
                  <a:pt x="107" y="9"/>
                  <a:pt x="109" y="11"/>
                  <a:pt x="111" y="10"/>
                </a:cubicBezTo>
                <a:cubicBezTo>
                  <a:pt x="114" y="9"/>
                  <a:pt x="119" y="6"/>
                  <a:pt x="121" y="4"/>
                </a:cubicBezTo>
                <a:cubicBezTo>
                  <a:pt x="121" y="4"/>
                  <a:pt x="128" y="5"/>
                  <a:pt x="129" y="5"/>
                </a:cubicBezTo>
                <a:cubicBezTo>
                  <a:pt x="131" y="5"/>
                  <a:pt x="132" y="8"/>
                  <a:pt x="135" y="9"/>
                </a:cubicBezTo>
                <a:cubicBezTo>
                  <a:pt x="136" y="18"/>
                  <a:pt x="136" y="18"/>
                  <a:pt x="136" y="18"/>
                </a:cubicBezTo>
                <a:cubicBezTo>
                  <a:pt x="136" y="20"/>
                  <a:pt x="140" y="20"/>
                  <a:pt x="143" y="22"/>
                </a:cubicBezTo>
                <a:cubicBezTo>
                  <a:pt x="140" y="27"/>
                  <a:pt x="140" y="27"/>
                  <a:pt x="140" y="27"/>
                </a:cubicBezTo>
                <a:cubicBezTo>
                  <a:pt x="141" y="29"/>
                  <a:pt x="142" y="34"/>
                  <a:pt x="142" y="37"/>
                </a:cubicBezTo>
                <a:cubicBezTo>
                  <a:pt x="142" y="40"/>
                  <a:pt x="143" y="40"/>
                  <a:pt x="145" y="44"/>
                </a:cubicBezTo>
                <a:cubicBezTo>
                  <a:pt x="130" y="43"/>
                  <a:pt x="130" y="43"/>
                  <a:pt x="130" y="43"/>
                </a:cubicBezTo>
                <a:cubicBezTo>
                  <a:pt x="129" y="43"/>
                  <a:pt x="128" y="44"/>
                  <a:pt x="126" y="45"/>
                </a:cubicBezTo>
                <a:cubicBezTo>
                  <a:pt x="122" y="42"/>
                  <a:pt x="122" y="42"/>
                  <a:pt x="122" y="42"/>
                </a:cubicBezTo>
                <a:cubicBezTo>
                  <a:pt x="120" y="42"/>
                  <a:pt x="116" y="44"/>
                  <a:pt x="113" y="45"/>
                </a:cubicBezTo>
                <a:cubicBezTo>
                  <a:pt x="110" y="46"/>
                  <a:pt x="101" y="49"/>
                  <a:pt x="99" y="48"/>
                </a:cubicBezTo>
                <a:cubicBezTo>
                  <a:pt x="98" y="47"/>
                  <a:pt x="95" y="46"/>
                  <a:pt x="94" y="46"/>
                </a:cubicBezTo>
                <a:cubicBezTo>
                  <a:pt x="92" y="46"/>
                  <a:pt x="85" y="46"/>
                  <a:pt x="85" y="48"/>
                </a:cubicBezTo>
                <a:cubicBezTo>
                  <a:pt x="85" y="50"/>
                  <a:pt x="84" y="52"/>
                  <a:pt x="82" y="53"/>
                </a:cubicBezTo>
                <a:cubicBezTo>
                  <a:pt x="81" y="54"/>
                  <a:pt x="78" y="55"/>
                  <a:pt x="78" y="55"/>
                </a:cubicBezTo>
                <a:cubicBezTo>
                  <a:pt x="78" y="54"/>
                  <a:pt x="78" y="54"/>
                  <a:pt x="78" y="53"/>
                </a:cubicBezTo>
                <a:cubicBezTo>
                  <a:pt x="77" y="52"/>
                  <a:pt x="77" y="53"/>
                  <a:pt x="77" y="52"/>
                </a:cubicBezTo>
                <a:cubicBezTo>
                  <a:pt x="76" y="51"/>
                  <a:pt x="82" y="49"/>
                  <a:pt x="78" y="45"/>
                </a:cubicBezTo>
                <a:cubicBezTo>
                  <a:pt x="75" y="43"/>
                  <a:pt x="73" y="49"/>
                  <a:pt x="72" y="49"/>
                </a:cubicBezTo>
                <a:cubicBezTo>
                  <a:pt x="70" y="49"/>
                  <a:pt x="69" y="46"/>
                  <a:pt x="67" y="48"/>
                </a:cubicBezTo>
                <a:cubicBezTo>
                  <a:pt x="64" y="50"/>
                  <a:pt x="61" y="53"/>
                  <a:pt x="59" y="53"/>
                </a:cubicBezTo>
                <a:cubicBezTo>
                  <a:pt x="56" y="53"/>
                  <a:pt x="52" y="56"/>
                  <a:pt x="50" y="54"/>
                </a:cubicBezTo>
                <a:cubicBezTo>
                  <a:pt x="48" y="52"/>
                  <a:pt x="43" y="47"/>
                  <a:pt x="40" y="47"/>
                </a:cubicBezTo>
                <a:cubicBezTo>
                  <a:pt x="37" y="46"/>
                  <a:pt x="37" y="45"/>
                  <a:pt x="36" y="47"/>
                </a:cubicBezTo>
                <a:cubicBezTo>
                  <a:pt x="34" y="48"/>
                  <a:pt x="37" y="52"/>
                  <a:pt x="34" y="52"/>
                </a:cubicBezTo>
                <a:cubicBezTo>
                  <a:pt x="32" y="52"/>
                  <a:pt x="31" y="54"/>
                  <a:pt x="28" y="53"/>
                </a:cubicBezTo>
                <a:cubicBezTo>
                  <a:pt x="25" y="51"/>
                  <a:pt x="25" y="49"/>
                  <a:pt x="24" y="48"/>
                </a:cubicBezTo>
                <a:cubicBezTo>
                  <a:pt x="22" y="48"/>
                  <a:pt x="18" y="48"/>
                  <a:pt x="16" y="48"/>
                </a:cubicBezTo>
                <a:cubicBezTo>
                  <a:pt x="13" y="48"/>
                  <a:pt x="11" y="46"/>
                  <a:pt x="10" y="46"/>
                </a:cubicBezTo>
                <a:cubicBezTo>
                  <a:pt x="10" y="45"/>
                  <a:pt x="14" y="44"/>
                  <a:pt x="12" y="43"/>
                </a:cubicBezTo>
                <a:cubicBezTo>
                  <a:pt x="10" y="41"/>
                  <a:pt x="8" y="40"/>
                  <a:pt x="7" y="39"/>
                </a:cubicBezTo>
                <a:cubicBezTo>
                  <a:pt x="5" y="39"/>
                  <a:pt x="12" y="38"/>
                  <a:pt x="10" y="36"/>
                </a:cubicBezTo>
                <a:cubicBezTo>
                  <a:pt x="7" y="35"/>
                  <a:pt x="1" y="35"/>
                  <a:pt x="2" y="33"/>
                </a:cubicBezTo>
                <a:cubicBezTo>
                  <a:pt x="2" y="31"/>
                  <a:pt x="8" y="31"/>
                  <a:pt x="8" y="30"/>
                </a:cubicBezTo>
                <a:cubicBezTo>
                  <a:pt x="8" y="29"/>
                  <a:pt x="7" y="27"/>
                  <a:pt x="6" y="26"/>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2" name="Freeform 228"/>
          <p:cNvSpPr>
            <a:spLocks/>
          </p:cNvSpPr>
          <p:nvPr>
            <p:custDataLst>
              <p:tags r:id="rId158"/>
            </p:custDataLst>
          </p:nvPr>
        </p:nvSpPr>
        <p:spPr bwMode="auto">
          <a:xfrm>
            <a:off x="6454244" y="2960123"/>
            <a:ext cx="64976" cy="47415"/>
          </a:xfrm>
          <a:custGeom>
            <a:avLst/>
            <a:gdLst>
              <a:gd name="T0" fmla="*/ 0 w 21"/>
              <a:gd name="T1" fmla="*/ 37148 h 15"/>
              <a:gd name="T2" fmla="*/ 8391 w 21"/>
              <a:gd name="T3" fmla="*/ 25718 h 15"/>
              <a:gd name="T4" fmla="*/ 2797 w 21"/>
              <a:gd name="T5" fmla="*/ 5715 h 15"/>
              <a:gd name="T6" fmla="*/ 22376 w 21"/>
              <a:gd name="T7" fmla="*/ 0 h 15"/>
              <a:gd name="T8" fmla="*/ 33565 w 21"/>
              <a:gd name="T9" fmla="*/ 0 h 15"/>
              <a:gd name="T10" fmla="*/ 33565 w 21"/>
              <a:gd name="T11" fmla="*/ 0 h 15"/>
              <a:gd name="T12" fmla="*/ 39159 w 21"/>
              <a:gd name="T13" fmla="*/ 14288 h 15"/>
              <a:gd name="T14" fmla="*/ 58738 w 21"/>
              <a:gd name="T15" fmla="*/ 25718 h 15"/>
              <a:gd name="T16" fmla="*/ 50347 w 21"/>
              <a:gd name="T17" fmla="*/ 31433 h 15"/>
              <a:gd name="T18" fmla="*/ 25173 w 21"/>
              <a:gd name="T19" fmla="*/ 31433 h 15"/>
              <a:gd name="T20" fmla="*/ 13985 w 21"/>
              <a:gd name="T21" fmla="*/ 40005 h 15"/>
              <a:gd name="T22" fmla="*/ 11188 w 21"/>
              <a:gd name="T23" fmla="*/ 40005 h 15"/>
              <a:gd name="T24" fmla="*/ 0 w 21"/>
              <a:gd name="T25" fmla="*/ 37148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15">
                <a:moveTo>
                  <a:pt x="0" y="13"/>
                </a:moveTo>
                <a:cubicBezTo>
                  <a:pt x="3" y="9"/>
                  <a:pt x="3" y="9"/>
                  <a:pt x="3" y="9"/>
                </a:cubicBezTo>
                <a:cubicBezTo>
                  <a:pt x="1" y="2"/>
                  <a:pt x="1" y="2"/>
                  <a:pt x="1" y="2"/>
                </a:cubicBezTo>
                <a:cubicBezTo>
                  <a:pt x="2" y="2"/>
                  <a:pt x="7" y="0"/>
                  <a:pt x="8" y="0"/>
                </a:cubicBezTo>
                <a:cubicBezTo>
                  <a:pt x="9" y="0"/>
                  <a:pt x="12" y="0"/>
                  <a:pt x="12" y="0"/>
                </a:cubicBezTo>
                <a:cubicBezTo>
                  <a:pt x="12" y="0"/>
                  <a:pt x="12" y="0"/>
                  <a:pt x="12" y="0"/>
                </a:cubicBezTo>
                <a:cubicBezTo>
                  <a:pt x="12" y="2"/>
                  <a:pt x="13" y="4"/>
                  <a:pt x="14" y="5"/>
                </a:cubicBezTo>
                <a:cubicBezTo>
                  <a:pt x="15" y="5"/>
                  <a:pt x="21" y="8"/>
                  <a:pt x="21" y="9"/>
                </a:cubicBezTo>
                <a:cubicBezTo>
                  <a:pt x="20" y="10"/>
                  <a:pt x="20" y="11"/>
                  <a:pt x="18" y="11"/>
                </a:cubicBezTo>
                <a:cubicBezTo>
                  <a:pt x="16" y="11"/>
                  <a:pt x="11" y="10"/>
                  <a:pt x="9" y="11"/>
                </a:cubicBezTo>
                <a:cubicBezTo>
                  <a:pt x="8" y="13"/>
                  <a:pt x="7" y="14"/>
                  <a:pt x="5" y="14"/>
                </a:cubicBezTo>
                <a:cubicBezTo>
                  <a:pt x="5" y="14"/>
                  <a:pt x="4" y="14"/>
                  <a:pt x="4" y="14"/>
                </a:cubicBezTo>
                <a:cubicBezTo>
                  <a:pt x="2" y="14"/>
                  <a:pt x="1" y="15"/>
                  <a:pt x="0" y="13"/>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3" name="Freeform 229"/>
          <p:cNvSpPr>
            <a:spLocks/>
          </p:cNvSpPr>
          <p:nvPr>
            <p:custDataLst>
              <p:tags r:id="rId159"/>
            </p:custDataLst>
          </p:nvPr>
        </p:nvSpPr>
        <p:spPr bwMode="auto">
          <a:xfrm>
            <a:off x="6362928" y="2642269"/>
            <a:ext cx="414439" cy="265171"/>
          </a:xfrm>
          <a:custGeom>
            <a:avLst/>
            <a:gdLst>
              <a:gd name="T0" fmla="*/ 2715 w 138"/>
              <a:gd name="T1" fmla="*/ 116933 h 82"/>
              <a:gd name="T2" fmla="*/ 10859 w 138"/>
              <a:gd name="T3" fmla="*/ 102317 h 82"/>
              <a:gd name="T4" fmla="*/ 19004 w 138"/>
              <a:gd name="T5" fmla="*/ 99393 h 82"/>
              <a:gd name="T6" fmla="*/ 16289 w 138"/>
              <a:gd name="T7" fmla="*/ 81853 h 82"/>
              <a:gd name="T8" fmla="*/ 32578 w 138"/>
              <a:gd name="T9" fmla="*/ 64313 h 82"/>
              <a:gd name="T10" fmla="*/ 43438 w 138"/>
              <a:gd name="T11" fmla="*/ 55543 h 82"/>
              <a:gd name="T12" fmla="*/ 32578 w 138"/>
              <a:gd name="T13" fmla="*/ 32157 h 82"/>
              <a:gd name="T14" fmla="*/ 32578 w 138"/>
              <a:gd name="T15" fmla="*/ 29233 h 82"/>
              <a:gd name="T16" fmla="*/ 32578 w 138"/>
              <a:gd name="T17" fmla="*/ 29233 h 82"/>
              <a:gd name="T18" fmla="*/ 54297 w 138"/>
              <a:gd name="T19" fmla="*/ 20463 h 82"/>
              <a:gd name="T20" fmla="*/ 76016 w 138"/>
              <a:gd name="T21" fmla="*/ 14617 h 82"/>
              <a:gd name="T22" fmla="*/ 116739 w 138"/>
              <a:gd name="T23" fmla="*/ 23387 h 82"/>
              <a:gd name="T24" fmla="*/ 152032 w 138"/>
              <a:gd name="T25" fmla="*/ 32157 h 82"/>
              <a:gd name="T26" fmla="*/ 176466 w 138"/>
              <a:gd name="T27" fmla="*/ 35080 h 82"/>
              <a:gd name="T28" fmla="*/ 184610 w 138"/>
              <a:gd name="T29" fmla="*/ 14617 h 82"/>
              <a:gd name="T30" fmla="*/ 198184 w 138"/>
              <a:gd name="T31" fmla="*/ 8770 h 82"/>
              <a:gd name="T32" fmla="*/ 217188 w 138"/>
              <a:gd name="T33" fmla="*/ 5847 h 82"/>
              <a:gd name="T34" fmla="*/ 244337 w 138"/>
              <a:gd name="T35" fmla="*/ 2923 h 82"/>
              <a:gd name="T36" fmla="*/ 252482 w 138"/>
              <a:gd name="T37" fmla="*/ 32157 h 82"/>
              <a:gd name="T38" fmla="*/ 271486 w 138"/>
              <a:gd name="T39" fmla="*/ 38003 h 82"/>
              <a:gd name="T40" fmla="*/ 279630 w 138"/>
              <a:gd name="T41" fmla="*/ 58467 h 82"/>
              <a:gd name="T42" fmla="*/ 333927 w 138"/>
              <a:gd name="T43" fmla="*/ 73083 h 82"/>
              <a:gd name="T44" fmla="*/ 374650 w 138"/>
              <a:gd name="T45" fmla="*/ 87700 h 82"/>
              <a:gd name="T46" fmla="*/ 371935 w 138"/>
              <a:gd name="T47" fmla="*/ 116933 h 82"/>
              <a:gd name="T48" fmla="*/ 363791 w 138"/>
              <a:gd name="T49" fmla="*/ 131550 h 82"/>
              <a:gd name="T50" fmla="*/ 336642 w 138"/>
              <a:gd name="T51" fmla="*/ 137396 h 82"/>
              <a:gd name="T52" fmla="*/ 336642 w 138"/>
              <a:gd name="T53" fmla="*/ 152013 h 82"/>
              <a:gd name="T54" fmla="*/ 320353 w 138"/>
              <a:gd name="T55" fmla="*/ 154936 h 82"/>
              <a:gd name="T56" fmla="*/ 266056 w 138"/>
              <a:gd name="T57" fmla="*/ 178323 h 82"/>
              <a:gd name="T58" fmla="*/ 260626 w 138"/>
              <a:gd name="T59" fmla="*/ 190016 h 82"/>
              <a:gd name="T60" fmla="*/ 276915 w 138"/>
              <a:gd name="T61" fmla="*/ 201710 h 82"/>
              <a:gd name="T62" fmla="*/ 287775 w 138"/>
              <a:gd name="T63" fmla="*/ 201710 h 82"/>
              <a:gd name="T64" fmla="*/ 287775 w 138"/>
              <a:gd name="T65" fmla="*/ 213403 h 82"/>
              <a:gd name="T66" fmla="*/ 257911 w 138"/>
              <a:gd name="T67" fmla="*/ 225096 h 82"/>
              <a:gd name="T68" fmla="*/ 236192 w 138"/>
              <a:gd name="T69" fmla="*/ 233866 h 82"/>
              <a:gd name="T70" fmla="*/ 236192 w 138"/>
              <a:gd name="T71" fmla="*/ 213403 h 82"/>
              <a:gd name="T72" fmla="*/ 217188 w 138"/>
              <a:gd name="T73" fmla="*/ 207556 h 82"/>
              <a:gd name="T74" fmla="*/ 238907 w 138"/>
              <a:gd name="T75" fmla="*/ 190016 h 82"/>
              <a:gd name="T76" fmla="*/ 228048 w 138"/>
              <a:gd name="T77" fmla="*/ 181246 h 82"/>
              <a:gd name="T78" fmla="*/ 200899 w 138"/>
              <a:gd name="T79" fmla="*/ 181246 h 82"/>
              <a:gd name="T80" fmla="*/ 200899 w 138"/>
              <a:gd name="T81" fmla="*/ 166630 h 82"/>
              <a:gd name="T82" fmla="*/ 179180 w 138"/>
              <a:gd name="T83" fmla="*/ 172476 h 82"/>
              <a:gd name="T84" fmla="*/ 160176 w 138"/>
              <a:gd name="T85" fmla="*/ 195863 h 82"/>
              <a:gd name="T86" fmla="*/ 154747 w 138"/>
              <a:gd name="T87" fmla="*/ 204633 h 82"/>
              <a:gd name="T88" fmla="*/ 143887 w 138"/>
              <a:gd name="T89" fmla="*/ 204633 h 82"/>
              <a:gd name="T90" fmla="*/ 135743 w 138"/>
              <a:gd name="T91" fmla="*/ 201710 h 82"/>
              <a:gd name="T92" fmla="*/ 141172 w 138"/>
              <a:gd name="T93" fmla="*/ 178323 h 82"/>
              <a:gd name="T94" fmla="*/ 152032 w 138"/>
              <a:gd name="T95" fmla="*/ 172476 h 82"/>
              <a:gd name="T96" fmla="*/ 152032 w 138"/>
              <a:gd name="T97" fmla="*/ 149090 h 82"/>
              <a:gd name="T98" fmla="*/ 149317 w 138"/>
              <a:gd name="T99" fmla="*/ 134473 h 82"/>
              <a:gd name="T100" fmla="*/ 127598 w 138"/>
              <a:gd name="T101" fmla="*/ 122780 h 82"/>
              <a:gd name="T102" fmla="*/ 103164 w 138"/>
              <a:gd name="T103" fmla="*/ 119857 h 82"/>
              <a:gd name="T104" fmla="*/ 97735 w 138"/>
              <a:gd name="T105" fmla="*/ 119857 h 82"/>
              <a:gd name="T106" fmla="*/ 78731 w 138"/>
              <a:gd name="T107" fmla="*/ 131550 h 82"/>
              <a:gd name="T108" fmla="*/ 59727 w 138"/>
              <a:gd name="T109" fmla="*/ 140320 h 82"/>
              <a:gd name="T110" fmla="*/ 51582 w 138"/>
              <a:gd name="T111" fmla="*/ 134473 h 82"/>
              <a:gd name="T112" fmla="*/ 35293 w 138"/>
              <a:gd name="T113" fmla="*/ 131550 h 82"/>
              <a:gd name="T114" fmla="*/ 16289 w 138"/>
              <a:gd name="T115" fmla="*/ 128626 h 82"/>
              <a:gd name="T116" fmla="*/ 2715 w 138"/>
              <a:gd name="T117" fmla="*/ 116933 h 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38" h="82">
                <a:moveTo>
                  <a:pt x="1" y="40"/>
                </a:moveTo>
                <a:cubicBezTo>
                  <a:pt x="1" y="39"/>
                  <a:pt x="3" y="35"/>
                  <a:pt x="4" y="35"/>
                </a:cubicBezTo>
                <a:cubicBezTo>
                  <a:pt x="5" y="34"/>
                  <a:pt x="6" y="35"/>
                  <a:pt x="7" y="34"/>
                </a:cubicBezTo>
                <a:cubicBezTo>
                  <a:pt x="7" y="33"/>
                  <a:pt x="5" y="29"/>
                  <a:pt x="6" y="28"/>
                </a:cubicBezTo>
                <a:cubicBezTo>
                  <a:pt x="6" y="28"/>
                  <a:pt x="12" y="22"/>
                  <a:pt x="12" y="22"/>
                </a:cubicBezTo>
                <a:cubicBezTo>
                  <a:pt x="13" y="21"/>
                  <a:pt x="16" y="22"/>
                  <a:pt x="16" y="19"/>
                </a:cubicBezTo>
                <a:cubicBezTo>
                  <a:pt x="16" y="17"/>
                  <a:pt x="12" y="14"/>
                  <a:pt x="12" y="11"/>
                </a:cubicBezTo>
                <a:cubicBezTo>
                  <a:pt x="12" y="10"/>
                  <a:pt x="12" y="10"/>
                  <a:pt x="12" y="10"/>
                </a:cubicBezTo>
                <a:cubicBezTo>
                  <a:pt x="12" y="10"/>
                  <a:pt x="12" y="10"/>
                  <a:pt x="12" y="10"/>
                </a:cubicBezTo>
                <a:cubicBezTo>
                  <a:pt x="20" y="7"/>
                  <a:pt x="20" y="7"/>
                  <a:pt x="20" y="7"/>
                </a:cubicBezTo>
                <a:cubicBezTo>
                  <a:pt x="22" y="6"/>
                  <a:pt x="25" y="5"/>
                  <a:pt x="28" y="5"/>
                </a:cubicBezTo>
                <a:cubicBezTo>
                  <a:pt x="31" y="5"/>
                  <a:pt x="41" y="8"/>
                  <a:pt x="43" y="8"/>
                </a:cubicBezTo>
                <a:cubicBezTo>
                  <a:pt x="46" y="9"/>
                  <a:pt x="53" y="11"/>
                  <a:pt x="56" y="11"/>
                </a:cubicBezTo>
                <a:cubicBezTo>
                  <a:pt x="59" y="12"/>
                  <a:pt x="64" y="13"/>
                  <a:pt x="65" y="12"/>
                </a:cubicBezTo>
                <a:cubicBezTo>
                  <a:pt x="67" y="11"/>
                  <a:pt x="67" y="6"/>
                  <a:pt x="68" y="5"/>
                </a:cubicBezTo>
                <a:cubicBezTo>
                  <a:pt x="69" y="5"/>
                  <a:pt x="71" y="4"/>
                  <a:pt x="73" y="3"/>
                </a:cubicBezTo>
                <a:cubicBezTo>
                  <a:pt x="76" y="3"/>
                  <a:pt x="79" y="2"/>
                  <a:pt x="80" y="2"/>
                </a:cubicBezTo>
                <a:cubicBezTo>
                  <a:pt x="82" y="2"/>
                  <a:pt x="89" y="0"/>
                  <a:pt x="90" y="1"/>
                </a:cubicBezTo>
                <a:cubicBezTo>
                  <a:pt x="92" y="2"/>
                  <a:pt x="93" y="8"/>
                  <a:pt x="93" y="11"/>
                </a:cubicBezTo>
                <a:cubicBezTo>
                  <a:pt x="93" y="14"/>
                  <a:pt x="98" y="12"/>
                  <a:pt x="100" y="13"/>
                </a:cubicBezTo>
                <a:cubicBezTo>
                  <a:pt x="101" y="15"/>
                  <a:pt x="102" y="19"/>
                  <a:pt x="103" y="20"/>
                </a:cubicBezTo>
                <a:cubicBezTo>
                  <a:pt x="105" y="22"/>
                  <a:pt x="121" y="24"/>
                  <a:pt x="123" y="25"/>
                </a:cubicBezTo>
                <a:cubicBezTo>
                  <a:pt x="125" y="26"/>
                  <a:pt x="138" y="29"/>
                  <a:pt x="138" y="30"/>
                </a:cubicBezTo>
                <a:cubicBezTo>
                  <a:pt x="138" y="32"/>
                  <a:pt x="137" y="38"/>
                  <a:pt x="137" y="40"/>
                </a:cubicBezTo>
                <a:cubicBezTo>
                  <a:pt x="137" y="42"/>
                  <a:pt x="135" y="46"/>
                  <a:pt x="134" y="45"/>
                </a:cubicBezTo>
                <a:cubicBezTo>
                  <a:pt x="133" y="45"/>
                  <a:pt x="125" y="45"/>
                  <a:pt x="124" y="47"/>
                </a:cubicBezTo>
                <a:cubicBezTo>
                  <a:pt x="124" y="52"/>
                  <a:pt x="124" y="52"/>
                  <a:pt x="124" y="52"/>
                </a:cubicBezTo>
                <a:cubicBezTo>
                  <a:pt x="122" y="52"/>
                  <a:pt x="119" y="53"/>
                  <a:pt x="118" y="53"/>
                </a:cubicBezTo>
                <a:cubicBezTo>
                  <a:pt x="116" y="53"/>
                  <a:pt x="99" y="60"/>
                  <a:pt x="98" y="61"/>
                </a:cubicBezTo>
                <a:cubicBezTo>
                  <a:pt x="96" y="62"/>
                  <a:pt x="96" y="64"/>
                  <a:pt x="96" y="65"/>
                </a:cubicBezTo>
                <a:cubicBezTo>
                  <a:pt x="97" y="65"/>
                  <a:pt x="101" y="69"/>
                  <a:pt x="102" y="69"/>
                </a:cubicBezTo>
                <a:cubicBezTo>
                  <a:pt x="104" y="69"/>
                  <a:pt x="106" y="69"/>
                  <a:pt x="106" y="69"/>
                </a:cubicBezTo>
                <a:cubicBezTo>
                  <a:pt x="107" y="70"/>
                  <a:pt x="106" y="73"/>
                  <a:pt x="106" y="73"/>
                </a:cubicBezTo>
                <a:cubicBezTo>
                  <a:pt x="102" y="76"/>
                  <a:pt x="97" y="76"/>
                  <a:pt x="95" y="77"/>
                </a:cubicBezTo>
                <a:cubicBezTo>
                  <a:pt x="94" y="78"/>
                  <a:pt x="88" y="82"/>
                  <a:pt x="87" y="80"/>
                </a:cubicBezTo>
                <a:cubicBezTo>
                  <a:pt x="86" y="77"/>
                  <a:pt x="89" y="74"/>
                  <a:pt x="87" y="73"/>
                </a:cubicBezTo>
                <a:cubicBezTo>
                  <a:pt x="85" y="72"/>
                  <a:pt x="80" y="72"/>
                  <a:pt x="80" y="71"/>
                </a:cubicBezTo>
                <a:cubicBezTo>
                  <a:pt x="79" y="70"/>
                  <a:pt x="88" y="66"/>
                  <a:pt x="88" y="65"/>
                </a:cubicBezTo>
                <a:cubicBezTo>
                  <a:pt x="88" y="64"/>
                  <a:pt x="86" y="62"/>
                  <a:pt x="84" y="62"/>
                </a:cubicBezTo>
                <a:cubicBezTo>
                  <a:pt x="83" y="61"/>
                  <a:pt x="75" y="64"/>
                  <a:pt x="74" y="62"/>
                </a:cubicBezTo>
                <a:cubicBezTo>
                  <a:pt x="72" y="60"/>
                  <a:pt x="76" y="58"/>
                  <a:pt x="74" y="57"/>
                </a:cubicBezTo>
                <a:cubicBezTo>
                  <a:pt x="72" y="56"/>
                  <a:pt x="67" y="58"/>
                  <a:pt x="66" y="59"/>
                </a:cubicBezTo>
                <a:cubicBezTo>
                  <a:pt x="64" y="59"/>
                  <a:pt x="61" y="66"/>
                  <a:pt x="59" y="67"/>
                </a:cubicBezTo>
                <a:cubicBezTo>
                  <a:pt x="58" y="68"/>
                  <a:pt x="57" y="69"/>
                  <a:pt x="57" y="70"/>
                </a:cubicBezTo>
                <a:cubicBezTo>
                  <a:pt x="53" y="70"/>
                  <a:pt x="53" y="70"/>
                  <a:pt x="53" y="70"/>
                </a:cubicBezTo>
                <a:cubicBezTo>
                  <a:pt x="53" y="70"/>
                  <a:pt x="51" y="69"/>
                  <a:pt x="50" y="69"/>
                </a:cubicBezTo>
                <a:cubicBezTo>
                  <a:pt x="52" y="61"/>
                  <a:pt x="52" y="61"/>
                  <a:pt x="52" y="61"/>
                </a:cubicBezTo>
                <a:cubicBezTo>
                  <a:pt x="52" y="60"/>
                  <a:pt x="56" y="59"/>
                  <a:pt x="56" y="59"/>
                </a:cubicBezTo>
                <a:cubicBezTo>
                  <a:pt x="56" y="59"/>
                  <a:pt x="57" y="53"/>
                  <a:pt x="56" y="51"/>
                </a:cubicBezTo>
                <a:cubicBezTo>
                  <a:pt x="55" y="50"/>
                  <a:pt x="55" y="48"/>
                  <a:pt x="55" y="46"/>
                </a:cubicBezTo>
                <a:cubicBezTo>
                  <a:pt x="54" y="44"/>
                  <a:pt x="49" y="43"/>
                  <a:pt x="47" y="42"/>
                </a:cubicBezTo>
                <a:cubicBezTo>
                  <a:pt x="45" y="41"/>
                  <a:pt x="39" y="41"/>
                  <a:pt x="38" y="41"/>
                </a:cubicBezTo>
                <a:cubicBezTo>
                  <a:pt x="37" y="41"/>
                  <a:pt x="37" y="41"/>
                  <a:pt x="36" y="41"/>
                </a:cubicBezTo>
                <a:cubicBezTo>
                  <a:pt x="33" y="43"/>
                  <a:pt x="30" y="45"/>
                  <a:pt x="29" y="45"/>
                </a:cubicBezTo>
                <a:cubicBezTo>
                  <a:pt x="28" y="45"/>
                  <a:pt x="24" y="47"/>
                  <a:pt x="22" y="48"/>
                </a:cubicBezTo>
                <a:cubicBezTo>
                  <a:pt x="21" y="48"/>
                  <a:pt x="20" y="47"/>
                  <a:pt x="19" y="46"/>
                </a:cubicBezTo>
                <a:cubicBezTo>
                  <a:pt x="17" y="45"/>
                  <a:pt x="14" y="45"/>
                  <a:pt x="13" y="45"/>
                </a:cubicBezTo>
                <a:cubicBezTo>
                  <a:pt x="6" y="44"/>
                  <a:pt x="6" y="44"/>
                  <a:pt x="6" y="44"/>
                </a:cubicBezTo>
                <a:cubicBezTo>
                  <a:pt x="5" y="43"/>
                  <a:pt x="0" y="41"/>
                  <a:pt x="1" y="4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4" name="Freeform 230"/>
          <p:cNvSpPr>
            <a:spLocks/>
          </p:cNvSpPr>
          <p:nvPr>
            <p:custDataLst>
              <p:tags r:id="rId160"/>
            </p:custDataLst>
          </p:nvPr>
        </p:nvSpPr>
        <p:spPr bwMode="auto">
          <a:xfrm>
            <a:off x="6369951" y="2900416"/>
            <a:ext cx="144000" cy="86049"/>
          </a:xfrm>
          <a:custGeom>
            <a:avLst/>
            <a:gdLst>
              <a:gd name="T0" fmla="*/ 2712 w 48"/>
              <a:gd name="T1" fmla="*/ 40335 h 27"/>
              <a:gd name="T2" fmla="*/ 13560 w 48"/>
              <a:gd name="T3" fmla="*/ 28810 h 27"/>
              <a:gd name="T4" fmla="*/ 2712 w 48"/>
              <a:gd name="T5" fmla="*/ 11524 h 27"/>
              <a:gd name="T6" fmla="*/ 5424 w 48"/>
              <a:gd name="T7" fmla="*/ 0 h 27"/>
              <a:gd name="T8" fmla="*/ 18984 w 48"/>
              <a:gd name="T9" fmla="*/ 8643 h 27"/>
              <a:gd name="T10" fmla="*/ 35256 w 48"/>
              <a:gd name="T11" fmla="*/ 14405 h 27"/>
              <a:gd name="T12" fmla="*/ 67799 w 48"/>
              <a:gd name="T13" fmla="*/ 17286 h 27"/>
              <a:gd name="T14" fmla="*/ 89495 w 48"/>
              <a:gd name="T15" fmla="*/ 5762 h 27"/>
              <a:gd name="T16" fmla="*/ 113903 w 48"/>
              <a:gd name="T17" fmla="*/ 8643 h 27"/>
              <a:gd name="T18" fmla="*/ 130175 w 48"/>
              <a:gd name="T19" fmla="*/ 11524 h 27"/>
              <a:gd name="T20" fmla="*/ 130175 w 48"/>
              <a:gd name="T21" fmla="*/ 20167 h 27"/>
              <a:gd name="T22" fmla="*/ 111191 w 48"/>
              <a:gd name="T23" fmla="*/ 28810 h 27"/>
              <a:gd name="T24" fmla="*/ 111191 w 48"/>
              <a:gd name="T25" fmla="*/ 48978 h 27"/>
              <a:gd name="T26" fmla="*/ 111191 w 48"/>
              <a:gd name="T27" fmla="*/ 54740 h 27"/>
              <a:gd name="T28" fmla="*/ 100343 w 48"/>
              <a:gd name="T29" fmla="*/ 54740 h 27"/>
              <a:gd name="T30" fmla="*/ 81359 w 48"/>
              <a:gd name="T31" fmla="*/ 60502 h 27"/>
              <a:gd name="T32" fmla="*/ 70511 w 48"/>
              <a:gd name="T33" fmla="*/ 72026 h 27"/>
              <a:gd name="T34" fmla="*/ 51528 w 48"/>
              <a:gd name="T35" fmla="*/ 69145 h 27"/>
              <a:gd name="T36" fmla="*/ 29832 w 48"/>
              <a:gd name="T37" fmla="*/ 69145 h 27"/>
              <a:gd name="T38" fmla="*/ 13560 w 48"/>
              <a:gd name="T39" fmla="*/ 77788 h 27"/>
              <a:gd name="T40" fmla="*/ 13560 w 48"/>
              <a:gd name="T41" fmla="*/ 66264 h 27"/>
              <a:gd name="T42" fmla="*/ 0 w 48"/>
              <a:gd name="T43" fmla="*/ 51859 h 27"/>
              <a:gd name="T44" fmla="*/ 2712 w 48"/>
              <a:gd name="T45" fmla="*/ 40335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8" h="27">
                <a:moveTo>
                  <a:pt x="1" y="14"/>
                </a:moveTo>
                <a:cubicBezTo>
                  <a:pt x="2" y="12"/>
                  <a:pt x="5" y="12"/>
                  <a:pt x="5" y="10"/>
                </a:cubicBezTo>
                <a:cubicBezTo>
                  <a:pt x="4" y="9"/>
                  <a:pt x="1" y="6"/>
                  <a:pt x="1" y="4"/>
                </a:cubicBezTo>
                <a:cubicBezTo>
                  <a:pt x="1" y="3"/>
                  <a:pt x="1" y="2"/>
                  <a:pt x="2" y="0"/>
                </a:cubicBezTo>
                <a:cubicBezTo>
                  <a:pt x="7" y="3"/>
                  <a:pt x="7" y="3"/>
                  <a:pt x="7" y="3"/>
                </a:cubicBezTo>
                <a:cubicBezTo>
                  <a:pt x="7" y="3"/>
                  <a:pt x="12" y="5"/>
                  <a:pt x="13" y="5"/>
                </a:cubicBezTo>
                <a:cubicBezTo>
                  <a:pt x="15" y="5"/>
                  <a:pt x="23" y="6"/>
                  <a:pt x="25" y="6"/>
                </a:cubicBezTo>
                <a:cubicBezTo>
                  <a:pt x="27" y="6"/>
                  <a:pt x="30" y="2"/>
                  <a:pt x="33" y="2"/>
                </a:cubicBezTo>
                <a:cubicBezTo>
                  <a:pt x="35" y="2"/>
                  <a:pt x="40" y="3"/>
                  <a:pt x="42" y="3"/>
                </a:cubicBezTo>
                <a:cubicBezTo>
                  <a:pt x="43" y="3"/>
                  <a:pt x="48" y="4"/>
                  <a:pt x="48" y="4"/>
                </a:cubicBezTo>
                <a:cubicBezTo>
                  <a:pt x="48" y="5"/>
                  <a:pt x="48" y="6"/>
                  <a:pt x="48" y="7"/>
                </a:cubicBezTo>
                <a:cubicBezTo>
                  <a:pt x="48" y="8"/>
                  <a:pt x="42" y="9"/>
                  <a:pt x="41" y="10"/>
                </a:cubicBezTo>
                <a:cubicBezTo>
                  <a:pt x="41" y="12"/>
                  <a:pt x="40" y="15"/>
                  <a:pt x="41" y="17"/>
                </a:cubicBezTo>
                <a:cubicBezTo>
                  <a:pt x="41" y="18"/>
                  <a:pt x="41" y="18"/>
                  <a:pt x="41" y="19"/>
                </a:cubicBezTo>
                <a:cubicBezTo>
                  <a:pt x="41" y="19"/>
                  <a:pt x="38" y="19"/>
                  <a:pt x="37" y="19"/>
                </a:cubicBezTo>
                <a:cubicBezTo>
                  <a:pt x="36" y="19"/>
                  <a:pt x="31" y="21"/>
                  <a:pt x="30" y="21"/>
                </a:cubicBezTo>
                <a:cubicBezTo>
                  <a:pt x="29" y="22"/>
                  <a:pt x="27" y="23"/>
                  <a:pt x="26" y="25"/>
                </a:cubicBezTo>
                <a:cubicBezTo>
                  <a:pt x="25" y="26"/>
                  <a:pt x="20" y="25"/>
                  <a:pt x="19" y="24"/>
                </a:cubicBezTo>
                <a:cubicBezTo>
                  <a:pt x="18" y="24"/>
                  <a:pt x="13" y="24"/>
                  <a:pt x="11" y="24"/>
                </a:cubicBezTo>
                <a:cubicBezTo>
                  <a:pt x="10" y="24"/>
                  <a:pt x="7" y="26"/>
                  <a:pt x="5" y="27"/>
                </a:cubicBezTo>
                <a:cubicBezTo>
                  <a:pt x="5" y="23"/>
                  <a:pt x="5" y="23"/>
                  <a:pt x="5" y="23"/>
                </a:cubicBezTo>
                <a:cubicBezTo>
                  <a:pt x="4" y="21"/>
                  <a:pt x="0" y="20"/>
                  <a:pt x="0" y="18"/>
                </a:cubicBezTo>
                <a:cubicBezTo>
                  <a:pt x="0" y="17"/>
                  <a:pt x="0" y="15"/>
                  <a:pt x="1" y="14"/>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5" name="Freeform 231"/>
          <p:cNvSpPr>
            <a:spLocks/>
          </p:cNvSpPr>
          <p:nvPr>
            <p:custDataLst>
              <p:tags r:id="rId161"/>
            </p:custDataLst>
          </p:nvPr>
        </p:nvSpPr>
        <p:spPr bwMode="auto">
          <a:xfrm>
            <a:off x="6322536" y="2773976"/>
            <a:ext cx="214244" cy="145756"/>
          </a:xfrm>
          <a:custGeom>
            <a:avLst/>
            <a:gdLst>
              <a:gd name="T0" fmla="*/ 0 w 71"/>
              <a:gd name="T1" fmla="*/ 61489 h 45"/>
              <a:gd name="T2" fmla="*/ 16367 w 71"/>
              <a:gd name="T3" fmla="*/ 58561 h 45"/>
              <a:gd name="T4" fmla="*/ 32734 w 71"/>
              <a:gd name="T5" fmla="*/ 29281 h 45"/>
              <a:gd name="T6" fmla="*/ 49101 w 71"/>
              <a:gd name="T7" fmla="*/ 17568 h 45"/>
              <a:gd name="T8" fmla="*/ 51829 w 71"/>
              <a:gd name="T9" fmla="*/ 8784 h 45"/>
              <a:gd name="T10" fmla="*/ 70923 w 71"/>
              <a:gd name="T11" fmla="*/ 11712 h 45"/>
              <a:gd name="T12" fmla="*/ 87290 w 71"/>
              <a:gd name="T13" fmla="*/ 14640 h 45"/>
              <a:gd name="T14" fmla="*/ 95474 w 71"/>
              <a:gd name="T15" fmla="*/ 20496 h 45"/>
              <a:gd name="T16" fmla="*/ 114568 w 71"/>
              <a:gd name="T17" fmla="*/ 11712 h 45"/>
              <a:gd name="T18" fmla="*/ 133663 w 71"/>
              <a:gd name="T19" fmla="*/ 0 h 45"/>
              <a:gd name="T20" fmla="*/ 139119 w 71"/>
              <a:gd name="T21" fmla="*/ 17568 h 45"/>
              <a:gd name="T22" fmla="*/ 158213 w 71"/>
              <a:gd name="T23" fmla="*/ 43921 h 45"/>
              <a:gd name="T24" fmla="*/ 160941 w 71"/>
              <a:gd name="T25" fmla="*/ 79058 h 45"/>
              <a:gd name="T26" fmla="*/ 171852 w 71"/>
              <a:gd name="T27" fmla="*/ 81986 h 45"/>
              <a:gd name="T28" fmla="*/ 180036 w 71"/>
              <a:gd name="T29" fmla="*/ 84914 h 45"/>
              <a:gd name="T30" fmla="*/ 190947 w 71"/>
              <a:gd name="T31" fmla="*/ 84914 h 45"/>
              <a:gd name="T32" fmla="*/ 193675 w 71"/>
              <a:gd name="T33" fmla="*/ 90770 h 45"/>
              <a:gd name="T34" fmla="*/ 188219 w 71"/>
              <a:gd name="T35" fmla="*/ 99554 h 45"/>
              <a:gd name="T36" fmla="*/ 174580 w 71"/>
              <a:gd name="T37" fmla="*/ 111267 h 45"/>
              <a:gd name="T38" fmla="*/ 171852 w 71"/>
              <a:gd name="T39" fmla="*/ 125907 h 45"/>
              <a:gd name="T40" fmla="*/ 155486 w 71"/>
              <a:gd name="T41" fmla="*/ 122979 h 45"/>
              <a:gd name="T42" fmla="*/ 130935 w 71"/>
              <a:gd name="T43" fmla="*/ 120051 h 45"/>
              <a:gd name="T44" fmla="*/ 109113 w 71"/>
              <a:gd name="T45" fmla="*/ 131763 h 45"/>
              <a:gd name="T46" fmla="*/ 76379 w 71"/>
              <a:gd name="T47" fmla="*/ 128835 h 45"/>
              <a:gd name="T48" fmla="*/ 60012 w 71"/>
              <a:gd name="T49" fmla="*/ 122979 h 45"/>
              <a:gd name="T50" fmla="*/ 46373 w 71"/>
              <a:gd name="T51" fmla="*/ 114195 h 45"/>
              <a:gd name="T52" fmla="*/ 46373 w 71"/>
              <a:gd name="T53" fmla="*/ 111267 h 45"/>
              <a:gd name="T54" fmla="*/ 27278 w 71"/>
              <a:gd name="T55" fmla="*/ 102482 h 45"/>
              <a:gd name="T56" fmla="*/ 16367 w 71"/>
              <a:gd name="T57" fmla="*/ 90770 h 45"/>
              <a:gd name="T58" fmla="*/ 5456 w 71"/>
              <a:gd name="T59" fmla="*/ 76130 h 45"/>
              <a:gd name="T60" fmla="*/ 0 w 71"/>
              <a:gd name="T61" fmla="*/ 61489 h 4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45">
                <a:moveTo>
                  <a:pt x="0" y="21"/>
                </a:moveTo>
                <a:cubicBezTo>
                  <a:pt x="2" y="21"/>
                  <a:pt x="6" y="21"/>
                  <a:pt x="6" y="20"/>
                </a:cubicBezTo>
                <a:cubicBezTo>
                  <a:pt x="8" y="19"/>
                  <a:pt x="10" y="10"/>
                  <a:pt x="12" y="10"/>
                </a:cubicBezTo>
                <a:cubicBezTo>
                  <a:pt x="13" y="9"/>
                  <a:pt x="17" y="7"/>
                  <a:pt x="18" y="6"/>
                </a:cubicBezTo>
                <a:cubicBezTo>
                  <a:pt x="18" y="5"/>
                  <a:pt x="20" y="4"/>
                  <a:pt x="19" y="3"/>
                </a:cubicBezTo>
                <a:cubicBezTo>
                  <a:pt x="26" y="4"/>
                  <a:pt x="26" y="4"/>
                  <a:pt x="26" y="4"/>
                </a:cubicBezTo>
                <a:cubicBezTo>
                  <a:pt x="27" y="4"/>
                  <a:pt x="30" y="4"/>
                  <a:pt x="32" y="5"/>
                </a:cubicBezTo>
                <a:cubicBezTo>
                  <a:pt x="33" y="6"/>
                  <a:pt x="34" y="7"/>
                  <a:pt x="35" y="7"/>
                </a:cubicBezTo>
                <a:cubicBezTo>
                  <a:pt x="37" y="6"/>
                  <a:pt x="41" y="4"/>
                  <a:pt x="42" y="4"/>
                </a:cubicBezTo>
                <a:cubicBezTo>
                  <a:pt x="43" y="4"/>
                  <a:pt x="46" y="2"/>
                  <a:pt x="49" y="0"/>
                </a:cubicBezTo>
                <a:cubicBezTo>
                  <a:pt x="51" y="6"/>
                  <a:pt x="51" y="6"/>
                  <a:pt x="51" y="6"/>
                </a:cubicBezTo>
                <a:cubicBezTo>
                  <a:pt x="52" y="7"/>
                  <a:pt x="57" y="12"/>
                  <a:pt x="58" y="15"/>
                </a:cubicBezTo>
                <a:cubicBezTo>
                  <a:pt x="60" y="17"/>
                  <a:pt x="59" y="25"/>
                  <a:pt x="59" y="27"/>
                </a:cubicBezTo>
                <a:cubicBezTo>
                  <a:pt x="59" y="28"/>
                  <a:pt x="61" y="28"/>
                  <a:pt x="63" y="28"/>
                </a:cubicBezTo>
                <a:cubicBezTo>
                  <a:pt x="64" y="28"/>
                  <a:pt x="66" y="29"/>
                  <a:pt x="66" y="29"/>
                </a:cubicBezTo>
                <a:cubicBezTo>
                  <a:pt x="70" y="29"/>
                  <a:pt x="70" y="29"/>
                  <a:pt x="70" y="29"/>
                </a:cubicBezTo>
                <a:cubicBezTo>
                  <a:pt x="70" y="30"/>
                  <a:pt x="70" y="30"/>
                  <a:pt x="71" y="31"/>
                </a:cubicBezTo>
                <a:cubicBezTo>
                  <a:pt x="71" y="33"/>
                  <a:pt x="71" y="34"/>
                  <a:pt x="69" y="34"/>
                </a:cubicBezTo>
                <a:cubicBezTo>
                  <a:pt x="67" y="34"/>
                  <a:pt x="65" y="35"/>
                  <a:pt x="64" y="38"/>
                </a:cubicBezTo>
                <a:cubicBezTo>
                  <a:pt x="63" y="39"/>
                  <a:pt x="63" y="41"/>
                  <a:pt x="63" y="43"/>
                </a:cubicBezTo>
                <a:cubicBezTo>
                  <a:pt x="63" y="43"/>
                  <a:pt x="58" y="42"/>
                  <a:pt x="57" y="42"/>
                </a:cubicBezTo>
                <a:cubicBezTo>
                  <a:pt x="55" y="42"/>
                  <a:pt x="50" y="41"/>
                  <a:pt x="48" y="41"/>
                </a:cubicBezTo>
                <a:cubicBezTo>
                  <a:pt x="45" y="41"/>
                  <a:pt x="42" y="45"/>
                  <a:pt x="40" y="45"/>
                </a:cubicBezTo>
                <a:cubicBezTo>
                  <a:pt x="38" y="45"/>
                  <a:pt x="30" y="44"/>
                  <a:pt x="28" y="44"/>
                </a:cubicBezTo>
                <a:cubicBezTo>
                  <a:pt x="27" y="44"/>
                  <a:pt x="22" y="42"/>
                  <a:pt x="22" y="42"/>
                </a:cubicBezTo>
                <a:cubicBezTo>
                  <a:pt x="17" y="39"/>
                  <a:pt x="17" y="39"/>
                  <a:pt x="17" y="39"/>
                </a:cubicBezTo>
                <a:cubicBezTo>
                  <a:pt x="17" y="38"/>
                  <a:pt x="17" y="38"/>
                  <a:pt x="17" y="38"/>
                </a:cubicBezTo>
                <a:cubicBezTo>
                  <a:pt x="17" y="38"/>
                  <a:pt x="13" y="36"/>
                  <a:pt x="10" y="35"/>
                </a:cubicBezTo>
                <a:cubicBezTo>
                  <a:pt x="7" y="34"/>
                  <a:pt x="8" y="33"/>
                  <a:pt x="6" y="31"/>
                </a:cubicBezTo>
                <a:cubicBezTo>
                  <a:pt x="5" y="29"/>
                  <a:pt x="3" y="26"/>
                  <a:pt x="2" y="26"/>
                </a:cubicBezTo>
                <a:lnTo>
                  <a:pt x="0" y="21"/>
                </a:ln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6" name="Freeform 232"/>
          <p:cNvSpPr>
            <a:spLocks/>
          </p:cNvSpPr>
          <p:nvPr>
            <p:custDataLst>
              <p:tags r:id="rId162"/>
            </p:custDataLst>
          </p:nvPr>
        </p:nvSpPr>
        <p:spPr bwMode="auto">
          <a:xfrm>
            <a:off x="6285659" y="2840708"/>
            <a:ext cx="98341" cy="126439"/>
          </a:xfrm>
          <a:custGeom>
            <a:avLst/>
            <a:gdLst>
              <a:gd name="T0" fmla="*/ 8334 w 32"/>
              <a:gd name="T1" fmla="*/ 29308 h 39"/>
              <a:gd name="T2" fmla="*/ 2778 w 32"/>
              <a:gd name="T3" fmla="*/ 17585 h 39"/>
              <a:gd name="T4" fmla="*/ 0 w 32"/>
              <a:gd name="T5" fmla="*/ 5862 h 39"/>
              <a:gd name="T6" fmla="*/ 8334 w 32"/>
              <a:gd name="T7" fmla="*/ 2931 h 39"/>
              <a:gd name="T8" fmla="*/ 30559 w 32"/>
              <a:gd name="T9" fmla="*/ 0 h 39"/>
              <a:gd name="T10" fmla="*/ 33338 w 32"/>
              <a:gd name="T11" fmla="*/ 0 h 39"/>
              <a:gd name="T12" fmla="*/ 38894 w 32"/>
              <a:gd name="T13" fmla="*/ 14654 h 39"/>
              <a:gd name="T14" fmla="*/ 50006 w 32"/>
              <a:gd name="T15" fmla="*/ 29308 h 39"/>
              <a:gd name="T16" fmla="*/ 61119 w 32"/>
              <a:gd name="T17" fmla="*/ 41031 h 39"/>
              <a:gd name="T18" fmla="*/ 80566 w 32"/>
              <a:gd name="T19" fmla="*/ 49823 h 39"/>
              <a:gd name="T20" fmla="*/ 80566 w 32"/>
              <a:gd name="T21" fmla="*/ 52754 h 39"/>
              <a:gd name="T22" fmla="*/ 77788 w 32"/>
              <a:gd name="T23" fmla="*/ 64477 h 39"/>
              <a:gd name="T24" fmla="*/ 88900 w 32"/>
              <a:gd name="T25" fmla="*/ 82062 h 39"/>
              <a:gd name="T26" fmla="*/ 77788 w 32"/>
              <a:gd name="T27" fmla="*/ 93785 h 39"/>
              <a:gd name="T28" fmla="*/ 75009 w 32"/>
              <a:gd name="T29" fmla="*/ 105508 h 39"/>
              <a:gd name="T30" fmla="*/ 38894 w 32"/>
              <a:gd name="T31" fmla="*/ 114300 h 39"/>
              <a:gd name="T32" fmla="*/ 36116 w 32"/>
              <a:gd name="T33" fmla="*/ 108438 h 39"/>
              <a:gd name="T34" fmla="*/ 30559 w 32"/>
              <a:gd name="T35" fmla="*/ 96715 h 39"/>
              <a:gd name="T36" fmla="*/ 30559 w 32"/>
              <a:gd name="T37" fmla="*/ 87923 h 39"/>
              <a:gd name="T38" fmla="*/ 8334 w 32"/>
              <a:gd name="T39" fmla="*/ 73269 h 39"/>
              <a:gd name="T40" fmla="*/ 13891 w 32"/>
              <a:gd name="T41" fmla="*/ 67408 h 39"/>
              <a:gd name="T42" fmla="*/ 5556 w 32"/>
              <a:gd name="T43" fmla="*/ 52754 h 39"/>
              <a:gd name="T44" fmla="*/ 8334 w 32"/>
              <a:gd name="T45" fmla="*/ 41031 h 39"/>
              <a:gd name="T46" fmla="*/ 8334 w 32"/>
              <a:gd name="T47" fmla="*/ 29308 h 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2" h="39">
                <a:moveTo>
                  <a:pt x="3" y="10"/>
                </a:moveTo>
                <a:cubicBezTo>
                  <a:pt x="3" y="9"/>
                  <a:pt x="2" y="8"/>
                  <a:pt x="1" y="6"/>
                </a:cubicBezTo>
                <a:cubicBezTo>
                  <a:pt x="0" y="2"/>
                  <a:pt x="0" y="2"/>
                  <a:pt x="0" y="2"/>
                </a:cubicBezTo>
                <a:cubicBezTo>
                  <a:pt x="1" y="2"/>
                  <a:pt x="2" y="1"/>
                  <a:pt x="3" y="1"/>
                </a:cubicBezTo>
                <a:cubicBezTo>
                  <a:pt x="4" y="1"/>
                  <a:pt x="10" y="0"/>
                  <a:pt x="11" y="0"/>
                </a:cubicBezTo>
                <a:cubicBezTo>
                  <a:pt x="12" y="0"/>
                  <a:pt x="12" y="0"/>
                  <a:pt x="12" y="0"/>
                </a:cubicBezTo>
                <a:cubicBezTo>
                  <a:pt x="14" y="5"/>
                  <a:pt x="14" y="5"/>
                  <a:pt x="14" y="5"/>
                </a:cubicBezTo>
                <a:cubicBezTo>
                  <a:pt x="15" y="5"/>
                  <a:pt x="17" y="8"/>
                  <a:pt x="18" y="10"/>
                </a:cubicBezTo>
                <a:cubicBezTo>
                  <a:pt x="20" y="12"/>
                  <a:pt x="19" y="13"/>
                  <a:pt x="22" y="14"/>
                </a:cubicBezTo>
                <a:cubicBezTo>
                  <a:pt x="25" y="15"/>
                  <a:pt x="29" y="17"/>
                  <a:pt x="29" y="17"/>
                </a:cubicBezTo>
                <a:cubicBezTo>
                  <a:pt x="29" y="17"/>
                  <a:pt x="29" y="17"/>
                  <a:pt x="29" y="18"/>
                </a:cubicBezTo>
                <a:cubicBezTo>
                  <a:pt x="28" y="20"/>
                  <a:pt x="28" y="21"/>
                  <a:pt x="28" y="22"/>
                </a:cubicBezTo>
                <a:cubicBezTo>
                  <a:pt x="28" y="24"/>
                  <a:pt x="31" y="27"/>
                  <a:pt x="32" y="28"/>
                </a:cubicBezTo>
                <a:cubicBezTo>
                  <a:pt x="32" y="30"/>
                  <a:pt x="29" y="30"/>
                  <a:pt x="28" y="32"/>
                </a:cubicBezTo>
                <a:cubicBezTo>
                  <a:pt x="27" y="33"/>
                  <a:pt x="27" y="35"/>
                  <a:pt x="27" y="36"/>
                </a:cubicBezTo>
                <a:cubicBezTo>
                  <a:pt x="14" y="39"/>
                  <a:pt x="14" y="39"/>
                  <a:pt x="14" y="39"/>
                </a:cubicBezTo>
                <a:cubicBezTo>
                  <a:pt x="13" y="38"/>
                  <a:pt x="13" y="37"/>
                  <a:pt x="13" y="37"/>
                </a:cubicBezTo>
                <a:cubicBezTo>
                  <a:pt x="11" y="33"/>
                  <a:pt x="11" y="33"/>
                  <a:pt x="11" y="33"/>
                </a:cubicBezTo>
                <a:cubicBezTo>
                  <a:pt x="11" y="32"/>
                  <a:pt x="12" y="31"/>
                  <a:pt x="11" y="30"/>
                </a:cubicBezTo>
                <a:cubicBezTo>
                  <a:pt x="3" y="25"/>
                  <a:pt x="3" y="25"/>
                  <a:pt x="3" y="25"/>
                </a:cubicBezTo>
                <a:cubicBezTo>
                  <a:pt x="4" y="24"/>
                  <a:pt x="5" y="24"/>
                  <a:pt x="5" y="23"/>
                </a:cubicBezTo>
                <a:cubicBezTo>
                  <a:pt x="6" y="21"/>
                  <a:pt x="2" y="19"/>
                  <a:pt x="2" y="18"/>
                </a:cubicBezTo>
                <a:cubicBezTo>
                  <a:pt x="2" y="18"/>
                  <a:pt x="2" y="16"/>
                  <a:pt x="3" y="14"/>
                </a:cubicBezTo>
                <a:cubicBezTo>
                  <a:pt x="3" y="13"/>
                  <a:pt x="3" y="11"/>
                  <a:pt x="3" y="1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7" name="Freeform 233"/>
          <p:cNvSpPr>
            <a:spLocks/>
          </p:cNvSpPr>
          <p:nvPr>
            <p:custDataLst>
              <p:tags r:id="rId163"/>
            </p:custDataLst>
          </p:nvPr>
        </p:nvSpPr>
        <p:spPr bwMode="auto">
          <a:xfrm>
            <a:off x="6278634" y="2923244"/>
            <a:ext cx="43902" cy="40390"/>
          </a:xfrm>
          <a:custGeom>
            <a:avLst/>
            <a:gdLst>
              <a:gd name="T0" fmla="*/ 5292 w 15"/>
              <a:gd name="T1" fmla="*/ 11235 h 13"/>
              <a:gd name="T2" fmla="*/ 15875 w 15"/>
              <a:gd name="T3" fmla="*/ 0 h 13"/>
              <a:gd name="T4" fmla="*/ 37042 w 15"/>
              <a:gd name="T5" fmla="*/ 14043 h 13"/>
              <a:gd name="T6" fmla="*/ 37042 w 15"/>
              <a:gd name="T7" fmla="*/ 22470 h 13"/>
              <a:gd name="T8" fmla="*/ 34396 w 15"/>
              <a:gd name="T9" fmla="*/ 25278 h 13"/>
              <a:gd name="T10" fmla="*/ 23813 w 15"/>
              <a:gd name="T11" fmla="*/ 28087 h 13"/>
              <a:gd name="T12" fmla="*/ 15875 w 15"/>
              <a:gd name="T13" fmla="*/ 36513 h 13"/>
              <a:gd name="T14" fmla="*/ 2646 w 15"/>
              <a:gd name="T15" fmla="*/ 28087 h 13"/>
              <a:gd name="T16" fmla="*/ 0 w 15"/>
              <a:gd name="T17" fmla="*/ 28087 h 13"/>
              <a:gd name="T18" fmla="*/ 5292 w 15"/>
              <a:gd name="T19" fmla="*/ 11235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13">
                <a:moveTo>
                  <a:pt x="2" y="4"/>
                </a:moveTo>
                <a:cubicBezTo>
                  <a:pt x="2" y="4"/>
                  <a:pt x="5" y="2"/>
                  <a:pt x="6" y="0"/>
                </a:cubicBezTo>
                <a:cubicBezTo>
                  <a:pt x="14" y="5"/>
                  <a:pt x="14" y="5"/>
                  <a:pt x="14" y="5"/>
                </a:cubicBezTo>
                <a:cubicBezTo>
                  <a:pt x="15" y="6"/>
                  <a:pt x="14" y="7"/>
                  <a:pt x="14" y="8"/>
                </a:cubicBezTo>
                <a:cubicBezTo>
                  <a:pt x="14" y="9"/>
                  <a:pt x="13" y="9"/>
                  <a:pt x="13" y="9"/>
                </a:cubicBezTo>
                <a:cubicBezTo>
                  <a:pt x="12" y="9"/>
                  <a:pt x="10" y="10"/>
                  <a:pt x="9" y="10"/>
                </a:cubicBezTo>
                <a:cubicBezTo>
                  <a:pt x="9" y="10"/>
                  <a:pt x="7" y="12"/>
                  <a:pt x="6" y="13"/>
                </a:cubicBezTo>
                <a:cubicBezTo>
                  <a:pt x="5" y="12"/>
                  <a:pt x="3" y="11"/>
                  <a:pt x="1" y="10"/>
                </a:cubicBezTo>
                <a:cubicBezTo>
                  <a:pt x="1" y="10"/>
                  <a:pt x="1" y="10"/>
                  <a:pt x="0" y="10"/>
                </a:cubicBezTo>
                <a:cubicBezTo>
                  <a:pt x="1" y="8"/>
                  <a:pt x="2" y="5"/>
                  <a:pt x="2" y="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8" name="Freeform 234"/>
          <p:cNvSpPr>
            <a:spLocks/>
          </p:cNvSpPr>
          <p:nvPr>
            <p:custDataLst>
              <p:tags r:id="rId164"/>
            </p:custDataLst>
          </p:nvPr>
        </p:nvSpPr>
        <p:spPr bwMode="auto">
          <a:xfrm>
            <a:off x="6245269" y="2733586"/>
            <a:ext cx="129951" cy="59707"/>
          </a:xfrm>
          <a:custGeom>
            <a:avLst/>
            <a:gdLst>
              <a:gd name="T0" fmla="*/ 2732 w 43"/>
              <a:gd name="T1" fmla="*/ 41981 h 18"/>
              <a:gd name="T2" fmla="*/ 0 w 43"/>
              <a:gd name="T3" fmla="*/ 26988 h 18"/>
              <a:gd name="T4" fmla="*/ 0 w 43"/>
              <a:gd name="T5" fmla="*/ 23989 h 18"/>
              <a:gd name="T6" fmla="*/ 16392 w 43"/>
              <a:gd name="T7" fmla="*/ 20990 h 18"/>
              <a:gd name="T8" fmla="*/ 30052 w 43"/>
              <a:gd name="T9" fmla="*/ 5997 h 18"/>
              <a:gd name="T10" fmla="*/ 38248 w 43"/>
              <a:gd name="T11" fmla="*/ 0 h 18"/>
              <a:gd name="T12" fmla="*/ 51908 w 43"/>
              <a:gd name="T13" fmla="*/ 2999 h 18"/>
              <a:gd name="T14" fmla="*/ 62835 w 43"/>
              <a:gd name="T15" fmla="*/ 8996 h 18"/>
              <a:gd name="T16" fmla="*/ 87423 w 43"/>
              <a:gd name="T17" fmla="*/ 2999 h 18"/>
              <a:gd name="T18" fmla="*/ 103815 w 43"/>
              <a:gd name="T19" fmla="*/ 5997 h 18"/>
              <a:gd name="T20" fmla="*/ 117475 w 43"/>
              <a:gd name="T21" fmla="*/ 17992 h 18"/>
              <a:gd name="T22" fmla="*/ 109279 w 43"/>
              <a:gd name="T23" fmla="*/ 32985 h 18"/>
              <a:gd name="T24" fmla="*/ 87423 w 43"/>
              <a:gd name="T25" fmla="*/ 29986 h 18"/>
              <a:gd name="T26" fmla="*/ 68299 w 43"/>
              <a:gd name="T27" fmla="*/ 38982 h 18"/>
              <a:gd name="T28" fmla="*/ 46444 w 43"/>
              <a:gd name="T29" fmla="*/ 44979 h 18"/>
              <a:gd name="T30" fmla="*/ 38248 w 43"/>
              <a:gd name="T31" fmla="*/ 53975 h 18"/>
              <a:gd name="T32" fmla="*/ 16392 w 43"/>
              <a:gd name="T33" fmla="*/ 53975 h 18"/>
              <a:gd name="T34" fmla="*/ 2732 w 43"/>
              <a:gd name="T35" fmla="*/ 44979 h 18"/>
              <a:gd name="T36" fmla="*/ 2732 w 43"/>
              <a:gd name="T37" fmla="*/ 44979 h 18"/>
              <a:gd name="T38" fmla="*/ 2732 w 43"/>
              <a:gd name="T39" fmla="*/ 41981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 h="18">
                <a:moveTo>
                  <a:pt x="1" y="14"/>
                </a:moveTo>
                <a:cubicBezTo>
                  <a:pt x="0" y="13"/>
                  <a:pt x="0" y="10"/>
                  <a:pt x="0" y="9"/>
                </a:cubicBezTo>
                <a:cubicBezTo>
                  <a:pt x="0" y="8"/>
                  <a:pt x="0" y="8"/>
                  <a:pt x="0" y="8"/>
                </a:cubicBezTo>
                <a:cubicBezTo>
                  <a:pt x="2" y="7"/>
                  <a:pt x="6" y="8"/>
                  <a:pt x="6" y="7"/>
                </a:cubicBezTo>
                <a:cubicBezTo>
                  <a:pt x="8" y="5"/>
                  <a:pt x="11" y="3"/>
                  <a:pt x="11" y="2"/>
                </a:cubicBezTo>
                <a:cubicBezTo>
                  <a:pt x="12" y="2"/>
                  <a:pt x="14" y="1"/>
                  <a:pt x="14" y="0"/>
                </a:cubicBezTo>
                <a:cubicBezTo>
                  <a:pt x="14" y="0"/>
                  <a:pt x="18" y="0"/>
                  <a:pt x="19" y="1"/>
                </a:cubicBezTo>
                <a:cubicBezTo>
                  <a:pt x="20" y="2"/>
                  <a:pt x="21" y="3"/>
                  <a:pt x="23" y="3"/>
                </a:cubicBezTo>
                <a:cubicBezTo>
                  <a:pt x="25" y="3"/>
                  <a:pt x="30" y="1"/>
                  <a:pt x="32" y="1"/>
                </a:cubicBezTo>
                <a:cubicBezTo>
                  <a:pt x="34" y="1"/>
                  <a:pt x="38" y="2"/>
                  <a:pt x="38" y="2"/>
                </a:cubicBezTo>
                <a:cubicBezTo>
                  <a:pt x="43" y="6"/>
                  <a:pt x="43" y="6"/>
                  <a:pt x="43" y="6"/>
                </a:cubicBezTo>
                <a:cubicBezTo>
                  <a:pt x="42" y="6"/>
                  <a:pt x="40" y="10"/>
                  <a:pt x="40" y="11"/>
                </a:cubicBezTo>
                <a:cubicBezTo>
                  <a:pt x="40" y="11"/>
                  <a:pt x="34" y="10"/>
                  <a:pt x="32" y="10"/>
                </a:cubicBezTo>
                <a:cubicBezTo>
                  <a:pt x="30" y="10"/>
                  <a:pt x="27" y="13"/>
                  <a:pt x="25" y="13"/>
                </a:cubicBezTo>
                <a:cubicBezTo>
                  <a:pt x="24" y="13"/>
                  <a:pt x="18" y="14"/>
                  <a:pt x="17" y="15"/>
                </a:cubicBezTo>
                <a:cubicBezTo>
                  <a:pt x="16" y="15"/>
                  <a:pt x="14" y="18"/>
                  <a:pt x="14" y="18"/>
                </a:cubicBezTo>
                <a:cubicBezTo>
                  <a:pt x="14" y="18"/>
                  <a:pt x="7" y="18"/>
                  <a:pt x="6" y="18"/>
                </a:cubicBezTo>
                <a:cubicBezTo>
                  <a:pt x="4" y="18"/>
                  <a:pt x="1" y="15"/>
                  <a:pt x="1" y="15"/>
                </a:cubicBezTo>
                <a:cubicBezTo>
                  <a:pt x="1" y="15"/>
                  <a:pt x="1" y="15"/>
                  <a:pt x="1" y="15"/>
                </a:cubicBezTo>
                <a:cubicBezTo>
                  <a:pt x="1" y="15"/>
                  <a:pt x="1" y="14"/>
                  <a:pt x="1" y="14"/>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69" name="Freeform 235"/>
          <p:cNvSpPr>
            <a:spLocks/>
          </p:cNvSpPr>
          <p:nvPr>
            <p:custDataLst>
              <p:tags r:id="rId165"/>
            </p:custDataLst>
          </p:nvPr>
        </p:nvSpPr>
        <p:spPr bwMode="auto">
          <a:xfrm>
            <a:off x="6229464" y="2766952"/>
            <a:ext cx="156293" cy="87805"/>
          </a:xfrm>
          <a:custGeom>
            <a:avLst/>
            <a:gdLst>
              <a:gd name="T0" fmla="*/ 5434 w 52"/>
              <a:gd name="T1" fmla="*/ 55856 h 27"/>
              <a:gd name="T2" fmla="*/ 0 w 52"/>
              <a:gd name="T3" fmla="*/ 47037 h 27"/>
              <a:gd name="T4" fmla="*/ 5434 w 52"/>
              <a:gd name="T5" fmla="*/ 38218 h 27"/>
              <a:gd name="T6" fmla="*/ 8151 w 52"/>
              <a:gd name="T7" fmla="*/ 23519 h 27"/>
              <a:gd name="T8" fmla="*/ 16302 w 52"/>
              <a:gd name="T9" fmla="*/ 26458 h 27"/>
              <a:gd name="T10" fmla="*/ 19020 w 52"/>
              <a:gd name="T11" fmla="*/ 14699 h 27"/>
              <a:gd name="T12" fmla="*/ 19020 w 52"/>
              <a:gd name="T13" fmla="*/ 14699 h 27"/>
              <a:gd name="T14" fmla="*/ 32605 w 52"/>
              <a:gd name="T15" fmla="*/ 23519 h 27"/>
              <a:gd name="T16" fmla="*/ 54342 w 52"/>
              <a:gd name="T17" fmla="*/ 23519 h 27"/>
              <a:gd name="T18" fmla="*/ 62493 w 52"/>
              <a:gd name="T19" fmla="*/ 14699 h 27"/>
              <a:gd name="T20" fmla="*/ 84229 w 52"/>
              <a:gd name="T21" fmla="*/ 8819 h 27"/>
              <a:gd name="T22" fmla="*/ 103249 w 52"/>
              <a:gd name="T23" fmla="*/ 0 h 27"/>
              <a:gd name="T24" fmla="*/ 124986 w 52"/>
              <a:gd name="T25" fmla="*/ 2940 h 27"/>
              <a:gd name="T26" fmla="*/ 138571 w 52"/>
              <a:gd name="T27" fmla="*/ 14699 h 27"/>
              <a:gd name="T28" fmla="*/ 135854 w 52"/>
              <a:gd name="T29" fmla="*/ 23519 h 27"/>
              <a:gd name="T30" fmla="*/ 119551 w 52"/>
              <a:gd name="T31" fmla="*/ 35278 h 27"/>
              <a:gd name="T32" fmla="*/ 103249 w 52"/>
              <a:gd name="T33" fmla="*/ 64676 h 27"/>
              <a:gd name="T34" fmla="*/ 86946 w 52"/>
              <a:gd name="T35" fmla="*/ 67616 h 27"/>
              <a:gd name="T36" fmla="*/ 84229 w 52"/>
              <a:gd name="T37" fmla="*/ 67616 h 27"/>
              <a:gd name="T38" fmla="*/ 62493 w 52"/>
              <a:gd name="T39" fmla="*/ 70556 h 27"/>
              <a:gd name="T40" fmla="*/ 54342 w 52"/>
              <a:gd name="T41" fmla="*/ 73495 h 27"/>
              <a:gd name="T42" fmla="*/ 46190 w 52"/>
              <a:gd name="T43" fmla="*/ 79375 h 27"/>
              <a:gd name="T44" fmla="*/ 27171 w 52"/>
              <a:gd name="T45" fmla="*/ 73495 h 27"/>
              <a:gd name="T46" fmla="*/ 8151 w 52"/>
              <a:gd name="T47" fmla="*/ 58796 h 27"/>
              <a:gd name="T48" fmla="*/ 5434 w 52"/>
              <a:gd name="T49" fmla="*/ 55856 h 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2" h="27">
                <a:moveTo>
                  <a:pt x="2" y="19"/>
                </a:moveTo>
                <a:cubicBezTo>
                  <a:pt x="0" y="16"/>
                  <a:pt x="0" y="16"/>
                  <a:pt x="0" y="16"/>
                </a:cubicBezTo>
                <a:cubicBezTo>
                  <a:pt x="1" y="16"/>
                  <a:pt x="2" y="14"/>
                  <a:pt x="2" y="13"/>
                </a:cubicBezTo>
                <a:cubicBezTo>
                  <a:pt x="2" y="11"/>
                  <a:pt x="2" y="9"/>
                  <a:pt x="3" y="8"/>
                </a:cubicBezTo>
                <a:cubicBezTo>
                  <a:pt x="4" y="8"/>
                  <a:pt x="6" y="9"/>
                  <a:pt x="6" y="9"/>
                </a:cubicBezTo>
                <a:cubicBezTo>
                  <a:pt x="7" y="8"/>
                  <a:pt x="7" y="7"/>
                  <a:pt x="7" y="5"/>
                </a:cubicBezTo>
                <a:cubicBezTo>
                  <a:pt x="7" y="5"/>
                  <a:pt x="7" y="5"/>
                  <a:pt x="7" y="5"/>
                </a:cubicBezTo>
                <a:cubicBezTo>
                  <a:pt x="7" y="5"/>
                  <a:pt x="10" y="8"/>
                  <a:pt x="12" y="8"/>
                </a:cubicBezTo>
                <a:cubicBezTo>
                  <a:pt x="13" y="8"/>
                  <a:pt x="20" y="8"/>
                  <a:pt x="20" y="8"/>
                </a:cubicBezTo>
                <a:cubicBezTo>
                  <a:pt x="20" y="8"/>
                  <a:pt x="22" y="5"/>
                  <a:pt x="23" y="5"/>
                </a:cubicBezTo>
                <a:cubicBezTo>
                  <a:pt x="24" y="4"/>
                  <a:pt x="30" y="3"/>
                  <a:pt x="31" y="3"/>
                </a:cubicBezTo>
                <a:cubicBezTo>
                  <a:pt x="33" y="3"/>
                  <a:pt x="36" y="0"/>
                  <a:pt x="38" y="0"/>
                </a:cubicBezTo>
                <a:cubicBezTo>
                  <a:pt x="40" y="0"/>
                  <a:pt x="46" y="1"/>
                  <a:pt x="46" y="1"/>
                </a:cubicBezTo>
                <a:cubicBezTo>
                  <a:pt x="45" y="2"/>
                  <a:pt x="50" y="4"/>
                  <a:pt x="51" y="5"/>
                </a:cubicBezTo>
                <a:cubicBezTo>
                  <a:pt x="52" y="6"/>
                  <a:pt x="50" y="7"/>
                  <a:pt x="50" y="8"/>
                </a:cubicBezTo>
                <a:cubicBezTo>
                  <a:pt x="49" y="9"/>
                  <a:pt x="45" y="11"/>
                  <a:pt x="44" y="12"/>
                </a:cubicBezTo>
                <a:cubicBezTo>
                  <a:pt x="42" y="12"/>
                  <a:pt x="40" y="21"/>
                  <a:pt x="38" y="22"/>
                </a:cubicBezTo>
                <a:cubicBezTo>
                  <a:pt x="38" y="23"/>
                  <a:pt x="34" y="23"/>
                  <a:pt x="32" y="23"/>
                </a:cubicBezTo>
                <a:cubicBezTo>
                  <a:pt x="32" y="23"/>
                  <a:pt x="32" y="23"/>
                  <a:pt x="31" y="23"/>
                </a:cubicBezTo>
                <a:cubicBezTo>
                  <a:pt x="30" y="23"/>
                  <a:pt x="24" y="24"/>
                  <a:pt x="23" y="24"/>
                </a:cubicBezTo>
                <a:cubicBezTo>
                  <a:pt x="22" y="24"/>
                  <a:pt x="21" y="25"/>
                  <a:pt x="20" y="25"/>
                </a:cubicBezTo>
                <a:cubicBezTo>
                  <a:pt x="19" y="26"/>
                  <a:pt x="18" y="26"/>
                  <a:pt x="17" y="27"/>
                </a:cubicBezTo>
                <a:cubicBezTo>
                  <a:pt x="15" y="27"/>
                  <a:pt x="11" y="26"/>
                  <a:pt x="10" y="25"/>
                </a:cubicBezTo>
                <a:cubicBezTo>
                  <a:pt x="8" y="25"/>
                  <a:pt x="4" y="21"/>
                  <a:pt x="3" y="20"/>
                </a:cubicBezTo>
                <a:lnTo>
                  <a:pt x="2" y="19"/>
                </a:ln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0" name="Freeform 236"/>
          <p:cNvSpPr>
            <a:spLocks/>
          </p:cNvSpPr>
          <p:nvPr>
            <p:custDataLst>
              <p:tags r:id="rId166"/>
            </p:custDataLst>
          </p:nvPr>
        </p:nvSpPr>
        <p:spPr bwMode="auto">
          <a:xfrm>
            <a:off x="6213659" y="2874073"/>
            <a:ext cx="91317" cy="79024"/>
          </a:xfrm>
          <a:custGeom>
            <a:avLst/>
            <a:gdLst>
              <a:gd name="T0" fmla="*/ 5503 w 30"/>
              <a:gd name="T1" fmla="*/ 8573 h 25"/>
              <a:gd name="T2" fmla="*/ 5503 w 30"/>
              <a:gd name="T3" fmla="*/ 0 h 25"/>
              <a:gd name="T4" fmla="*/ 22013 w 30"/>
              <a:gd name="T5" fmla="*/ 0 h 25"/>
              <a:gd name="T6" fmla="*/ 55033 w 30"/>
              <a:gd name="T7" fmla="*/ 5715 h 25"/>
              <a:gd name="T8" fmla="*/ 74295 w 30"/>
              <a:gd name="T9" fmla="*/ 11430 h 25"/>
              <a:gd name="T10" fmla="*/ 71543 w 30"/>
              <a:gd name="T11" fmla="*/ 22860 h 25"/>
              <a:gd name="T12" fmla="*/ 79798 w 30"/>
              <a:gd name="T13" fmla="*/ 37148 h 25"/>
              <a:gd name="T14" fmla="*/ 74295 w 30"/>
              <a:gd name="T15" fmla="*/ 42863 h 25"/>
              <a:gd name="T16" fmla="*/ 63288 w 30"/>
              <a:gd name="T17" fmla="*/ 54293 h 25"/>
              <a:gd name="T18" fmla="*/ 57785 w 30"/>
              <a:gd name="T19" fmla="*/ 71438 h 25"/>
              <a:gd name="T20" fmla="*/ 38523 w 30"/>
              <a:gd name="T21" fmla="*/ 60008 h 25"/>
              <a:gd name="T22" fmla="*/ 41275 w 30"/>
              <a:gd name="T23" fmla="*/ 51435 h 25"/>
              <a:gd name="T24" fmla="*/ 27517 w 30"/>
              <a:gd name="T25" fmla="*/ 37148 h 25"/>
              <a:gd name="T26" fmla="*/ 5503 w 30"/>
              <a:gd name="T27" fmla="*/ 857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25">
                <a:moveTo>
                  <a:pt x="2" y="3"/>
                </a:moveTo>
                <a:cubicBezTo>
                  <a:pt x="2" y="2"/>
                  <a:pt x="0" y="0"/>
                  <a:pt x="2" y="0"/>
                </a:cubicBezTo>
                <a:cubicBezTo>
                  <a:pt x="4" y="0"/>
                  <a:pt x="8" y="0"/>
                  <a:pt x="8" y="0"/>
                </a:cubicBezTo>
                <a:cubicBezTo>
                  <a:pt x="10" y="0"/>
                  <a:pt x="19" y="2"/>
                  <a:pt x="20" y="2"/>
                </a:cubicBezTo>
                <a:cubicBezTo>
                  <a:pt x="22" y="2"/>
                  <a:pt x="26" y="4"/>
                  <a:pt x="27" y="4"/>
                </a:cubicBezTo>
                <a:cubicBezTo>
                  <a:pt x="26" y="6"/>
                  <a:pt x="26" y="8"/>
                  <a:pt x="26" y="8"/>
                </a:cubicBezTo>
                <a:cubicBezTo>
                  <a:pt x="26" y="9"/>
                  <a:pt x="30" y="11"/>
                  <a:pt x="29" y="13"/>
                </a:cubicBezTo>
                <a:cubicBezTo>
                  <a:pt x="29" y="14"/>
                  <a:pt x="28" y="14"/>
                  <a:pt x="27" y="15"/>
                </a:cubicBezTo>
                <a:cubicBezTo>
                  <a:pt x="26" y="17"/>
                  <a:pt x="23" y="19"/>
                  <a:pt x="23" y="19"/>
                </a:cubicBezTo>
                <a:cubicBezTo>
                  <a:pt x="23" y="20"/>
                  <a:pt x="22" y="23"/>
                  <a:pt x="21" y="25"/>
                </a:cubicBezTo>
                <a:cubicBezTo>
                  <a:pt x="19" y="23"/>
                  <a:pt x="17" y="22"/>
                  <a:pt x="14" y="21"/>
                </a:cubicBezTo>
                <a:cubicBezTo>
                  <a:pt x="15" y="18"/>
                  <a:pt x="15" y="18"/>
                  <a:pt x="15" y="18"/>
                </a:cubicBezTo>
                <a:cubicBezTo>
                  <a:pt x="15" y="18"/>
                  <a:pt x="11" y="14"/>
                  <a:pt x="10" y="13"/>
                </a:cubicBezTo>
                <a:cubicBezTo>
                  <a:pt x="8" y="11"/>
                  <a:pt x="2" y="4"/>
                  <a:pt x="2" y="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1" name="Freeform 237"/>
          <p:cNvSpPr>
            <a:spLocks/>
          </p:cNvSpPr>
          <p:nvPr>
            <p:custDataLst>
              <p:tags r:id="rId167"/>
            </p:custDataLst>
          </p:nvPr>
        </p:nvSpPr>
        <p:spPr bwMode="auto">
          <a:xfrm>
            <a:off x="6134634" y="2686171"/>
            <a:ext cx="151024" cy="80780"/>
          </a:xfrm>
          <a:custGeom>
            <a:avLst/>
            <a:gdLst>
              <a:gd name="T0" fmla="*/ 0 w 51"/>
              <a:gd name="T1" fmla="*/ 26289 h 25"/>
              <a:gd name="T2" fmla="*/ 50862 w 51"/>
              <a:gd name="T3" fmla="*/ 5842 h 25"/>
              <a:gd name="T4" fmla="*/ 58893 w 51"/>
              <a:gd name="T5" fmla="*/ 0 h 25"/>
              <a:gd name="T6" fmla="*/ 66924 w 51"/>
              <a:gd name="T7" fmla="*/ 5842 h 25"/>
              <a:gd name="T8" fmla="*/ 82986 w 51"/>
              <a:gd name="T9" fmla="*/ 14605 h 25"/>
              <a:gd name="T10" fmla="*/ 91017 w 51"/>
              <a:gd name="T11" fmla="*/ 29210 h 25"/>
              <a:gd name="T12" fmla="*/ 99048 w 51"/>
              <a:gd name="T13" fmla="*/ 23368 h 25"/>
              <a:gd name="T14" fmla="*/ 115109 w 51"/>
              <a:gd name="T15" fmla="*/ 29210 h 25"/>
              <a:gd name="T16" fmla="*/ 131171 w 51"/>
              <a:gd name="T17" fmla="*/ 32131 h 25"/>
              <a:gd name="T18" fmla="*/ 136525 w 51"/>
              <a:gd name="T19" fmla="*/ 43815 h 25"/>
              <a:gd name="T20" fmla="*/ 128494 w 51"/>
              <a:gd name="T21" fmla="*/ 49657 h 25"/>
              <a:gd name="T22" fmla="*/ 115109 w 51"/>
              <a:gd name="T23" fmla="*/ 64262 h 25"/>
              <a:gd name="T24" fmla="*/ 99048 w 51"/>
              <a:gd name="T25" fmla="*/ 67183 h 25"/>
              <a:gd name="T26" fmla="*/ 99048 w 51"/>
              <a:gd name="T27" fmla="*/ 70104 h 25"/>
              <a:gd name="T28" fmla="*/ 77632 w 51"/>
              <a:gd name="T29" fmla="*/ 67183 h 25"/>
              <a:gd name="T30" fmla="*/ 61570 w 51"/>
              <a:gd name="T31" fmla="*/ 61341 h 25"/>
              <a:gd name="T32" fmla="*/ 50862 w 51"/>
              <a:gd name="T33" fmla="*/ 73025 h 25"/>
              <a:gd name="T34" fmla="*/ 34800 w 51"/>
              <a:gd name="T35" fmla="*/ 73025 h 25"/>
              <a:gd name="T36" fmla="*/ 0 w 51"/>
              <a:gd name="T37" fmla="*/ 26289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1" h="25">
                <a:moveTo>
                  <a:pt x="0" y="9"/>
                </a:moveTo>
                <a:cubicBezTo>
                  <a:pt x="0" y="8"/>
                  <a:pt x="17" y="2"/>
                  <a:pt x="19" y="2"/>
                </a:cubicBezTo>
                <a:cubicBezTo>
                  <a:pt x="20" y="2"/>
                  <a:pt x="21" y="1"/>
                  <a:pt x="22" y="0"/>
                </a:cubicBezTo>
                <a:cubicBezTo>
                  <a:pt x="25" y="2"/>
                  <a:pt x="25" y="2"/>
                  <a:pt x="25" y="2"/>
                </a:cubicBezTo>
                <a:cubicBezTo>
                  <a:pt x="25" y="2"/>
                  <a:pt x="30" y="4"/>
                  <a:pt x="31" y="5"/>
                </a:cubicBezTo>
                <a:cubicBezTo>
                  <a:pt x="33" y="6"/>
                  <a:pt x="33" y="9"/>
                  <a:pt x="34" y="10"/>
                </a:cubicBezTo>
                <a:cubicBezTo>
                  <a:pt x="35" y="10"/>
                  <a:pt x="36" y="8"/>
                  <a:pt x="37" y="8"/>
                </a:cubicBezTo>
                <a:cubicBezTo>
                  <a:pt x="38" y="8"/>
                  <a:pt x="41" y="9"/>
                  <a:pt x="43" y="10"/>
                </a:cubicBezTo>
                <a:cubicBezTo>
                  <a:pt x="44" y="11"/>
                  <a:pt x="48" y="11"/>
                  <a:pt x="49" y="11"/>
                </a:cubicBezTo>
                <a:cubicBezTo>
                  <a:pt x="50" y="11"/>
                  <a:pt x="51" y="14"/>
                  <a:pt x="51" y="15"/>
                </a:cubicBezTo>
                <a:cubicBezTo>
                  <a:pt x="51" y="16"/>
                  <a:pt x="49" y="17"/>
                  <a:pt x="48" y="17"/>
                </a:cubicBezTo>
                <a:cubicBezTo>
                  <a:pt x="48" y="18"/>
                  <a:pt x="45" y="20"/>
                  <a:pt x="43" y="22"/>
                </a:cubicBezTo>
                <a:cubicBezTo>
                  <a:pt x="43" y="23"/>
                  <a:pt x="39" y="22"/>
                  <a:pt x="37" y="23"/>
                </a:cubicBezTo>
                <a:cubicBezTo>
                  <a:pt x="37" y="23"/>
                  <a:pt x="37" y="23"/>
                  <a:pt x="37" y="24"/>
                </a:cubicBezTo>
                <a:cubicBezTo>
                  <a:pt x="36" y="24"/>
                  <a:pt x="31" y="23"/>
                  <a:pt x="29" y="23"/>
                </a:cubicBezTo>
                <a:cubicBezTo>
                  <a:pt x="28" y="23"/>
                  <a:pt x="25" y="21"/>
                  <a:pt x="23" y="21"/>
                </a:cubicBezTo>
                <a:cubicBezTo>
                  <a:pt x="22" y="21"/>
                  <a:pt x="20" y="25"/>
                  <a:pt x="19" y="25"/>
                </a:cubicBezTo>
                <a:cubicBezTo>
                  <a:pt x="17" y="25"/>
                  <a:pt x="13" y="25"/>
                  <a:pt x="13" y="25"/>
                </a:cubicBezTo>
                <a:cubicBezTo>
                  <a:pt x="14" y="23"/>
                  <a:pt x="0" y="10"/>
                  <a:pt x="0" y="9"/>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2" name="Freeform 238"/>
          <p:cNvSpPr>
            <a:spLocks/>
          </p:cNvSpPr>
          <p:nvPr>
            <p:custDataLst>
              <p:tags r:id="rId168"/>
            </p:custDataLst>
          </p:nvPr>
        </p:nvSpPr>
        <p:spPr bwMode="auto">
          <a:xfrm>
            <a:off x="6169757" y="2828415"/>
            <a:ext cx="126439" cy="114146"/>
          </a:xfrm>
          <a:custGeom>
            <a:avLst/>
            <a:gdLst>
              <a:gd name="T0" fmla="*/ 0 w 42"/>
              <a:gd name="T1" fmla="*/ 38327 h 35"/>
              <a:gd name="T2" fmla="*/ 2721 w 42"/>
              <a:gd name="T3" fmla="*/ 32431 h 35"/>
              <a:gd name="T4" fmla="*/ 19050 w 42"/>
              <a:gd name="T5" fmla="*/ 32431 h 35"/>
              <a:gd name="T6" fmla="*/ 32657 w 42"/>
              <a:gd name="T7" fmla="*/ 32431 h 35"/>
              <a:gd name="T8" fmla="*/ 40821 w 42"/>
              <a:gd name="T9" fmla="*/ 17689 h 35"/>
              <a:gd name="T10" fmla="*/ 48986 w 42"/>
              <a:gd name="T11" fmla="*/ 11793 h 35"/>
              <a:gd name="T12" fmla="*/ 57150 w 42"/>
              <a:gd name="T13" fmla="*/ 0 h 35"/>
              <a:gd name="T14" fmla="*/ 59871 w 42"/>
              <a:gd name="T15" fmla="*/ 2948 h 35"/>
              <a:gd name="T16" fmla="*/ 78921 w 42"/>
              <a:gd name="T17" fmla="*/ 17689 h 35"/>
              <a:gd name="T18" fmla="*/ 97971 w 42"/>
              <a:gd name="T19" fmla="*/ 23586 h 35"/>
              <a:gd name="T20" fmla="*/ 106136 w 42"/>
              <a:gd name="T21" fmla="*/ 17689 h 35"/>
              <a:gd name="T22" fmla="*/ 108857 w 42"/>
              <a:gd name="T23" fmla="*/ 29482 h 35"/>
              <a:gd name="T24" fmla="*/ 114300 w 42"/>
              <a:gd name="T25" fmla="*/ 41275 h 35"/>
              <a:gd name="T26" fmla="*/ 114300 w 42"/>
              <a:gd name="T27" fmla="*/ 53068 h 35"/>
              <a:gd name="T28" fmla="*/ 95250 w 42"/>
              <a:gd name="T29" fmla="*/ 47172 h 35"/>
              <a:gd name="T30" fmla="*/ 62593 w 42"/>
              <a:gd name="T31" fmla="*/ 41275 h 35"/>
              <a:gd name="T32" fmla="*/ 46264 w 42"/>
              <a:gd name="T33" fmla="*/ 41275 h 35"/>
              <a:gd name="T34" fmla="*/ 46264 w 42"/>
              <a:gd name="T35" fmla="*/ 50120 h 35"/>
              <a:gd name="T36" fmla="*/ 68036 w 42"/>
              <a:gd name="T37" fmla="*/ 79602 h 35"/>
              <a:gd name="T38" fmla="*/ 81643 w 42"/>
              <a:gd name="T39" fmla="*/ 94343 h 35"/>
              <a:gd name="T40" fmla="*/ 78921 w 42"/>
              <a:gd name="T41" fmla="*/ 103188 h 35"/>
              <a:gd name="T42" fmla="*/ 62593 w 42"/>
              <a:gd name="T43" fmla="*/ 94343 h 35"/>
              <a:gd name="T44" fmla="*/ 35379 w 42"/>
              <a:gd name="T45" fmla="*/ 76654 h 35"/>
              <a:gd name="T46" fmla="*/ 13607 w 42"/>
              <a:gd name="T47" fmla="*/ 56016 h 35"/>
              <a:gd name="T48" fmla="*/ 0 w 42"/>
              <a:gd name="T49" fmla="*/ 38327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5">
                <a:moveTo>
                  <a:pt x="0" y="13"/>
                </a:moveTo>
                <a:cubicBezTo>
                  <a:pt x="0" y="13"/>
                  <a:pt x="1" y="12"/>
                  <a:pt x="1" y="11"/>
                </a:cubicBezTo>
                <a:cubicBezTo>
                  <a:pt x="7" y="11"/>
                  <a:pt x="7" y="11"/>
                  <a:pt x="7" y="11"/>
                </a:cubicBezTo>
                <a:cubicBezTo>
                  <a:pt x="8" y="11"/>
                  <a:pt x="12" y="12"/>
                  <a:pt x="12" y="11"/>
                </a:cubicBezTo>
                <a:cubicBezTo>
                  <a:pt x="13" y="9"/>
                  <a:pt x="15" y="7"/>
                  <a:pt x="15" y="6"/>
                </a:cubicBezTo>
                <a:cubicBezTo>
                  <a:pt x="15" y="5"/>
                  <a:pt x="17" y="4"/>
                  <a:pt x="18" y="4"/>
                </a:cubicBezTo>
                <a:cubicBezTo>
                  <a:pt x="21" y="0"/>
                  <a:pt x="21" y="0"/>
                  <a:pt x="21" y="0"/>
                </a:cubicBezTo>
                <a:cubicBezTo>
                  <a:pt x="22" y="1"/>
                  <a:pt x="22" y="1"/>
                  <a:pt x="22" y="1"/>
                </a:cubicBezTo>
                <a:cubicBezTo>
                  <a:pt x="23" y="2"/>
                  <a:pt x="27" y="6"/>
                  <a:pt x="29" y="6"/>
                </a:cubicBezTo>
                <a:cubicBezTo>
                  <a:pt x="30" y="7"/>
                  <a:pt x="34" y="8"/>
                  <a:pt x="36" y="8"/>
                </a:cubicBezTo>
                <a:cubicBezTo>
                  <a:pt x="37" y="7"/>
                  <a:pt x="38" y="7"/>
                  <a:pt x="39" y="6"/>
                </a:cubicBezTo>
                <a:cubicBezTo>
                  <a:pt x="40" y="10"/>
                  <a:pt x="40" y="10"/>
                  <a:pt x="40" y="10"/>
                </a:cubicBezTo>
                <a:cubicBezTo>
                  <a:pt x="41" y="12"/>
                  <a:pt x="42" y="13"/>
                  <a:pt x="42" y="14"/>
                </a:cubicBezTo>
                <a:cubicBezTo>
                  <a:pt x="42" y="15"/>
                  <a:pt x="42" y="17"/>
                  <a:pt x="42" y="18"/>
                </a:cubicBezTo>
                <a:cubicBezTo>
                  <a:pt x="41" y="18"/>
                  <a:pt x="37" y="16"/>
                  <a:pt x="35" y="16"/>
                </a:cubicBezTo>
                <a:cubicBezTo>
                  <a:pt x="34" y="16"/>
                  <a:pt x="25" y="14"/>
                  <a:pt x="23" y="14"/>
                </a:cubicBezTo>
                <a:cubicBezTo>
                  <a:pt x="23" y="14"/>
                  <a:pt x="19" y="14"/>
                  <a:pt x="17" y="14"/>
                </a:cubicBezTo>
                <a:cubicBezTo>
                  <a:pt x="15" y="14"/>
                  <a:pt x="17" y="16"/>
                  <a:pt x="17" y="17"/>
                </a:cubicBezTo>
                <a:cubicBezTo>
                  <a:pt x="17" y="18"/>
                  <a:pt x="23" y="25"/>
                  <a:pt x="25" y="27"/>
                </a:cubicBezTo>
                <a:cubicBezTo>
                  <a:pt x="26" y="28"/>
                  <a:pt x="30" y="32"/>
                  <a:pt x="30" y="32"/>
                </a:cubicBezTo>
                <a:cubicBezTo>
                  <a:pt x="29" y="35"/>
                  <a:pt x="29" y="35"/>
                  <a:pt x="29" y="35"/>
                </a:cubicBezTo>
                <a:cubicBezTo>
                  <a:pt x="27" y="34"/>
                  <a:pt x="25" y="33"/>
                  <a:pt x="23" y="32"/>
                </a:cubicBezTo>
                <a:cubicBezTo>
                  <a:pt x="19" y="31"/>
                  <a:pt x="15" y="28"/>
                  <a:pt x="13" y="26"/>
                </a:cubicBezTo>
                <a:cubicBezTo>
                  <a:pt x="11" y="24"/>
                  <a:pt x="6" y="20"/>
                  <a:pt x="5" y="19"/>
                </a:cubicBezTo>
                <a:cubicBezTo>
                  <a:pt x="4" y="18"/>
                  <a:pt x="0" y="15"/>
                  <a:pt x="0" y="1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3" name="Freeform 239"/>
          <p:cNvSpPr>
            <a:spLocks/>
          </p:cNvSpPr>
          <p:nvPr>
            <p:custDataLst>
              <p:tags r:id="rId169"/>
            </p:custDataLst>
          </p:nvPr>
        </p:nvSpPr>
        <p:spPr bwMode="auto">
          <a:xfrm>
            <a:off x="6162732" y="2817879"/>
            <a:ext cx="70244" cy="47415"/>
          </a:xfrm>
          <a:custGeom>
            <a:avLst/>
            <a:gdLst>
              <a:gd name="T0" fmla="*/ 0 w 23"/>
              <a:gd name="T1" fmla="*/ 31433 h 15"/>
              <a:gd name="T2" fmla="*/ 2761 w 23"/>
              <a:gd name="T3" fmla="*/ 11430 h 15"/>
              <a:gd name="T4" fmla="*/ 22087 w 23"/>
              <a:gd name="T5" fmla="*/ 14288 h 15"/>
              <a:gd name="T6" fmla="*/ 38652 w 23"/>
              <a:gd name="T7" fmla="*/ 5715 h 15"/>
              <a:gd name="T8" fmla="*/ 57978 w 23"/>
              <a:gd name="T9" fmla="*/ 0 h 15"/>
              <a:gd name="T10" fmla="*/ 63500 w 23"/>
              <a:gd name="T11" fmla="*/ 8573 h 15"/>
              <a:gd name="T12" fmla="*/ 55217 w 23"/>
              <a:gd name="T13" fmla="*/ 20003 h 15"/>
              <a:gd name="T14" fmla="*/ 46935 w 23"/>
              <a:gd name="T15" fmla="*/ 25718 h 15"/>
              <a:gd name="T16" fmla="*/ 38652 w 23"/>
              <a:gd name="T17" fmla="*/ 40005 h 15"/>
              <a:gd name="T18" fmla="*/ 24848 w 23"/>
              <a:gd name="T19" fmla="*/ 40005 h 15"/>
              <a:gd name="T20" fmla="*/ 8283 w 23"/>
              <a:gd name="T21" fmla="*/ 40005 h 15"/>
              <a:gd name="T22" fmla="*/ 8283 w 23"/>
              <a:gd name="T23" fmla="*/ 34290 h 15"/>
              <a:gd name="T24" fmla="*/ 0 w 23"/>
              <a:gd name="T25" fmla="*/ 31433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5">
                <a:moveTo>
                  <a:pt x="0" y="11"/>
                </a:moveTo>
                <a:cubicBezTo>
                  <a:pt x="1" y="4"/>
                  <a:pt x="1" y="4"/>
                  <a:pt x="1" y="4"/>
                </a:cubicBezTo>
                <a:cubicBezTo>
                  <a:pt x="5" y="4"/>
                  <a:pt x="8" y="5"/>
                  <a:pt x="8" y="5"/>
                </a:cubicBezTo>
                <a:cubicBezTo>
                  <a:pt x="9" y="5"/>
                  <a:pt x="12" y="2"/>
                  <a:pt x="14" y="2"/>
                </a:cubicBezTo>
                <a:cubicBezTo>
                  <a:pt x="16" y="2"/>
                  <a:pt x="20" y="1"/>
                  <a:pt x="21" y="0"/>
                </a:cubicBezTo>
                <a:cubicBezTo>
                  <a:pt x="23" y="3"/>
                  <a:pt x="23" y="3"/>
                  <a:pt x="23" y="3"/>
                </a:cubicBezTo>
                <a:cubicBezTo>
                  <a:pt x="20" y="7"/>
                  <a:pt x="20" y="7"/>
                  <a:pt x="20" y="7"/>
                </a:cubicBezTo>
                <a:cubicBezTo>
                  <a:pt x="19" y="7"/>
                  <a:pt x="17" y="8"/>
                  <a:pt x="17" y="9"/>
                </a:cubicBezTo>
                <a:cubicBezTo>
                  <a:pt x="17" y="10"/>
                  <a:pt x="15" y="12"/>
                  <a:pt x="14" y="14"/>
                </a:cubicBezTo>
                <a:cubicBezTo>
                  <a:pt x="14" y="15"/>
                  <a:pt x="10" y="14"/>
                  <a:pt x="9" y="14"/>
                </a:cubicBezTo>
                <a:cubicBezTo>
                  <a:pt x="3" y="14"/>
                  <a:pt x="3" y="14"/>
                  <a:pt x="3" y="14"/>
                </a:cubicBezTo>
                <a:cubicBezTo>
                  <a:pt x="3" y="13"/>
                  <a:pt x="3" y="12"/>
                  <a:pt x="3" y="12"/>
                </a:cubicBezTo>
                <a:cubicBezTo>
                  <a:pt x="3" y="11"/>
                  <a:pt x="1" y="11"/>
                  <a:pt x="0" y="1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4" name="Freeform 240"/>
          <p:cNvSpPr>
            <a:spLocks/>
          </p:cNvSpPr>
          <p:nvPr>
            <p:custDataLst>
              <p:tags r:id="rId170"/>
            </p:custDataLst>
          </p:nvPr>
        </p:nvSpPr>
        <p:spPr bwMode="auto">
          <a:xfrm>
            <a:off x="6073171" y="2752903"/>
            <a:ext cx="173854" cy="82537"/>
          </a:xfrm>
          <a:custGeom>
            <a:avLst/>
            <a:gdLst>
              <a:gd name="T0" fmla="*/ 16258 w 58"/>
              <a:gd name="T1" fmla="*/ 59690 h 25"/>
              <a:gd name="T2" fmla="*/ 0 w 58"/>
              <a:gd name="T3" fmla="*/ 56706 h 25"/>
              <a:gd name="T4" fmla="*/ 2710 w 58"/>
              <a:gd name="T5" fmla="*/ 38799 h 25"/>
              <a:gd name="T6" fmla="*/ 8129 w 58"/>
              <a:gd name="T7" fmla="*/ 41783 h 25"/>
              <a:gd name="T8" fmla="*/ 18968 w 58"/>
              <a:gd name="T9" fmla="*/ 44768 h 25"/>
              <a:gd name="T10" fmla="*/ 40646 w 58"/>
              <a:gd name="T11" fmla="*/ 38799 h 25"/>
              <a:gd name="T12" fmla="*/ 65033 w 58"/>
              <a:gd name="T13" fmla="*/ 35814 h 25"/>
              <a:gd name="T14" fmla="*/ 73162 w 58"/>
              <a:gd name="T15" fmla="*/ 20892 h 25"/>
              <a:gd name="T16" fmla="*/ 89420 w 58"/>
              <a:gd name="T17" fmla="*/ 11938 h 25"/>
              <a:gd name="T18" fmla="*/ 105679 w 58"/>
              <a:gd name="T19" fmla="*/ 11938 h 25"/>
              <a:gd name="T20" fmla="*/ 116517 w 58"/>
              <a:gd name="T21" fmla="*/ 0 h 25"/>
              <a:gd name="T22" fmla="*/ 132776 w 58"/>
              <a:gd name="T23" fmla="*/ 5969 h 25"/>
              <a:gd name="T24" fmla="*/ 154453 w 58"/>
              <a:gd name="T25" fmla="*/ 8954 h 25"/>
              <a:gd name="T26" fmla="*/ 157163 w 58"/>
              <a:gd name="T27" fmla="*/ 23876 h 25"/>
              <a:gd name="T28" fmla="*/ 157163 w 58"/>
              <a:gd name="T29" fmla="*/ 26861 h 25"/>
              <a:gd name="T30" fmla="*/ 154453 w 58"/>
              <a:gd name="T31" fmla="*/ 38799 h 25"/>
              <a:gd name="T32" fmla="*/ 146324 w 58"/>
              <a:gd name="T33" fmla="*/ 35814 h 25"/>
              <a:gd name="T34" fmla="*/ 143614 w 58"/>
              <a:gd name="T35" fmla="*/ 50737 h 25"/>
              <a:gd name="T36" fmla="*/ 138195 w 58"/>
              <a:gd name="T37" fmla="*/ 59690 h 25"/>
              <a:gd name="T38" fmla="*/ 119227 w 58"/>
              <a:gd name="T39" fmla="*/ 65659 h 25"/>
              <a:gd name="T40" fmla="*/ 102969 w 58"/>
              <a:gd name="T41" fmla="*/ 74613 h 25"/>
              <a:gd name="T42" fmla="*/ 84001 w 58"/>
              <a:gd name="T43" fmla="*/ 71628 h 25"/>
              <a:gd name="T44" fmla="*/ 65033 w 58"/>
              <a:gd name="T45" fmla="*/ 68644 h 25"/>
              <a:gd name="T46" fmla="*/ 54194 w 58"/>
              <a:gd name="T47" fmla="*/ 56706 h 25"/>
              <a:gd name="T48" fmla="*/ 40646 w 58"/>
              <a:gd name="T49" fmla="*/ 56706 h 25"/>
              <a:gd name="T50" fmla="*/ 32516 w 58"/>
              <a:gd name="T51" fmla="*/ 65659 h 25"/>
              <a:gd name="T52" fmla="*/ 18968 w 58"/>
              <a:gd name="T53" fmla="*/ 65659 h 25"/>
              <a:gd name="T54" fmla="*/ 18968 w 58"/>
              <a:gd name="T55" fmla="*/ 65659 h 25"/>
              <a:gd name="T56" fmla="*/ 16258 w 58"/>
              <a:gd name="T57" fmla="*/ 59690 h 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8" h="25">
                <a:moveTo>
                  <a:pt x="6" y="20"/>
                </a:moveTo>
                <a:cubicBezTo>
                  <a:pt x="5" y="20"/>
                  <a:pt x="1" y="19"/>
                  <a:pt x="0" y="19"/>
                </a:cubicBezTo>
                <a:cubicBezTo>
                  <a:pt x="1" y="13"/>
                  <a:pt x="1" y="13"/>
                  <a:pt x="1" y="13"/>
                </a:cubicBezTo>
                <a:cubicBezTo>
                  <a:pt x="2" y="14"/>
                  <a:pt x="2" y="14"/>
                  <a:pt x="3" y="14"/>
                </a:cubicBezTo>
                <a:cubicBezTo>
                  <a:pt x="4" y="14"/>
                  <a:pt x="5" y="15"/>
                  <a:pt x="7" y="15"/>
                </a:cubicBezTo>
                <a:cubicBezTo>
                  <a:pt x="9" y="15"/>
                  <a:pt x="14" y="13"/>
                  <a:pt x="15" y="13"/>
                </a:cubicBezTo>
                <a:cubicBezTo>
                  <a:pt x="16" y="13"/>
                  <a:pt x="23" y="12"/>
                  <a:pt x="24" y="12"/>
                </a:cubicBezTo>
                <a:cubicBezTo>
                  <a:pt x="28" y="15"/>
                  <a:pt x="26" y="8"/>
                  <a:pt x="27" y="7"/>
                </a:cubicBezTo>
                <a:cubicBezTo>
                  <a:pt x="29" y="6"/>
                  <a:pt x="32" y="5"/>
                  <a:pt x="33" y="4"/>
                </a:cubicBezTo>
                <a:cubicBezTo>
                  <a:pt x="33" y="4"/>
                  <a:pt x="37" y="4"/>
                  <a:pt x="39" y="4"/>
                </a:cubicBezTo>
                <a:cubicBezTo>
                  <a:pt x="40" y="4"/>
                  <a:pt x="42" y="0"/>
                  <a:pt x="43" y="0"/>
                </a:cubicBezTo>
                <a:cubicBezTo>
                  <a:pt x="45" y="0"/>
                  <a:pt x="48" y="2"/>
                  <a:pt x="49" y="2"/>
                </a:cubicBezTo>
                <a:cubicBezTo>
                  <a:pt x="51" y="2"/>
                  <a:pt x="56" y="3"/>
                  <a:pt x="57" y="3"/>
                </a:cubicBezTo>
                <a:cubicBezTo>
                  <a:pt x="57" y="4"/>
                  <a:pt x="57" y="7"/>
                  <a:pt x="58" y="8"/>
                </a:cubicBezTo>
                <a:cubicBezTo>
                  <a:pt x="58" y="8"/>
                  <a:pt x="58" y="9"/>
                  <a:pt x="58" y="9"/>
                </a:cubicBezTo>
                <a:cubicBezTo>
                  <a:pt x="58" y="11"/>
                  <a:pt x="58" y="12"/>
                  <a:pt x="57" y="13"/>
                </a:cubicBezTo>
                <a:cubicBezTo>
                  <a:pt x="57" y="13"/>
                  <a:pt x="55" y="12"/>
                  <a:pt x="54" y="12"/>
                </a:cubicBezTo>
                <a:cubicBezTo>
                  <a:pt x="53" y="13"/>
                  <a:pt x="53" y="15"/>
                  <a:pt x="53" y="17"/>
                </a:cubicBezTo>
                <a:cubicBezTo>
                  <a:pt x="53" y="18"/>
                  <a:pt x="52" y="20"/>
                  <a:pt x="51" y="20"/>
                </a:cubicBezTo>
                <a:cubicBezTo>
                  <a:pt x="50" y="21"/>
                  <a:pt x="46" y="22"/>
                  <a:pt x="44" y="22"/>
                </a:cubicBezTo>
                <a:cubicBezTo>
                  <a:pt x="42" y="22"/>
                  <a:pt x="39" y="25"/>
                  <a:pt x="38" y="25"/>
                </a:cubicBezTo>
                <a:cubicBezTo>
                  <a:pt x="38" y="25"/>
                  <a:pt x="35" y="24"/>
                  <a:pt x="31" y="24"/>
                </a:cubicBezTo>
                <a:cubicBezTo>
                  <a:pt x="28" y="23"/>
                  <a:pt x="25" y="23"/>
                  <a:pt x="24" y="23"/>
                </a:cubicBezTo>
                <a:cubicBezTo>
                  <a:pt x="23" y="22"/>
                  <a:pt x="21" y="20"/>
                  <a:pt x="20" y="19"/>
                </a:cubicBezTo>
                <a:cubicBezTo>
                  <a:pt x="19" y="19"/>
                  <a:pt x="15" y="19"/>
                  <a:pt x="15" y="19"/>
                </a:cubicBezTo>
                <a:cubicBezTo>
                  <a:pt x="13" y="19"/>
                  <a:pt x="12" y="22"/>
                  <a:pt x="12" y="22"/>
                </a:cubicBezTo>
                <a:cubicBezTo>
                  <a:pt x="7" y="22"/>
                  <a:pt x="7" y="22"/>
                  <a:pt x="7" y="22"/>
                </a:cubicBezTo>
                <a:cubicBezTo>
                  <a:pt x="7" y="22"/>
                  <a:pt x="7" y="22"/>
                  <a:pt x="7" y="22"/>
                </a:cubicBezTo>
                <a:cubicBezTo>
                  <a:pt x="7" y="21"/>
                  <a:pt x="6" y="20"/>
                  <a:pt x="6" y="20"/>
                </a:cubicBezTo>
                <a:close/>
              </a:path>
            </a:pathLst>
          </a:custGeom>
          <a:solidFill>
            <a:schemeClr val="tx2">
              <a:lumMod val="40000"/>
              <a:lumOff val="60000"/>
            </a:schemeClr>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5" name="Freeform 241"/>
          <p:cNvSpPr>
            <a:spLocks/>
          </p:cNvSpPr>
          <p:nvPr>
            <p:custDataLst>
              <p:tags r:id="rId171"/>
            </p:custDataLst>
          </p:nvPr>
        </p:nvSpPr>
        <p:spPr bwMode="auto">
          <a:xfrm>
            <a:off x="5988878" y="2561489"/>
            <a:ext cx="210732" cy="240585"/>
          </a:xfrm>
          <a:custGeom>
            <a:avLst/>
            <a:gdLst>
              <a:gd name="T0" fmla="*/ 21771 w 70"/>
              <a:gd name="T1" fmla="*/ 40598 h 75"/>
              <a:gd name="T2" fmla="*/ 40821 w 70"/>
              <a:gd name="T3" fmla="*/ 34798 h 75"/>
              <a:gd name="T4" fmla="*/ 51707 w 70"/>
              <a:gd name="T5" fmla="*/ 43498 h 75"/>
              <a:gd name="T6" fmla="*/ 68036 w 70"/>
              <a:gd name="T7" fmla="*/ 31898 h 75"/>
              <a:gd name="T8" fmla="*/ 59871 w 70"/>
              <a:gd name="T9" fmla="*/ 17399 h 75"/>
              <a:gd name="T10" fmla="*/ 51707 w 70"/>
              <a:gd name="T11" fmla="*/ 0 h 75"/>
              <a:gd name="T12" fmla="*/ 81643 w 70"/>
              <a:gd name="T13" fmla="*/ 0 h 75"/>
              <a:gd name="T14" fmla="*/ 87086 w 70"/>
              <a:gd name="T15" fmla="*/ 8700 h 75"/>
              <a:gd name="T16" fmla="*/ 103414 w 70"/>
              <a:gd name="T17" fmla="*/ 14499 h 75"/>
              <a:gd name="T18" fmla="*/ 108857 w 70"/>
              <a:gd name="T19" fmla="*/ 14499 h 75"/>
              <a:gd name="T20" fmla="*/ 111579 w 70"/>
              <a:gd name="T21" fmla="*/ 26099 h 75"/>
              <a:gd name="T22" fmla="*/ 130629 w 70"/>
              <a:gd name="T23" fmla="*/ 23199 h 75"/>
              <a:gd name="T24" fmla="*/ 146957 w 70"/>
              <a:gd name="T25" fmla="*/ 14499 h 75"/>
              <a:gd name="T26" fmla="*/ 155121 w 70"/>
              <a:gd name="T27" fmla="*/ 11599 h 75"/>
              <a:gd name="T28" fmla="*/ 157843 w 70"/>
              <a:gd name="T29" fmla="*/ 26099 h 75"/>
              <a:gd name="T30" fmla="*/ 174171 w 70"/>
              <a:gd name="T31" fmla="*/ 28998 h 75"/>
              <a:gd name="T32" fmla="*/ 174171 w 70"/>
              <a:gd name="T33" fmla="*/ 28998 h 75"/>
              <a:gd name="T34" fmla="*/ 176893 w 70"/>
              <a:gd name="T35" fmla="*/ 43498 h 75"/>
              <a:gd name="T36" fmla="*/ 171450 w 70"/>
              <a:gd name="T37" fmla="*/ 57997 h 75"/>
              <a:gd name="T38" fmla="*/ 182336 w 70"/>
              <a:gd name="T39" fmla="*/ 69596 h 75"/>
              <a:gd name="T40" fmla="*/ 182336 w 70"/>
              <a:gd name="T41" fmla="*/ 86995 h 75"/>
              <a:gd name="T42" fmla="*/ 190500 w 70"/>
              <a:gd name="T43" fmla="*/ 107294 h 75"/>
              <a:gd name="T44" fmla="*/ 190500 w 70"/>
              <a:gd name="T45" fmla="*/ 113094 h 75"/>
              <a:gd name="T46" fmla="*/ 182336 w 70"/>
              <a:gd name="T47" fmla="*/ 118893 h 75"/>
              <a:gd name="T48" fmla="*/ 130629 w 70"/>
              <a:gd name="T49" fmla="*/ 139192 h 75"/>
              <a:gd name="T50" fmla="*/ 166007 w 70"/>
              <a:gd name="T51" fmla="*/ 185590 h 75"/>
              <a:gd name="T52" fmla="*/ 149679 w 70"/>
              <a:gd name="T53" fmla="*/ 194289 h 75"/>
              <a:gd name="T54" fmla="*/ 141514 w 70"/>
              <a:gd name="T55" fmla="*/ 208788 h 75"/>
              <a:gd name="T56" fmla="*/ 117021 w 70"/>
              <a:gd name="T57" fmla="*/ 211688 h 75"/>
              <a:gd name="T58" fmla="*/ 95250 w 70"/>
              <a:gd name="T59" fmla="*/ 217488 h 75"/>
              <a:gd name="T60" fmla="*/ 84364 w 70"/>
              <a:gd name="T61" fmla="*/ 214588 h 75"/>
              <a:gd name="T62" fmla="*/ 78921 w 70"/>
              <a:gd name="T63" fmla="*/ 211688 h 75"/>
              <a:gd name="T64" fmla="*/ 59871 w 70"/>
              <a:gd name="T65" fmla="*/ 208788 h 75"/>
              <a:gd name="T66" fmla="*/ 43543 w 70"/>
              <a:gd name="T67" fmla="*/ 211688 h 75"/>
              <a:gd name="T68" fmla="*/ 35379 w 70"/>
              <a:gd name="T69" fmla="*/ 211688 h 75"/>
              <a:gd name="T70" fmla="*/ 46264 w 70"/>
              <a:gd name="T71" fmla="*/ 179790 h 75"/>
              <a:gd name="T72" fmla="*/ 16329 w 70"/>
              <a:gd name="T73" fmla="*/ 168191 h 75"/>
              <a:gd name="T74" fmla="*/ 10886 w 70"/>
              <a:gd name="T75" fmla="*/ 159491 h 75"/>
              <a:gd name="T76" fmla="*/ 10886 w 70"/>
              <a:gd name="T77" fmla="*/ 153692 h 75"/>
              <a:gd name="T78" fmla="*/ 8164 w 70"/>
              <a:gd name="T79" fmla="*/ 133393 h 75"/>
              <a:gd name="T80" fmla="*/ 5443 w 70"/>
              <a:gd name="T81" fmla="*/ 124693 h 75"/>
              <a:gd name="T82" fmla="*/ 2721 w 70"/>
              <a:gd name="T83" fmla="*/ 115994 h 75"/>
              <a:gd name="T84" fmla="*/ 5443 w 70"/>
              <a:gd name="T85" fmla="*/ 101494 h 75"/>
              <a:gd name="T86" fmla="*/ 2721 w 70"/>
              <a:gd name="T87" fmla="*/ 89895 h 75"/>
              <a:gd name="T88" fmla="*/ 21771 w 70"/>
              <a:gd name="T89" fmla="*/ 86995 h 75"/>
              <a:gd name="T90" fmla="*/ 24493 w 70"/>
              <a:gd name="T91" fmla="*/ 66696 h 75"/>
              <a:gd name="T92" fmla="*/ 24493 w 70"/>
              <a:gd name="T93" fmla="*/ 52197 h 75"/>
              <a:gd name="T94" fmla="*/ 21771 w 70"/>
              <a:gd name="T95" fmla="*/ 40598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0" h="75">
                <a:moveTo>
                  <a:pt x="8" y="14"/>
                </a:moveTo>
                <a:cubicBezTo>
                  <a:pt x="10" y="13"/>
                  <a:pt x="14" y="12"/>
                  <a:pt x="15" y="12"/>
                </a:cubicBezTo>
                <a:cubicBezTo>
                  <a:pt x="16" y="12"/>
                  <a:pt x="18" y="15"/>
                  <a:pt x="19" y="15"/>
                </a:cubicBezTo>
                <a:cubicBezTo>
                  <a:pt x="20" y="14"/>
                  <a:pt x="25" y="12"/>
                  <a:pt x="25" y="11"/>
                </a:cubicBezTo>
                <a:cubicBezTo>
                  <a:pt x="25" y="9"/>
                  <a:pt x="23" y="8"/>
                  <a:pt x="22" y="6"/>
                </a:cubicBezTo>
                <a:cubicBezTo>
                  <a:pt x="22" y="5"/>
                  <a:pt x="19" y="2"/>
                  <a:pt x="19" y="0"/>
                </a:cubicBezTo>
                <a:cubicBezTo>
                  <a:pt x="30" y="0"/>
                  <a:pt x="30" y="0"/>
                  <a:pt x="30" y="0"/>
                </a:cubicBezTo>
                <a:cubicBezTo>
                  <a:pt x="30" y="1"/>
                  <a:pt x="31" y="3"/>
                  <a:pt x="32" y="3"/>
                </a:cubicBezTo>
                <a:cubicBezTo>
                  <a:pt x="33" y="4"/>
                  <a:pt x="36" y="5"/>
                  <a:pt x="38" y="5"/>
                </a:cubicBezTo>
                <a:cubicBezTo>
                  <a:pt x="39" y="5"/>
                  <a:pt x="40" y="5"/>
                  <a:pt x="40" y="5"/>
                </a:cubicBezTo>
                <a:cubicBezTo>
                  <a:pt x="41" y="6"/>
                  <a:pt x="40" y="9"/>
                  <a:pt x="41" y="9"/>
                </a:cubicBezTo>
                <a:cubicBezTo>
                  <a:pt x="42" y="9"/>
                  <a:pt x="47" y="8"/>
                  <a:pt x="48" y="8"/>
                </a:cubicBezTo>
                <a:cubicBezTo>
                  <a:pt x="49" y="7"/>
                  <a:pt x="53" y="5"/>
                  <a:pt x="54" y="5"/>
                </a:cubicBezTo>
                <a:cubicBezTo>
                  <a:pt x="55" y="4"/>
                  <a:pt x="56" y="3"/>
                  <a:pt x="57" y="4"/>
                </a:cubicBezTo>
                <a:cubicBezTo>
                  <a:pt x="58" y="4"/>
                  <a:pt x="57" y="8"/>
                  <a:pt x="58" y="9"/>
                </a:cubicBezTo>
                <a:cubicBezTo>
                  <a:pt x="59" y="9"/>
                  <a:pt x="62" y="10"/>
                  <a:pt x="64" y="10"/>
                </a:cubicBezTo>
                <a:cubicBezTo>
                  <a:pt x="64" y="10"/>
                  <a:pt x="64" y="10"/>
                  <a:pt x="64" y="10"/>
                </a:cubicBezTo>
                <a:cubicBezTo>
                  <a:pt x="64" y="10"/>
                  <a:pt x="65" y="13"/>
                  <a:pt x="65" y="15"/>
                </a:cubicBezTo>
                <a:cubicBezTo>
                  <a:pt x="65" y="16"/>
                  <a:pt x="63" y="19"/>
                  <a:pt x="63" y="20"/>
                </a:cubicBezTo>
                <a:cubicBezTo>
                  <a:pt x="63" y="21"/>
                  <a:pt x="65" y="23"/>
                  <a:pt x="67" y="24"/>
                </a:cubicBezTo>
                <a:cubicBezTo>
                  <a:pt x="67" y="26"/>
                  <a:pt x="67" y="28"/>
                  <a:pt x="67" y="30"/>
                </a:cubicBezTo>
                <a:cubicBezTo>
                  <a:pt x="67" y="32"/>
                  <a:pt x="70" y="35"/>
                  <a:pt x="70" y="37"/>
                </a:cubicBezTo>
                <a:cubicBezTo>
                  <a:pt x="70" y="37"/>
                  <a:pt x="70" y="38"/>
                  <a:pt x="70" y="39"/>
                </a:cubicBezTo>
                <a:cubicBezTo>
                  <a:pt x="69" y="40"/>
                  <a:pt x="68" y="41"/>
                  <a:pt x="67" y="41"/>
                </a:cubicBezTo>
                <a:cubicBezTo>
                  <a:pt x="65" y="41"/>
                  <a:pt x="48" y="47"/>
                  <a:pt x="48" y="48"/>
                </a:cubicBezTo>
                <a:cubicBezTo>
                  <a:pt x="48" y="49"/>
                  <a:pt x="62" y="62"/>
                  <a:pt x="61" y="64"/>
                </a:cubicBezTo>
                <a:cubicBezTo>
                  <a:pt x="60" y="65"/>
                  <a:pt x="57" y="66"/>
                  <a:pt x="55" y="67"/>
                </a:cubicBezTo>
                <a:cubicBezTo>
                  <a:pt x="54" y="68"/>
                  <a:pt x="56" y="75"/>
                  <a:pt x="52" y="72"/>
                </a:cubicBezTo>
                <a:cubicBezTo>
                  <a:pt x="51" y="72"/>
                  <a:pt x="44" y="73"/>
                  <a:pt x="43" y="73"/>
                </a:cubicBezTo>
                <a:cubicBezTo>
                  <a:pt x="42" y="73"/>
                  <a:pt x="37" y="75"/>
                  <a:pt x="35" y="75"/>
                </a:cubicBezTo>
                <a:cubicBezTo>
                  <a:pt x="33" y="75"/>
                  <a:pt x="32" y="74"/>
                  <a:pt x="31" y="74"/>
                </a:cubicBezTo>
                <a:cubicBezTo>
                  <a:pt x="30" y="74"/>
                  <a:pt x="30" y="74"/>
                  <a:pt x="29" y="73"/>
                </a:cubicBezTo>
                <a:cubicBezTo>
                  <a:pt x="27" y="73"/>
                  <a:pt x="23" y="72"/>
                  <a:pt x="22" y="72"/>
                </a:cubicBezTo>
                <a:cubicBezTo>
                  <a:pt x="21" y="72"/>
                  <a:pt x="17" y="73"/>
                  <a:pt x="16" y="73"/>
                </a:cubicBezTo>
                <a:cubicBezTo>
                  <a:pt x="13" y="73"/>
                  <a:pt x="13" y="73"/>
                  <a:pt x="13" y="73"/>
                </a:cubicBezTo>
                <a:cubicBezTo>
                  <a:pt x="14" y="70"/>
                  <a:pt x="16" y="63"/>
                  <a:pt x="17" y="62"/>
                </a:cubicBezTo>
                <a:cubicBezTo>
                  <a:pt x="18" y="60"/>
                  <a:pt x="8" y="59"/>
                  <a:pt x="6" y="58"/>
                </a:cubicBezTo>
                <a:cubicBezTo>
                  <a:pt x="5" y="57"/>
                  <a:pt x="4" y="56"/>
                  <a:pt x="4" y="55"/>
                </a:cubicBezTo>
                <a:cubicBezTo>
                  <a:pt x="4" y="54"/>
                  <a:pt x="4" y="53"/>
                  <a:pt x="4" y="53"/>
                </a:cubicBezTo>
                <a:cubicBezTo>
                  <a:pt x="4" y="50"/>
                  <a:pt x="5" y="47"/>
                  <a:pt x="3" y="46"/>
                </a:cubicBezTo>
                <a:cubicBezTo>
                  <a:pt x="2" y="45"/>
                  <a:pt x="2" y="44"/>
                  <a:pt x="2" y="43"/>
                </a:cubicBezTo>
                <a:cubicBezTo>
                  <a:pt x="1" y="42"/>
                  <a:pt x="1" y="41"/>
                  <a:pt x="1" y="40"/>
                </a:cubicBezTo>
                <a:cubicBezTo>
                  <a:pt x="1" y="39"/>
                  <a:pt x="3" y="36"/>
                  <a:pt x="2" y="35"/>
                </a:cubicBezTo>
                <a:cubicBezTo>
                  <a:pt x="1" y="34"/>
                  <a:pt x="0" y="32"/>
                  <a:pt x="1" y="31"/>
                </a:cubicBezTo>
                <a:cubicBezTo>
                  <a:pt x="2" y="31"/>
                  <a:pt x="7" y="31"/>
                  <a:pt x="8" y="30"/>
                </a:cubicBezTo>
                <a:cubicBezTo>
                  <a:pt x="9" y="29"/>
                  <a:pt x="9" y="25"/>
                  <a:pt x="9" y="23"/>
                </a:cubicBezTo>
                <a:cubicBezTo>
                  <a:pt x="9" y="21"/>
                  <a:pt x="10" y="19"/>
                  <a:pt x="9" y="18"/>
                </a:cubicBezTo>
                <a:cubicBezTo>
                  <a:pt x="9" y="17"/>
                  <a:pt x="8" y="14"/>
                  <a:pt x="8" y="14"/>
                </a:cubicBezTo>
                <a:close/>
              </a:path>
            </a:pathLst>
          </a:custGeom>
          <a:solidFill>
            <a:schemeClr val="accent2">
              <a:lumMod val="40000"/>
              <a:lumOff val="60000"/>
            </a:schemeClr>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6" name="Freeform 243"/>
          <p:cNvSpPr>
            <a:spLocks/>
          </p:cNvSpPr>
          <p:nvPr>
            <p:custDataLst>
              <p:tags r:id="rId172"/>
            </p:custDataLst>
          </p:nvPr>
        </p:nvSpPr>
        <p:spPr bwMode="auto">
          <a:xfrm>
            <a:off x="5992390" y="2793294"/>
            <a:ext cx="101854" cy="61463"/>
          </a:xfrm>
          <a:custGeom>
            <a:avLst/>
            <a:gdLst>
              <a:gd name="T0" fmla="*/ 16249 w 34"/>
              <a:gd name="T1" fmla="*/ 40941 h 19"/>
              <a:gd name="T2" fmla="*/ 0 w 34"/>
              <a:gd name="T3" fmla="*/ 38017 h 19"/>
              <a:gd name="T4" fmla="*/ 13540 w 34"/>
              <a:gd name="T5" fmla="*/ 17546 h 19"/>
              <a:gd name="T6" fmla="*/ 32497 w 34"/>
              <a:gd name="T7" fmla="*/ 5849 h 19"/>
              <a:gd name="T8" fmla="*/ 32497 w 34"/>
              <a:gd name="T9" fmla="*/ 2924 h 19"/>
              <a:gd name="T10" fmla="*/ 40621 w 34"/>
              <a:gd name="T11" fmla="*/ 2924 h 19"/>
              <a:gd name="T12" fmla="*/ 56870 w 34"/>
              <a:gd name="T13" fmla="*/ 0 h 19"/>
              <a:gd name="T14" fmla="*/ 75826 w 34"/>
              <a:gd name="T15" fmla="*/ 2924 h 19"/>
              <a:gd name="T16" fmla="*/ 73118 w 34"/>
              <a:gd name="T17" fmla="*/ 20471 h 19"/>
              <a:gd name="T18" fmla="*/ 89367 w 34"/>
              <a:gd name="T19" fmla="*/ 23395 h 19"/>
              <a:gd name="T20" fmla="*/ 92075 w 34"/>
              <a:gd name="T21" fmla="*/ 29244 h 19"/>
              <a:gd name="T22" fmla="*/ 92075 w 34"/>
              <a:gd name="T23" fmla="*/ 32168 h 19"/>
              <a:gd name="T24" fmla="*/ 86659 w 34"/>
              <a:gd name="T25" fmla="*/ 40941 h 19"/>
              <a:gd name="T26" fmla="*/ 73118 w 34"/>
              <a:gd name="T27" fmla="*/ 35092 h 19"/>
              <a:gd name="T28" fmla="*/ 62286 w 34"/>
              <a:gd name="T29" fmla="*/ 55563 h 19"/>
              <a:gd name="T30" fmla="*/ 48746 w 34"/>
              <a:gd name="T31" fmla="*/ 35092 h 19"/>
              <a:gd name="T32" fmla="*/ 40621 w 34"/>
              <a:gd name="T33" fmla="*/ 49714 h 19"/>
              <a:gd name="T34" fmla="*/ 32497 w 34"/>
              <a:gd name="T35" fmla="*/ 52639 h 19"/>
              <a:gd name="T36" fmla="*/ 21665 w 34"/>
              <a:gd name="T37" fmla="*/ 55563 h 19"/>
              <a:gd name="T38" fmla="*/ 16249 w 34"/>
              <a:gd name="T39" fmla="*/ 40941 h 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4" h="19">
                <a:moveTo>
                  <a:pt x="6" y="14"/>
                </a:moveTo>
                <a:cubicBezTo>
                  <a:pt x="5" y="14"/>
                  <a:pt x="0" y="15"/>
                  <a:pt x="0" y="13"/>
                </a:cubicBezTo>
                <a:cubicBezTo>
                  <a:pt x="0" y="12"/>
                  <a:pt x="3" y="7"/>
                  <a:pt x="5" y="6"/>
                </a:cubicBezTo>
                <a:cubicBezTo>
                  <a:pt x="7" y="5"/>
                  <a:pt x="11" y="3"/>
                  <a:pt x="12" y="2"/>
                </a:cubicBezTo>
                <a:cubicBezTo>
                  <a:pt x="12" y="2"/>
                  <a:pt x="12" y="1"/>
                  <a:pt x="12" y="1"/>
                </a:cubicBezTo>
                <a:cubicBezTo>
                  <a:pt x="15" y="1"/>
                  <a:pt x="15" y="1"/>
                  <a:pt x="15" y="1"/>
                </a:cubicBezTo>
                <a:cubicBezTo>
                  <a:pt x="16" y="1"/>
                  <a:pt x="20" y="0"/>
                  <a:pt x="21" y="0"/>
                </a:cubicBezTo>
                <a:cubicBezTo>
                  <a:pt x="22" y="0"/>
                  <a:pt x="26" y="1"/>
                  <a:pt x="28" y="1"/>
                </a:cubicBezTo>
                <a:cubicBezTo>
                  <a:pt x="27" y="7"/>
                  <a:pt x="27" y="7"/>
                  <a:pt x="27" y="7"/>
                </a:cubicBezTo>
                <a:cubicBezTo>
                  <a:pt x="28" y="7"/>
                  <a:pt x="32" y="8"/>
                  <a:pt x="33" y="8"/>
                </a:cubicBezTo>
                <a:cubicBezTo>
                  <a:pt x="33" y="8"/>
                  <a:pt x="34" y="9"/>
                  <a:pt x="34" y="10"/>
                </a:cubicBezTo>
                <a:cubicBezTo>
                  <a:pt x="34" y="10"/>
                  <a:pt x="34" y="11"/>
                  <a:pt x="34" y="11"/>
                </a:cubicBezTo>
                <a:cubicBezTo>
                  <a:pt x="34" y="12"/>
                  <a:pt x="32" y="14"/>
                  <a:pt x="32" y="14"/>
                </a:cubicBezTo>
                <a:cubicBezTo>
                  <a:pt x="31" y="15"/>
                  <a:pt x="28" y="12"/>
                  <a:pt x="27" y="12"/>
                </a:cubicBezTo>
                <a:cubicBezTo>
                  <a:pt x="26" y="12"/>
                  <a:pt x="24" y="18"/>
                  <a:pt x="23" y="19"/>
                </a:cubicBezTo>
                <a:cubicBezTo>
                  <a:pt x="22" y="19"/>
                  <a:pt x="20" y="12"/>
                  <a:pt x="18" y="12"/>
                </a:cubicBezTo>
                <a:cubicBezTo>
                  <a:pt x="18" y="12"/>
                  <a:pt x="16" y="16"/>
                  <a:pt x="15" y="17"/>
                </a:cubicBezTo>
                <a:cubicBezTo>
                  <a:pt x="14" y="18"/>
                  <a:pt x="12" y="18"/>
                  <a:pt x="12" y="18"/>
                </a:cubicBezTo>
                <a:cubicBezTo>
                  <a:pt x="8" y="19"/>
                  <a:pt x="8" y="19"/>
                  <a:pt x="8" y="19"/>
                </a:cubicBezTo>
                <a:cubicBezTo>
                  <a:pt x="8" y="16"/>
                  <a:pt x="8" y="15"/>
                  <a:pt x="6" y="14"/>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7" name="Freeform 244"/>
          <p:cNvSpPr>
            <a:spLocks/>
          </p:cNvSpPr>
          <p:nvPr>
            <p:custDataLst>
              <p:tags r:id="rId173"/>
            </p:custDataLst>
          </p:nvPr>
        </p:nvSpPr>
        <p:spPr bwMode="auto">
          <a:xfrm>
            <a:off x="6592976" y="3149780"/>
            <a:ext cx="52683" cy="33366"/>
          </a:xfrm>
          <a:custGeom>
            <a:avLst/>
            <a:gdLst>
              <a:gd name="T0" fmla="*/ 18521 w 18"/>
              <a:gd name="T1" fmla="*/ 30163 h 10"/>
              <a:gd name="T2" fmla="*/ 5292 w 18"/>
              <a:gd name="T3" fmla="*/ 27147 h 10"/>
              <a:gd name="T4" fmla="*/ 10583 w 18"/>
              <a:gd name="T5" fmla="*/ 15082 h 10"/>
              <a:gd name="T6" fmla="*/ 42333 w 18"/>
              <a:gd name="T7" fmla="*/ 3016 h 10"/>
              <a:gd name="T8" fmla="*/ 31750 w 18"/>
              <a:gd name="T9" fmla="*/ 27147 h 10"/>
              <a:gd name="T10" fmla="*/ 18521 w 18"/>
              <a:gd name="T11" fmla="*/ 30163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0">
                <a:moveTo>
                  <a:pt x="7" y="10"/>
                </a:moveTo>
                <a:cubicBezTo>
                  <a:pt x="5" y="10"/>
                  <a:pt x="2" y="9"/>
                  <a:pt x="2" y="9"/>
                </a:cubicBezTo>
                <a:cubicBezTo>
                  <a:pt x="0" y="7"/>
                  <a:pt x="2" y="5"/>
                  <a:pt x="4" y="5"/>
                </a:cubicBezTo>
                <a:cubicBezTo>
                  <a:pt x="5" y="4"/>
                  <a:pt x="15" y="2"/>
                  <a:pt x="16" y="1"/>
                </a:cubicBezTo>
                <a:cubicBezTo>
                  <a:pt x="18" y="0"/>
                  <a:pt x="14" y="8"/>
                  <a:pt x="12" y="9"/>
                </a:cubicBezTo>
                <a:cubicBezTo>
                  <a:pt x="11" y="10"/>
                  <a:pt x="9" y="10"/>
                  <a:pt x="7" y="1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8" name="Freeform 246"/>
          <p:cNvSpPr>
            <a:spLocks/>
          </p:cNvSpPr>
          <p:nvPr>
            <p:custDataLst>
              <p:tags r:id="rId174"/>
            </p:custDataLst>
          </p:nvPr>
        </p:nvSpPr>
        <p:spPr bwMode="auto">
          <a:xfrm>
            <a:off x="6396293" y="3149780"/>
            <a:ext cx="64976" cy="29854"/>
          </a:xfrm>
          <a:custGeom>
            <a:avLst/>
            <a:gdLst>
              <a:gd name="T0" fmla="*/ 13350 w 22"/>
              <a:gd name="T1" fmla="*/ 14993 h 9"/>
              <a:gd name="T2" fmla="*/ 0 w 22"/>
              <a:gd name="T3" fmla="*/ 8996 h 9"/>
              <a:gd name="T4" fmla="*/ 5340 w 22"/>
              <a:gd name="T5" fmla="*/ 2999 h 9"/>
              <a:gd name="T6" fmla="*/ 40049 w 22"/>
              <a:gd name="T7" fmla="*/ 5997 h 9"/>
              <a:gd name="T8" fmla="*/ 48058 w 22"/>
              <a:gd name="T9" fmla="*/ 11995 h 9"/>
              <a:gd name="T10" fmla="*/ 58738 w 22"/>
              <a:gd name="T11" fmla="*/ 11995 h 9"/>
              <a:gd name="T12" fmla="*/ 58738 w 22"/>
              <a:gd name="T13" fmla="*/ 23989 h 9"/>
              <a:gd name="T14" fmla="*/ 42719 w 22"/>
              <a:gd name="T15" fmla="*/ 23989 h 9"/>
              <a:gd name="T16" fmla="*/ 24029 w 22"/>
              <a:gd name="T17" fmla="*/ 23989 h 9"/>
              <a:gd name="T18" fmla="*/ 13350 w 22"/>
              <a:gd name="T19" fmla="*/ 14993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9">
                <a:moveTo>
                  <a:pt x="5" y="5"/>
                </a:moveTo>
                <a:cubicBezTo>
                  <a:pt x="4" y="5"/>
                  <a:pt x="0" y="3"/>
                  <a:pt x="0" y="3"/>
                </a:cubicBezTo>
                <a:cubicBezTo>
                  <a:pt x="0" y="1"/>
                  <a:pt x="0" y="0"/>
                  <a:pt x="2" y="1"/>
                </a:cubicBezTo>
                <a:cubicBezTo>
                  <a:pt x="4" y="1"/>
                  <a:pt x="14" y="2"/>
                  <a:pt x="15" y="2"/>
                </a:cubicBezTo>
                <a:cubicBezTo>
                  <a:pt x="17" y="2"/>
                  <a:pt x="17" y="4"/>
                  <a:pt x="18" y="4"/>
                </a:cubicBezTo>
                <a:cubicBezTo>
                  <a:pt x="19" y="4"/>
                  <a:pt x="22" y="3"/>
                  <a:pt x="22" y="4"/>
                </a:cubicBezTo>
                <a:cubicBezTo>
                  <a:pt x="22" y="5"/>
                  <a:pt x="22" y="7"/>
                  <a:pt x="22" y="8"/>
                </a:cubicBezTo>
                <a:cubicBezTo>
                  <a:pt x="22" y="9"/>
                  <a:pt x="19" y="8"/>
                  <a:pt x="16" y="8"/>
                </a:cubicBezTo>
                <a:cubicBezTo>
                  <a:pt x="13" y="8"/>
                  <a:pt x="10" y="8"/>
                  <a:pt x="9" y="8"/>
                </a:cubicBezTo>
                <a:cubicBezTo>
                  <a:pt x="8" y="8"/>
                  <a:pt x="7" y="5"/>
                  <a:pt x="5" y="5"/>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9" name="Freeform 247"/>
          <p:cNvSpPr>
            <a:spLocks/>
          </p:cNvSpPr>
          <p:nvPr>
            <p:custDataLst>
              <p:tags r:id="rId175"/>
            </p:custDataLst>
          </p:nvPr>
        </p:nvSpPr>
        <p:spPr bwMode="auto">
          <a:xfrm>
            <a:off x="6317268" y="2967147"/>
            <a:ext cx="147512" cy="159805"/>
          </a:xfrm>
          <a:custGeom>
            <a:avLst/>
            <a:gdLst>
              <a:gd name="T0" fmla="*/ 8164 w 49"/>
              <a:gd name="T1" fmla="*/ 75121 h 50"/>
              <a:gd name="T2" fmla="*/ 0 w 49"/>
              <a:gd name="T3" fmla="*/ 60674 h 50"/>
              <a:gd name="T4" fmla="*/ 19050 w 49"/>
              <a:gd name="T5" fmla="*/ 37560 h 50"/>
              <a:gd name="T6" fmla="*/ 19050 w 49"/>
              <a:gd name="T7" fmla="*/ 31782 h 50"/>
              <a:gd name="T8" fmla="*/ 38100 w 49"/>
              <a:gd name="T9" fmla="*/ 23114 h 50"/>
              <a:gd name="T10" fmla="*/ 57150 w 49"/>
              <a:gd name="T11" fmla="*/ 17336 h 50"/>
              <a:gd name="T12" fmla="*/ 59871 w 49"/>
              <a:gd name="T13" fmla="*/ 17336 h 50"/>
              <a:gd name="T14" fmla="*/ 76200 w 49"/>
              <a:gd name="T15" fmla="*/ 8668 h 50"/>
              <a:gd name="T16" fmla="*/ 97971 w 49"/>
              <a:gd name="T17" fmla="*/ 8668 h 50"/>
              <a:gd name="T18" fmla="*/ 117021 w 49"/>
              <a:gd name="T19" fmla="*/ 11557 h 50"/>
              <a:gd name="T20" fmla="*/ 127907 w 49"/>
              <a:gd name="T21" fmla="*/ 0 h 50"/>
              <a:gd name="T22" fmla="*/ 133350 w 49"/>
              <a:gd name="T23" fmla="*/ 20225 h 50"/>
              <a:gd name="T24" fmla="*/ 125186 w 49"/>
              <a:gd name="T25" fmla="*/ 31782 h 50"/>
              <a:gd name="T26" fmla="*/ 108857 w 49"/>
              <a:gd name="T27" fmla="*/ 26003 h 50"/>
              <a:gd name="T28" fmla="*/ 87086 w 49"/>
              <a:gd name="T29" fmla="*/ 28893 h 50"/>
              <a:gd name="T30" fmla="*/ 78921 w 49"/>
              <a:gd name="T31" fmla="*/ 37560 h 50"/>
              <a:gd name="T32" fmla="*/ 87086 w 49"/>
              <a:gd name="T33" fmla="*/ 49117 h 50"/>
              <a:gd name="T34" fmla="*/ 70757 w 49"/>
              <a:gd name="T35" fmla="*/ 52007 h 50"/>
              <a:gd name="T36" fmla="*/ 57150 w 49"/>
              <a:gd name="T37" fmla="*/ 37560 h 50"/>
              <a:gd name="T38" fmla="*/ 51707 w 49"/>
              <a:gd name="T39" fmla="*/ 52007 h 50"/>
              <a:gd name="T40" fmla="*/ 65314 w 49"/>
              <a:gd name="T41" fmla="*/ 72232 h 50"/>
              <a:gd name="T42" fmla="*/ 76200 w 49"/>
              <a:gd name="T43" fmla="*/ 83789 h 50"/>
              <a:gd name="T44" fmla="*/ 87086 w 49"/>
              <a:gd name="T45" fmla="*/ 101124 h 50"/>
              <a:gd name="T46" fmla="*/ 100693 w 49"/>
              <a:gd name="T47" fmla="*/ 109792 h 50"/>
              <a:gd name="T48" fmla="*/ 81643 w 49"/>
              <a:gd name="T49" fmla="*/ 109792 h 50"/>
              <a:gd name="T50" fmla="*/ 68036 w 49"/>
              <a:gd name="T51" fmla="*/ 106903 h 50"/>
              <a:gd name="T52" fmla="*/ 68036 w 49"/>
              <a:gd name="T53" fmla="*/ 118460 h 50"/>
              <a:gd name="T54" fmla="*/ 54429 w 49"/>
              <a:gd name="T55" fmla="*/ 118460 h 50"/>
              <a:gd name="T56" fmla="*/ 59871 w 49"/>
              <a:gd name="T57" fmla="*/ 144463 h 50"/>
              <a:gd name="T58" fmla="*/ 43543 w 49"/>
              <a:gd name="T59" fmla="*/ 138684 h 50"/>
              <a:gd name="T60" fmla="*/ 29936 w 49"/>
              <a:gd name="T61" fmla="*/ 132906 h 50"/>
              <a:gd name="T62" fmla="*/ 32657 w 49"/>
              <a:gd name="T63" fmla="*/ 118460 h 50"/>
              <a:gd name="T64" fmla="*/ 24493 w 49"/>
              <a:gd name="T65" fmla="*/ 106903 h 50"/>
              <a:gd name="T66" fmla="*/ 38100 w 49"/>
              <a:gd name="T67" fmla="*/ 104013 h 50"/>
              <a:gd name="T68" fmla="*/ 21771 w 49"/>
              <a:gd name="T69" fmla="*/ 92456 h 50"/>
              <a:gd name="T70" fmla="*/ 8164 w 49"/>
              <a:gd name="T71" fmla="*/ 75121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9" h="50">
                <a:moveTo>
                  <a:pt x="3" y="26"/>
                </a:moveTo>
                <a:cubicBezTo>
                  <a:pt x="2" y="24"/>
                  <a:pt x="1" y="23"/>
                  <a:pt x="0" y="21"/>
                </a:cubicBezTo>
                <a:cubicBezTo>
                  <a:pt x="3" y="18"/>
                  <a:pt x="7" y="14"/>
                  <a:pt x="7" y="13"/>
                </a:cubicBezTo>
                <a:cubicBezTo>
                  <a:pt x="7" y="13"/>
                  <a:pt x="7" y="12"/>
                  <a:pt x="7" y="11"/>
                </a:cubicBezTo>
                <a:cubicBezTo>
                  <a:pt x="7" y="11"/>
                  <a:pt x="13" y="8"/>
                  <a:pt x="14" y="8"/>
                </a:cubicBezTo>
                <a:cubicBezTo>
                  <a:pt x="15" y="7"/>
                  <a:pt x="19" y="6"/>
                  <a:pt x="21" y="6"/>
                </a:cubicBezTo>
                <a:cubicBezTo>
                  <a:pt x="21" y="6"/>
                  <a:pt x="21" y="6"/>
                  <a:pt x="22" y="6"/>
                </a:cubicBezTo>
                <a:cubicBezTo>
                  <a:pt x="24" y="5"/>
                  <a:pt x="27" y="3"/>
                  <a:pt x="28" y="3"/>
                </a:cubicBezTo>
                <a:cubicBezTo>
                  <a:pt x="30" y="3"/>
                  <a:pt x="35" y="3"/>
                  <a:pt x="36" y="3"/>
                </a:cubicBezTo>
                <a:cubicBezTo>
                  <a:pt x="37" y="4"/>
                  <a:pt x="42" y="5"/>
                  <a:pt x="43" y="4"/>
                </a:cubicBezTo>
                <a:cubicBezTo>
                  <a:pt x="44" y="2"/>
                  <a:pt x="46" y="1"/>
                  <a:pt x="47" y="0"/>
                </a:cubicBezTo>
                <a:cubicBezTo>
                  <a:pt x="49" y="7"/>
                  <a:pt x="49" y="7"/>
                  <a:pt x="49" y="7"/>
                </a:cubicBezTo>
                <a:cubicBezTo>
                  <a:pt x="46" y="11"/>
                  <a:pt x="46" y="11"/>
                  <a:pt x="46" y="11"/>
                </a:cubicBezTo>
                <a:cubicBezTo>
                  <a:pt x="44" y="9"/>
                  <a:pt x="41" y="9"/>
                  <a:pt x="40" y="9"/>
                </a:cubicBezTo>
                <a:cubicBezTo>
                  <a:pt x="38" y="9"/>
                  <a:pt x="33" y="9"/>
                  <a:pt x="32" y="10"/>
                </a:cubicBezTo>
                <a:cubicBezTo>
                  <a:pt x="30" y="11"/>
                  <a:pt x="27" y="12"/>
                  <a:pt x="29" y="13"/>
                </a:cubicBezTo>
                <a:cubicBezTo>
                  <a:pt x="32" y="15"/>
                  <a:pt x="34" y="17"/>
                  <a:pt x="32" y="17"/>
                </a:cubicBezTo>
                <a:cubicBezTo>
                  <a:pt x="31" y="18"/>
                  <a:pt x="27" y="20"/>
                  <a:pt x="26" y="18"/>
                </a:cubicBezTo>
                <a:cubicBezTo>
                  <a:pt x="25" y="17"/>
                  <a:pt x="23" y="13"/>
                  <a:pt x="21" y="13"/>
                </a:cubicBezTo>
                <a:cubicBezTo>
                  <a:pt x="20" y="13"/>
                  <a:pt x="19" y="16"/>
                  <a:pt x="19" y="18"/>
                </a:cubicBezTo>
                <a:cubicBezTo>
                  <a:pt x="20" y="21"/>
                  <a:pt x="24" y="23"/>
                  <a:pt x="24" y="25"/>
                </a:cubicBezTo>
                <a:cubicBezTo>
                  <a:pt x="24" y="27"/>
                  <a:pt x="25" y="27"/>
                  <a:pt x="28" y="29"/>
                </a:cubicBezTo>
                <a:cubicBezTo>
                  <a:pt x="30" y="31"/>
                  <a:pt x="32" y="34"/>
                  <a:pt x="32" y="35"/>
                </a:cubicBezTo>
                <a:cubicBezTo>
                  <a:pt x="33" y="35"/>
                  <a:pt x="37" y="38"/>
                  <a:pt x="37" y="38"/>
                </a:cubicBezTo>
                <a:cubicBezTo>
                  <a:pt x="36" y="39"/>
                  <a:pt x="32" y="37"/>
                  <a:pt x="30" y="38"/>
                </a:cubicBezTo>
                <a:cubicBezTo>
                  <a:pt x="29" y="38"/>
                  <a:pt x="26" y="35"/>
                  <a:pt x="25" y="37"/>
                </a:cubicBezTo>
                <a:cubicBezTo>
                  <a:pt x="24" y="38"/>
                  <a:pt x="26" y="41"/>
                  <a:pt x="25" y="41"/>
                </a:cubicBezTo>
                <a:cubicBezTo>
                  <a:pt x="24" y="42"/>
                  <a:pt x="21" y="39"/>
                  <a:pt x="20" y="41"/>
                </a:cubicBezTo>
                <a:cubicBezTo>
                  <a:pt x="20" y="42"/>
                  <a:pt x="24" y="50"/>
                  <a:pt x="22" y="50"/>
                </a:cubicBezTo>
                <a:cubicBezTo>
                  <a:pt x="21" y="50"/>
                  <a:pt x="17" y="48"/>
                  <a:pt x="16" y="48"/>
                </a:cubicBezTo>
                <a:cubicBezTo>
                  <a:pt x="15" y="47"/>
                  <a:pt x="11" y="47"/>
                  <a:pt x="11" y="46"/>
                </a:cubicBezTo>
                <a:cubicBezTo>
                  <a:pt x="11" y="44"/>
                  <a:pt x="14" y="42"/>
                  <a:pt x="12" y="41"/>
                </a:cubicBezTo>
                <a:cubicBezTo>
                  <a:pt x="10" y="39"/>
                  <a:pt x="8" y="37"/>
                  <a:pt x="9" y="37"/>
                </a:cubicBezTo>
                <a:cubicBezTo>
                  <a:pt x="10" y="36"/>
                  <a:pt x="12" y="36"/>
                  <a:pt x="14" y="36"/>
                </a:cubicBezTo>
                <a:cubicBezTo>
                  <a:pt x="15" y="36"/>
                  <a:pt x="10" y="33"/>
                  <a:pt x="8" y="32"/>
                </a:cubicBezTo>
                <a:cubicBezTo>
                  <a:pt x="6" y="30"/>
                  <a:pt x="5" y="28"/>
                  <a:pt x="3" y="2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0" name="Freeform 248"/>
          <p:cNvSpPr>
            <a:spLocks/>
          </p:cNvSpPr>
          <p:nvPr>
            <p:custDataLst>
              <p:tags r:id="rId176"/>
            </p:custDataLst>
          </p:nvPr>
        </p:nvSpPr>
        <p:spPr bwMode="auto">
          <a:xfrm>
            <a:off x="6329562" y="2956611"/>
            <a:ext cx="54439" cy="45659"/>
          </a:xfrm>
          <a:custGeom>
            <a:avLst/>
            <a:gdLst>
              <a:gd name="T0" fmla="*/ 2734 w 18"/>
              <a:gd name="T1" fmla="*/ 35379 h 14"/>
              <a:gd name="T2" fmla="*/ 0 w 18"/>
              <a:gd name="T3" fmla="*/ 17689 h 14"/>
              <a:gd name="T4" fmla="*/ 0 w 18"/>
              <a:gd name="T5" fmla="*/ 8845 h 14"/>
              <a:gd name="T6" fmla="*/ 35543 w 18"/>
              <a:gd name="T7" fmla="*/ 0 h 14"/>
              <a:gd name="T8" fmla="*/ 49213 w 18"/>
              <a:gd name="T9" fmla="*/ 14741 h 14"/>
              <a:gd name="T10" fmla="*/ 49213 w 18"/>
              <a:gd name="T11" fmla="*/ 26534 h 14"/>
              <a:gd name="T12" fmla="*/ 46479 w 18"/>
              <a:gd name="T13" fmla="*/ 26534 h 14"/>
              <a:gd name="T14" fmla="*/ 27341 w 18"/>
              <a:gd name="T15" fmla="*/ 32430 h 14"/>
              <a:gd name="T16" fmla="*/ 8202 w 18"/>
              <a:gd name="T17" fmla="*/ 41275 h 14"/>
              <a:gd name="T18" fmla="*/ 2734 w 18"/>
              <a:gd name="T19" fmla="*/ 35379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14">
                <a:moveTo>
                  <a:pt x="1" y="12"/>
                </a:moveTo>
                <a:cubicBezTo>
                  <a:pt x="0" y="12"/>
                  <a:pt x="0" y="9"/>
                  <a:pt x="0" y="6"/>
                </a:cubicBezTo>
                <a:cubicBezTo>
                  <a:pt x="0" y="5"/>
                  <a:pt x="0" y="4"/>
                  <a:pt x="0" y="3"/>
                </a:cubicBezTo>
                <a:cubicBezTo>
                  <a:pt x="13" y="0"/>
                  <a:pt x="13" y="0"/>
                  <a:pt x="13" y="0"/>
                </a:cubicBezTo>
                <a:cubicBezTo>
                  <a:pt x="13" y="2"/>
                  <a:pt x="17" y="3"/>
                  <a:pt x="18" y="5"/>
                </a:cubicBezTo>
                <a:cubicBezTo>
                  <a:pt x="18" y="9"/>
                  <a:pt x="18" y="9"/>
                  <a:pt x="18" y="9"/>
                </a:cubicBezTo>
                <a:cubicBezTo>
                  <a:pt x="17" y="9"/>
                  <a:pt x="17" y="9"/>
                  <a:pt x="17" y="9"/>
                </a:cubicBezTo>
                <a:cubicBezTo>
                  <a:pt x="15" y="9"/>
                  <a:pt x="11" y="10"/>
                  <a:pt x="10" y="11"/>
                </a:cubicBezTo>
                <a:cubicBezTo>
                  <a:pt x="9" y="11"/>
                  <a:pt x="3" y="14"/>
                  <a:pt x="3" y="14"/>
                </a:cubicBezTo>
                <a:cubicBezTo>
                  <a:pt x="2" y="13"/>
                  <a:pt x="2" y="12"/>
                  <a:pt x="1" y="12"/>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1" name="Freeform 249"/>
          <p:cNvSpPr>
            <a:spLocks/>
          </p:cNvSpPr>
          <p:nvPr>
            <p:custDataLst>
              <p:tags r:id="rId177"/>
            </p:custDataLst>
          </p:nvPr>
        </p:nvSpPr>
        <p:spPr bwMode="auto">
          <a:xfrm>
            <a:off x="6296195" y="2947830"/>
            <a:ext cx="42146" cy="87805"/>
          </a:xfrm>
          <a:custGeom>
            <a:avLst/>
            <a:gdLst>
              <a:gd name="T0" fmla="*/ 8164 w 14"/>
              <a:gd name="T1" fmla="*/ 23519 h 27"/>
              <a:gd name="T2" fmla="*/ 0 w 14"/>
              <a:gd name="T3" fmla="*/ 14699 h 27"/>
              <a:gd name="T4" fmla="*/ 8164 w 14"/>
              <a:gd name="T5" fmla="*/ 5880 h 27"/>
              <a:gd name="T6" fmla="*/ 19050 w 14"/>
              <a:gd name="T7" fmla="*/ 2940 h 27"/>
              <a:gd name="T8" fmla="*/ 21771 w 14"/>
              <a:gd name="T9" fmla="*/ 0 h 27"/>
              <a:gd name="T10" fmla="*/ 27214 w 14"/>
              <a:gd name="T11" fmla="*/ 11759 h 27"/>
              <a:gd name="T12" fmla="*/ 29936 w 14"/>
              <a:gd name="T13" fmla="*/ 17639 h 27"/>
              <a:gd name="T14" fmla="*/ 29936 w 14"/>
              <a:gd name="T15" fmla="*/ 26458 h 27"/>
              <a:gd name="T16" fmla="*/ 32657 w 14"/>
              <a:gd name="T17" fmla="*/ 44097 h 27"/>
              <a:gd name="T18" fmla="*/ 38100 w 14"/>
              <a:gd name="T19" fmla="*/ 49977 h 27"/>
              <a:gd name="T20" fmla="*/ 38100 w 14"/>
              <a:gd name="T21" fmla="*/ 55856 h 27"/>
              <a:gd name="T22" fmla="*/ 19050 w 14"/>
              <a:gd name="T23" fmla="*/ 79375 h 27"/>
              <a:gd name="T24" fmla="*/ 16329 w 14"/>
              <a:gd name="T25" fmla="*/ 76435 h 27"/>
              <a:gd name="T26" fmla="*/ 5443 w 14"/>
              <a:gd name="T27" fmla="*/ 58796 h 27"/>
              <a:gd name="T28" fmla="*/ 8164 w 14"/>
              <a:gd name="T29" fmla="*/ 23519 h 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27">
                <a:moveTo>
                  <a:pt x="3" y="8"/>
                </a:moveTo>
                <a:cubicBezTo>
                  <a:pt x="2" y="7"/>
                  <a:pt x="1" y="6"/>
                  <a:pt x="0" y="5"/>
                </a:cubicBezTo>
                <a:cubicBezTo>
                  <a:pt x="1" y="4"/>
                  <a:pt x="3" y="2"/>
                  <a:pt x="3" y="2"/>
                </a:cubicBezTo>
                <a:cubicBezTo>
                  <a:pt x="4" y="2"/>
                  <a:pt x="6" y="1"/>
                  <a:pt x="7" y="1"/>
                </a:cubicBezTo>
                <a:cubicBezTo>
                  <a:pt x="7" y="1"/>
                  <a:pt x="8" y="1"/>
                  <a:pt x="8" y="0"/>
                </a:cubicBezTo>
                <a:cubicBezTo>
                  <a:pt x="10" y="4"/>
                  <a:pt x="10" y="4"/>
                  <a:pt x="10" y="4"/>
                </a:cubicBezTo>
                <a:cubicBezTo>
                  <a:pt x="10" y="4"/>
                  <a:pt x="10" y="5"/>
                  <a:pt x="11" y="6"/>
                </a:cubicBezTo>
                <a:cubicBezTo>
                  <a:pt x="11" y="7"/>
                  <a:pt x="11" y="8"/>
                  <a:pt x="11" y="9"/>
                </a:cubicBezTo>
                <a:cubicBezTo>
                  <a:pt x="11" y="12"/>
                  <a:pt x="11" y="15"/>
                  <a:pt x="12" y="15"/>
                </a:cubicBezTo>
                <a:cubicBezTo>
                  <a:pt x="13" y="15"/>
                  <a:pt x="13" y="16"/>
                  <a:pt x="14" y="17"/>
                </a:cubicBezTo>
                <a:cubicBezTo>
                  <a:pt x="14" y="18"/>
                  <a:pt x="14" y="19"/>
                  <a:pt x="14" y="19"/>
                </a:cubicBezTo>
                <a:cubicBezTo>
                  <a:pt x="14" y="20"/>
                  <a:pt x="10" y="24"/>
                  <a:pt x="7" y="27"/>
                </a:cubicBezTo>
                <a:cubicBezTo>
                  <a:pt x="7" y="27"/>
                  <a:pt x="6" y="26"/>
                  <a:pt x="6" y="26"/>
                </a:cubicBezTo>
                <a:cubicBezTo>
                  <a:pt x="3" y="23"/>
                  <a:pt x="2" y="23"/>
                  <a:pt x="2" y="20"/>
                </a:cubicBezTo>
                <a:cubicBezTo>
                  <a:pt x="2" y="17"/>
                  <a:pt x="6" y="10"/>
                  <a:pt x="3" y="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2" name="Freeform 251"/>
          <p:cNvSpPr>
            <a:spLocks/>
          </p:cNvSpPr>
          <p:nvPr>
            <p:custDataLst>
              <p:tags r:id="rId178"/>
            </p:custDataLst>
          </p:nvPr>
        </p:nvSpPr>
        <p:spPr bwMode="auto">
          <a:xfrm>
            <a:off x="6039805" y="2993488"/>
            <a:ext cx="38634" cy="72000"/>
          </a:xfrm>
          <a:custGeom>
            <a:avLst/>
            <a:gdLst>
              <a:gd name="T0" fmla="*/ 2687 w 13"/>
              <a:gd name="T1" fmla="*/ 14793 h 22"/>
              <a:gd name="T2" fmla="*/ 18806 w 13"/>
              <a:gd name="T3" fmla="*/ 8876 h 22"/>
              <a:gd name="T4" fmla="*/ 29552 w 13"/>
              <a:gd name="T5" fmla="*/ 2959 h 22"/>
              <a:gd name="T6" fmla="*/ 32238 w 13"/>
              <a:gd name="T7" fmla="*/ 26627 h 22"/>
              <a:gd name="T8" fmla="*/ 29552 w 13"/>
              <a:gd name="T9" fmla="*/ 53254 h 22"/>
              <a:gd name="T10" fmla="*/ 21492 w 13"/>
              <a:gd name="T11" fmla="*/ 50295 h 22"/>
              <a:gd name="T12" fmla="*/ 13433 w 13"/>
              <a:gd name="T13" fmla="*/ 62129 h 22"/>
              <a:gd name="T14" fmla="*/ 10746 w 13"/>
              <a:gd name="T15" fmla="*/ 62129 h 22"/>
              <a:gd name="T16" fmla="*/ 8060 w 13"/>
              <a:gd name="T17" fmla="*/ 47337 h 22"/>
              <a:gd name="T18" fmla="*/ 8060 w 13"/>
              <a:gd name="T19" fmla="*/ 23668 h 22"/>
              <a:gd name="T20" fmla="*/ 2687 w 13"/>
              <a:gd name="T21" fmla="*/ 14793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 y="5"/>
                </a:moveTo>
                <a:cubicBezTo>
                  <a:pt x="2" y="3"/>
                  <a:pt x="6" y="4"/>
                  <a:pt x="7" y="3"/>
                </a:cubicBezTo>
                <a:cubicBezTo>
                  <a:pt x="8" y="2"/>
                  <a:pt x="10" y="0"/>
                  <a:pt x="11" y="1"/>
                </a:cubicBezTo>
                <a:cubicBezTo>
                  <a:pt x="12" y="3"/>
                  <a:pt x="12" y="6"/>
                  <a:pt x="12" y="9"/>
                </a:cubicBezTo>
                <a:cubicBezTo>
                  <a:pt x="12" y="11"/>
                  <a:pt x="13" y="19"/>
                  <a:pt x="11" y="18"/>
                </a:cubicBezTo>
                <a:cubicBezTo>
                  <a:pt x="10" y="17"/>
                  <a:pt x="9" y="17"/>
                  <a:pt x="8" y="17"/>
                </a:cubicBezTo>
                <a:cubicBezTo>
                  <a:pt x="7" y="18"/>
                  <a:pt x="6" y="22"/>
                  <a:pt x="5" y="21"/>
                </a:cubicBezTo>
                <a:cubicBezTo>
                  <a:pt x="4" y="21"/>
                  <a:pt x="4" y="21"/>
                  <a:pt x="4" y="21"/>
                </a:cubicBezTo>
                <a:cubicBezTo>
                  <a:pt x="3" y="20"/>
                  <a:pt x="2" y="18"/>
                  <a:pt x="3" y="16"/>
                </a:cubicBezTo>
                <a:cubicBezTo>
                  <a:pt x="3" y="13"/>
                  <a:pt x="4" y="9"/>
                  <a:pt x="3" y="8"/>
                </a:cubicBezTo>
                <a:cubicBezTo>
                  <a:pt x="1" y="7"/>
                  <a:pt x="0" y="7"/>
                  <a:pt x="1" y="5"/>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3" name="Freeform 252"/>
          <p:cNvSpPr>
            <a:spLocks/>
          </p:cNvSpPr>
          <p:nvPr>
            <p:custDataLst>
              <p:tags r:id="rId179"/>
            </p:custDataLst>
          </p:nvPr>
        </p:nvSpPr>
        <p:spPr bwMode="auto">
          <a:xfrm>
            <a:off x="6004684" y="2816123"/>
            <a:ext cx="277463" cy="309073"/>
          </a:xfrm>
          <a:custGeom>
            <a:avLst/>
            <a:gdLst>
              <a:gd name="T0" fmla="*/ 8179 w 92"/>
              <a:gd name="T1" fmla="*/ 72760 h 96"/>
              <a:gd name="T2" fmla="*/ 5453 w 92"/>
              <a:gd name="T3" fmla="*/ 55298 h 96"/>
              <a:gd name="T4" fmla="*/ 10905 w 92"/>
              <a:gd name="T5" fmla="*/ 37835 h 96"/>
              <a:gd name="T6" fmla="*/ 10905 w 92"/>
              <a:gd name="T7" fmla="*/ 34925 h 96"/>
              <a:gd name="T8" fmla="*/ 21811 w 92"/>
              <a:gd name="T9" fmla="*/ 32015 h 96"/>
              <a:gd name="T10" fmla="*/ 29990 w 92"/>
              <a:gd name="T11" fmla="*/ 29104 h 96"/>
              <a:gd name="T12" fmla="*/ 38169 w 92"/>
              <a:gd name="T13" fmla="*/ 14552 h 96"/>
              <a:gd name="T14" fmla="*/ 51801 w 92"/>
              <a:gd name="T15" fmla="*/ 34925 h 96"/>
              <a:gd name="T16" fmla="*/ 62706 w 92"/>
              <a:gd name="T17" fmla="*/ 14552 h 96"/>
              <a:gd name="T18" fmla="*/ 76338 w 92"/>
              <a:gd name="T19" fmla="*/ 20373 h 96"/>
              <a:gd name="T20" fmla="*/ 81791 w 92"/>
              <a:gd name="T21" fmla="*/ 11642 h 96"/>
              <a:gd name="T22" fmla="*/ 81791 w 92"/>
              <a:gd name="T23" fmla="*/ 8731 h 96"/>
              <a:gd name="T24" fmla="*/ 81791 w 92"/>
              <a:gd name="T25" fmla="*/ 8731 h 96"/>
              <a:gd name="T26" fmla="*/ 95423 w 92"/>
              <a:gd name="T27" fmla="*/ 8731 h 96"/>
              <a:gd name="T28" fmla="*/ 103602 w 92"/>
              <a:gd name="T29" fmla="*/ 0 h 96"/>
              <a:gd name="T30" fmla="*/ 117233 w 92"/>
              <a:gd name="T31" fmla="*/ 0 h 96"/>
              <a:gd name="T32" fmla="*/ 128139 w 92"/>
              <a:gd name="T33" fmla="*/ 11642 h 96"/>
              <a:gd name="T34" fmla="*/ 147223 w 92"/>
              <a:gd name="T35" fmla="*/ 14552 h 96"/>
              <a:gd name="T36" fmla="*/ 144497 w 92"/>
              <a:gd name="T37" fmla="*/ 34925 h 96"/>
              <a:gd name="T38" fmla="*/ 117233 w 92"/>
              <a:gd name="T39" fmla="*/ 43656 h 96"/>
              <a:gd name="T40" fmla="*/ 125413 w 92"/>
              <a:gd name="T41" fmla="*/ 61119 h 96"/>
              <a:gd name="T42" fmla="*/ 119960 w 92"/>
              <a:gd name="T43" fmla="*/ 78581 h 96"/>
              <a:gd name="T44" fmla="*/ 149950 w 92"/>
              <a:gd name="T45" fmla="*/ 96044 h 96"/>
              <a:gd name="T46" fmla="*/ 169034 w 92"/>
              <a:gd name="T47" fmla="*/ 130969 h 96"/>
              <a:gd name="T48" fmla="*/ 188119 w 92"/>
              <a:gd name="T49" fmla="*/ 139700 h 96"/>
              <a:gd name="T50" fmla="*/ 204477 w 92"/>
              <a:gd name="T51" fmla="*/ 142610 h 96"/>
              <a:gd name="T52" fmla="*/ 199024 w 92"/>
              <a:gd name="T53" fmla="*/ 154252 h 96"/>
              <a:gd name="T54" fmla="*/ 237193 w 92"/>
              <a:gd name="T55" fmla="*/ 171715 h 96"/>
              <a:gd name="T56" fmla="*/ 250825 w 92"/>
              <a:gd name="T57" fmla="*/ 189177 h 96"/>
              <a:gd name="T58" fmla="*/ 245372 w 92"/>
              <a:gd name="T59" fmla="*/ 197908 h 96"/>
              <a:gd name="T60" fmla="*/ 220835 w 92"/>
              <a:gd name="T61" fmla="*/ 183356 h 96"/>
              <a:gd name="T62" fmla="*/ 212656 w 92"/>
              <a:gd name="T63" fmla="*/ 200819 h 96"/>
              <a:gd name="T64" fmla="*/ 223561 w 92"/>
              <a:gd name="T65" fmla="*/ 206640 h 96"/>
              <a:gd name="T66" fmla="*/ 223561 w 92"/>
              <a:gd name="T67" fmla="*/ 221192 h 96"/>
              <a:gd name="T68" fmla="*/ 212656 w 92"/>
              <a:gd name="T69" fmla="*/ 227013 h 96"/>
              <a:gd name="T70" fmla="*/ 201751 w 92"/>
              <a:gd name="T71" fmla="*/ 244475 h 96"/>
              <a:gd name="T72" fmla="*/ 190845 w 92"/>
              <a:gd name="T73" fmla="*/ 244475 h 96"/>
              <a:gd name="T74" fmla="*/ 182666 w 92"/>
              <a:gd name="T75" fmla="*/ 250296 h 96"/>
              <a:gd name="T76" fmla="*/ 179940 w 92"/>
              <a:gd name="T77" fmla="*/ 273579 h 96"/>
              <a:gd name="T78" fmla="*/ 166308 w 92"/>
              <a:gd name="T79" fmla="*/ 273579 h 96"/>
              <a:gd name="T80" fmla="*/ 152676 w 92"/>
              <a:gd name="T81" fmla="*/ 261938 h 96"/>
              <a:gd name="T82" fmla="*/ 122686 w 92"/>
              <a:gd name="T83" fmla="*/ 241565 h 96"/>
              <a:gd name="T84" fmla="*/ 141771 w 92"/>
              <a:gd name="T85" fmla="*/ 235744 h 96"/>
              <a:gd name="T86" fmla="*/ 177213 w 92"/>
              <a:gd name="T87" fmla="*/ 235744 h 96"/>
              <a:gd name="T88" fmla="*/ 190845 w 92"/>
              <a:gd name="T89" fmla="*/ 229923 h 96"/>
              <a:gd name="T90" fmla="*/ 199024 w 92"/>
              <a:gd name="T91" fmla="*/ 221192 h 96"/>
              <a:gd name="T92" fmla="*/ 190845 w 92"/>
              <a:gd name="T93" fmla="*/ 192088 h 96"/>
              <a:gd name="T94" fmla="*/ 177213 w 92"/>
              <a:gd name="T95" fmla="*/ 183356 h 96"/>
              <a:gd name="T96" fmla="*/ 149950 w 92"/>
              <a:gd name="T97" fmla="*/ 160073 h 96"/>
              <a:gd name="T98" fmla="*/ 128139 w 92"/>
              <a:gd name="T99" fmla="*/ 154252 h 96"/>
              <a:gd name="T100" fmla="*/ 100875 w 92"/>
              <a:gd name="T101" fmla="*/ 128058 h 96"/>
              <a:gd name="T102" fmla="*/ 84517 w 92"/>
              <a:gd name="T103" fmla="*/ 110596 h 96"/>
              <a:gd name="T104" fmla="*/ 73612 w 92"/>
              <a:gd name="T105" fmla="*/ 81492 h 96"/>
              <a:gd name="T106" fmla="*/ 49074 w 92"/>
              <a:gd name="T107" fmla="*/ 72760 h 96"/>
              <a:gd name="T108" fmla="*/ 32716 w 92"/>
              <a:gd name="T109" fmla="*/ 87313 h 96"/>
              <a:gd name="T110" fmla="*/ 27264 w 92"/>
              <a:gd name="T111" fmla="*/ 87313 h 96"/>
              <a:gd name="T112" fmla="*/ 24537 w 92"/>
              <a:gd name="T113" fmla="*/ 75671 h 96"/>
              <a:gd name="T114" fmla="*/ 8179 w 92"/>
              <a:gd name="T115" fmla="*/ 72760 h 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2" h="96">
                <a:moveTo>
                  <a:pt x="3" y="25"/>
                </a:moveTo>
                <a:cubicBezTo>
                  <a:pt x="3" y="23"/>
                  <a:pt x="0" y="20"/>
                  <a:pt x="2" y="19"/>
                </a:cubicBezTo>
                <a:cubicBezTo>
                  <a:pt x="4" y="17"/>
                  <a:pt x="5" y="15"/>
                  <a:pt x="4" y="13"/>
                </a:cubicBezTo>
                <a:cubicBezTo>
                  <a:pt x="4" y="12"/>
                  <a:pt x="4" y="12"/>
                  <a:pt x="4" y="12"/>
                </a:cubicBezTo>
                <a:cubicBezTo>
                  <a:pt x="8" y="11"/>
                  <a:pt x="8" y="11"/>
                  <a:pt x="8" y="11"/>
                </a:cubicBezTo>
                <a:cubicBezTo>
                  <a:pt x="8" y="11"/>
                  <a:pt x="10" y="11"/>
                  <a:pt x="11" y="10"/>
                </a:cubicBezTo>
                <a:cubicBezTo>
                  <a:pt x="12" y="9"/>
                  <a:pt x="14" y="5"/>
                  <a:pt x="14" y="5"/>
                </a:cubicBezTo>
                <a:cubicBezTo>
                  <a:pt x="16" y="5"/>
                  <a:pt x="18" y="12"/>
                  <a:pt x="19" y="12"/>
                </a:cubicBezTo>
                <a:cubicBezTo>
                  <a:pt x="20" y="11"/>
                  <a:pt x="22" y="5"/>
                  <a:pt x="23" y="5"/>
                </a:cubicBezTo>
                <a:cubicBezTo>
                  <a:pt x="24" y="5"/>
                  <a:pt x="27" y="8"/>
                  <a:pt x="28" y="7"/>
                </a:cubicBezTo>
                <a:cubicBezTo>
                  <a:pt x="28" y="7"/>
                  <a:pt x="30" y="5"/>
                  <a:pt x="30" y="4"/>
                </a:cubicBezTo>
                <a:cubicBezTo>
                  <a:pt x="30" y="4"/>
                  <a:pt x="30" y="3"/>
                  <a:pt x="30" y="3"/>
                </a:cubicBezTo>
                <a:cubicBezTo>
                  <a:pt x="30" y="3"/>
                  <a:pt x="30" y="3"/>
                  <a:pt x="30" y="3"/>
                </a:cubicBezTo>
                <a:cubicBezTo>
                  <a:pt x="35" y="3"/>
                  <a:pt x="35" y="3"/>
                  <a:pt x="35" y="3"/>
                </a:cubicBezTo>
                <a:cubicBezTo>
                  <a:pt x="35" y="3"/>
                  <a:pt x="36" y="0"/>
                  <a:pt x="38" y="0"/>
                </a:cubicBezTo>
                <a:cubicBezTo>
                  <a:pt x="38" y="0"/>
                  <a:pt x="42" y="0"/>
                  <a:pt x="43" y="0"/>
                </a:cubicBezTo>
                <a:cubicBezTo>
                  <a:pt x="44" y="1"/>
                  <a:pt x="46" y="3"/>
                  <a:pt x="47" y="4"/>
                </a:cubicBezTo>
                <a:cubicBezTo>
                  <a:pt x="48" y="4"/>
                  <a:pt x="51" y="4"/>
                  <a:pt x="54" y="5"/>
                </a:cubicBezTo>
                <a:cubicBezTo>
                  <a:pt x="53" y="12"/>
                  <a:pt x="53" y="12"/>
                  <a:pt x="53" y="12"/>
                </a:cubicBezTo>
                <a:cubicBezTo>
                  <a:pt x="52" y="12"/>
                  <a:pt x="43" y="15"/>
                  <a:pt x="43" y="15"/>
                </a:cubicBezTo>
                <a:cubicBezTo>
                  <a:pt x="43" y="16"/>
                  <a:pt x="46" y="19"/>
                  <a:pt x="46" y="21"/>
                </a:cubicBezTo>
                <a:cubicBezTo>
                  <a:pt x="46" y="22"/>
                  <a:pt x="41" y="24"/>
                  <a:pt x="44" y="27"/>
                </a:cubicBezTo>
                <a:cubicBezTo>
                  <a:pt x="47" y="30"/>
                  <a:pt x="53" y="31"/>
                  <a:pt x="55" y="33"/>
                </a:cubicBezTo>
                <a:cubicBezTo>
                  <a:pt x="56" y="35"/>
                  <a:pt x="61" y="45"/>
                  <a:pt x="62" y="45"/>
                </a:cubicBezTo>
                <a:cubicBezTo>
                  <a:pt x="63" y="46"/>
                  <a:pt x="68" y="48"/>
                  <a:pt x="69" y="48"/>
                </a:cubicBezTo>
                <a:cubicBezTo>
                  <a:pt x="70" y="48"/>
                  <a:pt x="74" y="47"/>
                  <a:pt x="75" y="49"/>
                </a:cubicBezTo>
                <a:cubicBezTo>
                  <a:pt x="75" y="50"/>
                  <a:pt x="72" y="52"/>
                  <a:pt x="73" y="53"/>
                </a:cubicBezTo>
                <a:cubicBezTo>
                  <a:pt x="74" y="53"/>
                  <a:pt x="85" y="58"/>
                  <a:pt x="87" y="59"/>
                </a:cubicBezTo>
                <a:cubicBezTo>
                  <a:pt x="90" y="60"/>
                  <a:pt x="92" y="63"/>
                  <a:pt x="92" y="65"/>
                </a:cubicBezTo>
                <a:cubicBezTo>
                  <a:pt x="92" y="66"/>
                  <a:pt x="91" y="67"/>
                  <a:pt x="90" y="68"/>
                </a:cubicBezTo>
                <a:cubicBezTo>
                  <a:pt x="90" y="69"/>
                  <a:pt x="82" y="62"/>
                  <a:pt x="81" y="63"/>
                </a:cubicBezTo>
                <a:cubicBezTo>
                  <a:pt x="80" y="63"/>
                  <a:pt x="77" y="68"/>
                  <a:pt x="78" y="69"/>
                </a:cubicBezTo>
                <a:cubicBezTo>
                  <a:pt x="79" y="70"/>
                  <a:pt x="82" y="70"/>
                  <a:pt x="82" y="71"/>
                </a:cubicBezTo>
                <a:cubicBezTo>
                  <a:pt x="82" y="73"/>
                  <a:pt x="82" y="75"/>
                  <a:pt x="82" y="76"/>
                </a:cubicBezTo>
                <a:cubicBezTo>
                  <a:pt x="81" y="78"/>
                  <a:pt x="78" y="77"/>
                  <a:pt x="78" y="78"/>
                </a:cubicBezTo>
                <a:cubicBezTo>
                  <a:pt x="78" y="79"/>
                  <a:pt x="76" y="83"/>
                  <a:pt x="74" y="84"/>
                </a:cubicBezTo>
                <a:cubicBezTo>
                  <a:pt x="73" y="84"/>
                  <a:pt x="70" y="85"/>
                  <a:pt x="70" y="84"/>
                </a:cubicBezTo>
                <a:cubicBezTo>
                  <a:pt x="69" y="81"/>
                  <a:pt x="68" y="84"/>
                  <a:pt x="67" y="86"/>
                </a:cubicBezTo>
                <a:cubicBezTo>
                  <a:pt x="67" y="88"/>
                  <a:pt x="68" y="93"/>
                  <a:pt x="66" y="94"/>
                </a:cubicBezTo>
                <a:cubicBezTo>
                  <a:pt x="65" y="95"/>
                  <a:pt x="62" y="96"/>
                  <a:pt x="61" y="94"/>
                </a:cubicBezTo>
                <a:cubicBezTo>
                  <a:pt x="60" y="93"/>
                  <a:pt x="58" y="92"/>
                  <a:pt x="56" y="90"/>
                </a:cubicBezTo>
                <a:cubicBezTo>
                  <a:pt x="53" y="89"/>
                  <a:pt x="45" y="85"/>
                  <a:pt x="45" y="83"/>
                </a:cubicBezTo>
                <a:cubicBezTo>
                  <a:pt x="46" y="82"/>
                  <a:pt x="49" y="81"/>
                  <a:pt x="52" y="81"/>
                </a:cubicBezTo>
                <a:cubicBezTo>
                  <a:pt x="55" y="82"/>
                  <a:pt x="63" y="81"/>
                  <a:pt x="65" y="81"/>
                </a:cubicBezTo>
                <a:cubicBezTo>
                  <a:pt x="67" y="81"/>
                  <a:pt x="69" y="81"/>
                  <a:pt x="70" y="79"/>
                </a:cubicBezTo>
                <a:cubicBezTo>
                  <a:pt x="72" y="78"/>
                  <a:pt x="73" y="79"/>
                  <a:pt x="73" y="76"/>
                </a:cubicBezTo>
                <a:cubicBezTo>
                  <a:pt x="73" y="74"/>
                  <a:pt x="71" y="67"/>
                  <a:pt x="70" y="66"/>
                </a:cubicBezTo>
                <a:cubicBezTo>
                  <a:pt x="68" y="64"/>
                  <a:pt x="65" y="65"/>
                  <a:pt x="65" y="63"/>
                </a:cubicBezTo>
                <a:cubicBezTo>
                  <a:pt x="64" y="62"/>
                  <a:pt x="58" y="55"/>
                  <a:pt x="55" y="55"/>
                </a:cubicBezTo>
                <a:cubicBezTo>
                  <a:pt x="52" y="54"/>
                  <a:pt x="50" y="54"/>
                  <a:pt x="47" y="53"/>
                </a:cubicBezTo>
                <a:cubicBezTo>
                  <a:pt x="45" y="51"/>
                  <a:pt x="38" y="46"/>
                  <a:pt x="37" y="44"/>
                </a:cubicBezTo>
                <a:cubicBezTo>
                  <a:pt x="35" y="42"/>
                  <a:pt x="32" y="41"/>
                  <a:pt x="31" y="38"/>
                </a:cubicBezTo>
                <a:cubicBezTo>
                  <a:pt x="30" y="34"/>
                  <a:pt x="29" y="31"/>
                  <a:pt x="27" y="28"/>
                </a:cubicBezTo>
                <a:cubicBezTo>
                  <a:pt x="24" y="25"/>
                  <a:pt x="21" y="25"/>
                  <a:pt x="18" y="25"/>
                </a:cubicBezTo>
                <a:cubicBezTo>
                  <a:pt x="15" y="25"/>
                  <a:pt x="15" y="30"/>
                  <a:pt x="12" y="30"/>
                </a:cubicBezTo>
                <a:cubicBezTo>
                  <a:pt x="11" y="30"/>
                  <a:pt x="11" y="30"/>
                  <a:pt x="10" y="30"/>
                </a:cubicBezTo>
                <a:cubicBezTo>
                  <a:pt x="10" y="29"/>
                  <a:pt x="10" y="27"/>
                  <a:pt x="9" y="26"/>
                </a:cubicBezTo>
                <a:cubicBezTo>
                  <a:pt x="7" y="25"/>
                  <a:pt x="3" y="27"/>
                  <a:pt x="3" y="25"/>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4" name="Freeform 253"/>
          <p:cNvSpPr>
            <a:spLocks/>
          </p:cNvSpPr>
          <p:nvPr>
            <p:custDataLst>
              <p:tags r:id="rId180"/>
            </p:custDataLst>
          </p:nvPr>
        </p:nvSpPr>
        <p:spPr bwMode="auto">
          <a:xfrm>
            <a:off x="5916879" y="2670366"/>
            <a:ext cx="87805" cy="66732"/>
          </a:xfrm>
          <a:custGeom>
            <a:avLst/>
            <a:gdLst>
              <a:gd name="T0" fmla="*/ 24634 w 29"/>
              <a:gd name="T1" fmla="*/ 43089 h 21"/>
              <a:gd name="T2" fmla="*/ 0 w 29"/>
              <a:gd name="T3" fmla="*/ 14363 h 21"/>
              <a:gd name="T4" fmla="*/ 13685 w 29"/>
              <a:gd name="T5" fmla="*/ 8618 h 21"/>
              <a:gd name="T6" fmla="*/ 24634 w 29"/>
              <a:gd name="T7" fmla="*/ 0 h 21"/>
              <a:gd name="T8" fmla="*/ 54741 w 29"/>
              <a:gd name="T9" fmla="*/ 8618 h 21"/>
              <a:gd name="T10" fmla="*/ 57478 w 29"/>
              <a:gd name="T11" fmla="*/ 22981 h 21"/>
              <a:gd name="T12" fmla="*/ 71164 w 29"/>
              <a:gd name="T13" fmla="*/ 25854 h 21"/>
              <a:gd name="T14" fmla="*/ 73901 w 29"/>
              <a:gd name="T15" fmla="*/ 34471 h 21"/>
              <a:gd name="T16" fmla="*/ 76638 w 29"/>
              <a:gd name="T17" fmla="*/ 54580 h 21"/>
              <a:gd name="T18" fmla="*/ 76638 w 29"/>
              <a:gd name="T19" fmla="*/ 60325 h 21"/>
              <a:gd name="T20" fmla="*/ 62953 w 29"/>
              <a:gd name="T21" fmla="*/ 60325 h 21"/>
              <a:gd name="T22" fmla="*/ 46530 w 29"/>
              <a:gd name="T23" fmla="*/ 51707 h 21"/>
              <a:gd name="T24" fmla="*/ 43793 w 29"/>
              <a:gd name="T25" fmla="*/ 43089 h 21"/>
              <a:gd name="T26" fmla="*/ 24634 w 29"/>
              <a:gd name="T27" fmla="*/ 43089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 h="21">
                <a:moveTo>
                  <a:pt x="9" y="15"/>
                </a:moveTo>
                <a:cubicBezTo>
                  <a:pt x="7" y="14"/>
                  <a:pt x="0" y="6"/>
                  <a:pt x="0" y="5"/>
                </a:cubicBezTo>
                <a:cubicBezTo>
                  <a:pt x="2" y="4"/>
                  <a:pt x="5" y="4"/>
                  <a:pt x="5" y="3"/>
                </a:cubicBezTo>
                <a:cubicBezTo>
                  <a:pt x="6" y="3"/>
                  <a:pt x="8" y="1"/>
                  <a:pt x="9" y="0"/>
                </a:cubicBezTo>
                <a:cubicBezTo>
                  <a:pt x="10" y="2"/>
                  <a:pt x="20" y="2"/>
                  <a:pt x="20" y="3"/>
                </a:cubicBezTo>
                <a:cubicBezTo>
                  <a:pt x="20" y="4"/>
                  <a:pt x="20" y="8"/>
                  <a:pt x="21" y="8"/>
                </a:cubicBezTo>
                <a:cubicBezTo>
                  <a:pt x="26" y="9"/>
                  <a:pt x="26" y="9"/>
                  <a:pt x="26" y="9"/>
                </a:cubicBezTo>
                <a:cubicBezTo>
                  <a:pt x="26" y="10"/>
                  <a:pt x="26" y="11"/>
                  <a:pt x="27" y="12"/>
                </a:cubicBezTo>
                <a:cubicBezTo>
                  <a:pt x="29" y="13"/>
                  <a:pt x="28" y="16"/>
                  <a:pt x="28" y="19"/>
                </a:cubicBezTo>
                <a:cubicBezTo>
                  <a:pt x="28" y="19"/>
                  <a:pt x="28" y="20"/>
                  <a:pt x="28" y="21"/>
                </a:cubicBezTo>
                <a:cubicBezTo>
                  <a:pt x="23" y="21"/>
                  <a:pt x="23" y="21"/>
                  <a:pt x="23" y="21"/>
                </a:cubicBezTo>
                <a:cubicBezTo>
                  <a:pt x="20" y="21"/>
                  <a:pt x="18" y="19"/>
                  <a:pt x="17" y="18"/>
                </a:cubicBezTo>
                <a:cubicBezTo>
                  <a:pt x="17" y="17"/>
                  <a:pt x="17" y="15"/>
                  <a:pt x="16" y="15"/>
                </a:cubicBezTo>
                <a:cubicBezTo>
                  <a:pt x="15" y="14"/>
                  <a:pt x="11" y="16"/>
                  <a:pt x="9" y="15"/>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5" name="Freeform 255"/>
          <p:cNvSpPr>
            <a:spLocks/>
          </p:cNvSpPr>
          <p:nvPr>
            <p:custDataLst>
              <p:tags r:id="rId181"/>
            </p:custDataLst>
          </p:nvPr>
        </p:nvSpPr>
        <p:spPr bwMode="auto">
          <a:xfrm>
            <a:off x="6052099" y="2944317"/>
            <a:ext cx="24585" cy="38634"/>
          </a:xfrm>
          <a:custGeom>
            <a:avLst/>
            <a:gdLst>
              <a:gd name="T0" fmla="*/ 11113 w 8"/>
              <a:gd name="T1" fmla="*/ 32015 h 12"/>
              <a:gd name="T2" fmla="*/ 0 w 8"/>
              <a:gd name="T3" fmla="*/ 11642 h 12"/>
              <a:gd name="T4" fmla="*/ 13891 w 8"/>
              <a:gd name="T5" fmla="*/ 0 h 12"/>
              <a:gd name="T6" fmla="*/ 19447 w 8"/>
              <a:gd name="T7" fmla="*/ 11642 h 12"/>
              <a:gd name="T8" fmla="*/ 11113 w 8"/>
              <a:gd name="T9" fmla="*/ 32015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2">
                <a:moveTo>
                  <a:pt x="4" y="11"/>
                </a:moveTo>
                <a:cubicBezTo>
                  <a:pt x="2" y="11"/>
                  <a:pt x="0" y="6"/>
                  <a:pt x="0" y="4"/>
                </a:cubicBezTo>
                <a:cubicBezTo>
                  <a:pt x="0" y="2"/>
                  <a:pt x="2" y="0"/>
                  <a:pt x="5" y="0"/>
                </a:cubicBezTo>
                <a:cubicBezTo>
                  <a:pt x="7" y="0"/>
                  <a:pt x="8" y="1"/>
                  <a:pt x="7" y="4"/>
                </a:cubicBezTo>
                <a:cubicBezTo>
                  <a:pt x="6" y="6"/>
                  <a:pt x="6" y="12"/>
                  <a:pt x="4" y="11"/>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6" name="Freeform 256"/>
          <p:cNvSpPr>
            <a:spLocks/>
          </p:cNvSpPr>
          <p:nvPr>
            <p:custDataLst>
              <p:tags r:id="rId182"/>
            </p:custDataLst>
          </p:nvPr>
        </p:nvSpPr>
        <p:spPr bwMode="auto">
          <a:xfrm>
            <a:off x="5739513" y="2686172"/>
            <a:ext cx="303805" cy="268683"/>
          </a:xfrm>
          <a:custGeom>
            <a:avLst/>
            <a:gdLst>
              <a:gd name="T0" fmla="*/ 5438 w 101"/>
              <a:gd name="T1" fmla="*/ 73159 h 83"/>
              <a:gd name="T2" fmla="*/ 38069 w 101"/>
              <a:gd name="T3" fmla="*/ 67306 h 83"/>
              <a:gd name="T4" fmla="*/ 48945 w 101"/>
              <a:gd name="T5" fmla="*/ 76085 h 83"/>
              <a:gd name="T6" fmla="*/ 73418 w 101"/>
              <a:gd name="T7" fmla="*/ 73159 h 83"/>
              <a:gd name="T8" fmla="*/ 59822 w 101"/>
              <a:gd name="T9" fmla="*/ 40969 h 83"/>
              <a:gd name="T10" fmla="*/ 78856 w 101"/>
              <a:gd name="T11" fmla="*/ 38043 h 83"/>
              <a:gd name="T12" fmla="*/ 87014 w 101"/>
              <a:gd name="T13" fmla="*/ 49748 h 83"/>
              <a:gd name="T14" fmla="*/ 108768 w 101"/>
              <a:gd name="T15" fmla="*/ 49748 h 83"/>
              <a:gd name="T16" fmla="*/ 114206 w 101"/>
              <a:gd name="T17" fmla="*/ 38043 h 83"/>
              <a:gd name="T18" fmla="*/ 138679 w 101"/>
              <a:gd name="T19" fmla="*/ 29264 h 83"/>
              <a:gd name="T20" fmla="*/ 141398 w 101"/>
              <a:gd name="T21" fmla="*/ 8779 h 83"/>
              <a:gd name="T22" fmla="*/ 160432 w 101"/>
              <a:gd name="T23" fmla="*/ 0 h 83"/>
              <a:gd name="T24" fmla="*/ 184905 w 101"/>
              <a:gd name="T25" fmla="*/ 29264 h 83"/>
              <a:gd name="T26" fmla="*/ 203939 w 101"/>
              <a:gd name="T27" fmla="*/ 29264 h 83"/>
              <a:gd name="T28" fmla="*/ 206658 w 101"/>
              <a:gd name="T29" fmla="*/ 38043 h 83"/>
              <a:gd name="T30" fmla="*/ 222973 w 101"/>
              <a:gd name="T31" fmla="*/ 46822 h 83"/>
              <a:gd name="T32" fmla="*/ 236569 w 101"/>
              <a:gd name="T33" fmla="*/ 46822 h 83"/>
              <a:gd name="T34" fmla="*/ 242008 w 101"/>
              <a:gd name="T35" fmla="*/ 55601 h 83"/>
              <a:gd name="T36" fmla="*/ 271919 w 101"/>
              <a:gd name="T37" fmla="*/ 67306 h 83"/>
              <a:gd name="T38" fmla="*/ 261042 w 101"/>
              <a:gd name="T39" fmla="*/ 99496 h 83"/>
              <a:gd name="T40" fmla="*/ 261042 w 101"/>
              <a:gd name="T41" fmla="*/ 102423 h 83"/>
              <a:gd name="T42" fmla="*/ 242008 w 101"/>
              <a:gd name="T43" fmla="*/ 114128 h 83"/>
              <a:gd name="T44" fmla="*/ 228412 w 101"/>
              <a:gd name="T45" fmla="*/ 134613 h 83"/>
              <a:gd name="T46" fmla="*/ 244727 w 101"/>
              <a:gd name="T47" fmla="*/ 137539 h 83"/>
              <a:gd name="T48" fmla="*/ 250165 w 101"/>
              <a:gd name="T49" fmla="*/ 152171 h 83"/>
              <a:gd name="T50" fmla="*/ 250165 w 101"/>
              <a:gd name="T51" fmla="*/ 155097 h 83"/>
              <a:gd name="T52" fmla="*/ 244727 w 101"/>
              <a:gd name="T53" fmla="*/ 172655 h 83"/>
              <a:gd name="T54" fmla="*/ 247446 w 101"/>
              <a:gd name="T55" fmla="*/ 190213 h 83"/>
              <a:gd name="T56" fmla="*/ 263761 w 101"/>
              <a:gd name="T57" fmla="*/ 193140 h 83"/>
              <a:gd name="T58" fmla="*/ 266480 w 101"/>
              <a:gd name="T59" fmla="*/ 204845 h 83"/>
              <a:gd name="T60" fmla="*/ 244727 w 101"/>
              <a:gd name="T61" fmla="*/ 222403 h 83"/>
              <a:gd name="T62" fmla="*/ 228412 w 101"/>
              <a:gd name="T63" fmla="*/ 228256 h 83"/>
              <a:gd name="T64" fmla="*/ 184905 w 101"/>
              <a:gd name="T65" fmla="*/ 216551 h 83"/>
              <a:gd name="T66" fmla="*/ 168590 w 101"/>
              <a:gd name="T67" fmla="*/ 239962 h 83"/>
              <a:gd name="T68" fmla="*/ 157713 w 101"/>
              <a:gd name="T69" fmla="*/ 242888 h 83"/>
              <a:gd name="T70" fmla="*/ 125083 w 101"/>
              <a:gd name="T71" fmla="*/ 234109 h 83"/>
              <a:gd name="T72" fmla="*/ 103329 w 101"/>
              <a:gd name="T73" fmla="*/ 234109 h 83"/>
              <a:gd name="T74" fmla="*/ 70699 w 101"/>
              <a:gd name="T75" fmla="*/ 216551 h 83"/>
              <a:gd name="T76" fmla="*/ 73418 w 101"/>
              <a:gd name="T77" fmla="*/ 210698 h 83"/>
              <a:gd name="T78" fmla="*/ 78856 w 101"/>
              <a:gd name="T79" fmla="*/ 152171 h 83"/>
              <a:gd name="T80" fmla="*/ 62541 w 101"/>
              <a:gd name="T81" fmla="*/ 122907 h 83"/>
              <a:gd name="T82" fmla="*/ 40788 w 101"/>
              <a:gd name="T83" fmla="*/ 102423 h 83"/>
              <a:gd name="T84" fmla="*/ 10877 w 101"/>
              <a:gd name="T85" fmla="*/ 93644 h 83"/>
              <a:gd name="T86" fmla="*/ 5438 w 101"/>
              <a:gd name="T87" fmla="*/ 73159 h 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 h="83">
                <a:moveTo>
                  <a:pt x="2" y="25"/>
                </a:moveTo>
                <a:cubicBezTo>
                  <a:pt x="3" y="24"/>
                  <a:pt x="12" y="23"/>
                  <a:pt x="14" y="23"/>
                </a:cubicBezTo>
                <a:cubicBezTo>
                  <a:pt x="16" y="23"/>
                  <a:pt x="17" y="26"/>
                  <a:pt x="18" y="26"/>
                </a:cubicBezTo>
                <a:cubicBezTo>
                  <a:pt x="19" y="26"/>
                  <a:pt x="25" y="25"/>
                  <a:pt x="27" y="25"/>
                </a:cubicBezTo>
                <a:cubicBezTo>
                  <a:pt x="28" y="24"/>
                  <a:pt x="22" y="16"/>
                  <a:pt x="22" y="14"/>
                </a:cubicBezTo>
                <a:cubicBezTo>
                  <a:pt x="23" y="13"/>
                  <a:pt x="29" y="13"/>
                  <a:pt x="29" y="13"/>
                </a:cubicBezTo>
                <a:cubicBezTo>
                  <a:pt x="29" y="13"/>
                  <a:pt x="29" y="17"/>
                  <a:pt x="32" y="17"/>
                </a:cubicBezTo>
                <a:cubicBezTo>
                  <a:pt x="34" y="17"/>
                  <a:pt x="39" y="19"/>
                  <a:pt x="40" y="17"/>
                </a:cubicBezTo>
                <a:cubicBezTo>
                  <a:pt x="41" y="16"/>
                  <a:pt x="40" y="13"/>
                  <a:pt x="42" y="13"/>
                </a:cubicBezTo>
                <a:cubicBezTo>
                  <a:pt x="44" y="13"/>
                  <a:pt x="50" y="12"/>
                  <a:pt x="51" y="10"/>
                </a:cubicBezTo>
                <a:cubicBezTo>
                  <a:pt x="52" y="9"/>
                  <a:pt x="51" y="3"/>
                  <a:pt x="52" y="3"/>
                </a:cubicBezTo>
                <a:cubicBezTo>
                  <a:pt x="53" y="2"/>
                  <a:pt x="56" y="1"/>
                  <a:pt x="59" y="0"/>
                </a:cubicBezTo>
                <a:cubicBezTo>
                  <a:pt x="59" y="1"/>
                  <a:pt x="66" y="9"/>
                  <a:pt x="68" y="10"/>
                </a:cubicBezTo>
                <a:cubicBezTo>
                  <a:pt x="70" y="11"/>
                  <a:pt x="74" y="9"/>
                  <a:pt x="75" y="10"/>
                </a:cubicBezTo>
                <a:cubicBezTo>
                  <a:pt x="76" y="10"/>
                  <a:pt x="76" y="12"/>
                  <a:pt x="76" y="13"/>
                </a:cubicBezTo>
                <a:cubicBezTo>
                  <a:pt x="77" y="14"/>
                  <a:pt x="79" y="16"/>
                  <a:pt x="82" y="16"/>
                </a:cubicBezTo>
                <a:cubicBezTo>
                  <a:pt x="87" y="16"/>
                  <a:pt x="87" y="16"/>
                  <a:pt x="87" y="16"/>
                </a:cubicBezTo>
                <a:cubicBezTo>
                  <a:pt x="87" y="17"/>
                  <a:pt x="88" y="18"/>
                  <a:pt x="89" y="19"/>
                </a:cubicBezTo>
                <a:cubicBezTo>
                  <a:pt x="91" y="20"/>
                  <a:pt x="101" y="21"/>
                  <a:pt x="100" y="23"/>
                </a:cubicBezTo>
                <a:cubicBezTo>
                  <a:pt x="99" y="24"/>
                  <a:pt x="97" y="31"/>
                  <a:pt x="96" y="34"/>
                </a:cubicBezTo>
                <a:cubicBezTo>
                  <a:pt x="96" y="34"/>
                  <a:pt x="96" y="35"/>
                  <a:pt x="96" y="35"/>
                </a:cubicBezTo>
                <a:cubicBezTo>
                  <a:pt x="95" y="36"/>
                  <a:pt x="91" y="38"/>
                  <a:pt x="89" y="39"/>
                </a:cubicBezTo>
                <a:cubicBezTo>
                  <a:pt x="87" y="40"/>
                  <a:pt x="84" y="45"/>
                  <a:pt x="84" y="46"/>
                </a:cubicBezTo>
                <a:cubicBezTo>
                  <a:pt x="84" y="48"/>
                  <a:pt x="89" y="47"/>
                  <a:pt x="90" y="47"/>
                </a:cubicBezTo>
                <a:cubicBezTo>
                  <a:pt x="92" y="48"/>
                  <a:pt x="92" y="49"/>
                  <a:pt x="92" y="52"/>
                </a:cubicBezTo>
                <a:cubicBezTo>
                  <a:pt x="92" y="52"/>
                  <a:pt x="92" y="52"/>
                  <a:pt x="92" y="53"/>
                </a:cubicBezTo>
                <a:cubicBezTo>
                  <a:pt x="93" y="55"/>
                  <a:pt x="92" y="57"/>
                  <a:pt x="90" y="59"/>
                </a:cubicBezTo>
                <a:cubicBezTo>
                  <a:pt x="88" y="60"/>
                  <a:pt x="91" y="63"/>
                  <a:pt x="91" y="65"/>
                </a:cubicBezTo>
                <a:cubicBezTo>
                  <a:pt x="91" y="67"/>
                  <a:pt x="95" y="65"/>
                  <a:pt x="97" y="66"/>
                </a:cubicBezTo>
                <a:cubicBezTo>
                  <a:pt x="98" y="67"/>
                  <a:pt x="98" y="69"/>
                  <a:pt x="98" y="70"/>
                </a:cubicBezTo>
                <a:cubicBezTo>
                  <a:pt x="95" y="71"/>
                  <a:pt x="92" y="74"/>
                  <a:pt x="90" y="76"/>
                </a:cubicBezTo>
                <a:cubicBezTo>
                  <a:pt x="87" y="78"/>
                  <a:pt x="88" y="78"/>
                  <a:pt x="84" y="78"/>
                </a:cubicBezTo>
                <a:cubicBezTo>
                  <a:pt x="79" y="77"/>
                  <a:pt x="71" y="73"/>
                  <a:pt x="68" y="74"/>
                </a:cubicBezTo>
                <a:cubicBezTo>
                  <a:pt x="64" y="75"/>
                  <a:pt x="61" y="79"/>
                  <a:pt x="62" y="82"/>
                </a:cubicBezTo>
                <a:cubicBezTo>
                  <a:pt x="62" y="82"/>
                  <a:pt x="60" y="83"/>
                  <a:pt x="58" y="83"/>
                </a:cubicBezTo>
                <a:cubicBezTo>
                  <a:pt x="56" y="83"/>
                  <a:pt x="50" y="81"/>
                  <a:pt x="46" y="80"/>
                </a:cubicBezTo>
                <a:cubicBezTo>
                  <a:pt x="42" y="80"/>
                  <a:pt x="41" y="81"/>
                  <a:pt x="38" y="80"/>
                </a:cubicBezTo>
                <a:cubicBezTo>
                  <a:pt x="35" y="79"/>
                  <a:pt x="26" y="74"/>
                  <a:pt x="26" y="74"/>
                </a:cubicBezTo>
                <a:cubicBezTo>
                  <a:pt x="27" y="73"/>
                  <a:pt x="27" y="72"/>
                  <a:pt x="27" y="72"/>
                </a:cubicBezTo>
                <a:cubicBezTo>
                  <a:pt x="27" y="70"/>
                  <a:pt x="29" y="54"/>
                  <a:pt x="29" y="52"/>
                </a:cubicBezTo>
                <a:cubicBezTo>
                  <a:pt x="28" y="49"/>
                  <a:pt x="24" y="44"/>
                  <a:pt x="23" y="42"/>
                </a:cubicBezTo>
                <a:cubicBezTo>
                  <a:pt x="21" y="41"/>
                  <a:pt x="17" y="36"/>
                  <a:pt x="15" y="35"/>
                </a:cubicBezTo>
                <a:cubicBezTo>
                  <a:pt x="12" y="34"/>
                  <a:pt x="6" y="33"/>
                  <a:pt x="4" y="32"/>
                </a:cubicBezTo>
                <a:cubicBezTo>
                  <a:pt x="2" y="30"/>
                  <a:pt x="0" y="26"/>
                  <a:pt x="2" y="25"/>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7" name="Freeform 257"/>
          <p:cNvSpPr>
            <a:spLocks/>
          </p:cNvSpPr>
          <p:nvPr>
            <p:custDataLst>
              <p:tags r:id="rId183"/>
            </p:custDataLst>
          </p:nvPr>
        </p:nvSpPr>
        <p:spPr bwMode="auto">
          <a:xfrm>
            <a:off x="5634147" y="2970659"/>
            <a:ext cx="79024" cy="145756"/>
          </a:xfrm>
          <a:custGeom>
            <a:avLst/>
            <a:gdLst>
              <a:gd name="T0" fmla="*/ 2748 w 26"/>
              <a:gd name="T1" fmla="*/ 79058 h 45"/>
              <a:gd name="T2" fmla="*/ 21981 w 26"/>
              <a:gd name="T3" fmla="*/ 17568 h 45"/>
              <a:gd name="T4" fmla="*/ 16486 w 26"/>
              <a:gd name="T5" fmla="*/ 0 h 45"/>
              <a:gd name="T6" fmla="*/ 54952 w 26"/>
              <a:gd name="T7" fmla="*/ 0 h 45"/>
              <a:gd name="T8" fmla="*/ 71438 w 26"/>
              <a:gd name="T9" fmla="*/ 11712 h 45"/>
              <a:gd name="T10" fmla="*/ 54952 w 26"/>
              <a:gd name="T11" fmla="*/ 52705 h 45"/>
              <a:gd name="T12" fmla="*/ 49457 w 26"/>
              <a:gd name="T13" fmla="*/ 70274 h 45"/>
              <a:gd name="T14" fmla="*/ 52205 w 26"/>
              <a:gd name="T15" fmla="*/ 93698 h 45"/>
              <a:gd name="T16" fmla="*/ 46709 w 26"/>
              <a:gd name="T17" fmla="*/ 108338 h 45"/>
              <a:gd name="T18" fmla="*/ 43962 w 26"/>
              <a:gd name="T19" fmla="*/ 125907 h 45"/>
              <a:gd name="T20" fmla="*/ 43962 w 26"/>
              <a:gd name="T21" fmla="*/ 125907 h 45"/>
              <a:gd name="T22" fmla="*/ 38467 w 26"/>
              <a:gd name="T23" fmla="*/ 128835 h 45"/>
              <a:gd name="T24" fmla="*/ 16486 w 26"/>
              <a:gd name="T25" fmla="*/ 128835 h 45"/>
              <a:gd name="T26" fmla="*/ 16486 w 26"/>
              <a:gd name="T27" fmla="*/ 114195 h 45"/>
              <a:gd name="T28" fmla="*/ 16486 w 26"/>
              <a:gd name="T29" fmla="*/ 93698 h 45"/>
              <a:gd name="T30" fmla="*/ 8243 w 26"/>
              <a:gd name="T31" fmla="*/ 87842 h 45"/>
              <a:gd name="T32" fmla="*/ 2748 w 26"/>
              <a:gd name="T33" fmla="*/ 79058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45">
                <a:moveTo>
                  <a:pt x="1" y="27"/>
                </a:moveTo>
                <a:cubicBezTo>
                  <a:pt x="2" y="25"/>
                  <a:pt x="8" y="11"/>
                  <a:pt x="8" y="6"/>
                </a:cubicBezTo>
                <a:cubicBezTo>
                  <a:pt x="7" y="4"/>
                  <a:pt x="7" y="2"/>
                  <a:pt x="6" y="0"/>
                </a:cubicBezTo>
                <a:cubicBezTo>
                  <a:pt x="6" y="0"/>
                  <a:pt x="17" y="0"/>
                  <a:pt x="20" y="0"/>
                </a:cubicBezTo>
                <a:cubicBezTo>
                  <a:pt x="23" y="0"/>
                  <a:pt x="26" y="2"/>
                  <a:pt x="26" y="4"/>
                </a:cubicBezTo>
                <a:cubicBezTo>
                  <a:pt x="25" y="6"/>
                  <a:pt x="21" y="17"/>
                  <a:pt x="20" y="18"/>
                </a:cubicBezTo>
                <a:cubicBezTo>
                  <a:pt x="19" y="19"/>
                  <a:pt x="16" y="21"/>
                  <a:pt x="18" y="24"/>
                </a:cubicBezTo>
                <a:cubicBezTo>
                  <a:pt x="20" y="26"/>
                  <a:pt x="19" y="30"/>
                  <a:pt x="19" y="32"/>
                </a:cubicBezTo>
                <a:cubicBezTo>
                  <a:pt x="19" y="34"/>
                  <a:pt x="19" y="35"/>
                  <a:pt x="17" y="37"/>
                </a:cubicBezTo>
                <a:cubicBezTo>
                  <a:pt x="14" y="40"/>
                  <a:pt x="15" y="41"/>
                  <a:pt x="16" y="43"/>
                </a:cubicBezTo>
                <a:cubicBezTo>
                  <a:pt x="16" y="43"/>
                  <a:pt x="16" y="43"/>
                  <a:pt x="16" y="43"/>
                </a:cubicBezTo>
                <a:cubicBezTo>
                  <a:pt x="15" y="43"/>
                  <a:pt x="15" y="44"/>
                  <a:pt x="14" y="44"/>
                </a:cubicBezTo>
                <a:cubicBezTo>
                  <a:pt x="12" y="45"/>
                  <a:pt x="8" y="44"/>
                  <a:pt x="6" y="44"/>
                </a:cubicBezTo>
                <a:cubicBezTo>
                  <a:pt x="3" y="44"/>
                  <a:pt x="6" y="42"/>
                  <a:pt x="6" y="39"/>
                </a:cubicBezTo>
                <a:cubicBezTo>
                  <a:pt x="7" y="36"/>
                  <a:pt x="8" y="34"/>
                  <a:pt x="6" y="32"/>
                </a:cubicBezTo>
                <a:cubicBezTo>
                  <a:pt x="5" y="30"/>
                  <a:pt x="5" y="31"/>
                  <a:pt x="3" y="30"/>
                </a:cubicBezTo>
                <a:cubicBezTo>
                  <a:pt x="1" y="29"/>
                  <a:pt x="0" y="29"/>
                  <a:pt x="1" y="2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8" name="Freeform 259"/>
          <p:cNvSpPr>
            <a:spLocks/>
          </p:cNvSpPr>
          <p:nvPr>
            <p:custDataLst>
              <p:tags r:id="rId184"/>
            </p:custDataLst>
          </p:nvPr>
        </p:nvSpPr>
        <p:spPr bwMode="auto">
          <a:xfrm>
            <a:off x="5904585" y="3030367"/>
            <a:ext cx="33366" cy="19317"/>
          </a:xfrm>
          <a:custGeom>
            <a:avLst/>
            <a:gdLst>
              <a:gd name="T0" fmla="*/ 16453 w 11"/>
              <a:gd name="T1" fmla="*/ 17463 h 6"/>
              <a:gd name="T2" fmla="*/ 2742 w 11"/>
              <a:gd name="T3" fmla="*/ 11642 h 6"/>
              <a:gd name="T4" fmla="*/ 8226 w 11"/>
              <a:gd name="T5" fmla="*/ 2911 h 6"/>
              <a:gd name="T6" fmla="*/ 19195 w 11"/>
              <a:gd name="T7" fmla="*/ 0 h 6"/>
              <a:gd name="T8" fmla="*/ 27421 w 11"/>
              <a:gd name="T9" fmla="*/ 5821 h 6"/>
              <a:gd name="T10" fmla="*/ 16453 w 11"/>
              <a:gd name="T11" fmla="*/ 17463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6">
                <a:moveTo>
                  <a:pt x="6" y="6"/>
                </a:moveTo>
                <a:cubicBezTo>
                  <a:pt x="4" y="6"/>
                  <a:pt x="2" y="4"/>
                  <a:pt x="1" y="4"/>
                </a:cubicBezTo>
                <a:cubicBezTo>
                  <a:pt x="0" y="4"/>
                  <a:pt x="1" y="2"/>
                  <a:pt x="3" y="1"/>
                </a:cubicBezTo>
                <a:cubicBezTo>
                  <a:pt x="3" y="1"/>
                  <a:pt x="5" y="0"/>
                  <a:pt x="7" y="0"/>
                </a:cubicBezTo>
                <a:cubicBezTo>
                  <a:pt x="8" y="0"/>
                  <a:pt x="10" y="0"/>
                  <a:pt x="10" y="2"/>
                </a:cubicBezTo>
                <a:cubicBezTo>
                  <a:pt x="11" y="4"/>
                  <a:pt x="8" y="6"/>
                  <a:pt x="6" y="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89" name="Freeform 260"/>
          <p:cNvSpPr>
            <a:spLocks/>
          </p:cNvSpPr>
          <p:nvPr>
            <p:custDataLst>
              <p:tags r:id="rId185"/>
            </p:custDataLst>
          </p:nvPr>
        </p:nvSpPr>
        <p:spPr bwMode="auto">
          <a:xfrm>
            <a:off x="5637659" y="2917976"/>
            <a:ext cx="296780" cy="217756"/>
          </a:xfrm>
          <a:custGeom>
            <a:avLst/>
            <a:gdLst>
              <a:gd name="T0" fmla="*/ 13550 w 99"/>
              <a:gd name="T1" fmla="*/ 49213 h 68"/>
              <a:gd name="T2" fmla="*/ 13550 w 99"/>
              <a:gd name="T3" fmla="*/ 37633 h 68"/>
              <a:gd name="T4" fmla="*/ 2710 w 99"/>
              <a:gd name="T5" fmla="*/ 20264 h 68"/>
              <a:gd name="T6" fmla="*/ 21680 w 99"/>
              <a:gd name="T7" fmla="*/ 11579 h 68"/>
              <a:gd name="T8" fmla="*/ 32520 w 99"/>
              <a:gd name="T9" fmla="*/ 0 h 68"/>
              <a:gd name="T10" fmla="*/ 51490 w 99"/>
              <a:gd name="T11" fmla="*/ 5790 h 68"/>
              <a:gd name="T12" fmla="*/ 81299 w 99"/>
              <a:gd name="T13" fmla="*/ 5790 h 68"/>
              <a:gd name="T14" fmla="*/ 121949 w 99"/>
              <a:gd name="T15" fmla="*/ 8685 h 68"/>
              <a:gd name="T16" fmla="*/ 157179 w 99"/>
              <a:gd name="T17" fmla="*/ 11579 h 68"/>
              <a:gd name="T18" fmla="*/ 162599 w 99"/>
              <a:gd name="T19" fmla="*/ 8685 h 68"/>
              <a:gd name="T20" fmla="*/ 195119 w 99"/>
              <a:gd name="T21" fmla="*/ 26054 h 68"/>
              <a:gd name="T22" fmla="*/ 216798 w 99"/>
              <a:gd name="T23" fmla="*/ 26054 h 68"/>
              <a:gd name="T24" fmla="*/ 249318 w 99"/>
              <a:gd name="T25" fmla="*/ 34738 h 68"/>
              <a:gd name="T26" fmla="*/ 260158 w 99"/>
              <a:gd name="T27" fmla="*/ 31843 h 68"/>
              <a:gd name="T28" fmla="*/ 262868 w 99"/>
              <a:gd name="T29" fmla="*/ 49213 h 68"/>
              <a:gd name="T30" fmla="*/ 238478 w 99"/>
              <a:gd name="T31" fmla="*/ 66582 h 68"/>
              <a:gd name="T32" fmla="*/ 211378 w 99"/>
              <a:gd name="T33" fmla="*/ 78161 h 68"/>
              <a:gd name="T34" fmla="*/ 189699 w 99"/>
              <a:gd name="T35" fmla="*/ 115794 h 68"/>
              <a:gd name="T36" fmla="*/ 200539 w 99"/>
              <a:gd name="T37" fmla="*/ 133163 h 68"/>
              <a:gd name="T38" fmla="*/ 181569 w 99"/>
              <a:gd name="T39" fmla="*/ 159217 h 68"/>
              <a:gd name="T40" fmla="*/ 162599 w 99"/>
              <a:gd name="T41" fmla="*/ 170796 h 68"/>
              <a:gd name="T42" fmla="*/ 149049 w 99"/>
              <a:gd name="T43" fmla="*/ 185271 h 68"/>
              <a:gd name="T44" fmla="*/ 108399 w 99"/>
              <a:gd name="T45" fmla="*/ 185271 h 68"/>
              <a:gd name="T46" fmla="*/ 86719 w 99"/>
              <a:gd name="T47" fmla="*/ 188165 h 68"/>
              <a:gd name="T48" fmla="*/ 78589 w 99"/>
              <a:gd name="T49" fmla="*/ 196850 h 68"/>
              <a:gd name="T50" fmla="*/ 75879 w 99"/>
              <a:gd name="T51" fmla="*/ 196850 h 68"/>
              <a:gd name="T52" fmla="*/ 65040 w 99"/>
              <a:gd name="T53" fmla="*/ 182376 h 68"/>
              <a:gd name="T54" fmla="*/ 56910 w 99"/>
              <a:gd name="T55" fmla="*/ 170796 h 68"/>
              <a:gd name="T56" fmla="*/ 40650 w 99"/>
              <a:gd name="T57" fmla="*/ 173691 h 68"/>
              <a:gd name="T58" fmla="*/ 43360 w 99"/>
              <a:gd name="T59" fmla="*/ 156322 h 68"/>
              <a:gd name="T60" fmla="*/ 48780 w 99"/>
              <a:gd name="T61" fmla="*/ 141848 h 68"/>
              <a:gd name="T62" fmla="*/ 46070 w 99"/>
              <a:gd name="T63" fmla="*/ 118689 h 68"/>
              <a:gd name="T64" fmla="*/ 51490 w 99"/>
              <a:gd name="T65" fmla="*/ 101320 h 68"/>
              <a:gd name="T66" fmla="*/ 67749 w 99"/>
              <a:gd name="T67" fmla="*/ 60792 h 68"/>
              <a:gd name="T68" fmla="*/ 51490 w 99"/>
              <a:gd name="T69" fmla="*/ 49213 h 68"/>
              <a:gd name="T70" fmla="*/ 13550 w 99"/>
              <a:gd name="T71" fmla="*/ 49213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9" h="68">
                <a:moveTo>
                  <a:pt x="5" y="17"/>
                </a:moveTo>
                <a:cubicBezTo>
                  <a:pt x="5" y="15"/>
                  <a:pt x="5" y="14"/>
                  <a:pt x="5" y="13"/>
                </a:cubicBezTo>
                <a:cubicBezTo>
                  <a:pt x="4" y="11"/>
                  <a:pt x="0" y="9"/>
                  <a:pt x="1" y="7"/>
                </a:cubicBezTo>
                <a:cubicBezTo>
                  <a:pt x="3" y="5"/>
                  <a:pt x="6" y="4"/>
                  <a:pt x="8" y="4"/>
                </a:cubicBezTo>
                <a:cubicBezTo>
                  <a:pt x="9" y="4"/>
                  <a:pt x="9" y="0"/>
                  <a:pt x="12" y="0"/>
                </a:cubicBezTo>
                <a:cubicBezTo>
                  <a:pt x="15" y="0"/>
                  <a:pt x="18" y="2"/>
                  <a:pt x="19" y="2"/>
                </a:cubicBezTo>
                <a:cubicBezTo>
                  <a:pt x="21" y="2"/>
                  <a:pt x="27" y="2"/>
                  <a:pt x="30" y="2"/>
                </a:cubicBezTo>
                <a:cubicBezTo>
                  <a:pt x="33" y="2"/>
                  <a:pt x="41" y="3"/>
                  <a:pt x="45" y="3"/>
                </a:cubicBezTo>
                <a:cubicBezTo>
                  <a:pt x="49" y="3"/>
                  <a:pt x="56" y="5"/>
                  <a:pt x="58" y="4"/>
                </a:cubicBezTo>
                <a:cubicBezTo>
                  <a:pt x="59" y="4"/>
                  <a:pt x="60" y="3"/>
                  <a:pt x="60" y="3"/>
                </a:cubicBezTo>
                <a:cubicBezTo>
                  <a:pt x="60" y="3"/>
                  <a:pt x="69" y="8"/>
                  <a:pt x="72" y="9"/>
                </a:cubicBezTo>
                <a:cubicBezTo>
                  <a:pt x="75" y="10"/>
                  <a:pt x="76" y="9"/>
                  <a:pt x="80" y="9"/>
                </a:cubicBezTo>
                <a:cubicBezTo>
                  <a:pt x="84" y="10"/>
                  <a:pt x="90" y="12"/>
                  <a:pt x="92" y="12"/>
                </a:cubicBezTo>
                <a:cubicBezTo>
                  <a:pt x="94" y="12"/>
                  <a:pt x="96" y="11"/>
                  <a:pt x="96" y="11"/>
                </a:cubicBezTo>
                <a:cubicBezTo>
                  <a:pt x="96" y="14"/>
                  <a:pt x="99" y="16"/>
                  <a:pt x="97" y="17"/>
                </a:cubicBezTo>
                <a:cubicBezTo>
                  <a:pt x="96" y="19"/>
                  <a:pt x="90" y="22"/>
                  <a:pt x="88" y="23"/>
                </a:cubicBezTo>
                <a:cubicBezTo>
                  <a:pt x="86" y="23"/>
                  <a:pt x="80" y="25"/>
                  <a:pt x="78" y="27"/>
                </a:cubicBezTo>
                <a:cubicBezTo>
                  <a:pt x="77" y="29"/>
                  <a:pt x="69" y="38"/>
                  <a:pt x="70" y="40"/>
                </a:cubicBezTo>
                <a:cubicBezTo>
                  <a:pt x="70" y="42"/>
                  <a:pt x="74" y="44"/>
                  <a:pt x="74" y="46"/>
                </a:cubicBezTo>
                <a:cubicBezTo>
                  <a:pt x="74" y="48"/>
                  <a:pt x="67" y="52"/>
                  <a:pt x="67" y="55"/>
                </a:cubicBezTo>
                <a:cubicBezTo>
                  <a:pt x="67" y="57"/>
                  <a:pt x="63" y="58"/>
                  <a:pt x="60" y="59"/>
                </a:cubicBezTo>
                <a:cubicBezTo>
                  <a:pt x="58" y="60"/>
                  <a:pt x="58" y="64"/>
                  <a:pt x="55" y="64"/>
                </a:cubicBezTo>
                <a:cubicBezTo>
                  <a:pt x="52" y="64"/>
                  <a:pt x="42" y="63"/>
                  <a:pt x="40" y="64"/>
                </a:cubicBezTo>
                <a:cubicBezTo>
                  <a:pt x="37" y="65"/>
                  <a:pt x="33" y="64"/>
                  <a:pt x="32" y="65"/>
                </a:cubicBezTo>
                <a:cubicBezTo>
                  <a:pt x="31" y="66"/>
                  <a:pt x="31" y="68"/>
                  <a:pt x="29" y="68"/>
                </a:cubicBezTo>
                <a:cubicBezTo>
                  <a:pt x="29" y="68"/>
                  <a:pt x="29" y="68"/>
                  <a:pt x="28" y="68"/>
                </a:cubicBezTo>
                <a:cubicBezTo>
                  <a:pt x="26" y="68"/>
                  <a:pt x="25" y="66"/>
                  <a:pt x="24" y="63"/>
                </a:cubicBezTo>
                <a:cubicBezTo>
                  <a:pt x="23" y="60"/>
                  <a:pt x="24" y="59"/>
                  <a:pt x="21" y="59"/>
                </a:cubicBezTo>
                <a:cubicBezTo>
                  <a:pt x="18" y="58"/>
                  <a:pt x="17" y="59"/>
                  <a:pt x="15" y="60"/>
                </a:cubicBezTo>
                <a:cubicBezTo>
                  <a:pt x="14" y="58"/>
                  <a:pt x="13" y="57"/>
                  <a:pt x="16" y="54"/>
                </a:cubicBezTo>
                <a:cubicBezTo>
                  <a:pt x="18" y="52"/>
                  <a:pt x="18" y="51"/>
                  <a:pt x="18" y="49"/>
                </a:cubicBezTo>
                <a:cubicBezTo>
                  <a:pt x="18" y="47"/>
                  <a:pt x="19" y="43"/>
                  <a:pt x="17" y="41"/>
                </a:cubicBezTo>
                <a:cubicBezTo>
                  <a:pt x="15" y="38"/>
                  <a:pt x="18" y="36"/>
                  <a:pt x="19" y="35"/>
                </a:cubicBezTo>
                <a:cubicBezTo>
                  <a:pt x="20" y="34"/>
                  <a:pt x="24" y="23"/>
                  <a:pt x="25" y="21"/>
                </a:cubicBezTo>
                <a:cubicBezTo>
                  <a:pt x="25" y="19"/>
                  <a:pt x="22" y="17"/>
                  <a:pt x="19" y="17"/>
                </a:cubicBezTo>
                <a:cubicBezTo>
                  <a:pt x="16" y="17"/>
                  <a:pt x="5" y="17"/>
                  <a:pt x="5" y="1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0" name="Freeform 262"/>
          <p:cNvSpPr>
            <a:spLocks/>
          </p:cNvSpPr>
          <p:nvPr>
            <p:custDataLst>
              <p:tags r:id="rId186"/>
            </p:custDataLst>
          </p:nvPr>
        </p:nvSpPr>
        <p:spPr bwMode="auto">
          <a:xfrm>
            <a:off x="6324294" y="1567537"/>
            <a:ext cx="87805" cy="68488"/>
          </a:xfrm>
          <a:custGeom>
            <a:avLst/>
            <a:gdLst>
              <a:gd name="T0" fmla="*/ 0 w 29"/>
              <a:gd name="T1" fmla="*/ 14741 h 21"/>
              <a:gd name="T2" fmla="*/ 5474 w 29"/>
              <a:gd name="T3" fmla="*/ 8845 h 21"/>
              <a:gd name="T4" fmla="*/ 30108 w 29"/>
              <a:gd name="T5" fmla="*/ 0 h 21"/>
              <a:gd name="T6" fmla="*/ 38319 w 29"/>
              <a:gd name="T7" fmla="*/ 8845 h 21"/>
              <a:gd name="T8" fmla="*/ 54741 w 29"/>
              <a:gd name="T9" fmla="*/ 11793 h 21"/>
              <a:gd name="T10" fmla="*/ 60216 w 29"/>
              <a:gd name="T11" fmla="*/ 26534 h 21"/>
              <a:gd name="T12" fmla="*/ 79375 w 29"/>
              <a:gd name="T13" fmla="*/ 29482 h 21"/>
              <a:gd name="T14" fmla="*/ 46530 w 29"/>
              <a:gd name="T15" fmla="*/ 61913 h 21"/>
              <a:gd name="T16" fmla="*/ 41056 w 29"/>
              <a:gd name="T17" fmla="*/ 41275 h 21"/>
              <a:gd name="T18" fmla="*/ 8211 w 29"/>
              <a:gd name="T19" fmla="*/ 47172 h 21"/>
              <a:gd name="T20" fmla="*/ 21897 w 29"/>
              <a:gd name="T21" fmla="*/ 26534 h 21"/>
              <a:gd name="T22" fmla="*/ 0 w 29"/>
              <a:gd name="T23" fmla="*/ 14741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1">
                <a:moveTo>
                  <a:pt x="0" y="5"/>
                </a:moveTo>
                <a:cubicBezTo>
                  <a:pt x="0" y="3"/>
                  <a:pt x="2" y="3"/>
                  <a:pt x="2" y="3"/>
                </a:cubicBezTo>
                <a:cubicBezTo>
                  <a:pt x="2" y="3"/>
                  <a:pt x="10" y="1"/>
                  <a:pt x="11" y="0"/>
                </a:cubicBezTo>
                <a:cubicBezTo>
                  <a:pt x="13" y="0"/>
                  <a:pt x="13" y="3"/>
                  <a:pt x="14" y="3"/>
                </a:cubicBezTo>
                <a:cubicBezTo>
                  <a:pt x="15" y="3"/>
                  <a:pt x="19" y="4"/>
                  <a:pt x="20" y="4"/>
                </a:cubicBezTo>
                <a:cubicBezTo>
                  <a:pt x="21" y="4"/>
                  <a:pt x="21" y="9"/>
                  <a:pt x="22" y="9"/>
                </a:cubicBezTo>
                <a:cubicBezTo>
                  <a:pt x="23" y="9"/>
                  <a:pt x="29" y="9"/>
                  <a:pt x="29" y="10"/>
                </a:cubicBezTo>
                <a:cubicBezTo>
                  <a:pt x="29" y="10"/>
                  <a:pt x="17" y="21"/>
                  <a:pt x="17" y="21"/>
                </a:cubicBezTo>
                <a:cubicBezTo>
                  <a:pt x="16" y="20"/>
                  <a:pt x="16" y="14"/>
                  <a:pt x="15" y="14"/>
                </a:cubicBezTo>
                <a:cubicBezTo>
                  <a:pt x="15" y="13"/>
                  <a:pt x="3" y="17"/>
                  <a:pt x="3" y="16"/>
                </a:cubicBezTo>
                <a:cubicBezTo>
                  <a:pt x="2" y="16"/>
                  <a:pt x="9" y="10"/>
                  <a:pt x="8" y="9"/>
                </a:cubicBezTo>
                <a:cubicBezTo>
                  <a:pt x="7" y="8"/>
                  <a:pt x="1" y="6"/>
                  <a:pt x="0" y="5"/>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1" name="Freeform 263"/>
          <p:cNvSpPr>
            <a:spLocks/>
          </p:cNvSpPr>
          <p:nvPr>
            <p:custDataLst>
              <p:tags r:id="rId187"/>
            </p:custDataLst>
          </p:nvPr>
        </p:nvSpPr>
        <p:spPr bwMode="auto">
          <a:xfrm>
            <a:off x="6266341" y="1453390"/>
            <a:ext cx="214244" cy="73756"/>
          </a:xfrm>
          <a:custGeom>
            <a:avLst/>
            <a:gdLst>
              <a:gd name="T0" fmla="*/ 2728 w 71"/>
              <a:gd name="T1" fmla="*/ 20292 h 23"/>
              <a:gd name="T2" fmla="*/ 8183 w 71"/>
              <a:gd name="T3" fmla="*/ 14495 h 23"/>
              <a:gd name="T4" fmla="*/ 32734 w 71"/>
              <a:gd name="T5" fmla="*/ 14495 h 23"/>
              <a:gd name="T6" fmla="*/ 40917 w 71"/>
              <a:gd name="T7" fmla="*/ 0 h 23"/>
              <a:gd name="T8" fmla="*/ 68195 w 71"/>
              <a:gd name="T9" fmla="*/ 11596 h 23"/>
              <a:gd name="T10" fmla="*/ 92746 w 71"/>
              <a:gd name="T11" fmla="*/ 23191 h 23"/>
              <a:gd name="T12" fmla="*/ 100929 w 71"/>
              <a:gd name="T13" fmla="*/ 0 h 23"/>
              <a:gd name="T14" fmla="*/ 114568 w 71"/>
              <a:gd name="T15" fmla="*/ 8697 h 23"/>
              <a:gd name="T16" fmla="*/ 117296 w 71"/>
              <a:gd name="T17" fmla="*/ 17393 h 23"/>
              <a:gd name="T18" fmla="*/ 133663 w 71"/>
              <a:gd name="T19" fmla="*/ 5798 h 23"/>
              <a:gd name="T20" fmla="*/ 174580 w 71"/>
              <a:gd name="T21" fmla="*/ 14495 h 23"/>
              <a:gd name="T22" fmla="*/ 193675 w 71"/>
              <a:gd name="T23" fmla="*/ 23191 h 23"/>
              <a:gd name="T24" fmla="*/ 188219 w 71"/>
              <a:gd name="T25" fmla="*/ 37686 h 23"/>
              <a:gd name="T26" fmla="*/ 163669 w 71"/>
              <a:gd name="T27" fmla="*/ 43484 h 23"/>
              <a:gd name="T28" fmla="*/ 155486 w 71"/>
              <a:gd name="T29" fmla="*/ 60877 h 23"/>
              <a:gd name="T30" fmla="*/ 117296 w 71"/>
              <a:gd name="T31" fmla="*/ 66675 h 23"/>
              <a:gd name="T32" fmla="*/ 95474 w 71"/>
              <a:gd name="T33" fmla="*/ 57978 h 23"/>
              <a:gd name="T34" fmla="*/ 49101 w 71"/>
              <a:gd name="T35" fmla="*/ 52180 h 23"/>
              <a:gd name="T36" fmla="*/ 81835 w 71"/>
              <a:gd name="T37" fmla="*/ 40585 h 23"/>
              <a:gd name="T38" fmla="*/ 68195 w 71"/>
              <a:gd name="T39" fmla="*/ 31888 h 23"/>
              <a:gd name="T40" fmla="*/ 21823 w 71"/>
              <a:gd name="T41" fmla="*/ 37686 h 23"/>
              <a:gd name="T42" fmla="*/ 8183 w 71"/>
              <a:gd name="T43" fmla="*/ 28989 h 23"/>
              <a:gd name="T44" fmla="*/ 2728 w 71"/>
              <a:gd name="T45" fmla="*/ 20292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71" h="23">
                <a:moveTo>
                  <a:pt x="1" y="7"/>
                </a:moveTo>
                <a:cubicBezTo>
                  <a:pt x="0" y="6"/>
                  <a:pt x="3" y="5"/>
                  <a:pt x="3" y="5"/>
                </a:cubicBezTo>
                <a:cubicBezTo>
                  <a:pt x="4" y="5"/>
                  <a:pt x="10" y="6"/>
                  <a:pt x="12" y="5"/>
                </a:cubicBezTo>
                <a:cubicBezTo>
                  <a:pt x="13" y="5"/>
                  <a:pt x="13" y="0"/>
                  <a:pt x="15" y="0"/>
                </a:cubicBezTo>
                <a:cubicBezTo>
                  <a:pt x="18" y="1"/>
                  <a:pt x="22" y="4"/>
                  <a:pt x="25" y="4"/>
                </a:cubicBezTo>
                <a:cubicBezTo>
                  <a:pt x="28" y="4"/>
                  <a:pt x="34" y="9"/>
                  <a:pt x="34" y="8"/>
                </a:cubicBezTo>
                <a:cubicBezTo>
                  <a:pt x="34" y="7"/>
                  <a:pt x="35" y="0"/>
                  <a:pt x="37" y="0"/>
                </a:cubicBezTo>
                <a:cubicBezTo>
                  <a:pt x="39" y="0"/>
                  <a:pt x="42" y="2"/>
                  <a:pt x="42" y="3"/>
                </a:cubicBezTo>
                <a:cubicBezTo>
                  <a:pt x="42" y="3"/>
                  <a:pt x="42" y="6"/>
                  <a:pt x="43" y="6"/>
                </a:cubicBezTo>
                <a:cubicBezTo>
                  <a:pt x="44" y="6"/>
                  <a:pt x="47" y="2"/>
                  <a:pt x="49" y="2"/>
                </a:cubicBezTo>
                <a:cubicBezTo>
                  <a:pt x="51" y="3"/>
                  <a:pt x="63" y="5"/>
                  <a:pt x="64" y="5"/>
                </a:cubicBezTo>
                <a:cubicBezTo>
                  <a:pt x="65" y="5"/>
                  <a:pt x="70" y="6"/>
                  <a:pt x="71" y="8"/>
                </a:cubicBezTo>
                <a:cubicBezTo>
                  <a:pt x="71" y="10"/>
                  <a:pt x="70" y="13"/>
                  <a:pt x="69" y="13"/>
                </a:cubicBezTo>
                <a:cubicBezTo>
                  <a:pt x="69" y="13"/>
                  <a:pt x="60" y="14"/>
                  <a:pt x="60" y="15"/>
                </a:cubicBezTo>
                <a:cubicBezTo>
                  <a:pt x="59" y="17"/>
                  <a:pt x="61" y="22"/>
                  <a:pt x="57" y="21"/>
                </a:cubicBezTo>
                <a:cubicBezTo>
                  <a:pt x="54" y="21"/>
                  <a:pt x="47" y="23"/>
                  <a:pt x="43" y="23"/>
                </a:cubicBezTo>
                <a:cubicBezTo>
                  <a:pt x="39" y="22"/>
                  <a:pt x="37" y="20"/>
                  <a:pt x="35" y="20"/>
                </a:cubicBezTo>
                <a:cubicBezTo>
                  <a:pt x="34" y="20"/>
                  <a:pt x="19" y="19"/>
                  <a:pt x="18" y="18"/>
                </a:cubicBezTo>
                <a:cubicBezTo>
                  <a:pt x="17" y="17"/>
                  <a:pt x="30" y="15"/>
                  <a:pt x="30" y="14"/>
                </a:cubicBezTo>
                <a:cubicBezTo>
                  <a:pt x="30" y="13"/>
                  <a:pt x="25" y="11"/>
                  <a:pt x="25" y="11"/>
                </a:cubicBezTo>
                <a:cubicBezTo>
                  <a:pt x="25" y="11"/>
                  <a:pt x="10" y="14"/>
                  <a:pt x="8" y="13"/>
                </a:cubicBezTo>
                <a:cubicBezTo>
                  <a:pt x="6" y="12"/>
                  <a:pt x="4" y="11"/>
                  <a:pt x="3" y="10"/>
                </a:cubicBezTo>
                <a:cubicBezTo>
                  <a:pt x="2" y="9"/>
                  <a:pt x="1" y="7"/>
                  <a:pt x="1" y="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2" name="Freeform 264"/>
          <p:cNvSpPr>
            <a:spLocks/>
          </p:cNvSpPr>
          <p:nvPr>
            <p:custDataLst>
              <p:tags r:id="rId188"/>
            </p:custDataLst>
          </p:nvPr>
        </p:nvSpPr>
        <p:spPr bwMode="auto">
          <a:xfrm>
            <a:off x="6101268" y="1476221"/>
            <a:ext cx="251122" cy="191415"/>
          </a:xfrm>
          <a:custGeom>
            <a:avLst/>
            <a:gdLst>
              <a:gd name="T0" fmla="*/ 0 w 83"/>
              <a:gd name="T1" fmla="*/ 20188 h 60"/>
              <a:gd name="T2" fmla="*/ 16411 w 83"/>
              <a:gd name="T3" fmla="*/ 14420 h 60"/>
              <a:gd name="T4" fmla="*/ 38291 w 83"/>
              <a:gd name="T5" fmla="*/ 17304 h 60"/>
              <a:gd name="T6" fmla="*/ 65642 w 83"/>
              <a:gd name="T7" fmla="*/ 11536 h 60"/>
              <a:gd name="T8" fmla="*/ 54702 w 83"/>
              <a:gd name="T9" fmla="*/ 25956 h 60"/>
              <a:gd name="T10" fmla="*/ 65642 w 83"/>
              <a:gd name="T11" fmla="*/ 37492 h 60"/>
              <a:gd name="T12" fmla="*/ 79318 w 83"/>
              <a:gd name="T13" fmla="*/ 17304 h 60"/>
              <a:gd name="T14" fmla="*/ 95728 w 83"/>
              <a:gd name="T15" fmla="*/ 31724 h 60"/>
              <a:gd name="T16" fmla="*/ 117609 w 83"/>
              <a:gd name="T17" fmla="*/ 57679 h 60"/>
              <a:gd name="T18" fmla="*/ 106669 w 83"/>
              <a:gd name="T19" fmla="*/ 11536 h 60"/>
              <a:gd name="T20" fmla="*/ 120344 w 83"/>
              <a:gd name="T21" fmla="*/ 2884 h 60"/>
              <a:gd name="T22" fmla="*/ 144960 w 83"/>
              <a:gd name="T23" fmla="*/ 20188 h 60"/>
              <a:gd name="T24" fmla="*/ 144960 w 83"/>
              <a:gd name="T25" fmla="*/ 40376 h 60"/>
              <a:gd name="T26" fmla="*/ 164106 w 83"/>
              <a:gd name="T27" fmla="*/ 31724 h 60"/>
              <a:gd name="T28" fmla="*/ 172311 w 83"/>
              <a:gd name="T29" fmla="*/ 49027 h 60"/>
              <a:gd name="T30" fmla="*/ 185987 w 83"/>
              <a:gd name="T31" fmla="*/ 46143 h 60"/>
              <a:gd name="T32" fmla="*/ 213338 w 83"/>
              <a:gd name="T33" fmla="*/ 57679 h 60"/>
              <a:gd name="T34" fmla="*/ 227013 w 83"/>
              <a:gd name="T35" fmla="*/ 66331 h 60"/>
              <a:gd name="T36" fmla="*/ 218808 w 83"/>
              <a:gd name="T37" fmla="*/ 72099 h 60"/>
              <a:gd name="T38" fmla="*/ 175046 w 83"/>
              <a:gd name="T39" fmla="*/ 80751 h 60"/>
              <a:gd name="T40" fmla="*/ 172311 w 83"/>
              <a:gd name="T41" fmla="*/ 100939 h 60"/>
              <a:gd name="T42" fmla="*/ 158636 w 83"/>
              <a:gd name="T43" fmla="*/ 103823 h 60"/>
              <a:gd name="T44" fmla="*/ 158636 w 83"/>
              <a:gd name="T45" fmla="*/ 124011 h 60"/>
              <a:gd name="T46" fmla="*/ 147695 w 83"/>
              <a:gd name="T47" fmla="*/ 126895 h 60"/>
              <a:gd name="T48" fmla="*/ 136755 w 83"/>
              <a:gd name="T49" fmla="*/ 158618 h 60"/>
              <a:gd name="T50" fmla="*/ 128550 w 83"/>
              <a:gd name="T51" fmla="*/ 173038 h 60"/>
              <a:gd name="T52" fmla="*/ 92993 w 83"/>
              <a:gd name="T53" fmla="*/ 152850 h 60"/>
              <a:gd name="T54" fmla="*/ 65642 w 83"/>
              <a:gd name="T55" fmla="*/ 132662 h 60"/>
              <a:gd name="T56" fmla="*/ 112139 w 83"/>
              <a:gd name="T57" fmla="*/ 124011 h 60"/>
              <a:gd name="T58" fmla="*/ 112139 w 83"/>
              <a:gd name="T59" fmla="*/ 109591 h 60"/>
              <a:gd name="T60" fmla="*/ 62907 w 83"/>
              <a:gd name="T61" fmla="*/ 112475 h 60"/>
              <a:gd name="T62" fmla="*/ 62907 w 83"/>
              <a:gd name="T63" fmla="*/ 103823 h 60"/>
              <a:gd name="T64" fmla="*/ 92993 w 83"/>
              <a:gd name="T65" fmla="*/ 95171 h 60"/>
              <a:gd name="T66" fmla="*/ 114874 w 83"/>
              <a:gd name="T67" fmla="*/ 89403 h 60"/>
              <a:gd name="T68" fmla="*/ 128550 w 83"/>
              <a:gd name="T69" fmla="*/ 89403 h 60"/>
              <a:gd name="T70" fmla="*/ 123079 w 83"/>
              <a:gd name="T71" fmla="*/ 77867 h 60"/>
              <a:gd name="T72" fmla="*/ 101199 w 83"/>
              <a:gd name="T73" fmla="*/ 74983 h 60"/>
              <a:gd name="T74" fmla="*/ 95728 w 83"/>
              <a:gd name="T75" fmla="*/ 66331 h 60"/>
              <a:gd name="T76" fmla="*/ 79318 w 83"/>
              <a:gd name="T77" fmla="*/ 69215 h 60"/>
              <a:gd name="T78" fmla="*/ 76583 w 83"/>
              <a:gd name="T79" fmla="*/ 80751 h 60"/>
              <a:gd name="T80" fmla="*/ 54702 w 83"/>
              <a:gd name="T81" fmla="*/ 86519 h 60"/>
              <a:gd name="T82" fmla="*/ 41026 w 83"/>
              <a:gd name="T83" fmla="*/ 83635 h 60"/>
              <a:gd name="T84" fmla="*/ 19146 w 83"/>
              <a:gd name="T85" fmla="*/ 63447 h 60"/>
              <a:gd name="T86" fmla="*/ 30086 w 83"/>
              <a:gd name="T87" fmla="*/ 57679 h 60"/>
              <a:gd name="T88" fmla="*/ 21881 w 83"/>
              <a:gd name="T89" fmla="*/ 43260 h 60"/>
              <a:gd name="T90" fmla="*/ 8205 w 83"/>
              <a:gd name="T91" fmla="*/ 46143 h 60"/>
              <a:gd name="T92" fmla="*/ 0 w 83"/>
              <a:gd name="T93" fmla="*/ 20188 h 6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3" h="60">
                <a:moveTo>
                  <a:pt x="0" y="7"/>
                </a:moveTo>
                <a:cubicBezTo>
                  <a:pt x="0" y="6"/>
                  <a:pt x="4" y="5"/>
                  <a:pt x="6" y="5"/>
                </a:cubicBezTo>
                <a:cubicBezTo>
                  <a:pt x="8" y="5"/>
                  <a:pt x="13" y="6"/>
                  <a:pt x="14" y="6"/>
                </a:cubicBezTo>
                <a:cubicBezTo>
                  <a:pt x="16" y="6"/>
                  <a:pt x="23" y="3"/>
                  <a:pt x="24" y="4"/>
                </a:cubicBezTo>
                <a:cubicBezTo>
                  <a:pt x="24" y="5"/>
                  <a:pt x="20" y="8"/>
                  <a:pt x="20" y="9"/>
                </a:cubicBezTo>
                <a:cubicBezTo>
                  <a:pt x="19" y="11"/>
                  <a:pt x="22" y="13"/>
                  <a:pt x="24" y="13"/>
                </a:cubicBezTo>
                <a:cubicBezTo>
                  <a:pt x="26" y="13"/>
                  <a:pt x="28" y="6"/>
                  <a:pt x="29" y="6"/>
                </a:cubicBezTo>
                <a:cubicBezTo>
                  <a:pt x="30" y="5"/>
                  <a:pt x="34" y="10"/>
                  <a:pt x="35" y="11"/>
                </a:cubicBezTo>
                <a:cubicBezTo>
                  <a:pt x="36" y="13"/>
                  <a:pt x="42" y="20"/>
                  <a:pt x="43" y="20"/>
                </a:cubicBezTo>
                <a:cubicBezTo>
                  <a:pt x="45" y="20"/>
                  <a:pt x="38" y="5"/>
                  <a:pt x="39" y="4"/>
                </a:cubicBezTo>
                <a:cubicBezTo>
                  <a:pt x="40" y="3"/>
                  <a:pt x="42" y="0"/>
                  <a:pt x="44" y="1"/>
                </a:cubicBezTo>
                <a:cubicBezTo>
                  <a:pt x="45" y="2"/>
                  <a:pt x="53" y="6"/>
                  <a:pt x="53" y="7"/>
                </a:cubicBezTo>
                <a:cubicBezTo>
                  <a:pt x="53" y="8"/>
                  <a:pt x="53" y="14"/>
                  <a:pt x="53" y="14"/>
                </a:cubicBezTo>
                <a:cubicBezTo>
                  <a:pt x="54" y="14"/>
                  <a:pt x="59" y="10"/>
                  <a:pt x="60" y="11"/>
                </a:cubicBezTo>
                <a:cubicBezTo>
                  <a:pt x="60" y="11"/>
                  <a:pt x="62" y="16"/>
                  <a:pt x="63" y="17"/>
                </a:cubicBezTo>
                <a:cubicBezTo>
                  <a:pt x="64" y="17"/>
                  <a:pt x="67" y="15"/>
                  <a:pt x="68" y="16"/>
                </a:cubicBezTo>
                <a:cubicBezTo>
                  <a:pt x="70" y="16"/>
                  <a:pt x="76" y="20"/>
                  <a:pt x="78" y="20"/>
                </a:cubicBezTo>
                <a:cubicBezTo>
                  <a:pt x="79" y="20"/>
                  <a:pt x="83" y="22"/>
                  <a:pt x="83" y="23"/>
                </a:cubicBezTo>
                <a:cubicBezTo>
                  <a:pt x="83" y="24"/>
                  <a:pt x="80" y="25"/>
                  <a:pt x="80" y="25"/>
                </a:cubicBezTo>
                <a:cubicBezTo>
                  <a:pt x="79" y="26"/>
                  <a:pt x="66" y="27"/>
                  <a:pt x="64" y="28"/>
                </a:cubicBezTo>
                <a:cubicBezTo>
                  <a:pt x="63" y="29"/>
                  <a:pt x="64" y="34"/>
                  <a:pt x="63" y="35"/>
                </a:cubicBezTo>
                <a:cubicBezTo>
                  <a:pt x="63" y="36"/>
                  <a:pt x="58" y="34"/>
                  <a:pt x="58" y="36"/>
                </a:cubicBezTo>
                <a:cubicBezTo>
                  <a:pt x="58" y="37"/>
                  <a:pt x="58" y="42"/>
                  <a:pt x="58" y="43"/>
                </a:cubicBezTo>
                <a:cubicBezTo>
                  <a:pt x="57" y="44"/>
                  <a:pt x="54" y="44"/>
                  <a:pt x="54" y="44"/>
                </a:cubicBezTo>
                <a:cubicBezTo>
                  <a:pt x="53" y="45"/>
                  <a:pt x="50" y="54"/>
                  <a:pt x="50" y="55"/>
                </a:cubicBezTo>
                <a:cubicBezTo>
                  <a:pt x="50" y="56"/>
                  <a:pt x="50" y="60"/>
                  <a:pt x="47" y="60"/>
                </a:cubicBezTo>
                <a:cubicBezTo>
                  <a:pt x="43" y="59"/>
                  <a:pt x="37" y="54"/>
                  <a:pt x="34" y="53"/>
                </a:cubicBezTo>
                <a:cubicBezTo>
                  <a:pt x="32" y="51"/>
                  <a:pt x="24" y="48"/>
                  <a:pt x="24" y="46"/>
                </a:cubicBezTo>
                <a:cubicBezTo>
                  <a:pt x="25" y="45"/>
                  <a:pt x="40" y="43"/>
                  <a:pt x="41" y="43"/>
                </a:cubicBezTo>
                <a:cubicBezTo>
                  <a:pt x="42" y="43"/>
                  <a:pt x="41" y="39"/>
                  <a:pt x="41" y="38"/>
                </a:cubicBezTo>
                <a:cubicBezTo>
                  <a:pt x="41" y="37"/>
                  <a:pt x="24" y="39"/>
                  <a:pt x="23" y="39"/>
                </a:cubicBezTo>
                <a:cubicBezTo>
                  <a:pt x="23" y="40"/>
                  <a:pt x="22" y="36"/>
                  <a:pt x="23" y="36"/>
                </a:cubicBezTo>
                <a:cubicBezTo>
                  <a:pt x="24" y="35"/>
                  <a:pt x="33" y="35"/>
                  <a:pt x="34" y="33"/>
                </a:cubicBezTo>
                <a:cubicBezTo>
                  <a:pt x="36" y="32"/>
                  <a:pt x="40" y="31"/>
                  <a:pt x="42" y="31"/>
                </a:cubicBezTo>
                <a:cubicBezTo>
                  <a:pt x="44" y="31"/>
                  <a:pt x="47" y="31"/>
                  <a:pt x="47" y="31"/>
                </a:cubicBezTo>
                <a:cubicBezTo>
                  <a:pt x="48" y="30"/>
                  <a:pt x="45" y="28"/>
                  <a:pt x="45" y="27"/>
                </a:cubicBezTo>
                <a:cubicBezTo>
                  <a:pt x="45" y="25"/>
                  <a:pt x="38" y="27"/>
                  <a:pt x="37" y="26"/>
                </a:cubicBezTo>
                <a:cubicBezTo>
                  <a:pt x="36" y="24"/>
                  <a:pt x="35" y="24"/>
                  <a:pt x="35" y="23"/>
                </a:cubicBezTo>
                <a:cubicBezTo>
                  <a:pt x="35" y="22"/>
                  <a:pt x="30" y="24"/>
                  <a:pt x="29" y="24"/>
                </a:cubicBezTo>
                <a:cubicBezTo>
                  <a:pt x="28" y="24"/>
                  <a:pt x="28" y="28"/>
                  <a:pt x="28" y="28"/>
                </a:cubicBezTo>
                <a:cubicBezTo>
                  <a:pt x="27" y="29"/>
                  <a:pt x="22" y="30"/>
                  <a:pt x="20" y="30"/>
                </a:cubicBezTo>
                <a:cubicBezTo>
                  <a:pt x="18" y="30"/>
                  <a:pt x="17" y="31"/>
                  <a:pt x="15" y="29"/>
                </a:cubicBezTo>
                <a:cubicBezTo>
                  <a:pt x="13" y="28"/>
                  <a:pt x="7" y="23"/>
                  <a:pt x="7" y="22"/>
                </a:cubicBezTo>
                <a:cubicBezTo>
                  <a:pt x="6" y="20"/>
                  <a:pt x="11" y="21"/>
                  <a:pt x="11" y="20"/>
                </a:cubicBezTo>
                <a:cubicBezTo>
                  <a:pt x="11" y="19"/>
                  <a:pt x="9" y="16"/>
                  <a:pt x="8" y="15"/>
                </a:cubicBezTo>
                <a:cubicBezTo>
                  <a:pt x="8" y="14"/>
                  <a:pt x="4" y="18"/>
                  <a:pt x="3" y="16"/>
                </a:cubicBezTo>
                <a:cubicBezTo>
                  <a:pt x="2" y="15"/>
                  <a:pt x="0" y="9"/>
                  <a:pt x="0" y="7"/>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3" name="Freeform 271"/>
          <p:cNvSpPr>
            <a:spLocks/>
          </p:cNvSpPr>
          <p:nvPr>
            <p:custDataLst>
              <p:tags r:id="rId189"/>
            </p:custDataLst>
          </p:nvPr>
        </p:nvSpPr>
        <p:spPr bwMode="auto">
          <a:xfrm>
            <a:off x="6355902" y="2392902"/>
            <a:ext cx="142244" cy="73756"/>
          </a:xfrm>
          <a:custGeom>
            <a:avLst/>
            <a:gdLst>
              <a:gd name="T0" fmla="*/ 5472 w 47"/>
              <a:gd name="T1" fmla="*/ 46383 h 23"/>
              <a:gd name="T2" fmla="*/ 5472 w 47"/>
              <a:gd name="T3" fmla="*/ 34787 h 23"/>
              <a:gd name="T4" fmla="*/ 16415 w 47"/>
              <a:gd name="T5" fmla="*/ 26090 h 23"/>
              <a:gd name="T6" fmla="*/ 35567 w 47"/>
              <a:gd name="T7" fmla="*/ 20292 h 23"/>
              <a:gd name="T8" fmla="*/ 41039 w 47"/>
              <a:gd name="T9" fmla="*/ 8697 h 23"/>
              <a:gd name="T10" fmla="*/ 73870 w 47"/>
              <a:gd name="T11" fmla="*/ 2899 h 23"/>
              <a:gd name="T12" fmla="*/ 106701 w 47"/>
              <a:gd name="T13" fmla="*/ 5798 h 23"/>
              <a:gd name="T14" fmla="*/ 128588 w 47"/>
              <a:gd name="T15" fmla="*/ 5798 h 23"/>
              <a:gd name="T16" fmla="*/ 117644 w 47"/>
              <a:gd name="T17" fmla="*/ 37686 h 23"/>
              <a:gd name="T18" fmla="*/ 120380 w 47"/>
              <a:gd name="T19" fmla="*/ 66675 h 23"/>
              <a:gd name="T20" fmla="*/ 95757 w 47"/>
              <a:gd name="T21" fmla="*/ 66675 h 23"/>
              <a:gd name="T22" fmla="*/ 79342 w 47"/>
              <a:gd name="T23" fmla="*/ 52180 h 23"/>
              <a:gd name="T24" fmla="*/ 57454 w 47"/>
              <a:gd name="T25" fmla="*/ 52180 h 23"/>
              <a:gd name="T26" fmla="*/ 57454 w 47"/>
              <a:gd name="T27" fmla="*/ 52180 h 23"/>
              <a:gd name="T28" fmla="*/ 57454 w 47"/>
              <a:gd name="T29" fmla="*/ 40585 h 23"/>
              <a:gd name="T30" fmla="*/ 46511 w 47"/>
              <a:gd name="T31" fmla="*/ 37686 h 23"/>
              <a:gd name="T32" fmla="*/ 32831 w 47"/>
              <a:gd name="T33" fmla="*/ 37686 h 23"/>
              <a:gd name="T34" fmla="*/ 5472 w 47"/>
              <a:gd name="T35" fmla="*/ 46383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23">
                <a:moveTo>
                  <a:pt x="2" y="16"/>
                </a:moveTo>
                <a:cubicBezTo>
                  <a:pt x="0" y="15"/>
                  <a:pt x="0" y="13"/>
                  <a:pt x="2" y="12"/>
                </a:cubicBezTo>
                <a:cubicBezTo>
                  <a:pt x="3" y="11"/>
                  <a:pt x="5" y="9"/>
                  <a:pt x="6" y="9"/>
                </a:cubicBezTo>
                <a:cubicBezTo>
                  <a:pt x="7" y="9"/>
                  <a:pt x="12" y="8"/>
                  <a:pt x="13" y="7"/>
                </a:cubicBezTo>
                <a:cubicBezTo>
                  <a:pt x="13" y="6"/>
                  <a:pt x="13" y="4"/>
                  <a:pt x="15" y="3"/>
                </a:cubicBezTo>
                <a:cubicBezTo>
                  <a:pt x="16" y="2"/>
                  <a:pt x="25" y="0"/>
                  <a:pt x="27" y="1"/>
                </a:cubicBezTo>
                <a:cubicBezTo>
                  <a:pt x="29" y="1"/>
                  <a:pt x="37" y="2"/>
                  <a:pt x="39" y="2"/>
                </a:cubicBezTo>
                <a:cubicBezTo>
                  <a:pt x="41" y="2"/>
                  <a:pt x="47" y="3"/>
                  <a:pt x="47" y="2"/>
                </a:cubicBezTo>
                <a:cubicBezTo>
                  <a:pt x="43" y="13"/>
                  <a:pt x="43" y="13"/>
                  <a:pt x="43" y="13"/>
                </a:cubicBezTo>
                <a:cubicBezTo>
                  <a:pt x="42" y="16"/>
                  <a:pt x="43" y="22"/>
                  <a:pt x="44" y="23"/>
                </a:cubicBezTo>
                <a:cubicBezTo>
                  <a:pt x="44" y="23"/>
                  <a:pt x="38" y="23"/>
                  <a:pt x="35" y="23"/>
                </a:cubicBezTo>
                <a:cubicBezTo>
                  <a:pt x="33" y="23"/>
                  <a:pt x="31" y="18"/>
                  <a:pt x="29" y="18"/>
                </a:cubicBezTo>
                <a:cubicBezTo>
                  <a:pt x="26" y="18"/>
                  <a:pt x="21" y="18"/>
                  <a:pt x="21" y="18"/>
                </a:cubicBezTo>
                <a:cubicBezTo>
                  <a:pt x="21" y="18"/>
                  <a:pt x="21" y="18"/>
                  <a:pt x="21" y="18"/>
                </a:cubicBezTo>
                <a:cubicBezTo>
                  <a:pt x="21" y="17"/>
                  <a:pt x="21" y="15"/>
                  <a:pt x="21" y="14"/>
                </a:cubicBezTo>
                <a:cubicBezTo>
                  <a:pt x="21" y="13"/>
                  <a:pt x="18" y="14"/>
                  <a:pt x="17" y="13"/>
                </a:cubicBezTo>
                <a:cubicBezTo>
                  <a:pt x="15" y="13"/>
                  <a:pt x="13" y="12"/>
                  <a:pt x="12" y="13"/>
                </a:cubicBezTo>
                <a:cubicBezTo>
                  <a:pt x="10" y="13"/>
                  <a:pt x="4" y="17"/>
                  <a:pt x="2" y="16"/>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4" name="Freeform 272"/>
          <p:cNvSpPr>
            <a:spLocks/>
          </p:cNvSpPr>
          <p:nvPr>
            <p:custDataLst>
              <p:tags r:id="rId190"/>
            </p:custDataLst>
          </p:nvPr>
        </p:nvSpPr>
        <p:spPr bwMode="auto">
          <a:xfrm>
            <a:off x="6336586" y="2510562"/>
            <a:ext cx="131707" cy="82537"/>
          </a:xfrm>
          <a:custGeom>
            <a:avLst/>
            <a:gdLst>
              <a:gd name="T0" fmla="*/ 0 w 43"/>
              <a:gd name="T1" fmla="*/ 5739 h 26"/>
              <a:gd name="T2" fmla="*/ 22151 w 43"/>
              <a:gd name="T3" fmla="*/ 0 h 26"/>
              <a:gd name="T4" fmla="*/ 69223 w 43"/>
              <a:gd name="T5" fmla="*/ 5739 h 26"/>
              <a:gd name="T6" fmla="*/ 102450 w 43"/>
              <a:gd name="T7" fmla="*/ 11479 h 26"/>
              <a:gd name="T8" fmla="*/ 119063 w 43"/>
              <a:gd name="T9" fmla="*/ 22958 h 26"/>
              <a:gd name="T10" fmla="*/ 116294 w 43"/>
              <a:gd name="T11" fmla="*/ 40176 h 26"/>
              <a:gd name="T12" fmla="*/ 102450 w 43"/>
              <a:gd name="T13" fmla="*/ 45916 h 26"/>
              <a:gd name="T14" fmla="*/ 96912 w 43"/>
              <a:gd name="T15" fmla="*/ 60264 h 26"/>
              <a:gd name="T16" fmla="*/ 80298 w 43"/>
              <a:gd name="T17" fmla="*/ 71743 h 26"/>
              <a:gd name="T18" fmla="*/ 52609 w 43"/>
              <a:gd name="T19" fmla="*/ 74613 h 26"/>
              <a:gd name="T20" fmla="*/ 52609 w 43"/>
              <a:gd name="T21" fmla="*/ 68874 h 26"/>
              <a:gd name="T22" fmla="*/ 38765 w 43"/>
              <a:gd name="T23" fmla="*/ 60264 h 26"/>
              <a:gd name="T24" fmla="*/ 38765 w 43"/>
              <a:gd name="T25" fmla="*/ 43046 h 26"/>
              <a:gd name="T26" fmla="*/ 2769 w 43"/>
              <a:gd name="T27" fmla="*/ 25828 h 26"/>
              <a:gd name="T28" fmla="*/ 0 w 43"/>
              <a:gd name="T29" fmla="*/ 5739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3" h="26">
                <a:moveTo>
                  <a:pt x="0" y="2"/>
                </a:moveTo>
                <a:cubicBezTo>
                  <a:pt x="0" y="2"/>
                  <a:pt x="5" y="0"/>
                  <a:pt x="8" y="0"/>
                </a:cubicBezTo>
                <a:cubicBezTo>
                  <a:pt x="10" y="0"/>
                  <a:pt x="23" y="2"/>
                  <a:pt x="25" y="2"/>
                </a:cubicBezTo>
                <a:cubicBezTo>
                  <a:pt x="26" y="2"/>
                  <a:pt x="35" y="4"/>
                  <a:pt x="37" y="4"/>
                </a:cubicBezTo>
                <a:cubicBezTo>
                  <a:pt x="39" y="4"/>
                  <a:pt x="41" y="8"/>
                  <a:pt x="43" y="8"/>
                </a:cubicBezTo>
                <a:cubicBezTo>
                  <a:pt x="42" y="14"/>
                  <a:pt x="42" y="14"/>
                  <a:pt x="42" y="14"/>
                </a:cubicBezTo>
                <a:cubicBezTo>
                  <a:pt x="37" y="16"/>
                  <a:pt x="37" y="16"/>
                  <a:pt x="37" y="16"/>
                </a:cubicBezTo>
                <a:cubicBezTo>
                  <a:pt x="37" y="16"/>
                  <a:pt x="36" y="20"/>
                  <a:pt x="35" y="21"/>
                </a:cubicBezTo>
                <a:cubicBezTo>
                  <a:pt x="34" y="22"/>
                  <a:pt x="30" y="23"/>
                  <a:pt x="29" y="25"/>
                </a:cubicBezTo>
                <a:cubicBezTo>
                  <a:pt x="27" y="26"/>
                  <a:pt x="19" y="26"/>
                  <a:pt x="19" y="26"/>
                </a:cubicBezTo>
                <a:cubicBezTo>
                  <a:pt x="19" y="25"/>
                  <a:pt x="19" y="25"/>
                  <a:pt x="19" y="24"/>
                </a:cubicBezTo>
                <a:cubicBezTo>
                  <a:pt x="19" y="23"/>
                  <a:pt x="15" y="21"/>
                  <a:pt x="14" y="21"/>
                </a:cubicBezTo>
                <a:cubicBezTo>
                  <a:pt x="14" y="21"/>
                  <a:pt x="15" y="16"/>
                  <a:pt x="14" y="15"/>
                </a:cubicBezTo>
                <a:cubicBezTo>
                  <a:pt x="13" y="14"/>
                  <a:pt x="1" y="9"/>
                  <a:pt x="1" y="9"/>
                </a:cubicBezTo>
                <a:cubicBezTo>
                  <a:pt x="1" y="8"/>
                  <a:pt x="0" y="5"/>
                  <a:pt x="0" y="2"/>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5" name="Freeform 273"/>
          <p:cNvSpPr>
            <a:spLocks/>
          </p:cNvSpPr>
          <p:nvPr>
            <p:custDataLst>
              <p:tags r:id="rId191"/>
            </p:custDataLst>
          </p:nvPr>
        </p:nvSpPr>
        <p:spPr bwMode="auto">
          <a:xfrm>
            <a:off x="6336586" y="2452611"/>
            <a:ext cx="163317" cy="82537"/>
          </a:xfrm>
          <a:custGeom>
            <a:avLst/>
            <a:gdLst>
              <a:gd name="T0" fmla="*/ 0 w 54"/>
              <a:gd name="T1" fmla="*/ 40176 h 26"/>
              <a:gd name="T2" fmla="*/ 8202 w 54"/>
              <a:gd name="T3" fmla="*/ 28697 h 26"/>
              <a:gd name="T4" fmla="*/ 13670 w 54"/>
              <a:gd name="T5" fmla="*/ 14349 h 26"/>
              <a:gd name="T6" fmla="*/ 30074 w 54"/>
              <a:gd name="T7" fmla="*/ 11479 h 26"/>
              <a:gd name="T8" fmla="*/ 43745 w 54"/>
              <a:gd name="T9" fmla="*/ 22958 h 26"/>
              <a:gd name="T10" fmla="*/ 57415 w 54"/>
              <a:gd name="T11" fmla="*/ 34437 h 26"/>
              <a:gd name="T12" fmla="*/ 73819 w 54"/>
              <a:gd name="T13" fmla="*/ 14349 h 26"/>
              <a:gd name="T14" fmla="*/ 73819 w 54"/>
              <a:gd name="T15" fmla="*/ 0 h 26"/>
              <a:gd name="T16" fmla="*/ 73819 w 54"/>
              <a:gd name="T17" fmla="*/ 0 h 26"/>
              <a:gd name="T18" fmla="*/ 95691 w 54"/>
              <a:gd name="T19" fmla="*/ 0 h 26"/>
              <a:gd name="T20" fmla="*/ 112096 w 54"/>
              <a:gd name="T21" fmla="*/ 14349 h 26"/>
              <a:gd name="T22" fmla="*/ 136702 w 54"/>
              <a:gd name="T23" fmla="*/ 14349 h 26"/>
              <a:gd name="T24" fmla="*/ 142170 w 54"/>
              <a:gd name="T25" fmla="*/ 37307 h 26"/>
              <a:gd name="T26" fmla="*/ 147638 w 54"/>
              <a:gd name="T27" fmla="*/ 60264 h 26"/>
              <a:gd name="T28" fmla="*/ 117564 w 54"/>
              <a:gd name="T29" fmla="*/ 74613 h 26"/>
              <a:gd name="T30" fmla="*/ 101159 w 54"/>
              <a:gd name="T31" fmla="*/ 63134 h 26"/>
              <a:gd name="T32" fmla="*/ 68351 w 54"/>
              <a:gd name="T33" fmla="*/ 57395 h 26"/>
              <a:gd name="T34" fmla="*/ 21872 w 54"/>
              <a:gd name="T35" fmla="*/ 51655 h 26"/>
              <a:gd name="T36" fmla="*/ 0 w 54"/>
              <a:gd name="T37" fmla="*/ 57395 h 26"/>
              <a:gd name="T38" fmla="*/ 0 w 54"/>
              <a:gd name="T39" fmla="*/ 40176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4" h="26">
                <a:moveTo>
                  <a:pt x="0" y="14"/>
                </a:moveTo>
                <a:cubicBezTo>
                  <a:pt x="1" y="12"/>
                  <a:pt x="3" y="12"/>
                  <a:pt x="3" y="10"/>
                </a:cubicBezTo>
                <a:cubicBezTo>
                  <a:pt x="3" y="9"/>
                  <a:pt x="4" y="5"/>
                  <a:pt x="5" y="5"/>
                </a:cubicBezTo>
                <a:cubicBezTo>
                  <a:pt x="6" y="5"/>
                  <a:pt x="10" y="3"/>
                  <a:pt x="11" y="4"/>
                </a:cubicBezTo>
                <a:cubicBezTo>
                  <a:pt x="12" y="4"/>
                  <a:pt x="16" y="7"/>
                  <a:pt x="16" y="8"/>
                </a:cubicBezTo>
                <a:cubicBezTo>
                  <a:pt x="16" y="9"/>
                  <a:pt x="19" y="12"/>
                  <a:pt x="21" y="12"/>
                </a:cubicBezTo>
                <a:cubicBezTo>
                  <a:pt x="23" y="12"/>
                  <a:pt x="27" y="7"/>
                  <a:pt x="27" y="5"/>
                </a:cubicBezTo>
                <a:cubicBezTo>
                  <a:pt x="27" y="5"/>
                  <a:pt x="27" y="2"/>
                  <a:pt x="27" y="0"/>
                </a:cubicBezTo>
                <a:cubicBezTo>
                  <a:pt x="27" y="0"/>
                  <a:pt x="27" y="0"/>
                  <a:pt x="27" y="0"/>
                </a:cubicBezTo>
                <a:cubicBezTo>
                  <a:pt x="27" y="0"/>
                  <a:pt x="32" y="0"/>
                  <a:pt x="35" y="0"/>
                </a:cubicBezTo>
                <a:cubicBezTo>
                  <a:pt x="37" y="0"/>
                  <a:pt x="39" y="5"/>
                  <a:pt x="41" y="5"/>
                </a:cubicBezTo>
                <a:cubicBezTo>
                  <a:pt x="44" y="5"/>
                  <a:pt x="50" y="5"/>
                  <a:pt x="50" y="5"/>
                </a:cubicBezTo>
                <a:cubicBezTo>
                  <a:pt x="51" y="5"/>
                  <a:pt x="52" y="11"/>
                  <a:pt x="52" y="13"/>
                </a:cubicBezTo>
                <a:cubicBezTo>
                  <a:pt x="53" y="15"/>
                  <a:pt x="53" y="21"/>
                  <a:pt x="54" y="21"/>
                </a:cubicBezTo>
                <a:cubicBezTo>
                  <a:pt x="54" y="21"/>
                  <a:pt x="45" y="26"/>
                  <a:pt x="43" y="26"/>
                </a:cubicBezTo>
                <a:cubicBezTo>
                  <a:pt x="41" y="26"/>
                  <a:pt x="39" y="22"/>
                  <a:pt x="37" y="22"/>
                </a:cubicBezTo>
                <a:cubicBezTo>
                  <a:pt x="35" y="22"/>
                  <a:pt x="26" y="20"/>
                  <a:pt x="25" y="20"/>
                </a:cubicBezTo>
                <a:cubicBezTo>
                  <a:pt x="23" y="20"/>
                  <a:pt x="10" y="18"/>
                  <a:pt x="8" y="18"/>
                </a:cubicBezTo>
                <a:cubicBezTo>
                  <a:pt x="5" y="18"/>
                  <a:pt x="0" y="20"/>
                  <a:pt x="0" y="20"/>
                </a:cubicBezTo>
                <a:cubicBezTo>
                  <a:pt x="0" y="17"/>
                  <a:pt x="0" y="15"/>
                  <a:pt x="0" y="14"/>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6" name="Freeform 274"/>
          <p:cNvSpPr>
            <a:spLocks/>
          </p:cNvSpPr>
          <p:nvPr>
            <p:custDataLst>
              <p:tags r:id="rId192"/>
            </p:custDataLst>
          </p:nvPr>
        </p:nvSpPr>
        <p:spPr bwMode="auto">
          <a:xfrm>
            <a:off x="6327805" y="1985488"/>
            <a:ext cx="251122" cy="398634"/>
          </a:xfrm>
          <a:custGeom>
            <a:avLst/>
            <a:gdLst>
              <a:gd name="T0" fmla="*/ 19146 w 83"/>
              <a:gd name="T1" fmla="*/ 58123 h 124"/>
              <a:gd name="T2" fmla="*/ 0 w 83"/>
              <a:gd name="T3" fmla="*/ 29062 h 124"/>
              <a:gd name="T4" fmla="*/ 10940 w 83"/>
              <a:gd name="T5" fmla="*/ 23249 h 124"/>
              <a:gd name="T6" fmla="*/ 41026 w 83"/>
              <a:gd name="T7" fmla="*/ 40686 h 124"/>
              <a:gd name="T8" fmla="*/ 68377 w 83"/>
              <a:gd name="T9" fmla="*/ 40686 h 124"/>
              <a:gd name="T10" fmla="*/ 92993 w 83"/>
              <a:gd name="T11" fmla="*/ 46498 h 124"/>
              <a:gd name="T12" fmla="*/ 106669 w 83"/>
              <a:gd name="T13" fmla="*/ 29062 h 124"/>
              <a:gd name="T14" fmla="*/ 120344 w 83"/>
              <a:gd name="T15" fmla="*/ 5812 h 124"/>
              <a:gd name="T16" fmla="*/ 142225 w 83"/>
              <a:gd name="T17" fmla="*/ 0 h 124"/>
              <a:gd name="T18" fmla="*/ 158636 w 83"/>
              <a:gd name="T19" fmla="*/ 5812 h 124"/>
              <a:gd name="T20" fmla="*/ 169576 w 83"/>
              <a:gd name="T21" fmla="*/ 17437 h 124"/>
              <a:gd name="T22" fmla="*/ 166841 w 83"/>
              <a:gd name="T23" fmla="*/ 34874 h 124"/>
              <a:gd name="T24" fmla="*/ 172311 w 83"/>
              <a:gd name="T25" fmla="*/ 37780 h 124"/>
              <a:gd name="T26" fmla="*/ 166841 w 83"/>
              <a:gd name="T27" fmla="*/ 52311 h 124"/>
              <a:gd name="T28" fmla="*/ 169576 w 83"/>
              <a:gd name="T29" fmla="*/ 66842 h 124"/>
              <a:gd name="T30" fmla="*/ 194192 w 83"/>
              <a:gd name="T31" fmla="*/ 84278 h 124"/>
              <a:gd name="T32" fmla="*/ 177781 w 83"/>
              <a:gd name="T33" fmla="*/ 113340 h 124"/>
              <a:gd name="T34" fmla="*/ 191457 w 83"/>
              <a:gd name="T35" fmla="*/ 139495 h 124"/>
              <a:gd name="T36" fmla="*/ 194192 w 83"/>
              <a:gd name="T37" fmla="*/ 162745 h 124"/>
              <a:gd name="T38" fmla="*/ 188722 w 83"/>
              <a:gd name="T39" fmla="*/ 191806 h 124"/>
              <a:gd name="T40" fmla="*/ 205132 w 83"/>
              <a:gd name="T41" fmla="*/ 209243 h 124"/>
              <a:gd name="T42" fmla="*/ 196927 w 83"/>
              <a:gd name="T43" fmla="*/ 229586 h 124"/>
              <a:gd name="T44" fmla="*/ 216073 w 83"/>
              <a:gd name="T45" fmla="*/ 244117 h 124"/>
              <a:gd name="T46" fmla="*/ 224278 w 83"/>
              <a:gd name="T47" fmla="*/ 264460 h 124"/>
              <a:gd name="T48" fmla="*/ 172311 w 83"/>
              <a:gd name="T49" fmla="*/ 316771 h 124"/>
              <a:gd name="T50" fmla="*/ 161371 w 83"/>
              <a:gd name="T51" fmla="*/ 331301 h 124"/>
              <a:gd name="T52" fmla="*/ 161371 w 83"/>
              <a:gd name="T53" fmla="*/ 331301 h 124"/>
              <a:gd name="T54" fmla="*/ 150430 w 83"/>
              <a:gd name="T55" fmla="*/ 337114 h 124"/>
              <a:gd name="T56" fmla="*/ 103934 w 83"/>
              <a:gd name="T57" fmla="*/ 345832 h 124"/>
              <a:gd name="T58" fmla="*/ 51967 w 83"/>
              <a:gd name="T59" fmla="*/ 357457 h 124"/>
              <a:gd name="T60" fmla="*/ 38291 w 83"/>
              <a:gd name="T61" fmla="*/ 345832 h 124"/>
              <a:gd name="T62" fmla="*/ 16411 w 83"/>
              <a:gd name="T63" fmla="*/ 342926 h 124"/>
              <a:gd name="T64" fmla="*/ 10940 w 83"/>
              <a:gd name="T65" fmla="*/ 334208 h 124"/>
              <a:gd name="T66" fmla="*/ 19146 w 83"/>
              <a:gd name="T67" fmla="*/ 302240 h 124"/>
              <a:gd name="T68" fmla="*/ 10940 w 83"/>
              <a:gd name="T69" fmla="*/ 273178 h 124"/>
              <a:gd name="T70" fmla="*/ 13675 w 83"/>
              <a:gd name="T71" fmla="*/ 252835 h 124"/>
              <a:gd name="T72" fmla="*/ 41026 w 83"/>
              <a:gd name="T73" fmla="*/ 232492 h 124"/>
              <a:gd name="T74" fmla="*/ 71113 w 83"/>
              <a:gd name="T75" fmla="*/ 206337 h 124"/>
              <a:gd name="T76" fmla="*/ 84788 w 83"/>
              <a:gd name="T77" fmla="*/ 191806 h 124"/>
              <a:gd name="T78" fmla="*/ 101199 w 83"/>
              <a:gd name="T79" fmla="*/ 188900 h 124"/>
              <a:gd name="T80" fmla="*/ 98463 w 83"/>
              <a:gd name="T81" fmla="*/ 162745 h 124"/>
              <a:gd name="T82" fmla="*/ 65642 w 83"/>
              <a:gd name="T83" fmla="*/ 154026 h 124"/>
              <a:gd name="T84" fmla="*/ 65642 w 83"/>
              <a:gd name="T85" fmla="*/ 154026 h 124"/>
              <a:gd name="T86" fmla="*/ 68377 w 83"/>
              <a:gd name="T87" fmla="*/ 130777 h 124"/>
              <a:gd name="T88" fmla="*/ 62907 w 83"/>
              <a:gd name="T89" fmla="*/ 98809 h 124"/>
              <a:gd name="T90" fmla="*/ 54702 w 83"/>
              <a:gd name="T91" fmla="*/ 72654 h 124"/>
              <a:gd name="T92" fmla="*/ 19146 w 83"/>
              <a:gd name="T93" fmla="*/ 58123 h 1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3" h="124">
                <a:moveTo>
                  <a:pt x="7" y="20"/>
                </a:moveTo>
                <a:cubicBezTo>
                  <a:pt x="0" y="10"/>
                  <a:pt x="0" y="10"/>
                  <a:pt x="0" y="10"/>
                </a:cubicBezTo>
                <a:cubicBezTo>
                  <a:pt x="2" y="9"/>
                  <a:pt x="4" y="8"/>
                  <a:pt x="4" y="8"/>
                </a:cubicBezTo>
                <a:cubicBezTo>
                  <a:pt x="6" y="8"/>
                  <a:pt x="13" y="14"/>
                  <a:pt x="15" y="14"/>
                </a:cubicBezTo>
                <a:cubicBezTo>
                  <a:pt x="17" y="15"/>
                  <a:pt x="23" y="14"/>
                  <a:pt x="25" y="14"/>
                </a:cubicBezTo>
                <a:cubicBezTo>
                  <a:pt x="26" y="14"/>
                  <a:pt x="33" y="18"/>
                  <a:pt x="34" y="16"/>
                </a:cubicBezTo>
                <a:cubicBezTo>
                  <a:pt x="36" y="14"/>
                  <a:pt x="39" y="12"/>
                  <a:pt x="39" y="10"/>
                </a:cubicBezTo>
                <a:cubicBezTo>
                  <a:pt x="39" y="8"/>
                  <a:pt x="43" y="3"/>
                  <a:pt x="44" y="2"/>
                </a:cubicBezTo>
                <a:cubicBezTo>
                  <a:pt x="44" y="1"/>
                  <a:pt x="51" y="0"/>
                  <a:pt x="52" y="0"/>
                </a:cubicBezTo>
                <a:cubicBezTo>
                  <a:pt x="53" y="0"/>
                  <a:pt x="56" y="1"/>
                  <a:pt x="58" y="2"/>
                </a:cubicBezTo>
                <a:cubicBezTo>
                  <a:pt x="60" y="3"/>
                  <a:pt x="62" y="4"/>
                  <a:pt x="62" y="6"/>
                </a:cubicBezTo>
                <a:cubicBezTo>
                  <a:pt x="62" y="8"/>
                  <a:pt x="59" y="11"/>
                  <a:pt x="61" y="12"/>
                </a:cubicBezTo>
                <a:cubicBezTo>
                  <a:pt x="62" y="12"/>
                  <a:pt x="62" y="12"/>
                  <a:pt x="63" y="13"/>
                </a:cubicBezTo>
                <a:cubicBezTo>
                  <a:pt x="61" y="18"/>
                  <a:pt x="61" y="18"/>
                  <a:pt x="61" y="18"/>
                </a:cubicBezTo>
                <a:cubicBezTo>
                  <a:pt x="61" y="18"/>
                  <a:pt x="61" y="21"/>
                  <a:pt x="62" y="23"/>
                </a:cubicBezTo>
                <a:cubicBezTo>
                  <a:pt x="64" y="25"/>
                  <a:pt x="71" y="27"/>
                  <a:pt x="71" y="29"/>
                </a:cubicBezTo>
                <a:cubicBezTo>
                  <a:pt x="71" y="32"/>
                  <a:pt x="65" y="36"/>
                  <a:pt x="65" y="39"/>
                </a:cubicBezTo>
                <a:cubicBezTo>
                  <a:pt x="64" y="42"/>
                  <a:pt x="69" y="45"/>
                  <a:pt x="70" y="48"/>
                </a:cubicBezTo>
                <a:cubicBezTo>
                  <a:pt x="71" y="50"/>
                  <a:pt x="71" y="54"/>
                  <a:pt x="71" y="56"/>
                </a:cubicBezTo>
                <a:cubicBezTo>
                  <a:pt x="71" y="59"/>
                  <a:pt x="70" y="62"/>
                  <a:pt x="69" y="66"/>
                </a:cubicBezTo>
                <a:cubicBezTo>
                  <a:pt x="69" y="69"/>
                  <a:pt x="74" y="70"/>
                  <a:pt x="75" y="72"/>
                </a:cubicBezTo>
                <a:cubicBezTo>
                  <a:pt x="76" y="74"/>
                  <a:pt x="71" y="78"/>
                  <a:pt x="72" y="79"/>
                </a:cubicBezTo>
                <a:cubicBezTo>
                  <a:pt x="72" y="81"/>
                  <a:pt x="77" y="83"/>
                  <a:pt x="79" y="84"/>
                </a:cubicBezTo>
                <a:cubicBezTo>
                  <a:pt x="82" y="85"/>
                  <a:pt x="83" y="88"/>
                  <a:pt x="82" y="91"/>
                </a:cubicBezTo>
                <a:cubicBezTo>
                  <a:pt x="81" y="94"/>
                  <a:pt x="65" y="107"/>
                  <a:pt x="63" y="109"/>
                </a:cubicBezTo>
                <a:cubicBezTo>
                  <a:pt x="59" y="114"/>
                  <a:pt x="59" y="114"/>
                  <a:pt x="59" y="114"/>
                </a:cubicBezTo>
                <a:cubicBezTo>
                  <a:pt x="59" y="114"/>
                  <a:pt x="59" y="114"/>
                  <a:pt x="59" y="114"/>
                </a:cubicBezTo>
                <a:cubicBezTo>
                  <a:pt x="58" y="115"/>
                  <a:pt x="56" y="116"/>
                  <a:pt x="55" y="116"/>
                </a:cubicBezTo>
                <a:cubicBezTo>
                  <a:pt x="53" y="116"/>
                  <a:pt x="40" y="119"/>
                  <a:pt x="38" y="119"/>
                </a:cubicBezTo>
                <a:cubicBezTo>
                  <a:pt x="36" y="119"/>
                  <a:pt x="20" y="124"/>
                  <a:pt x="19" y="123"/>
                </a:cubicBezTo>
                <a:cubicBezTo>
                  <a:pt x="17" y="122"/>
                  <a:pt x="16" y="120"/>
                  <a:pt x="14" y="119"/>
                </a:cubicBezTo>
                <a:cubicBezTo>
                  <a:pt x="13" y="118"/>
                  <a:pt x="8" y="118"/>
                  <a:pt x="6" y="118"/>
                </a:cubicBezTo>
                <a:cubicBezTo>
                  <a:pt x="4" y="118"/>
                  <a:pt x="4" y="116"/>
                  <a:pt x="4" y="115"/>
                </a:cubicBezTo>
                <a:cubicBezTo>
                  <a:pt x="5" y="113"/>
                  <a:pt x="7" y="106"/>
                  <a:pt x="7" y="104"/>
                </a:cubicBezTo>
                <a:cubicBezTo>
                  <a:pt x="6" y="102"/>
                  <a:pt x="5" y="97"/>
                  <a:pt x="4" y="94"/>
                </a:cubicBezTo>
                <a:cubicBezTo>
                  <a:pt x="4" y="92"/>
                  <a:pt x="4" y="87"/>
                  <a:pt x="5" y="87"/>
                </a:cubicBezTo>
                <a:cubicBezTo>
                  <a:pt x="6" y="86"/>
                  <a:pt x="13" y="81"/>
                  <a:pt x="15" y="80"/>
                </a:cubicBezTo>
                <a:cubicBezTo>
                  <a:pt x="16" y="79"/>
                  <a:pt x="24" y="72"/>
                  <a:pt x="26" y="71"/>
                </a:cubicBezTo>
                <a:cubicBezTo>
                  <a:pt x="27" y="70"/>
                  <a:pt x="30" y="66"/>
                  <a:pt x="31" y="66"/>
                </a:cubicBezTo>
                <a:cubicBezTo>
                  <a:pt x="32" y="65"/>
                  <a:pt x="36" y="67"/>
                  <a:pt x="37" y="65"/>
                </a:cubicBezTo>
                <a:cubicBezTo>
                  <a:pt x="38" y="63"/>
                  <a:pt x="37" y="58"/>
                  <a:pt x="36" y="56"/>
                </a:cubicBezTo>
                <a:cubicBezTo>
                  <a:pt x="35" y="55"/>
                  <a:pt x="28" y="53"/>
                  <a:pt x="24" y="53"/>
                </a:cubicBezTo>
                <a:cubicBezTo>
                  <a:pt x="24" y="53"/>
                  <a:pt x="24" y="53"/>
                  <a:pt x="24" y="53"/>
                </a:cubicBezTo>
                <a:cubicBezTo>
                  <a:pt x="24" y="52"/>
                  <a:pt x="25" y="47"/>
                  <a:pt x="25" y="45"/>
                </a:cubicBezTo>
                <a:cubicBezTo>
                  <a:pt x="25" y="43"/>
                  <a:pt x="24" y="36"/>
                  <a:pt x="23" y="34"/>
                </a:cubicBezTo>
                <a:cubicBezTo>
                  <a:pt x="21" y="32"/>
                  <a:pt x="23" y="27"/>
                  <a:pt x="20" y="25"/>
                </a:cubicBezTo>
                <a:cubicBezTo>
                  <a:pt x="17" y="23"/>
                  <a:pt x="8" y="21"/>
                  <a:pt x="7" y="20"/>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7" name="Freeform 275"/>
          <p:cNvSpPr>
            <a:spLocks/>
          </p:cNvSpPr>
          <p:nvPr>
            <p:custDataLst>
              <p:tags r:id="rId193"/>
            </p:custDataLst>
          </p:nvPr>
        </p:nvSpPr>
        <p:spPr bwMode="auto">
          <a:xfrm>
            <a:off x="6178538" y="2561489"/>
            <a:ext cx="231805" cy="191415"/>
          </a:xfrm>
          <a:custGeom>
            <a:avLst/>
            <a:gdLst>
              <a:gd name="T0" fmla="*/ 43543 w 77"/>
              <a:gd name="T1" fmla="*/ 17304 h 60"/>
              <a:gd name="T2" fmla="*/ 84364 w 77"/>
              <a:gd name="T3" fmla="*/ 0 h 60"/>
              <a:gd name="T4" fmla="*/ 95250 w 77"/>
              <a:gd name="T5" fmla="*/ 17304 h 60"/>
              <a:gd name="T6" fmla="*/ 117021 w 77"/>
              <a:gd name="T7" fmla="*/ 8652 h 60"/>
              <a:gd name="T8" fmla="*/ 119743 w 77"/>
              <a:gd name="T9" fmla="*/ 17304 h 60"/>
              <a:gd name="T10" fmla="*/ 182336 w 77"/>
              <a:gd name="T11" fmla="*/ 14420 h 60"/>
              <a:gd name="T12" fmla="*/ 195943 w 77"/>
              <a:gd name="T13" fmla="*/ 23072 h 60"/>
              <a:gd name="T14" fmla="*/ 195943 w 77"/>
              <a:gd name="T15" fmla="*/ 28840 h 60"/>
              <a:gd name="T16" fmla="*/ 204107 w 77"/>
              <a:gd name="T17" fmla="*/ 54795 h 60"/>
              <a:gd name="T18" fmla="*/ 187779 w 77"/>
              <a:gd name="T19" fmla="*/ 77867 h 60"/>
              <a:gd name="T20" fmla="*/ 201386 w 77"/>
              <a:gd name="T21" fmla="*/ 86519 h 60"/>
              <a:gd name="T22" fmla="*/ 198664 w 77"/>
              <a:gd name="T23" fmla="*/ 100939 h 60"/>
              <a:gd name="T24" fmla="*/ 198664 w 77"/>
              <a:gd name="T25" fmla="*/ 103823 h 60"/>
              <a:gd name="T26" fmla="*/ 209550 w 77"/>
              <a:gd name="T27" fmla="*/ 126895 h 60"/>
              <a:gd name="T28" fmla="*/ 198664 w 77"/>
              <a:gd name="T29" fmla="*/ 135546 h 60"/>
              <a:gd name="T30" fmla="*/ 182336 w 77"/>
              <a:gd name="T31" fmla="*/ 152850 h 60"/>
              <a:gd name="T32" fmla="*/ 185057 w 77"/>
              <a:gd name="T33" fmla="*/ 170154 h 60"/>
              <a:gd name="T34" fmla="*/ 176893 w 77"/>
              <a:gd name="T35" fmla="*/ 173038 h 60"/>
              <a:gd name="T36" fmla="*/ 163286 w 77"/>
              <a:gd name="T37" fmla="*/ 161502 h 60"/>
              <a:gd name="T38" fmla="*/ 146957 w 77"/>
              <a:gd name="T39" fmla="*/ 158618 h 60"/>
              <a:gd name="T40" fmla="*/ 122464 w 77"/>
              <a:gd name="T41" fmla="*/ 164386 h 60"/>
              <a:gd name="T42" fmla="*/ 111579 w 77"/>
              <a:gd name="T43" fmla="*/ 158618 h 60"/>
              <a:gd name="T44" fmla="*/ 97971 w 77"/>
              <a:gd name="T45" fmla="*/ 155734 h 60"/>
              <a:gd name="T46" fmla="*/ 92529 w 77"/>
              <a:gd name="T47" fmla="*/ 144198 h 60"/>
              <a:gd name="T48" fmla="*/ 76200 w 77"/>
              <a:gd name="T49" fmla="*/ 141314 h 60"/>
              <a:gd name="T50" fmla="*/ 59871 w 77"/>
              <a:gd name="T51" fmla="*/ 135546 h 60"/>
              <a:gd name="T52" fmla="*/ 51707 w 77"/>
              <a:gd name="T53" fmla="*/ 141314 h 60"/>
              <a:gd name="T54" fmla="*/ 43543 w 77"/>
              <a:gd name="T55" fmla="*/ 126895 h 60"/>
              <a:gd name="T56" fmla="*/ 27214 w 77"/>
              <a:gd name="T57" fmla="*/ 118243 h 60"/>
              <a:gd name="T58" fmla="*/ 19050 w 77"/>
              <a:gd name="T59" fmla="*/ 112475 h 60"/>
              <a:gd name="T60" fmla="*/ 19050 w 77"/>
              <a:gd name="T61" fmla="*/ 106707 h 60"/>
              <a:gd name="T62" fmla="*/ 10886 w 77"/>
              <a:gd name="T63" fmla="*/ 86519 h 60"/>
              <a:gd name="T64" fmla="*/ 10886 w 77"/>
              <a:gd name="T65" fmla="*/ 69215 h 60"/>
              <a:gd name="T66" fmla="*/ 0 w 77"/>
              <a:gd name="T67" fmla="*/ 57679 h 60"/>
              <a:gd name="T68" fmla="*/ 5443 w 77"/>
              <a:gd name="T69" fmla="*/ 43260 h 60"/>
              <a:gd name="T70" fmla="*/ 2721 w 77"/>
              <a:gd name="T71" fmla="*/ 28840 h 60"/>
              <a:gd name="T72" fmla="*/ 43543 w 77"/>
              <a:gd name="T73" fmla="*/ 17304 h 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7" h="60">
                <a:moveTo>
                  <a:pt x="16" y="6"/>
                </a:moveTo>
                <a:cubicBezTo>
                  <a:pt x="17" y="5"/>
                  <a:pt x="29" y="0"/>
                  <a:pt x="31" y="0"/>
                </a:cubicBezTo>
                <a:cubicBezTo>
                  <a:pt x="33" y="0"/>
                  <a:pt x="34" y="6"/>
                  <a:pt x="35" y="6"/>
                </a:cubicBezTo>
                <a:cubicBezTo>
                  <a:pt x="36" y="6"/>
                  <a:pt x="39" y="4"/>
                  <a:pt x="43" y="3"/>
                </a:cubicBezTo>
                <a:cubicBezTo>
                  <a:pt x="43" y="3"/>
                  <a:pt x="44" y="5"/>
                  <a:pt x="44" y="6"/>
                </a:cubicBezTo>
                <a:cubicBezTo>
                  <a:pt x="46" y="6"/>
                  <a:pt x="66" y="5"/>
                  <a:pt x="67" y="5"/>
                </a:cubicBezTo>
                <a:cubicBezTo>
                  <a:pt x="68" y="5"/>
                  <a:pt x="72" y="7"/>
                  <a:pt x="72" y="8"/>
                </a:cubicBezTo>
                <a:cubicBezTo>
                  <a:pt x="72" y="9"/>
                  <a:pt x="72" y="9"/>
                  <a:pt x="72" y="10"/>
                </a:cubicBezTo>
                <a:cubicBezTo>
                  <a:pt x="73" y="13"/>
                  <a:pt x="75" y="18"/>
                  <a:pt x="75" y="19"/>
                </a:cubicBezTo>
                <a:cubicBezTo>
                  <a:pt x="75" y="21"/>
                  <a:pt x="69" y="26"/>
                  <a:pt x="69" y="27"/>
                </a:cubicBezTo>
                <a:cubicBezTo>
                  <a:pt x="69" y="28"/>
                  <a:pt x="72" y="29"/>
                  <a:pt x="74" y="30"/>
                </a:cubicBezTo>
                <a:cubicBezTo>
                  <a:pt x="75" y="32"/>
                  <a:pt x="74" y="33"/>
                  <a:pt x="73" y="35"/>
                </a:cubicBezTo>
                <a:cubicBezTo>
                  <a:pt x="73" y="35"/>
                  <a:pt x="73" y="35"/>
                  <a:pt x="73" y="36"/>
                </a:cubicBezTo>
                <a:cubicBezTo>
                  <a:pt x="73" y="39"/>
                  <a:pt x="77" y="42"/>
                  <a:pt x="77" y="44"/>
                </a:cubicBezTo>
                <a:cubicBezTo>
                  <a:pt x="77" y="47"/>
                  <a:pt x="74" y="46"/>
                  <a:pt x="73" y="47"/>
                </a:cubicBezTo>
                <a:cubicBezTo>
                  <a:pt x="73" y="47"/>
                  <a:pt x="67" y="53"/>
                  <a:pt x="67" y="53"/>
                </a:cubicBezTo>
                <a:cubicBezTo>
                  <a:pt x="66" y="54"/>
                  <a:pt x="68" y="58"/>
                  <a:pt x="68" y="59"/>
                </a:cubicBezTo>
                <a:cubicBezTo>
                  <a:pt x="67" y="60"/>
                  <a:pt x="66" y="59"/>
                  <a:pt x="65" y="60"/>
                </a:cubicBezTo>
                <a:cubicBezTo>
                  <a:pt x="60" y="56"/>
                  <a:pt x="60" y="56"/>
                  <a:pt x="60" y="56"/>
                </a:cubicBezTo>
                <a:cubicBezTo>
                  <a:pt x="60" y="56"/>
                  <a:pt x="56" y="55"/>
                  <a:pt x="54" y="55"/>
                </a:cubicBezTo>
                <a:cubicBezTo>
                  <a:pt x="52" y="55"/>
                  <a:pt x="47" y="57"/>
                  <a:pt x="45" y="57"/>
                </a:cubicBezTo>
                <a:cubicBezTo>
                  <a:pt x="43" y="57"/>
                  <a:pt x="42" y="56"/>
                  <a:pt x="41" y="55"/>
                </a:cubicBezTo>
                <a:cubicBezTo>
                  <a:pt x="40" y="54"/>
                  <a:pt x="36" y="54"/>
                  <a:pt x="36" y="54"/>
                </a:cubicBezTo>
                <a:cubicBezTo>
                  <a:pt x="36" y="53"/>
                  <a:pt x="35" y="50"/>
                  <a:pt x="34" y="50"/>
                </a:cubicBezTo>
                <a:cubicBezTo>
                  <a:pt x="33" y="50"/>
                  <a:pt x="29" y="50"/>
                  <a:pt x="28" y="49"/>
                </a:cubicBezTo>
                <a:cubicBezTo>
                  <a:pt x="26" y="48"/>
                  <a:pt x="23" y="47"/>
                  <a:pt x="22" y="47"/>
                </a:cubicBezTo>
                <a:cubicBezTo>
                  <a:pt x="21" y="47"/>
                  <a:pt x="20" y="49"/>
                  <a:pt x="19" y="49"/>
                </a:cubicBezTo>
                <a:cubicBezTo>
                  <a:pt x="18" y="48"/>
                  <a:pt x="18" y="45"/>
                  <a:pt x="16" y="44"/>
                </a:cubicBezTo>
                <a:cubicBezTo>
                  <a:pt x="15" y="43"/>
                  <a:pt x="10" y="41"/>
                  <a:pt x="10" y="41"/>
                </a:cubicBezTo>
                <a:cubicBezTo>
                  <a:pt x="7" y="39"/>
                  <a:pt x="7" y="39"/>
                  <a:pt x="7" y="39"/>
                </a:cubicBezTo>
                <a:cubicBezTo>
                  <a:pt x="7" y="38"/>
                  <a:pt x="7" y="37"/>
                  <a:pt x="7" y="37"/>
                </a:cubicBezTo>
                <a:cubicBezTo>
                  <a:pt x="7" y="35"/>
                  <a:pt x="4" y="32"/>
                  <a:pt x="4" y="30"/>
                </a:cubicBezTo>
                <a:cubicBezTo>
                  <a:pt x="4" y="28"/>
                  <a:pt x="4" y="26"/>
                  <a:pt x="4" y="24"/>
                </a:cubicBezTo>
                <a:cubicBezTo>
                  <a:pt x="2" y="23"/>
                  <a:pt x="0" y="21"/>
                  <a:pt x="0" y="20"/>
                </a:cubicBezTo>
                <a:cubicBezTo>
                  <a:pt x="0" y="19"/>
                  <a:pt x="2" y="16"/>
                  <a:pt x="2" y="15"/>
                </a:cubicBezTo>
                <a:cubicBezTo>
                  <a:pt x="2" y="13"/>
                  <a:pt x="1" y="10"/>
                  <a:pt x="1" y="10"/>
                </a:cubicBezTo>
                <a:cubicBezTo>
                  <a:pt x="4" y="9"/>
                  <a:pt x="16" y="7"/>
                  <a:pt x="16" y="6"/>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8" name="Freeform 277"/>
          <p:cNvSpPr>
            <a:spLocks/>
          </p:cNvSpPr>
          <p:nvPr>
            <p:custDataLst>
              <p:tags r:id="rId194"/>
            </p:custDataLst>
          </p:nvPr>
        </p:nvSpPr>
        <p:spPr bwMode="auto">
          <a:xfrm>
            <a:off x="6266341" y="2449098"/>
            <a:ext cx="36878" cy="43902"/>
          </a:xfrm>
          <a:custGeom>
            <a:avLst/>
            <a:gdLst>
              <a:gd name="T0" fmla="*/ 2778 w 12"/>
              <a:gd name="T1" fmla="*/ 17009 h 14"/>
              <a:gd name="T2" fmla="*/ 30560 w 12"/>
              <a:gd name="T3" fmla="*/ 2835 h 14"/>
              <a:gd name="T4" fmla="*/ 27782 w 12"/>
              <a:gd name="T5" fmla="*/ 14174 h 14"/>
              <a:gd name="T6" fmla="*/ 19447 w 12"/>
              <a:gd name="T7" fmla="*/ 34018 h 14"/>
              <a:gd name="T8" fmla="*/ 2778 w 12"/>
              <a:gd name="T9" fmla="*/ 36853 h 14"/>
              <a:gd name="T10" fmla="*/ 2778 w 12"/>
              <a:gd name="T11" fmla="*/ 17009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4">
                <a:moveTo>
                  <a:pt x="1" y="6"/>
                </a:moveTo>
                <a:cubicBezTo>
                  <a:pt x="2" y="4"/>
                  <a:pt x="10" y="0"/>
                  <a:pt x="11" y="1"/>
                </a:cubicBezTo>
                <a:cubicBezTo>
                  <a:pt x="12" y="1"/>
                  <a:pt x="10" y="4"/>
                  <a:pt x="10" y="5"/>
                </a:cubicBezTo>
                <a:cubicBezTo>
                  <a:pt x="9" y="7"/>
                  <a:pt x="8" y="11"/>
                  <a:pt x="7" y="12"/>
                </a:cubicBezTo>
                <a:cubicBezTo>
                  <a:pt x="5" y="12"/>
                  <a:pt x="2" y="14"/>
                  <a:pt x="1" y="13"/>
                </a:cubicBezTo>
                <a:cubicBezTo>
                  <a:pt x="0" y="12"/>
                  <a:pt x="1" y="8"/>
                  <a:pt x="1" y="6"/>
                </a:cubicBezTo>
                <a:close/>
              </a:path>
            </a:pathLst>
          </a:custGeom>
          <a:solidFill>
            <a:schemeClr val="bg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99" name="Freeform 278"/>
          <p:cNvSpPr>
            <a:spLocks/>
          </p:cNvSpPr>
          <p:nvPr>
            <p:custDataLst>
              <p:tags r:id="rId195"/>
            </p:custDataLst>
          </p:nvPr>
        </p:nvSpPr>
        <p:spPr bwMode="auto">
          <a:xfrm>
            <a:off x="6117073" y="2020611"/>
            <a:ext cx="288000" cy="525073"/>
          </a:xfrm>
          <a:custGeom>
            <a:avLst/>
            <a:gdLst>
              <a:gd name="T0" fmla="*/ 0 w 96"/>
              <a:gd name="T1" fmla="*/ 366917 h 163"/>
              <a:gd name="T2" fmla="*/ 8136 w 96"/>
              <a:gd name="T3" fmla="*/ 358181 h 163"/>
              <a:gd name="T4" fmla="*/ 10848 w 96"/>
              <a:gd name="T5" fmla="*/ 331973 h 163"/>
              <a:gd name="T6" fmla="*/ 24408 w 96"/>
              <a:gd name="T7" fmla="*/ 320325 h 163"/>
              <a:gd name="T8" fmla="*/ 18984 w 96"/>
              <a:gd name="T9" fmla="*/ 297028 h 163"/>
              <a:gd name="T10" fmla="*/ 29832 w 96"/>
              <a:gd name="T11" fmla="*/ 282468 h 163"/>
              <a:gd name="T12" fmla="*/ 16272 w 96"/>
              <a:gd name="T13" fmla="*/ 259172 h 163"/>
              <a:gd name="T14" fmla="*/ 16272 w 96"/>
              <a:gd name="T15" fmla="*/ 209667 h 163"/>
              <a:gd name="T16" fmla="*/ 32544 w 96"/>
              <a:gd name="T17" fmla="*/ 192195 h 163"/>
              <a:gd name="T18" fmla="*/ 51528 w 96"/>
              <a:gd name="T19" fmla="*/ 195107 h 163"/>
              <a:gd name="T20" fmla="*/ 56952 w 96"/>
              <a:gd name="T21" fmla="*/ 174723 h 163"/>
              <a:gd name="T22" fmla="*/ 46104 w 96"/>
              <a:gd name="T23" fmla="*/ 163074 h 163"/>
              <a:gd name="T24" fmla="*/ 65088 w 96"/>
              <a:gd name="T25" fmla="*/ 142690 h 163"/>
              <a:gd name="T26" fmla="*/ 67799 w 96"/>
              <a:gd name="T27" fmla="*/ 116482 h 163"/>
              <a:gd name="T28" fmla="*/ 86783 w 96"/>
              <a:gd name="T29" fmla="*/ 107746 h 163"/>
              <a:gd name="T30" fmla="*/ 105767 w 96"/>
              <a:gd name="T31" fmla="*/ 78625 h 163"/>
              <a:gd name="T32" fmla="*/ 103055 w 96"/>
              <a:gd name="T33" fmla="*/ 64065 h 163"/>
              <a:gd name="T34" fmla="*/ 122039 w 96"/>
              <a:gd name="T35" fmla="*/ 40769 h 163"/>
              <a:gd name="T36" fmla="*/ 138311 w 96"/>
              <a:gd name="T37" fmla="*/ 46593 h 163"/>
              <a:gd name="T38" fmla="*/ 143735 w 96"/>
              <a:gd name="T39" fmla="*/ 23296 h 163"/>
              <a:gd name="T40" fmla="*/ 178991 w 96"/>
              <a:gd name="T41" fmla="*/ 26208 h 163"/>
              <a:gd name="T42" fmla="*/ 187127 w 96"/>
              <a:gd name="T43" fmla="*/ 2912 h 163"/>
              <a:gd name="T44" fmla="*/ 192551 w 96"/>
              <a:gd name="T45" fmla="*/ 0 h 163"/>
              <a:gd name="T46" fmla="*/ 211534 w 96"/>
              <a:gd name="T47" fmla="*/ 29120 h 163"/>
              <a:gd name="T48" fmla="*/ 246790 w 96"/>
              <a:gd name="T49" fmla="*/ 43681 h 163"/>
              <a:gd name="T50" fmla="*/ 254926 w 96"/>
              <a:gd name="T51" fmla="*/ 69889 h 163"/>
              <a:gd name="T52" fmla="*/ 260350 w 96"/>
              <a:gd name="T53" fmla="*/ 101922 h 163"/>
              <a:gd name="T54" fmla="*/ 257638 w 96"/>
              <a:gd name="T55" fmla="*/ 125218 h 163"/>
              <a:gd name="T56" fmla="*/ 225094 w 96"/>
              <a:gd name="T57" fmla="*/ 133954 h 163"/>
              <a:gd name="T58" fmla="*/ 211534 w 96"/>
              <a:gd name="T59" fmla="*/ 145602 h 163"/>
              <a:gd name="T60" fmla="*/ 200686 w 96"/>
              <a:gd name="T61" fmla="*/ 160162 h 163"/>
              <a:gd name="T62" fmla="*/ 208822 w 96"/>
              <a:gd name="T63" fmla="*/ 174723 h 163"/>
              <a:gd name="T64" fmla="*/ 189839 w 96"/>
              <a:gd name="T65" fmla="*/ 195107 h 163"/>
              <a:gd name="T66" fmla="*/ 149159 w 96"/>
              <a:gd name="T67" fmla="*/ 224227 h 163"/>
              <a:gd name="T68" fmla="*/ 124751 w 96"/>
              <a:gd name="T69" fmla="*/ 262084 h 163"/>
              <a:gd name="T70" fmla="*/ 122039 w 96"/>
              <a:gd name="T71" fmla="*/ 299940 h 163"/>
              <a:gd name="T72" fmla="*/ 141023 w 96"/>
              <a:gd name="T73" fmla="*/ 314501 h 163"/>
              <a:gd name="T74" fmla="*/ 162719 w 96"/>
              <a:gd name="T75" fmla="*/ 331973 h 163"/>
              <a:gd name="T76" fmla="*/ 154583 w 96"/>
              <a:gd name="T77" fmla="*/ 346533 h 163"/>
              <a:gd name="T78" fmla="*/ 138311 w 96"/>
              <a:gd name="T79" fmla="*/ 364005 h 163"/>
              <a:gd name="T80" fmla="*/ 113903 w 96"/>
              <a:gd name="T81" fmla="*/ 372741 h 163"/>
              <a:gd name="T82" fmla="*/ 111191 w 96"/>
              <a:gd name="T83" fmla="*/ 401862 h 163"/>
              <a:gd name="T84" fmla="*/ 94919 w 96"/>
              <a:gd name="T85" fmla="*/ 445543 h 163"/>
              <a:gd name="T86" fmla="*/ 89495 w 96"/>
              <a:gd name="T87" fmla="*/ 454279 h 163"/>
              <a:gd name="T88" fmla="*/ 65088 w 96"/>
              <a:gd name="T89" fmla="*/ 454279 h 163"/>
              <a:gd name="T90" fmla="*/ 62376 w 96"/>
              <a:gd name="T91" fmla="*/ 471751 h 163"/>
              <a:gd name="T92" fmla="*/ 37968 w 96"/>
              <a:gd name="T93" fmla="*/ 471751 h 163"/>
              <a:gd name="T94" fmla="*/ 29832 w 96"/>
              <a:gd name="T95" fmla="*/ 448455 h 163"/>
              <a:gd name="T96" fmla="*/ 32544 w 96"/>
              <a:gd name="T97" fmla="*/ 433894 h 163"/>
              <a:gd name="T98" fmla="*/ 16272 w 96"/>
              <a:gd name="T99" fmla="*/ 413510 h 163"/>
              <a:gd name="T100" fmla="*/ 0 w 96"/>
              <a:gd name="T101" fmla="*/ 369829 h 163"/>
              <a:gd name="T102" fmla="*/ 0 w 96"/>
              <a:gd name="T103" fmla="*/ 366917 h 16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6" h="163">
                <a:moveTo>
                  <a:pt x="0" y="126"/>
                </a:moveTo>
                <a:cubicBezTo>
                  <a:pt x="0" y="126"/>
                  <a:pt x="1" y="126"/>
                  <a:pt x="3" y="123"/>
                </a:cubicBezTo>
                <a:cubicBezTo>
                  <a:pt x="6" y="120"/>
                  <a:pt x="3" y="115"/>
                  <a:pt x="4" y="114"/>
                </a:cubicBezTo>
                <a:cubicBezTo>
                  <a:pt x="6" y="113"/>
                  <a:pt x="9" y="112"/>
                  <a:pt x="9" y="110"/>
                </a:cubicBezTo>
                <a:cubicBezTo>
                  <a:pt x="9" y="108"/>
                  <a:pt x="7" y="103"/>
                  <a:pt x="7" y="102"/>
                </a:cubicBezTo>
                <a:cubicBezTo>
                  <a:pt x="7" y="101"/>
                  <a:pt x="12" y="100"/>
                  <a:pt x="11" y="97"/>
                </a:cubicBezTo>
                <a:cubicBezTo>
                  <a:pt x="11" y="95"/>
                  <a:pt x="5" y="92"/>
                  <a:pt x="6" y="89"/>
                </a:cubicBezTo>
                <a:cubicBezTo>
                  <a:pt x="7" y="85"/>
                  <a:pt x="4" y="74"/>
                  <a:pt x="6" y="72"/>
                </a:cubicBezTo>
                <a:cubicBezTo>
                  <a:pt x="8" y="70"/>
                  <a:pt x="10" y="66"/>
                  <a:pt x="12" y="66"/>
                </a:cubicBezTo>
                <a:cubicBezTo>
                  <a:pt x="13" y="66"/>
                  <a:pt x="18" y="67"/>
                  <a:pt x="19" y="67"/>
                </a:cubicBezTo>
                <a:cubicBezTo>
                  <a:pt x="20" y="67"/>
                  <a:pt x="21" y="62"/>
                  <a:pt x="21" y="60"/>
                </a:cubicBezTo>
                <a:cubicBezTo>
                  <a:pt x="21" y="58"/>
                  <a:pt x="16" y="57"/>
                  <a:pt x="17" y="56"/>
                </a:cubicBezTo>
                <a:cubicBezTo>
                  <a:pt x="18" y="56"/>
                  <a:pt x="23" y="51"/>
                  <a:pt x="24" y="49"/>
                </a:cubicBezTo>
                <a:cubicBezTo>
                  <a:pt x="24" y="47"/>
                  <a:pt x="25" y="40"/>
                  <a:pt x="25" y="40"/>
                </a:cubicBezTo>
                <a:cubicBezTo>
                  <a:pt x="32" y="37"/>
                  <a:pt x="32" y="37"/>
                  <a:pt x="32" y="37"/>
                </a:cubicBezTo>
                <a:cubicBezTo>
                  <a:pt x="32" y="37"/>
                  <a:pt x="39" y="27"/>
                  <a:pt x="39" y="27"/>
                </a:cubicBezTo>
                <a:cubicBezTo>
                  <a:pt x="39" y="26"/>
                  <a:pt x="38" y="22"/>
                  <a:pt x="38" y="22"/>
                </a:cubicBezTo>
                <a:cubicBezTo>
                  <a:pt x="38" y="22"/>
                  <a:pt x="44" y="14"/>
                  <a:pt x="45" y="14"/>
                </a:cubicBezTo>
                <a:cubicBezTo>
                  <a:pt x="45" y="14"/>
                  <a:pt x="50" y="17"/>
                  <a:pt x="51" y="16"/>
                </a:cubicBezTo>
                <a:cubicBezTo>
                  <a:pt x="51" y="15"/>
                  <a:pt x="52" y="8"/>
                  <a:pt x="53" y="8"/>
                </a:cubicBezTo>
                <a:cubicBezTo>
                  <a:pt x="54" y="8"/>
                  <a:pt x="65" y="10"/>
                  <a:pt x="66" y="9"/>
                </a:cubicBezTo>
                <a:cubicBezTo>
                  <a:pt x="67" y="9"/>
                  <a:pt x="69" y="1"/>
                  <a:pt x="69" y="1"/>
                </a:cubicBezTo>
                <a:cubicBezTo>
                  <a:pt x="69" y="1"/>
                  <a:pt x="70" y="1"/>
                  <a:pt x="71" y="0"/>
                </a:cubicBezTo>
                <a:cubicBezTo>
                  <a:pt x="78" y="10"/>
                  <a:pt x="78" y="10"/>
                  <a:pt x="78" y="10"/>
                </a:cubicBezTo>
                <a:cubicBezTo>
                  <a:pt x="79" y="11"/>
                  <a:pt x="88" y="13"/>
                  <a:pt x="91" y="15"/>
                </a:cubicBezTo>
                <a:cubicBezTo>
                  <a:pt x="94" y="17"/>
                  <a:pt x="92" y="22"/>
                  <a:pt x="94" y="24"/>
                </a:cubicBezTo>
                <a:cubicBezTo>
                  <a:pt x="95" y="26"/>
                  <a:pt x="96" y="33"/>
                  <a:pt x="96" y="35"/>
                </a:cubicBezTo>
                <a:cubicBezTo>
                  <a:pt x="96" y="37"/>
                  <a:pt x="95" y="42"/>
                  <a:pt x="95" y="43"/>
                </a:cubicBezTo>
                <a:cubicBezTo>
                  <a:pt x="92" y="43"/>
                  <a:pt x="84" y="45"/>
                  <a:pt x="83" y="46"/>
                </a:cubicBezTo>
                <a:cubicBezTo>
                  <a:pt x="83" y="46"/>
                  <a:pt x="79" y="49"/>
                  <a:pt x="78" y="50"/>
                </a:cubicBezTo>
                <a:cubicBezTo>
                  <a:pt x="77" y="51"/>
                  <a:pt x="75" y="55"/>
                  <a:pt x="74" y="55"/>
                </a:cubicBezTo>
                <a:cubicBezTo>
                  <a:pt x="74" y="56"/>
                  <a:pt x="79" y="60"/>
                  <a:pt x="77" y="60"/>
                </a:cubicBezTo>
                <a:cubicBezTo>
                  <a:pt x="76" y="61"/>
                  <a:pt x="72" y="66"/>
                  <a:pt x="70" y="67"/>
                </a:cubicBezTo>
                <a:cubicBezTo>
                  <a:pt x="68" y="68"/>
                  <a:pt x="56" y="75"/>
                  <a:pt x="55" y="77"/>
                </a:cubicBezTo>
                <a:cubicBezTo>
                  <a:pt x="53" y="79"/>
                  <a:pt x="47" y="86"/>
                  <a:pt x="46" y="90"/>
                </a:cubicBezTo>
                <a:cubicBezTo>
                  <a:pt x="44" y="93"/>
                  <a:pt x="44" y="101"/>
                  <a:pt x="45" y="103"/>
                </a:cubicBezTo>
                <a:cubicBezTo>
                  <a:pt x="46" y="105"/>
                  <a:pt x="49" y="107"/>
                  <a:pt x="52" y="108"/>
                </a:cubicBezTo>
                <a:cubicBezTo>
                  <a:pt x="54" y="108"/>
                  <a:pt x="59" y="113"/>
                  <a:pt x="60" y="114"/>
                </a:cubicBezTo>
                <a:cubicBezTo>
                  <a:pt x="60" y="115"/>
                  <a:pt x="59" y="119"/>
                  <a:pt x="57" y="119"/>
                </a:cubicBezTo>
                <a:cubicBezTo>
                  <a:pt x="55" y="120"/>
                  <a:pt x="53" y="125"/>
                  <a:pt x="51" y="125"/>
                </a:cubicBezTo>
                <a:cubicBezTo>
                  <a:pt x="49" y="125"/>
                  <a:pt x="43" y="127"/>
                  <a:pt x="42" y="128"/>
                </a:cubicBezTo>
                <a:cubicBezTo>
                  <a:pt x="41" y="129"/>
                  <a:pt x="42" y="136"/>
                  <a:pt x="41" y="138"/>
                </a:cubicBezTo>
                <a:cubicBezTo>
                  <a:pt x="40" y="141"/>
                  <a:pt x="36" y="151"/>
                  <a:pt x="35" y="153"/>
                </a:cubicBezTo>
                <a:cubicBezTo>
                  <a:pt x="34" y="155"/>
                  <a:pt x="34" y="155"/>
                  <a:pt x="33" y="156"/>
                </a:cubicBezTo>
                <a:cubicBezTo>
                  <a:pt x="33" y="157"/>
                  <a:pt x="26" y="155"/>
                  <a:pt x="24" y="156"/>
                </a:cubicBezTo>
                <a:cubicBezTo>
                  <a:pt x="21" y="158"/>
                  <a:pt x="23" y="162"/>
                  <a:pt x="23" y="162"/>
                </a:cubicBezTo>
                <a:cubicBezTo>
                  <a:pt x="22" y="162"/>
                  <a:pt x="15" y="163"/>
                  <a:pt x="14" y="162"/>
                </a:cubicBezTo>
                <a:cubicBezTo>
                  <a:pt x="12" y="160"/>
                  <a:pt x="10" y="155"/>
                  <a:pt x="11" y="154"/>
                </a:cubicBezTo>
                <a:cubicBezTo>
                  <a:pt x="12" y="152"/>
                  <a:pt x="14" y="150"/>
                  <a:pt x="12" y="149"/>
                </a:cubicBezTo>
                <a:cubicBezTo>
                  <a:pt x="10" y="147"/>
                  <a:pt x="7" y="144"/>
                  <a:pt x="6" y="142"/>
                </a:cubicBezTo>
                <a:cubicBezTo>
                  <a:pt x="5" y="140"/>
                  <a:pt x="0" y="130"/>
                  <a:pt x="0" y="127"/>
                </a:cubicBezTo>
                <a:cubicBezTo>
                  <a:pt x="0" y="127"/>
                  <a:pt x="0" y="127"/>
                  <a:pt x="0" y="126"/>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0" name="Freeform 280"/>
          <p:cNvSpPr>
            <a:spLocks/>
          </p:cNvSpPr>
          <p:nvPr>
            <p:custDataLst>
              <p:tags r:id="rId196"/>
            </p:custDataLst>
          </p:nvPr>
        </p:nvSpPr>
        <p:spPr bwMode="auto">
          <a:xfrm>
            <a:off x="6094244" y="2522855"/>
            <a:ext cx="43902" cy="47415"/>
          </a:xfrm>
          <a:custGeom>
            <a:avLst/>
            <a:gdLst>
              <a:gd name="T0" fmla="*/ 2835 w 14"/>
              <a:gd name="T1" fmla="*/ 25718 h 15"/>
              <a:gd name="T2" fmla="*/ 0 w 14"/>
              <a:gd name="T3" fmla="*/ 14288 h 15"/>
              <a:gd name="T4" fmla="*/ 19844 w 14"/>
              <a:gd name="T5" fmla="*/ 5715 h 15"/>
              <a:gd name="T6" fmla="*/ 31183 w 14"/>
              <a:gd name="T7" fmla="*/ 0 h 15"/>
              <a:gd name="T8" fmla="*/ 36853 w 14"/>
              <a:gd name="T9" fmla="*/ 14288 h 15"/>
              <a:gd name="T10" fmla="*/ 31183 w 14"/>
              <a:gd name="T11" fmla="*/ 17145 h 15"/>
              <a:gd name="T12" fmla="*/ 36853 w 14"/>
              <a:gd name="T13" fmla="*/ 25718 h 15"/>
              <a:gd name="T14" fmla="*/ 31183 w 14"/>
              <a:gd name="T15" fmla="*/ 37148 h 15"/>
              <a:gd name="T16" fmla="*/ 28349 w 14"/>
              <a:gd name="T17" fmla="*/ 40005 h 15"/>
              <a:gd name="T18" fmla="*/ 19844 w 14"/>
              <a:gd name="T19" fmla="*/ 28575 h 15"/>
              <a:gd name="T20" fmla="*/ 2835 w 14"/>
              <a:gd name="T21" fmla="*/ 257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5">
                <a:moveTo>
                  <a:pt x="1" y="9"/>
                </a:moveTo>
                <a:cubicBezTo>
                  <a:pt x="0" y="9"/>
                  <a:pt x="0" y="5"/>
                  <a:pt x="0" y="5"/>
                </a:cubicBezTo>
                <a:cubicBezTo>
                  <a:pt x="0" y="4"/>
                  <a:pt x="6" y="2"/>
                  <a:pt x="7" y="2"/>
                </a:cubicBezTo>
                <a:cubicBezTo>
                  <a:pt x="8" y="1"/>
                  <a:pt x="10" y="0"/>
                  <a:pt x="11" y="0"/>
                </a:cubicBezTo>
                <a:cubicBezTo>
                  <a:pt x="13" y="0"/>
                  <a:pt x="12" y="4"/>
                  <a:pt x="13" y="5"/>
                </a:cubicBezTo>
                <a:cubicBezTo>
                  <a:pt x="14" y="6"/>
                  <a:pt x="11" y="5"/>
                  <a:pt x="11" y="6"/>
                </a:cubicBezTo>
                <a:cubicBezTo>
                  <a:pt x="11" y="7"/>
                  <a:pt x="13" y="9"/>
                  <a:pt x="13" y="9"/>
                </a:cubicBezTo>
                <a:cubicBezTo>
                  <a:pt x="14" y="10"/>
                  <a:pt x="12" y="12"/>
                  <a:pt x="11" y="13"/>
                </a:cubicBezTo>
                <a:cubicBezTo>
                  <a:pt x="10" y="13"/>
                  <a:pt x="11" y="15"/>
                  <a:pt x="10" y="14"/>
                </a:cubicBezTo>
                <a:cubicBezTo>
                  <a:pt x="9" y="14"/>
                  <a:pt x="8" y="10"/>
                  <a:pt x="7" y="10"/>
                </a:cubicBezTo>
                <a:cubicBezTo>
                  <a:pt x="6" y="10"/>
                  <a:pt x="2" y="10"/>
                  <a:pt x="1" y="9"/>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1" name="Freeform 281"/>
          <p:cNvSpPr>
            <a:spLocks/>
          </p:cNvSpPr>
          <p:nvPr>
            <p:custDataLst>
              <p:tags r:id="rId197"/>
            </p:custDataLst>
          </p:nvPr>
        </p:nvSpPr>
        <p:spPr bwMode="auto">
          <a:xfrm>
            <a:off x="6039805" y="2463147"/>
            <a:ext cx="68488" cy="98341"/>
          </a:xfrm>
          <a:custGeom>
            <a:avLst/>
            <a:gdLst>
              <a:gd name="T0" fmla="*/ 0 w 22"/>
              <a:gd name="T1" fmla="*/ 62230 h 30"/>
              <a:gd name="T2" fmla="*/ 5628 w 22"/>
              <a:gd name="T3" fmla="*/ 20743 h 30"/>
              <a:gd name="T4" fmla="*/ 30957 w 22"/>
              <a:gd name="T5" fmla="*/ 14817 h 30"/>
              <a:gd name="T6" fmla="*/ 42213 w 22"/>
              <a:gd name="T7" fmla="*/ 0 h 30"/>
              <a:gd name="T8" fmla="*/ 53470 w 22"/>
              <a:gd name="T9" fmla="*/ 5927 h 30"/>
              <a:gd name="T10" fmla="*/ 45028 w 22"/>
              <a:gd name="T11" fmla="*/ 29633 h 30"/>
              <a:gd name="T12" fmla="*/ 61913 w 22"/>
              <a:gd name="T13" fmla="*/ 44450 h 30"/>
              <a:gd name="T14" fmla="*/ 36585 w 22"/>
              <a:gd name="T15" fmla="*/ 59267 h 30"/>
              <a:gd name="T16" fmla="*/ 30957 w 22"/>
              <a:gd name="T17" fmla="*/ 77047 h 30"/>
              <a:gd name="T18" fmla="*/ 36585 w 22"/>
              <a:gd name="T19" fmla="*/ 88900 h 30"/>
              <a:gd name="T20" fmla="*/ 5628 w 22"/>
              <a:gd name="T21" fmla="*/ 88900 h 30"/>
              <a:gd name="T22" fmla="*/ 11257 w 22"/>
              <a:gd name="T23" fmla="*/ 74083 h 30"/>
              <a:gd name="T24" fmla="*/ 0 w 22"/>
              <a:gd name="T25" fmla="*/ 6223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0" y="21"/>
                </a:moveTo>
                <a:cubicBezTo>
                  <a:pt x="0" y="18"/>
                  <a:pt x="0" y="8"/>
                  <a:pt x="2" y="7"/>
                </a:cubicBezTo>
                <a:cubicBezTo>
                  <a:pt x="4" y="6"/>
                  <a:pt x="10" y="6"/>
                  <a:pt x="11" y="5"/>
                </a:cubicBezTo>
                <a:cubicBezTo>
                  <a:pt x="12" y="4"/>
                  <a:pt x="13" y="0"/>
                  <a:pt x="15" y="0"/>
                </a:cubicBezTo>
                <a:cubicBezTo>
                  <a:pt x="16" y="0"/>
                  <a:pt x="19" y="0"/>
                  <a:pt x="19" y="2"/>
                </a:cubicBezTo>
                <a:cubicBezTo>
                  <a:pt x="19" y="3"/>
                  <a:pt x="16" y="9"/>
                  <a:pt x="16" y="10"/>
                </a:cubicBezTo>
                <a:cubicBezTo>
                  <a:pt x="17" y="11"/>
                  <a:pt x="22" y="14"/>
                  <a:pt x="22" y="15"/>
                </a:cubicBezTo>
                <a:cubicBezTo>
                  <a:pt x="21" y="16"/>
                  <a:pt x="14" y="18"/>
                  <a:pt x="13" y="20"/>
                </a:cubicBezTo>
                <a:cubicBezTo>
                  <a:pt x="13" y="21"/>
                  <a:pt x="11" y="25"/>
                  <a:pt x="11" y="26"/>
                </a:cubicBezTo>
                <a:cubicBezTo>
                  <a:pt x="11" y="27"/>
                  <a:pt x="12" y="28"/>
                  <a:pt x="13" y="30"/>
                </a:cubicBezTo>
                <a:cubicBezTo>
                  <a:pt x="2" y="30"/>
                  <a:pt x="2" y="30"/>
                  <a:pt x="2" y="30"/>
                </a:cubicBezTo>
                <a:cubicBezTo>
                  <a:pt x="2" y="28"/>
                  <a:pt x="5" y="26"/>
                  <a:pt x="4" y="25"/>
                </a:cubicBezTo>
                <a:cubicBezTo>
                  <a:pt x="3" y="23"/>
                  <a:pt x="0" y="23"/>
                  <a:pt x="0" y="21"/>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2" name="Freeform 282"/>
          <p:cNvSpPr>
            <a:spLocks/>
          </p:cNvSpPr>
          <p:nvPr>
            <p:custDataLst>
              <p:tags r:id="rId198"/>
            </p:custDataLst>
          </p:nvPr>
        </p:nvSpPr>
        <p:spPr bwMode="auto">
          <a:xfrm>
            <a:off x="5943220" y="2605391"/>
            <a:ext cx="75512" cy="93073"/>
          </a:xfrm>
          <a:custGeom>
            <a:avLst/>
            <a:gdLst>
              <a:gd name="T0" fmla="*/ 2731 w 25"/>
              <a:gd name="T1" fmla="*/ 52224 h 29"/>
              <a:gd name="T2" fmla="*/ 16383 w 25"/>
              <a:gd name="T3" fmla="*/ 31914 h 29"/>
              <a:gd name="T4" fmla="*/ 24575 w 25"/>
              <a:gd name="T5" fmla="*/ 8704 h 29"/>
              <a:gd name="T6" fmla="*/ 54610 w 25"/>
              <a:gd name="T7" fmla="*/ 2901 h 29"/>
              <a:gd name="T8" fmla="*/ 62802 w 25"/>
              <a:gd name="T9" fmla="*/ 0 h 29"/>
              <a:gd name="T10" fmla="*/ 65532 w 25"/>
              <a:gd name="T11" fmla="*/ 11605 h 29"/>
              <a:gd name="T12" fmla="*/ 65532 w 25"/>
              <a:gd name="T13" fmla="*/ 26112 h 29"/>
              <a:gd name="T14" fmla="*/ 62802 w 25"/>
              <a:gd name="T15" fmla="*/ 46421 h 29"/>
              <a:gd name="T16" fmla="*/ 43688 w 25"/>
              <a:gd name="T17" fmla="*/ 49322 h 29"/>
              <a:gd name="T18" fmla="*/ 46419 w 25"/>
              <a:gd name="T19" fmla="*/ 60928 h 29"/>
              <a:gd name="T20" fmla="*/ 43688 w 25"/>
              <a:gd name="T21" fmla="*/ 75434 h 29"/>
              <a:gd name="T22" fmla="*/ 46419 w 25"/>
              <a:gd name="T23" fmla="*/ 84138 h 29"/>
              <a:gd name="T24" fmla="*/ 32766 w 25"/>
              <a:gd name="T25" fmla="*/ 81237 h 29"/>
              <a:gd name="T26" fmla="*/ 30036 w 25"/>
              <a:gd name="T27" fmla="*/ 66730 h 29"/>
              <a:gd name="T28" fmla="*/ 0 w 25"/>
              <a:gd name="T29" fmla="*/ 58026 h 29"/>
              <a:gd name="T30" fmla="*/ 2731 w 25"/>
              <a:gd name="T31" fmla="*/ 52224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5" h="29">
                <a:moveTo>
                  <a:pt x="1" y="18"/>
                </a:moveTo>
                <a:cubicBezTo>
                  <a:pt x="2" y="17"/>
                  <a:pt x="6" y="13"/>
                  <a:pt x="6" y="11"/>
                </a:cubicBezTo>
                <a:cubicBezTo>
                  <a:pt x="6" y="9"/>
                  <a:pt x="8" y="4"/>
                  <a:pt x="9" y="3"/>
                </a:cubicBezTo>
                <a:cubicBezTo>
                  <a:pt x="10" y="3"/>
                  <a:pt x="19" y="1"/>
                  <a:pt x="20" y="1"/>
                </a:cubicBezTo>
                <a:cubicBezTo>
                  <a:pt x="20" y="1"/>
                  <a:pt x="21" y="0"/>
                  <a:pt x="23" y="0"/>
                </a:cubicBezTo>
                <a:cubicBezTo>
                  <a:pt x="23" y="0"/>
                  <a:pt x="24" y="3"/>
                  <a:pt x="24" y="4"/>
                </a:cubicBezTo>
                <a:cubicBezTo>
                  <a:pt x="25" y="5"/>
                  <a:pt x="24" y="7"/>
                  <a:pt x="24" y="9"/>
                </a:cubicBezTo>
                <a:cubicBezTo>
                  <a:pt x="24" y="11"/>
                  <a:pt x="24" y="15"/>
                  <a:pt x="23" y="16"/>
                </a:cubicBezTo>
                <a:cubicBezTo>
                  <a:pt x="22" y="17"/>
                  <a:pt x="17" y="17"/>
                  <a:pt x="16" y="17"/>
                </a:cubicBezTo>
                <a:cubicBezTo>
                  <a:pt x="15" y="18"/>
                  <a:pt x="16" y="20"/>
                  <a:pt x="17" y="21"/>
                </a:cubicBezTo>
                <a:cubicBezTo>
                  <a:pt x="18" y="22"/>
                  <a:pt x="16" y="25"/>
                  <a:pt x="16" y="26"/>
                </a:cubicBezTo>
                <a:cubicBezTo>
                  <a:pt x="16" y="27"/>
                  <a:pt x="16" y="28"/>
                  <a:pt x="17" y="29"/>
                </a:cubicBezTo>
                <a:cubicBezTo>
                  <a:pt x="12" y="28"/>
                  <a:pt x="12" y="28"/>
                  <a:pt x="12" y="28"/>
                </a:cubicBezTo>
                <a:cubicBezTo>
                  <a:pt x="11" y="28"/>
                  <a:pt x="11" y="24"/>
                  <a:pt x="11" y="23"/>
                </a:cubicBezTo>
                <a:cubicBezTo>
                  <a:pt x="11" y="22"/>
                  <a:pt x="1" y="22"/>
                  <a:pt x="0" y="20"/>
                </a:cubicBezTo>
                <a:cubicBezTo>
                  <a:pt x="0" y="19"/>
                  <a:pt x="1" y="18"/>
                  <a:pt x="1" y="18"/>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3" name="Freeform 283"/>
          <p:cNvSpPr>
            <a:spLocks/>
          </p:cNvSpPr>
          <p:nvPr>
            <p:custDataLst>
              <p:tags r:id="rId199"/>
            </p:custDataLst>
          </p:nvPr>
        </p:nvSpPr>
        <p:spPr bwMode="auto">
          <a:xfrm>
            <a:off x="5964294" y="1925781"/>
            <a:ext cx="605853" cy="526829"/>
          </a:xfrm>
          <a:custGeom>
            <a:avLst/>
            <a:gdLst>
              <a:gd name="T0" fmla="*/ 10899 w 201"/>
              <a:gd name="T1" fmla="*/ 432423 h 163"/>
              <a:gd name="T2" fmla="*/ 2725 w 201"/>
              <a:gd name="T3" fmla="*/ 388597 h 163"/>
              <a:gd name="T4" fmla="*/ 2725 w 201"/>
              <a:gd name="T5" fmla="*/ 371066 h 163"/>
              <a:gd name="T6" fmla="*/ 5450 w 201"/>
              <a:gd name="T7" fmla="*/ 341848 h 163"/>
              <a:gd name="T8" fmla="*/ 35423 w 201"/>
              <a:gd name="T9" fmla="*/ 312630 h 163"/>
              <a:gd name="T10" fmla="*/ 54496 w 201"/>
              <a:gd name="T11" fmla="*/ 303865 h 163"/>
              <a:gd name="T12" fmla="*/ 73570 w 201"/>
              <a:gd name="T13" fmla="*/ 283413 h 163"/>
              <a:gd name="T14" fmla="*/ 92644 w 201"/>
              <a:gd name="T15" fmla="*/ 295100 h 163"/>
              <a:gd name="T16" fmla="*/ 125342 w 201"/>
              <a:gd name="T17" fmla="*/ 254195 h 163"/>
              <a:gd name="T18" fmla="*/ 133516 w 201"/>
              <a:gd name="T19" fmla="*/ 242508 h 163"/>
              <a:gd name="T20" fmla="*/ 147140 w 201"/>
              <a:gd name="T21" fmla="*/ 236664 h 163"/>
              <a:gd name="T22" fmla="*/ 158039 w 201"/>
              <a:gd name="T23" fmla="*/ 207446 h 163"/>
              <a:gd name="T24" fmla="*/ 177113 w 201"/>
              <a:gd name="T25" fmla="*/ 198681 h 163"/>
              <a:gd name="T26" fmla="*/ 166214 w 201"/>
              <a:gd name="T27" fmla="*/ 181150 h 163"/>
              <a:gd name="T28" fmla="*/ 198912 w 201"/>
              <a:gd name="T29" fmla="*/ 151933 h 163"/>
              <a:gd name="T30" fmla="*/ 234334 w 201"/>
              <a:gd name="T31" fmla="*/ 113949 h 163"/>
              <a:gd name="T32" fmla="*/ 182563 w 201"/>
              <a:gd name="T33" fmla="*/ 122715 h 163"/>
              <a:gd name="T34" fmla="*/ 188012 w 201"/>
              <a:gd name="T35" fmla="*/ 105184 h 163"/>
              <a:gd name="T36" fmla="*/ 209811 w 201"/>
              <a:gd name="T37" fmla="*/ 84732 h 163"/>
              <a:gd name="T38" fmla="*/ 237059 w 201"/>
              <a:gd name="T39" fmla="*/ 90575 h 163"/>
              <a:gd name="T40" fmla="*/ 261582 w 201"/>
              <a:gd name="T41" fmla="*/ 81810 h 163"/>
              <a:gd name="T42" fmla="*/ 275206 w 201"/>
              <a:gd name="T43" fmla="*/ 55514 h 163"/>
              <a:gd name="T44" fmla="*/ 316079 w 201"/>
              <a:gd name="T45" fmla="*/ 37983 h 163"/>
              <a:gd name="T46" fmla="*/ 337877 w 201"/>
              <a:gd name="T47" fmla="*/ 52592 h 163"/>
              <a:gd name="T48" fmla="*/ 359676 w 201"/>
              <a:gd name="T49" fmla="*/ 55514 h 163"/>
              <a:gd name="T50" fmla="*/ 373300 w 201"/>
              <a:gd name="T51" fmla="*/ 35061 h 163"/>
              <a:gd name="T52" fmla="*/ 386924 w 201"/>
              <a:gd name="T53" fmla="*/ 20452 h 163"/>
              <a:gd name="T54" fmla="*/ 411447 w 201"/>
              <a:gd name="T55" fmla="*/ 11687 h 163"/>
              <a:gd name="T56" fmla="*/ 438695 w 201"/>
              <a:gd name="T57" fmla="*/ 0 h 163"/>
              <a:gd name="T58" fmla="*/ 419622 w 201"/>
              <a:gd name="T59" fmla="*/ 43827 h 163"/>
              <a:gd name="T60" fmla="*/ 455044 w 201"/>
              <a:gd name="T61" fmla="*/ 5844 h 163"/>
              <a:gd name="T62" fmla="*/ 474118 w 201"/>
              <a:gd name="T63" fmla="*/ 14609 h 163"/>
              <a:gd name="T64" fmla="*/ 490467 w 201"/>
              <a:gd name="T65" fmla="*/ 5844 h 163"/>
              <a:gd name="T66" fmla="*/ 506816 w 201"/>
              <a:gd name="T67" fmla="*/ 14609 h 163"/>
              <a:gd name="T68" fmla="*/ 544963 w 201"/>
              <a:gd name="T69" fmla="*/ 35061 h 163"/>
              <a:gd name="T70" fmla="*/ 498641 w 201"/>
              <a:gd name="T71" fmla="*/ 40905 h 163"/>
              <a:gd name="T72" fmla="*/ 528614 w 201"/>
              <a:gd name="T73" fmla="*/ 55514 h 163"/>
              <a:gd name="T74" fmla="*/ 525889 w 201"/>
              <a:gd name="T75" fmla="*/ 73044 h 163"/>
              <a:gd name="T76" fmla="*/ 501366 w 201"/>
              <a:gd name="T77" fmla="*/ 90575 h 163"/>
              <a:gd name="T78" fmla="*/ 498641 w 201"/>
              <a:gd name="T79" fmla="*/ 70123 h 163"/>
              <a:gd name="T80" fmla="*/ 471393 w 201"/>
              <a:gd name="T81" fmla="*/ 52592 h 163"/>
              <a:gd name="T82" fmla="*/ 435971 w 201"/>
              <a:gd name="T83" fmla="*/ 81810 h 163"/>
              <a:gd name="T84" fmla="*/ 397823 w 201"/>
              <a:gd name="T85" fmla="*/ 93497 h 163"/>
              <a:gd name="T86" fmla="*/ 340602 w 201"/>
              <a:gd name="T87" fmla="*/ 75966 h 163"/>
              <a:gd name="T88" fmla="*/ 324253 w 201"/>
              <a:gd name="T89" fmla="*/ 84732 h 163"/>
              <a:gd name="T90" fmla="*/ 280656 w 201"/>
              <a:gd name="T91" fmla="*/ 105184 h 163"/>
              <a:gd name="T92" fmla="*/ 258858 w 201"/>
              <a:gd name="T93" fmla="*/ 122715 h 163"/>
              <a:gd name="T94" fmla="*/ 242509 w 201"/>
              <a:gd name="T95" fmla="*/ 160698 h 163"/>
              <a:gd name="T96" fmla="*/ 204361 w 201"/>
              <a:gd name="T97" fmla="*/ 198681 h 163"/>
              <a:gd name="T98" fmla="*/ 182563 w 201"/>
              <a:gd name="T99" fmla="*/ 245429 h 163"/>
              <a:gd name="T100" fmla="*/ 188012 w 201"/>
              <a:gd name="T101" fmla="*/ 277569 h 163"/>
              <a:gd name="T102" fmla="*/ 152590 w 201"/>
              <a:gd name="T103" fmla="*/ 292178 h 163"/>
              <a:gd name="T104" fmla="*/ 166214 w 201"/>
              <a:gd name="T105" fmla="*/ 365222 h 163"/>
              <a:gd name="T106" fmla="*/ 160764 w 201"/>
              <a:gd name="T107" fmla="*/ 403206 h 163"/>
              <a:gd name="T108" fmla="*/ 144415 w 201"/>
              <a:gd name="T109" fmla="*/ 441189 h 163"/>
              <a:gd name="T110" fmla="*/ 128066 w 201"/>
              <a:gd name="T111" fmla="*/ 432423 h 163"/>
              <a:gd name="T112" fmla="*/ 117167 w 201"/>
              <a:gd name="T113" fmla="*/ 411971 h 163"/>
              <a:gd name="T114" fmla="*/ 92644 w 201"/>
              <a:gd name="T115" fmla="*/ 452876 h 163"/>
              <a:gd name="T116" fmla="*/ 16349 w 201"/>
              <a:gd name="T117" fmla="*/ 455798 h 1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1" h="163">
                <a:moveTo>
                  <a:pt x="11" y="148"/>
                </a:moveTo>
                <a:cubicBezTo>
                  <a:pt x="10" y="147"/>
                  <a:pt x="6" y="150"/>
                  <a:pt x="4" y="148"/>
                </a:cubicBezTo>
                <a:cubicBezTo>
                  <a:pt x="3" y="147"/>
                  <a:pt x="4" y="142"/>
                  <a:pt x="4" y="141"/>
                </a:cubicBezTo>
                <a:cubicBezTo>
                  <a:pt x="3" y="139"/>
                  <a:pt x="1" y="134"/>
                  <a:pt x="1" y="133"/>
                </a:cubicBezTo>
                <a:cubicBezTo>
                  <a:pt x="4" y="131"/>
                  <a:pt x="22" y="131"/>
                  <a:pt x="21" y="127"/>
                </a:cubicBezTo>
                <a:cubicBezTo>
                  <a:pt x="20" y="124"/>
                  <a:pt x="2" y="128"/>
                  <a:pt x="1" y="127"/>
                </a:cubicBezTo>
                <a:cubicBezTo>
                  <a:pt x="0" y="126"/>
                  <a:pt x="1" y="123"/>
                  <a:pt x="2" y="123"/>
                </a:cubicBezTo>
                <a:cubicBezTo>
                  <a:pt x="3" y="122"/>
                  <a:pt x="1" y="119"/>
                  <a:pt x="2" y="117"/>
                </a:cubicBezTo>
                <a:cubicBezTo>
                  <a:pt x="4" y="116"/>
                  <a:pt x="6" y="113"/>
                  <a:pt x="8" y="113"/>
                </a:cubicBezTo>
                <a:cubicBezTo>
                  <a:pt x="10" y="113"/>
                  <a:pt x="12" y="107"/>
                  <a:pt x="13" y="107"/>
                </a:cubicBezTo>
                <a:cubicBezTo>
                  <a:pt x="14" y="106"/>
                  <a:pt x="19" y="110"/>
                  <a:pt x="20" y="109"/>
                </a:cubicBezTo>
                <a:cubicBezTo>
                  <a:pt x="22" y="109"/>
                  <a:pt x="18" y="104"/>
                  <a:pt x="20" y="104"/>
                </a:cubicBezTo>
                <a:cubicBezTo>
                  <a:pt x="21" y="103"/>
                  <a:pt x="24" y="102"/>
                  <a:pt x="26" y="101"/>
                </a:cubicBezTo>
                <a:cubicBezTo>
                  <a:pt x="28" y="101"/>
                  <a:pt x="25" y="98"/>
                  <a:pt x="27" y="97"/>
                </a:cubicBezTo>
                <a:cubicBezTo>
                  <a:pt x="29" y="96"/>
                  <a:pt x="30" y="96"/>
                  <a:pt x="32" y="96"/>
                </a:cubicBezTo>
                <a:cubicBezTo>
                  <a:pt x="33" y="96"/>
                  <a:pt x="33" y="102"/>
                  <a:pt x="34" y="101"/>
                </a:cubicBezTo>
                <a:cubicBezTo>
                  <a:pt x="36" y="100"/>
                  <a:pt x="37" y="97"/>
                  <a:pt x="37" y="95"/>
                </a:cubicBezTo>
                <a:cubicBezTo>
                  <a:pt x="38" y="94"/>
                  <a:pt x="45" y="87"/>
                  <a:pt x="46" y="87"/>
                </a:cubicBezTo>
                <a:cubicBezTo>
                  <a:pt x="46" y="87"/>
                  <a:pt x="48" y="90"/>
                  <a:pt x="50" y="89"/>
                </a:cubicBezTo>
                <a:cubicBezTo>
                  <a:pt x="51" y="88"/>
                  <a:pt x="50" y="84"/>
                  <a:pt x="49" y="83"/>
                </a:cubicBezTo>
                <a:cubicBezTo>
                  <a:pt x="48" y="82"/>
                  <a:pt x="45" y="81"/>
                  <a:pt x="46" y="81"/>
                </a:cubicBezTo>
                <a:cubicBezTo>
                  <a:pt x="46" y="80"/>
                  <a:pt x="52" y="82"/>
                  <a:pt x="54" y="81"/>
                </a:cubicBezTo>
                <a:cubicBezTo>
                  <a:pt x="55" y="80"/>
                  <a:pt x="56" y="77"/>
                  <a:pt x="56" y="76"/>
                </a:cubicBezTo>
                <a:cubicBezTo>
                  <a:pt x="57" y="75"/>
                  <a:pt x="59" y="72"/>
                  <a:pt x="58" y="71"/>
                </a:cubicBezTo>
                <a:cubicBezTo>
                  <a:pt x="57" y="70"/>
                  <a:pt x="56" y="68"/>
                  <a:pt x="57" y="67"/>
                </a:cubicBezTo>
                <a:cubicBezTo>
                  <a:pt x="58" y="67"/>
                  <a:pt x="64" y="68"/>
                  <a:pt x="65" y="68"/>
                </a:cubicBezTo>
                <a:cubicBezTo>
                  <a:pt x="67" y="67"/>
                  <a:pt x="68" y="66"/>
                  <a:pt x="68" y="65"/>
                </a:cubicBezTo>
                <a:cubicBezTo>
                  <a:pt x="69" y="63"/>
                  <a:pt x="61" y="64"/>
                  <a:pt x="61" y="62"/>
                </a:cubicBezTo>
                <a:cubicBezTo>
                  <a:pt x="61" y="60"/>
                  <a:pt x="64" y="58"/>
                  <a:pt x="64" y="58"/>
                </a:cubicBezTo>
                <a:cubicBezTo>
                  <a:pt x="66" y="56"/>
                  <a:pt x="72" y="54"/>
                  <a:pt x="73" y="52"/>
                </a:cubicBezTo>
                <a:cubicBezTo>
                  <a:pt x="75" y="50"/>
                  <a:pt x="75" y="46"/>
                  <a:pt x="77" y="45"/>
                </a:cubicBezTo>
                <a:cubicBezTo>
                  <a:pt x="78" y="44"/>
                  <a:pt x="87" y="41"/>
                  <a:pt x="86" y="39"/>
                </a:cubicBezTo>
                <a:cubicBezTo>
                  <a:pt x="86" y="38"/>
                  <a:pt x="81" y="37"/>
                  <a:pt x="79" y="38"/>
                </a:cubicBezTo>
                <a:cubicBezTo>
                  <a:pt x="77" y="38"/>
                  <a:pt x="69" y="41"/>
                  <a:pt x="67" y="42"/>
                </a:cubicBezTo>
                <a:cubicBezTo>
                  <a:pt x="64" y="42"/>
                  <a:pt x="60" y="46"/>
                  <a:pt x="60" y="45"/>
                </a:cubicBezTo>
                <a:cubicBezTo>
                  <a:pt x="60" y="44"/>
                  <a:pt x="66" y="36"/>
                  <a:pt x="69" y="36"/>
                </a:cubicBezTo>
                <a:cubicBezTo>
                  <a:pt x="72" y="36"/>
                  <a:pt x="73" y="35"/>
                  <a:pt x="74" y="34"/>
                </a:cubicBezTo>
                <a:cubicBezTo>
                  <a:pt x="76" y="33"/>
                  <a:pt x="77" y="29"/>
                  <a:pt x="77" y="29"/>
                </a:cubicBezTo>
                <a:cubicBezTo>
                  <a:pt x="78" y="28"/>
                  <a:pt x="85" y="25"/>
                  <a:pt x="86" y="25"/>
                </a:cubicBezTo>
                <a:cubicBezTo>
                  <a:pt x="87" y="25"/>
                  <a:pt x="85" y="30"/>
                  <a:pt x="87" y="31"/>
                </a:cubicBezTo>
                <a:cubicBezTo>
                  <a:pt x="88" y="31"/>
                  <a:pt x="91" y="33"/>
                  <a:pt x="93" y="32"/>
                </a:cubicBezTo>
                <a:cubicBezTo>
                  <a:pt x="95" y="30"/>
                  <a:pt x="97" y="29"/>
                  <a:pt x="96" y="28"/>
                </a:cubicBezTo>
                <a:cubicBezTo>
                  <a:pt x="96" y="27"/>
                  <a:pt x="93" y="24"/>
                  <a:pt x="93" y="23"/>
                </a:cubicBezTo>
                <a:cubicBezTo>
                  <a:pt x="94" y="23"/>
                  <a:pt x="99" y="22"/>
                  <a:pt x="101" y="19"/>
                </a:cubicBezTo>
                <a:cubicBezTo>
                  <a:pt x="103" y="18"/>
                  <a:pt x="105" y="14"/>
                  <a:pt x="107" y="13"/>
                </a:cubicBezTo>
                <a:cubicBezTo>
                  <a:pt x="110" y="12"/>
                  <a:pt x="114" y="13"/>
                  <a:pt x="116" y="13"/>
                </a:cubicBezTo>
                <a:cubicBezTo>
                  <a:pt x="118" y="13"/>
                  <a:pt x="121" y="12"/>
                  <a:pt x="122" y="13"/>
                </a:cubicBezTo>
                <a:cubicBezTo>
                  <a:pt x="123" y="13"/>
                  <a:pt x="122" y="18"/>
                  <a:pt x="124" y="18"/>
                </a:cubicBezTo>
                <a:cubicBezTo>
                  <a:pt x="127" y="18"/>
                  <a:pt x="128" y="15"/>
                  <a:pt x="128" y="15"/>
                </a:cubicBezTo>
                <a:cubicBezTo>
                  <a:pt x="128" y="16"/>
                  <a:pt x="130" y="19"/>
                  <a:pt x="132" y="19"/>
                </a:cubicBezTo>
                <a:cubicBezTo>
                  <a:pt x="133" y="19"/>
                  <a:pt x="130" y="12"/>
                  <a:pt x="132" y="11"/>
                </a:cubicBezTo>
                <a:cubicBezTo>
                  <a:pt x="133" y="10"/>
                  <a:pt x="136" y="10"/>
                  <a:pt x="137" y="12"/>
                </a:cubicBezTo>
                <a:cubicBezTo>
                  <a:pt x="139" y="14"/>
                  <a:pt x="139" y="16"/>
                  <a:pt x="140" y="16"/>
                </a:cubicBezTo>
                <a:cubicBezTo>
                  <a:pt x="142" y="16"/>
                  <a:pt x="141" y="8"/>
                  <a:pt x="142" y="7"/>
                </a:cubicBezTo>
                <a:cubicBezTo>
                  <a:pt x="143" y="7"/>
                  <a:pt x="145" y="6"/>
                  <a:pt x="147" y="6"/>
                </a:cubicBezTo>
                <a:cubicBezTo>
                  <a:pt x="149" y="6"/>
                  <a:pt x="151" y="5"/>
                  <a:pt x="151" y="4"/>
                </a:cubicBezTo>
                <a:cubicBezTo>
                  <a:pt x="152" y="2"/>
                  <a:pt x="154" y="2"/>
                  <a:pt x="155" y="1"/>
                </a:cubicBezTo>
                <a:cubicBezTo>
                  <a:pt x="156" y="1"/>
                  <a:pt x="160" y="0"/>
                  <a:pt x="161" y="0"/>
                </a:cubicBezTo>
                <a:cubicBezTo>
                  <a:pt x="162" y="1"/>
                  <a:pt x="159" y="5"/>
                  <a:pt x="157" y="6"/>
                </a:cubicBezTo>
                <a:cubicBezTo>
                  <a:pt x="156" y="7"/>
                  <a:pt x="153" y="14"/>
                  <a:pt x="154" y="15"/>
                </a:cubicBezTo>
                <a:cubicBezTo>
                  <a:pt x="154" y="15"/>
                  <a:pt x="159" y="13"/>
                  <a:pt x="160" y="11"/>
                </a:cubicBezTo>
                <a:cubicBezTo>
                  <a:pt x="161" y="9"/>
                  <a:pt x="166" y="2"/>
                  <a:pt x="167" y="2"/>
                </a:cubicBezTo>
                <a:cubicBezTo>
                  <a:pt x="168" y="2"/>
                  <a:pt x="167" y="11"/>
                  <a:pt x="168" y="11"/>
                </a:cubicBezTo>
                <a:cubicBezTo>
                  <a:pt x="169" y="11"/>
                  <a:pt x="173" y="6"/>
                  <a:pt x="174" y="5"/>
                </a:cubicBezTo>
                <a:cubicBezTo>
                  <a:pt x="175" y="4"/>
                  <a:pt x="174" y="1"/>
                  <a:pt x="175" y="1"/>
                </a:cubicBezTo>
                <a:cubicBezTo>
                  <a:pt x="176" y="1"/>
                  <a:pt x="179" y="1"/>
                  <a:pt x="180" y="2"/>
                </a:cubicBezTo>
                <a:cubicBezTo>
                  <a:pt x="181" y="3"/>
                  <a:pt x="178" y="9"/>
                  <a:pt x="180" y="9"/>
                </a:cubicBezTo>
                <a:cubicBezTo>
                  <a:pt x="182" y="9"/>
                  <a:pt x="184" y="4"/>
                  <a:pt x="186" y="5"/>
                </a:cubicBezTo>
                <a:cubicBezTo>
                  <a:pt x="189" y="6"/>
                  <a:pt x="197" y="8"/>
                  <a:pt x="199" y="9"/>
                </a:cubicBezTo>
                <a:cubicBezTo>
                  <a:pt x="200" y="11"/>
                  <a:pt x="201" y="12"/>
                  <a:pt x="200" y="12"/>
                </a:cubicBezTo>
                <a:cubicBezTo>
                  <a:pt x="199" y="13"/>
                  <a:pt x="193" y="14"/>
                  <a:pt x="191" y="14"/>
                </a:cubicBezTo>
                <a:cubicBezTo>
                  <a:pt x="189" y="14"/>
                  <a:pt x="183" y="13"/>
                  <a:pt x="183" y="14"/>
                </a:cubicBezTo>
                <a:cubicBezTo>
                  <a:pt x="182" y="15"/>
                  <a:pt x="181" y="16"/>
                  <a:pt x="184" y="17"/>
                </a:cubicBezTo>
                <a:cubicBezTo>
                  <a:pt x="186" y="18"/>
                  <a:pt x="193" y="19"/>
                  <a:pt x="194" y="19"/>
                </a:cubicBezTo>
                <a:cubicBezTo>
                  <a:pt x="194" y="19"/>
                  <a:pt x="195" y="19"/>
                  <a:pt x="195" y="19"/>
                </a:cubicBezTo>
                <a:cubicBezTo>
                  <a:pt x="195" y="19"/>
                  <a:pt x="194" y="23"/>
                  <a:pt x="193" y="25"/>
                </a:cubicBezTo>
                <a:cubicBezTo>
                  <a:pt x="191" y="27"/>
                  <a:pt x="188" y="24"/>
                  <a:pt x="188" y="30"/>
                </a:cubicBezTo>
                <a:cubicBezTo>
                  <a:pt x="188" y="32"/>
                  <a:pt x="186" y="32"/>
                  <a:pt x="184" y="31"/>
                </a:cubicBezTo>
                <a:cubicBezTo>
                  <a:pt x="183" y="30"/>
                  <a:pt x="183" y="30"/>
                  <a:pt x="182" y="30"/>
                </a:cubicBezTo>
                <a:cubicBezTo>
                  <a:pt x="180" y="29"/>
                  <a:pt x="183" y="26"/>
                  <a:pt x="183" y="24"/>
                </a:cubicBezTo>
                <a:cubicBezTo>
                  <a:pt x="183" y="22"/>
                  <a:pt x="181" y="21"/>
                  <a:pt x="179" y="20"/>
                </a:cubicBezTo>
                <a:cubicBezTo>
                  <a:pt x="177" y="19"/>
                  <a:pt x="174" y="18"/>
                  <a:pt x="173" y="18"/>
                </a:cubicBezTo>
                <a:cubicBezTo>
                  <a:pt x="172" y="18"/>
                  <a:pt x="165" y="19"/>
                  <a:pt x="165" y="20"/>
                </a:cubicBezTo>
                <a:cubicBezTo>
                  <a:pt x="164" y="21"/>
                  <a:pt x="160" y="26"/>
                  <a:pt x="160" y="28"/>
                </a:cubicBezTo>
                <a:cubicBezTo>
                  <a:pt x="160" y="30"/>
                  <a:pt x="157" y="32"/>
                  <a:pt x="155" y="34"/>
                </a:cubicBezTo>
                <a:cubicBezTo>
                  <a:pt x="154" y="36"/>
                  <a:pt x="147" y="32"/>
                  <a:pt x="146" y="32"/>
                </a:cubicBezTo>
                <a:cubicBezTo>
                  <a:pt x="144" y="32"/>
                  <a:pt x="138" y="33"/>
                  <a:pt x="136" y="32"/>
                </a:cubicBezTo>
                <a:cubicBezTo>
                  <a:pt x="134" y="32"/>
                  <a:pt x="127" y="26"/>
                  <a:pt x="125" y="26"/>
                </a:cubicBezTo>
                <a:cubicBezTo>
                  <a:pt x="125" y="26"/>
                  <a:pt x="123" y="27"/>
                  <a:pt x="121" y="28"/>
                </a:cubicBezTo>
                <a:cubicBezTo>
                  <a:pt x="120" y="29"/>
                  <a:pt x="119" y="29"/>
                  <a:pt x="119" y="29"/>
                </a:cubicBezTo>
                <a:cubicBezTo>
                  <a:pt x="119" y="29"/>
                  <a:pt x="117" y="37"/>
                  <a:pt x="116" y="37"/>
                </a:cubicBezTo>
                <a:cubicBezTo>
                  <a:pt x="115" y="38"/>
                  <a:pt x="104" y="36"/>
                  <a:pt x="103" y="36"/>
                </a:cubicBezTo>
                <a:cubicBezTo>
                  <a:pt x="102" y="36"/>
                  <a:pt x="101" y="43"/>
                  <a:pt x="101" y="44"/>
                </a:cubicBezTo>
                <a:cubicBezTo>
                  <a:pt x="100" y="45"/>
                  <a:pt x="95" y="42"/>
                  <a:pt x="95" y="42"/>
                </a:cubicBezTo>
                <a:cubicBezTo>
                  <a:pt x="94" y="42"/>
                  <a:pt x="88" y="50"/>
                  <a:pt x="88" y="50"/>
                </a:cubicBezTo>
                <a:cubicBezTo>
                  <a:pt x="88" y="50"/>
                  <a:pt x="89" y="54"/>
                  <a:pt x="89" y="55"/>
                </a:cubicBezTo>
                <a:cubicBezTo>
                  <a:pt x="89" y="55"/>
                  <a:pt x="82" y="65"/>
                  <a:pt x="82" y="65"/>
                </a:cubicBezTo>
                <a:cubicBezTo>
                  <a:pt x="75" y="68"/>
                  <a:pt x="75" y="68"/>
                  <a:pt x="75" y="68"/>
                </a:cubicBezTo>
                <a:cubicBezTo>
                  <a:pt x="75" y="68"/>
                  <a:pt x="74" y="75"/>
                  <a:pt x="74" y="77"/>
                </a:cubicBezTo>
                <a:cubicBezTo>
                  <a:pt x="73" y="79"/>
                  <a:pt x="68" y="84"/>
                  <a:pt x="67" y="84"/>
                </a:cubicBezTo>
                <a:cubicBezTo>
                  <a:pt x="66" y="85"/>
                  <a:pt x="71" y="86"/>
                  <a:pt x="71" y="88"/>
                </a:cubicBezTo>
                <a:cubicBezTo>
                  <a:pt x="71" y="90"/>
                  <a:pt x="70" y="95"/>
                  <a:pt x="69" y="95"/>
                </a:cubicBezTo>
                <a:cubicBezTo>
                  <a:pt x="68" y="95"/>
                  <a:pt x="63" y="94"/>
                  <a:pt x="62" y="94"/>
                </a:cubicBezTo>
                <a:cubicBezTo>
                  <a:pt x="60" y="94"/>
                  <a:pt x="58" y="98"/>
                  <a:pt x="56" y="100"/>
                </a:cubicBezTo>
                <a:cubicBezTo>
                  <a:pt x="54" y="102"/>
                  <a:pt x="57" y="113"/>
                  <a:pt x="56" y="117"/>
                </a:cubicBezTo>
                <a:cubicBezTo>
                  <a:pt x="55" y="120"/>
                  <a:pt x="61" y="123"/>
                  <a:pt x="61" y="125"/>
                </a:cubicBezTo>
                <a:cubicBezTo>
                  <a:pt x="62" y="128"/>
                  <a:pt x="57" y="129"/>
                  <a:pt x="57" y="130"/>
                </a:cubicBezTo>
                <a:cubicBezTo>
                  <a:pt x="57" y="131"/>
                  <a:pt x="59" y="136"/>
                  <a:pt x="59" y="138"/>
                </a:cubicBezTo>
                <a:cubicBezTo>
                  <a:pt x="59" y="140"/>
                  <a:pt x="56" y="141"/>
                  <a:pt x="54" y="142"/>
                </a:cubicBezTo>
                <a:cubicBezTo>
                  <a:pt x="53" y="143"/>
                  <a:pt x="56" y="148"/>
                  <a:pt x="53" y="151"/>
                </a:cubicBezTo>
                <a:cubicBezTo>
                  <a:pt x="51" y="154"/>
                  <a:pt x="50" y="154"/>
                  <a:pt x="50" y="154"/>
                </a:cubicBezTo>
                <a:cubicBezTo>
                  <a:pt x="49" y="152"/>
                  <a:pt x="49" y="150"/>
                  <a:pt x="47" y="148"/>
                </a:cubicBezTo>
                <a:cubicBezTo>
                  <a:pt x="46" y="146"/>
                  <a:pt x="46" y="144"/>
                  <a:pt x="46" y="142"/>
                </a:cubicBezTo>
                <a:cubicBezTo>
                  <a:pt x="46" y="141"/>
                  <a:pt x="45" y="141"/>
                  <a:pt x="43" y="141"/>
                </a:cubicBezTo>
                <a:cubicBezTo>
                  <a:pt x="42" y="141"/>
                  <a:pt x="42" y="149"/>
                  <a:pt x="41" y="150"/>
                </a:cubicBezTo>
                <a:cubicBezTo>
                  <a:pt x="40" y="151"/>
                  <a:pt x="35" y="154"/>
                  <a:pt x="34" y="155"/>
                </a:cubicBezTo>
                <a:cubicBezTo>
                  <a:pt x="31" y="157"/>
                  <a:pt x="24" y="163"/>
                  <a:pt x="22" y="163"/>
                </a:cubicBezTo>
                <a:cubicBezTo>
                  <a:pt x="19" y="163"/>
                  <a:pt x="6" y="158"/>
                  <a:pt x="6" y="156"/>
                </a:cubicBezTo>
                <a:cubicBezTo>
                  <a:pt x="5" y="153"/>
                  <a:pt x="11" y="150"/>
                  <a:pt x="11" y="148"/>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4" name="Freeform 284"/>
          <p:cNvSpPr>
            <a:spLocks/>
          </p:cNvSpPr>
          <p:nvPr>
            <p:custDataLst>
              <p:tags r:id="rId200"/>
            </p:custDataLst>
          </p:nvPr>
        </p:nvSpPr>
        <p:spPr bwMode="auto">
          <a:xfrm>
            <a:off x="5288196" y="2124221"/>
            <a:ext cx="259902" cy="131707"/>
          </a:xfrm>
          <a:custGeom>
            <a:avLst/>
            <a:gdLst>
              <a:gd name="T0" fmla="*/ 16392 w 86"/>
              <a:gd name="T1" fmla="*/ 17424 h 41"/>
              <a:gd name="T2" fmla="*/ 35516 w 86"/>
              <a:gd name="T3" fmla="*/ 20328 h 41"/>
              <a:gd name="T4" fmla="*/ 40980 w 86"/>
              <a:gd name="T5" fmla="*/ 2904 h 41"/>
              <a:gd name="T6" fmla="*/ 71031 w 86"/>
              <a:gd name="T7" fmla="*/ 23232 h 41"/>
              <a:gd name="T8" fmla="*/ 68299 w 86"/>
              <a:gd name="T9" fmla="*/ 40656 h 41"/>
              <a:gd name="T10" fmla="*/ 71031 w 86"/>
              <a:gd name="T11" fmla="*/ 52272 h 41"/>
              <a:gd name="T12" fmla="*/ 81959 w 86"/>
              <a:gd name="T13" fmla="*/ 34848 h 41"/>
              <a:gd name="T14" fmla="*/ 90155 w 86"/>
              <a:gd name="T15" fmla="*/ 31944 h 41"/>
              <a:gd name="T16" fmla="*/ 92887 w 86"/>
              <a:gd name="T17" fmla="*/ 17424 h 41"/>
              <a:gd name="T18" fmla="*/ 109279 w 86"/>
              <a:gd name="T19" fmla="*/ 29040 h 41"/>
              <a:gd name="T20" fmla="*/ 114743 w 86"/>
              <a:gd name="T21" fmla="*/ 14520 h 41"/>
              <a:gd name="T22" fmla="*/ 136599 w 86"/>
              <a:gd name="T23" fmla="*/ 31944 h 41"/>
              <a:gd name="T24" fmla="*/ 142063 w 86"/>
              <a:gd name="T25" fmla="*/ 14520 h 41"/>
              <a:gd name="T26" fmla="*/ 161187 w 86"/>
              <a:gd name="T27" fmla="*/ 17424 h 41"/>
              <a:gd name="T28" fmla="*/ 172115 w 86"/>
              <a:gd name="T29" fmla="*/ 14520 h 41"/>
              <a:gd name="T30" fmla="*/ 169383 w 86"/>
              <a:gd name="T31" fmla="*/ 0 h 41"/>
              <a:gd name="T32" fmla="*/ 185774 w 86"/>
              <a:gd name="T33" fmla="*/ 2904 h 41"/>
              <a:gd name="T34" fmla="*/ 199434 w 86"/>
              <a:gd name="T35" fmla="*/ 17424 h 41"/>
              <a:gd name="T36" fmla="*/ 210362 w 86"/>
              <a:gd name="T37" fmla="*/ 20328 h 41"/>
              <a:gd name="T38" fmla="*/ 213094 w 86"/>
              <a:gd name="T39" fmla="*/ 31944 h 41"/>
              <a:gd name="T40" fmla="*/ 229486 w 86"/>
              <a:gd name="T41" fmla="*/ 37752 h 41"/>
              <a:gd name="T42" fmla="*/ 232218 w 86"/>
              <a:gd name="T43" fmla="*/ 55176 h 41"/>
              <a:gd name="T44" fmla="*/ 218558 w 86"/>
              <a:gd name="T45" fmla="*/ 72599 h 41"/>
              <a:gd name="T46" fmla="*/ 188506 w 86"/>
              <a:gd name="T47" fmla="*/ 87119 h 41"/>
              <a:gd name="T48" fmla="*/ 166651 w 86"/>
              <a:gd name="T49" fmla="*/ 104543 h 41"/>
              <a:gd name="T50" fmla="*/ 147527 w 86"/>
              <a:gd name="T51" fmla="*/ 101639 h 41"/>
              <a:gd name="T52" fmla="*/ 128403 w 86"/>
              <a:gd name="T53" fmla="*/ 119063 h 41"/>
              <a:gd name="T54" fmla="*/ 92887 w 86"/>
              <a:gd name="T55" fmla="*/ 110351 h 41"/>
              <a:gd name="T56" fmla="*/ 71031 w 86"/>
              <a:gd name="T57" fmla="*/ 101639 h 41"/>
              <a:gd name="T58" fmla="*/ 40980 w 86"/>
              <a:gd name="T59" fmla="*/ 101639 h 41"/>
              <a:gd name="T60" fmla="*/ 38248 w 86"/>
              <a:gd name="T61" fmla="*/ 92927 h 41"/>
              <a:gd name="T62" fmla="*/ 57372 w 86"/>
              <a:gd name="T63" fmla="*/ 84215 h 41"/>
              <a:gd name="T64" fmla="*/ 46444 w 86"/>
              <a:gd name="T65" fmla="*/ 69695 h 41"/>
              <a:gd name="T66" fmla="*/ 13660 w 86"/>
              <a:gd name="T67" fmla="*/ 69695 h 41"/>
              <a:gd name="T68" fmla="*/ 13660 w 86"/>
              <a:gd name="T69" fmla="*/ 60983 h 41"/>
              <a:gd name="T70" fmla="*/ 38248 w 86"/>
              <a:gd name="T71" fmla="*/ 55176 h 41"/>
              <a:gd name="T72" fmla="*/ 51908 w 86"/>
              <a:gd name="T73" fmla="*/ 43560 h 41"/>
              <a:gd name="T74" fmla="*/ 32784 w 86"/>
              <a:gd name="T75" fmla="*/ 40656 h 41"/>
              <a:gd name="T76" fmla="*/ 10928 w 86"/>
              <a:gd name="T77" fmla="*/ 46464 h 41"/>
              <a:gd name="T78" fmla="*/ 0 w 86"/>
              <a:gd name="T79" fmla="*/ 40656 h 41"/>
              <a:gd name="T80" fmla="*/ 16392 w 86"/>
              <a:gd name="T81" fmla="*/ 17424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6" h="41">
                <a:moveTo>
                  <a:pt x="6" y="6"/>
                </a:moveTo>
                <a:cubicBezTo>
                  <a:pt x="7" y="5"/>
                  <a:pt x="12" y="7"/>
                  <a:pt x="13" y="7"/>
                </a:cubicBezTo>
                <a:cubicBezTo>
                  <a:pt x="14" y="6"/>
                  <a:pt x="7" y="0"/>
                  <a:pt x="15" y="1"/>
                </a:cubicBezTo>
                <a:cubicBezTo>
                  <a:pt x="16" y="1"/>
                  <a:pt x="26" y="7"/>
                  <a:pt x="26" y="8"/>
                </a:cubicBezTo>
                <a:cubicBezTo>
                  <a:pt x="26" y="9"/>
                  <a:pt x="24" y="12"/>
                  <a:pt x="25" y="14"/>
                </a:cubicBezTo>
                <a:cubicBezTo>
                  <a:pt x="26" y="15"/>
                  <a:pt x="25" y="18"/>
                  <a:pt x="26" y="18"/>
                </a:cubicBezTo>
                <a:cubicBezTo>
                  <a:pt x="28" y="18"/>
                  <a:pt x="29" y="12"/>
                  <a:pt x="30" y="12"/>
                </a:cubicBezTo>
                <a:cubicBezTo>
                  <a:pt x="30" y="12"/>
                  <a:pt x="33" y="12"/>
                  <a:pt x="33" y="11"/>
                </a:cubicBezTo>
                <a:cubicBezTo>
                  <a:pt x="33" y="9"/>
                  <a:pt x="32" y="6"/>
                  <a:pt x="34" y="6"/>
                </a:cubicBezTo>
                <a:cubicBezTo>
                  <a:pt x="35" y="5"/>
                  <a:pt x="38" y="10"/>
                  <a:pt x="40" y="10"/>
                </a:cubicBezTo>
                <a:cubicBezTo>
                  <a:pt x="41" y="10"/>
                  <a:pt x="41" y="5"/>
                  <a:pt x="42" y="5"/>
                </a:cubicBezTo>
                <a:cubicBezTo>
                  <a:pt x="44" y="5"/>
                  <a:pt x="48" y="11"/>
                  <a:pt x="50" y="11"/>
                </a:cubicBezTo>
                <a:cubicBezTo>
                  <a:pt x="51" y="10"/>
                  <a:pt x="51" y="5"/>
                  <a:pt x="52" y="5"/>
                </a:cubicBezTo>
                <a:cubicBezTo>
                  <a:pt x="54" y="5"/>
                  <a:pt x="57" y="6"/>
                  <a:pt x="59" y="6"/>
                </a:cubicBezTo>
                <a:cubicBezTo>
                  <a:pt x="61" y="6"/>
                  <a:pt x="62" y="6"/>
                  <a:pt x="63" y="5"/>
                </a:cubicBezTo>
                <a:cubicBezTo>
                  <a:pt x="64" y="4"/>
                  <a:pt x="62" y="0"/>
                  <a:pt x="62" y="0"/>
                </a:cubicBezTo>
                <a:cubicBezTo>
                  <a:pt x="64" y="0"/>
                  <a:pt x="68" y="0"/>
                  <a:pt x="68" y="1"/>
                </a:cubicBezTo>
                <a:cubicBezTo>
                  <a:pt x="69" y="2"/>
                  <a:pt x="71" y="5"/>
                  <a:pt x="73" y="6"/>
                </a:cubicBezTo>
                <a:cubicBezTo>
                  <a:pt x="74" y="6"/>
                  <a:pt x="77" y="6"/>
                  <a:pt x="77" y="7"/>
                </a:cubicBezTo>
                <a:cubicBezTo>
                  <a:pt x="77" y="8"/>
                  <a:pt x="76" y="10"/>
                  <a:pt x="78" y="11"/>
                </a:cubicBezTo>
                <a:cubicBezTo>
                  <a:pt x="79" y="12"/>
                  <a:pt x="84" y="12"/>
                  <a:pt x="84" y="13"/>
                </a:cubicBezTo>
                <a:cubicBezTo>
                  <a:pt x="84" y="14"/>
                  <a:pt x="86" y="18"/>
                  <a:pt x="85" y="19"/>
                </a:cubicBezTo>
                <a:cubicBezTo>
                  <a:pt x="84" y="20"/>
                  <a:pt x="82" y="24"/>
                  <a:pt x="80" y="25"/>
                </a:cubicBezTo>
                <a:cubicBezTo>
                  <a:pt x="77" y="27"/>
                  <a:pt x="70" y="29"/>
                  <a:pt x="69" y="30"/>
                </a:cubicBezTo>
                <a:cubicBezTo>
                  <a:pt x="68" y="32"/>
                  <a:pt x="62" y="36"/>
                  <a:pt x="61" y="36"/>
                </a:cubicBezTo>
                <a:cubicBezTo>
                  <a:pt x="60" y="36"/>
                  <a:pt x="55" y="34"/>
                  <a:pt x="54" y="35"/>
                </a:cubicBezTo>
                <a:cubicBezTo>
                  <a:pt x="52" y="37"/>
                  <a:pt x="50" y="41"/>
                  <a:pt x="47" y="41"/>
                </a:cubicBezTo>
                <a:cubicBezTo>
                  <a:pt x="44" y="41"/>
                  <a:pt x="37" y="40"/>
                  <a:pt x="34" y="38"/>
                </a:cubicBezTo>
                <a:cubicBezTo>
                  <a:pt x="30" y="37"/>
                  <a:pt x="28" y="35"/>
                  <a:pt x="26" y="35"/>
                </a:cubicBezTo>
                <a:cubicBezTo>
                  <a:pt x="24" y="35"/>
                  <a:pt x="16" y="36"/>
                  <a:pt x="15" y="35"/>
                </a:cubicBezTo>
                <a:cubicBezTo>
                  <a:pt x="14" y="35"/>
                  <a:pt x="14" y="34"/>
                  <a:pt x="14" y="32"/>
                </a:cubicBezTo>
                <a:cubicBezTo>
                  <a:pt x="14" y="30"/>
                  <a:pt x="21" y="30"/>
                  <a:pt x="21" y="29"/>
                </a:cubicBezTo>
                <a:cubicBezTo>
                  <a:pt x="21" y="28"/>
                  <a:pt x="19" y="25"/>
                  <a:pt x="17" y="24"/>
                </a:cubicBezTo>
                <a:cubicBezTo>
                  <a:pt x="15" y="23"/>
                  <a:pt x="7" y="26"/>
                  <a:pt x="5" y="24"/>
                </a:cubicBezTo>
                <a:cubicBezTo>
                  <a:pt x="4" y="22"/>
                  <a:pt x="5" y="21"/>
                  <a:pt x="5" y="21"/>
                </a:cubicBezTo>
                <a:cubicBezTo>
                  <a:pt x="5" y="21"/>
                  <a:pt x="13" y="20"/>
                  <a:pt x="14" y="19"/>
                </a:cubicBezTo>
                <a:cubicBezTo>
                  <a:pt x="16" y="18"/>
                  <a:pt x="19" y="15"/>
                  <a:pt x="19" y="15"/>
                </a:cubicBezTo>
                <a:cubicBezTo>
                  <a:pt x="19" y="14"/>
                  <a:pt x="14" y="14"/>
                  <a:pt x="12" y="14"/>
                </a:cubicBezTo>
                <a:cubicBezTo>
                  <a:pt x="10" y="14"/>
                  <a:pt x="6" y="16"/>
                  <a:pt x="4" y="16"/>
                </a:cubicBezTo>
                <a:cubicBezTo>
                  <a:pt x="3" y="15"/>
                  <a:pt x="1" y="15"/>
                  <a:pt x="0" y="14"/>
                </a:cubicBezTo>
                <a:cubicBezTo>
                  <a:pt x="0" y="13"/>
                  <a:pt x="4" y="8"/>
                  <a:pt x="6" y="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5" name="Freeform 286"/>
          <p:cNvSpPr>
            <a:spLocks/>
          </p:cNvSpPr>
          <p:nvPr>
            <p:custDataLst>
              <p:tags r:id="rId201"/>
            </p:custDataLst>
          </p:nvPr>
        </p:nvSpPr>
        <p:spPr bwMode="auto">
          <a:xfrm>
            <a:off x="5700879" y="2424513"/>
            <a:ext cx="194927" cy="300293"/>
          </a:xfrm>
          <a:custGeom>
            <a:avLst/>
            <a:gdLst>
              <a:gd name="T0" fmla="*/ 0 w 64"/>
              <a:gd name="T1" fmla="*/ 43784 h 93"/>
              <a:gd name="T2" fmla="*/ 5507 w 64"/>
              <a:gd name="T3" fmla="*/ 35027 h 93"/>
              <a:gd name="T4" fmla="*/ 19273 w 64"/>
              <a:gd name="T5" fmla="*/ 40865 h 93"/>
              <a:gd name="T6" fmla="*/ 33040 w 64"/>
              <a:gd name="T7" fmla="*/ 5838 h 93"/>
              <a:gd name="T8" fmla="*/ 71587 w 64"/>
              <a:gd name="T9" fmla="*/ 0 h 93"/>
              <a:gd name="T10" fmla="*/ 74340 w 64"/>
              <a:gd name="T11" fmla="*/ 8757 h 93"/>
              <a:gd name="T12" fmla="*/ 52313 w 64"/>
              <a:gd name="T13" fmla="*/ 26271 h 93"/>
              <a:gd name="T14" fmla="*/ 49560 w 64"/>
              <a:gd name="T15" fmla="*/ 37946 h 93"/>
              <a:gd name="T16" fmla="*/ 96366 w 64"/>
              <a:gd name="T17" fmla="*/ 35027 h 93"/>
              <a:gd name="T18" fmla="*/ 82600 w 64"/>
              <a:gd name="T19" fmla="*/ 70055 h 93"/>
              <a:gd name="T20" fmla="*/ 63327 w 64"/>
              <a:gd name="T21" fmla="*/ 81731 h 93"/>
              <a:gd name="T22" fmla="*/ 79847 w 64"/>
              <a:gd name="T23" fmla="*/ 90488 h 93"/>
              <a:gd name="T24" fmla="*/ 99120 w 64"/>
              <a:gd name="T25" fmla="*/ 99245 h 93"/>
              <a:gd name="T26" fmla="*/ 112886 w 64"/>
              <a:gd name="T27" fmla="*/ 128434 h 93"/>
              <a:gd name="T28" fmla="*/ 129406 w 64"/>
              <a:gd name="T29" fmla="*/ 137191 h 93"/>
              <a:gd name="T30" fmla="*/ 143173 w 64"/>
              <a:gd name="T31" fmla="*/ 169300 h 93"/>
              <a:gd name="T32" fmla="*/ 137666 w 64"/>
              <a:gd name="T33" fmla="*/ 183894 h 93"/>
              <a:gd name="T34" fmla="*/ 148680 w 64"/>
              <a:gd name="T35" fmla="*/ 186813 h 93"/>
              <a:gd name="T36" fmla="*/ 156940 w 64"/>
              <a:gd name="T37" fmla="*/ 180975 h 93"/>
              <a:gd name="T38" fmla="*/ 170706 w 64"/>
              <a:gd name="T39" fmla="*/ 183894 h 93"/>
              <a:gd name="T40" fmla="*/ 167953 w 64"/>
              <a:gd name="T41" fmla="*/ 210165 h 93"/>
              <a:gd name="T42" fmla="*/ 145926 w 64"/>
              <a:gd name="T43" fmla="*/ 221841 h 93"/>
              <a:gd name="T44" fmla="*/ 167953 w 64"/>
              <a:gd name="T45" fmla="*/ 233517 h 93"/>
              <a:gd name="T46" fmla="*/ 140420 w 64"/>
              <a:gd name="T47" fmla="*/ 248111 h 93"/>
              <a:gd name="T48" fmla="*/ 101873 w 64"/>
              <a:gd name="T49" fmla="*/ 245192 h 93"/>
              <a:gd name="T50" fmla="*/ 68833 w 64"/>
              <a:gd name="T51" fmla="*/ 251030 h 93"/>
              <a:gd name="T52" fmla="*/ 60573 w 64"/>
              <a:gd name="T53" fmla="*/ 265625 h 93"/>
              <a:gd name="T54" fmla="*/ 46807 w 64"/>
              <a:gd name="T55" fmla="*/ 259787 h 93"/>
              <a:gd name="T56" fmla="*/ 27533 w 64"/>
              <a:gd name="T57" fmla="*/ 271463 h 93"/>
              <a:gd name="T58" fmla="*/ 13767 w 64"/>
              <a:gd name="T59" fmla="*/ 268544 h 93"/>
              <a:gd name="T60" fmla="*/ 35793 w 64"/>
              <a:gd name="T61" fmla="*/ 251030 h 93"/>
              <a:gd name="T62" fmla="*/ 46807 w 64"/>
              <a:gd name="T63" fmla="*/ 236436 h 93"/>
              <a:gd name="T64" fmla="*/ 71587 w 64"/>
              <a:gd name="T65" fmla="*/ 233517 h 93"/>
              <a:gd name="T66" fmla="*/ 79847 w 64"/>
              <a:gd name="T67" fmla="*/ 224760 h 93"/>
              <a:gd name="T68" fmla="*/ 55067 w 64"/>
              <a:gd name="T69" fmla="*/ 218922 h 93"/>
              <a:gd name="T70" fmla="*/ 30287 w 64"/>
              <a:gd name="T71" fmla="*/ 216003 h 93"/>
              <a:gd name="T72" fmla="*/ 35793 w 64"/>
              <a:gd name="T73" fmla="*/ 207246 h 93"/>
              <a:gd name="T74" fmla="*/ 52313 w 64"/>
              <a:gd name="T75" fmla="*/ 198489 h 93"/>
              <a:gd name="T76" fmla="*/ 49560 w 64"/>
              <a:gd name="T77" fmla="*/ 183894 h 93"/>
              <a:gd name="T78" fmla="*/ 38547 w 64"/>
              <a:gd name="T79" fmla="*/ 180975 h 93"/>
              <a:gd name="T80" fmla="*/ 49560 w 64"/>
              <a:gd name="T81" fmla="*/ 169300 h 93"/>
              <a:gd name="T82" fmla="*/ 74340 w 64"/>
              <a:gd name="T83" fmla="*/ 169300 h 93"/>
              <a:gd name="T84" fmla="*/ 74340 w 64"/>
              <a:gd name="T85" fmla="*/ 145948 h 93"/>
              <a:gd name="T86" fmla="*/ 63327 w 64"/>
              <a:gd name="T87" fmla="*/ 131353 h 93"/>
              <a:gd name="T88" fmla="*/ 74340 w 64"/>
              <a:gd name="T89" fmla="*/ 119677 h 93"/>
              <a:gd name="T90" fmla="*/ 55067 w 64"/>
              <a:gd name="T91" fmla="*/ 122596 h 93"/>
              <a:gd name="T92" fmla="*/ 38547 w 64"/>
              <a:gd name="T93" fmla="*/ 131353 h 93"/>
              <a:gd name="T94" fmla="*/ 33040 w 64"/>
              <a:gd name="T95" fmla="*/ 122596 h 93"/>
              <a:gd name="T96" fmla="*/ 35793 w 64"/>
              <a:gd name="T97" fmla="*/ 110920 h 93"/>
              <a:gd name="T98" fmla="*/ 41300 w 64"/>
              <a:gd name="T99" fmla="*/ 102163 h 93"/>
              <a:gd name="T100" fmla="*/ 38547 w 64"/>
              <a:gd name="T101" fmla="*/ 87569 h 93"/>
              <a:gd name="T102" fmla="*/ 30287 w 64"/>
              <a:gd name="T103" fmla="*/ 81731 h 93"/>
              <a:gd name="T104" fmla="*/ 16520 w 64"/>
              <a:gd name="T105" fmla="*/ 93407 h 93"/>
              <a:gd name="T106" fmla="*/ 13767 w 64"/>
              <a:gd name="T107" fmla="*/ 75893 h 93"/>
              <a:gd name="T108" fmla="*/ 13767 w 64"/>
              <a:gd name="T109" fmla="*/ 55460 h 93"/>
              <a:gd name="T110" fmla="*/ 0 w 64"/>
              <a:gd name="T111" fmla="*/ 43784 h 9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4" h="93">
                <a:moveTo>
                  <a:pt x="0" y="15"/>
                </a:moveTo>
                <a:cubicBezTo>
                  <a:pt x="1" y="14"/>
                  <a:pt x="2" y="12"/>
                  <a:pt x="2" y="12"/>
                </a:cubicBezTo>
                <a:cubicBezTo>
                  <a:pt x="3" y="12"/>
                  <a:pt x="6" y="15"/>
                  <a:pt x="7" y="14"/>
                </a:cubicBezTo>
                <a:cubicBezTo>
                  <a:pt x="8" y="13"/>
                  <a:pt x="11" y="3"/>
                  <a:pt x="12" y="2"/>
                </a:cubicBezTo>
                <a:cubicBezTo>
                  <a:pt x="13" y="1"/>
                  <a:pt x="25" y="1"/>
                  <a:pt x="26" y="0"/>
                </a:cubicBezTo>
                <a:cubicBezTo>
                  <a:pt x="26" y="0"/>
                  <a:pt x="27" y="2"/>
                  <a:pt x="27" y="3"/>
                </a:cubicBezTo>
                <a:cubicBezTo>
                  <a:pt x="27" y="5"/>
                  <a:pt x="20" y="8"/>
                  <a:pt x="19" y="9"/>
                </a:cubicBezTo>
                <a:cubicBezTo>
                  <a:pt x="18" y="9"/>
                  <a:pt x="17" y="13"/>
                  <a:pt x="18" y="13"/>
                </a:cubicBezTo>
                <a:cubicBezTo>
                  <a:pt x="19" y="14"/>
                  <a:pt x="34" y="11"/>
                  <a:pt x="35" y="12"/>
                </a:cubicBezTo>
                <a:cubicBezTo>
                  <a:pt x="36" y="13"/>
                  <a:pt x="31" y="23"/>
                  <a:pt x="30" y="24"/>
                </a:cubicBezTo>
                <a:cubicBezTo>
                  <a:pt x="29" y="25"/>
                  <a:pt x="23" y="27"/>
                  <a:pt x="23" y="28"/>
                </a:cubicBezTo>
                <a:cubicBezTo>
                  <a:pt x="21" y="29"/>
                  <a:pt x="28" y="31"/>
                  <a:pt x="29" y="31"/>
                </a:cubicBezTo>
                <a:cubicBezTo>
                  <a:pt x="31" y="31"/>
                  <a:pt x="34" y="30"/>
                  <a:pt x="36" y="34"/>
                </a:cubicBezTo>
                <a:cubicBezTo>
                  <a:pt x="38" y="37"/>
                  <a:pt x="39" y="43"/>
                  <a:pt x="41" y="44"/>
                </a:cubicBezTo>
                <a:cubicBezTo>
                  <a:pt x="43" y="45"/>
                  <a:pt x="46" y="44"/>
                  <a:pt x="47" y="47"/>
                </a:cubicBezTo>
                <a:cubicBezTo>
                  <a:pt x="48" y="49"/>
                  <a:pt x="52" y="56"/>
                  <a:pt x="52" y="58"/>
                </a:cubicBezTo>
                <a:cubicBezTo>
                  <a:pt x="52" y="59"/>
                  <a:pt x="49" y="61"/>
                  <a:pt x="50" y="63"/>
                </a:cubicBezTo>
                <a:cubicBezTo>
                  <a:pt x="51" y="64"/>
                  <a:pt x="53" y="65"/>
                  <a:pt x="54" y="64"/>
                </a:cubicBezTo>
                <a:cubicBezTo>
                  <a:pt x="55" y="64"/>
                  <a:pt x="57" y="62"/>
                  <a:pt x="57" y="62"/>
                </a:cubicBezTo>
                <a:cubicBezTo>
                  <a:pt x="57" y="62"/>
                  <a:pt x="61" y="62"/>
                  <a:pt x="62" y="63"/>
                </a:cubicBezTo>
                <a:cubicBezTo>
                  <a:pt x="64" y="65"/>
                  <a:pt x="64" y="70"/>
                  <a:pt x="61" y="72"/>
                </a:cubicBezTo>
                <a:cubicBezTo>
                  <a:pt x="58" y="74"/>
                  <a:pt x="53" y="75"/>
                  <a:pt x="53" y="76"/>
                </a:cubicBezTo>
                <a:cubicBezTo>
                  <a:pt x="52" y="78"/>
                  <a:pt x="61" y="79"/>
                  <a:pt x="61" y="80"/>
                </a:cubicBezTo>
                <a:cubicBezTo>
                  <a:pt x="61" y="81"/>
                  <a:pt x="52" y="85"/>
                  <a:pt x="51" y="85"/>
                </a:cubicBezTo>
                <a:cubicBezTo>
                  <a:pt x="49" y="84"/>
                  <a:pt x="40" y="83"/>
                  <a:pt x="37" y="84"/>
                </a:cubicBezTo>
                <a:cubicBezTo>
                  <a:pt x="35" y="85"/>
                  <a:pt x="26" y="85"/>
                  <a:pt x="25" y="86"/>
                </a:cubicBezTo>
                <a:cubicBezTo>
                  <a:pt x="24" y="88"/>
                  <a:pt x="24" y="91"/>
                  <a:pt x="22" y="91"/>
                </a:cubicBezTo>
                <a:cubicBezTo>
                  <a:pt x="20" y="90"/>
                  <a:pt x="19" y="88"/>
                  <a:pt x="17" y="89"/>
                </a:cubicBezTo>
                <a:cubicBezTo>
                  <a:pt x="15" y="90"/>
                  <a:pt x="11" y="93"/>
                  <a:pt x="10" y="93"/>
                </a:cubicBezTo>
                <a:cubicBezTo>
                  <a:pt x="9" y="93"/>
                  <a:pt x="5" y="93"/>
                  <a:pt x="5" y="92"/>
                </a:cubicBezTo>
                <a:cubicBezTo>
                  <a:pt x="5" y="90"/>
                  <a:pt x="11" y="86"/>
                  <a:pt x="13" y="86"/>
                </a:cubicBezTo>
                <a:cubicBezTo>
                  <a:pt x="14" y="85"/>
                  <a:pt x="16" y="81"/>
                  <a:pt x="17" y="81"/>
                </a:cubicBezTo>
                <a:cubicBezTo>
                  <a:pt x="18" y="80"/>
                  <a:pt x="25" y="80"/>
                  <a:pt x="26" y="80"/>
                </a:cubicBezTo>
                <a:cubicBezTo>
                  <a:pt x="27" y="79"/>
                  <a:pt x="30" y="78"/>
                  <a:pt x="29" y="77"/>
                </a:cubicBezTo>
                <a:cubicBezTo>
                  <a:pt x="28" y="75"/>
                  <a:pt x="21" y="75"/>
                  <a:pt x="20" y="75"/>
                </a:cubicBezTo>
                <a:cubicBezTo>
                  <a:pt x="19" y="74"/>
                  <a:pt x="12" y="76"/>
                  <a:pt x="11" y="74"/>
                </a:cubicBezTo>
                <a:cubicBezTo>
                  <a:pt x="10" y="73"/>
                  <a:pt x="12" y="72"/>
                  <a:pt x="13" y="71"/>
                </a:cubicBezTo>
                <a:cubicBezTo>
                  <a:pt x="14" y="70"/>
                  <a:pt x="19" y="69"/>
                  <a:pt x="19" y="68"/>
                </a:cubicBezTo>
                <a:cubicBezTo>
                  <a:pt x="19" y="68"/>
                  <a:pt x="19" y="63"/>
                  <a:pt x="18" y="63"/>
                </a:cubicBezTo>
                <a:cubicBezTo>
                  <a:pt x="17" y="62"/>
                  <a:pt x="14" y="64"/>
                  <a:pt x="14" y="62"/>
                </a:cubicBezTo>
                <a:cubicBezTo>
                  <a:pt x="14" y="61"/>
                  <a:pt x="16" y="59"/>
                  <a:pt x="18" y="58"/>
                </a:cubicBezTo>
                <a:cubicBezTo>
                  <a:pt x="19" y="58"/>
                  <a:pt x="26" y="59"/>
                  <a:pt x="27" y="58"/>
                </a:cubicBezTo>
                <a:cubicBezTo>
                  <a:pt x="28" y="57"/>
                  <a:pt x="28" y="52"/>
                  <a:pt x="27" y="50"/>
                </a:cubicBezTo>
                <a:cubicBezTo>
                  <a:pt x="26" y="49"/>
                  <a:pt x="23" y="46"/>
                  <a:pt x="23" y="45"/>
                </a:cubicBezTo>
                <a:cubicBezTo>
                  <a:pt x="23" y="44"/>
                  <a:pt x="27" y="42"/>
                  <a:pt x="27" y="41"/>
                </a:cubicBezTo>
                <a:cubicBezTo>
                  <a:pt x="26" y="39"/>
                  <a:pt x="21" y="41"/>
                  <a:pt x="20" y="42"/>
                </a:cubicBezTo>
                <a:cubicBezTo>
                  <a:pt x="19" y="43"/>
                  <a:pt x="15" y="45"/>
                  <a:pt x="14" y="45"/>
                </a:cubicBezTo>
                <a:cubicBezTo>
                  <a:pt x="13" y="44"/>
                  <a:pt x="14" y="43"/>
                  <a:pt x="12" y="42"/>
                </a:cubicBezTo>
                <a:cubicBezTo>
                  <a:pt x="10" y="40"/>
                  <a:pt x="13" y="38"/>
                  <a:pt x="13" y="38"/>
                </a:cubicBezTo>
                <a:cubicBezTo>
                  <a:pt x="13" y="36"/>
                  <a:pt x="16" y="36"/>
                  <a:pt x="15" y="35"/>
                </a:cubicBezTo>
                <a:cubicBezTo>
                  <a:pt x="14" y="34"/>
                  <a:pt x="14" y="32"/>
                  <a:pt x="14" y="30"/>
                </a:cubicBezTo>
                <a:cubicBezTo>
                  <a:pt x="14" y="29"/>
                  <a:pt x="12" y="28"/>
                  <a:pt x="11" y="28"/>
                </a:cubicBezTo>
                <a:cubicBezTo>
                  <a:pt x="10" y="28"/>
                  <a:pt x="8" y="33"/>
                  <a:pt x="6" y="32"/>
                </a:cubicBezTo>
                <a:cubicBezTo>
                  <a:pt x="4" y="31"/>
                  <a:pt x="5" y="27"/>
                  <a:pt x="5" y="26"/>
                </a:cubicBezTo>
                <a:cubicBezTo>
                  <a:pt x="5" y="25"/>
                  <a:pt x="7" y="20"/>
                  <a:pt x="5" y="19"/>
                </a:cubicBezTo>
                <a:cubicBezTo>
                  <a:pt x="4" y="18"/>
                  <a:pt x="0" y="16"/>
                  <a:pt x="0" y="15"/>
                </a:cubicBezTo>
                <a:close/>
              </a:path>
            </a:pathLst>
          </a:custGeom>
          <a:solidFill>
            <a:schemeClr val="tx2">
              <a:lumMod val="40000"/>
              <a:lumOff val="60000"/>
            </a:schemeClr>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6" name="Freeform 287"/>
          <p:cNvSpPr>
            <a:spLocks/>
          </p:cNvSpPr>
          <p:nvPr>
            <p:custDataLst>
              <p:tags r:id="rId202"/>
            </p:custDataLst>
          </p:nvPr>
        </p:nvSpPr>
        <p:spPr bwMode="auto">
          <a:xfrm>
            <a:off x="5674537" y="2424512"/>
            <a:ext cx="38634" cy="66732"/>
          </a:xfrm>
          <a:custGeom>
            <a:avLst/>
            <a:gdLst>
              <a:gd name="T0" fmla="*/ 0 w 13"/>
              <a:gd name="T1" fmla="*/ 43089 h 21"/>
              <a:gd name="T2" fmla="*/ 5373 w 13"/>
              <a:gd name="T3" fmla="*/ 14363 h 21"/>
              <a:gd name="T4" fmla="*/ 32238 w 13"/>
              <a:gd name="T5" fmla="*/ 2873 h 21"/>
              <a:gd name="T6" fmla="*/ 29552 w 13"/>
              <a:gd name="T7" fmla="*/ 17236 h 21"/>
              <a:gd name="T8" fmla="*/ 16119 w 13"/>
              <a:gd name="T9" fmla="*/ 28726 h 21"/>
              <a:gd name="T10" fmla="*/ 8060 w 13"/>
              <a:gd name="T11" fmla="*/ 51707 h 21"/>
              <a:gd name="T12" fmla="*/ 2687 w 13"/>
              <a:gd name="T13" fmla="*/ 60325 h 21"/>
              <a:gd name="T14" fmla="*/ 0 w 13"/>
              <a:gd name="T15" fmla="*/ 43089 h 2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21">
                <a:moveTo>
                  <a:pt x="0" y="15"/>
                </a:moveTo>
                <a:cubicBezTo>
                  <a:pt x="0" y="13"/>
                  <a:pt x="1" y="6"/>
                  <a:pt x="2" y="5"/>
                </a:cubicBezTo>
                <a:cubicBezTo>
                  <a:pt x="3" y="4"/>
                  <a:pt x="10" y="0"/>
                  <a:pt x="12" y="1"/>
                </a:cubicBezTo>
                <a:cubicBezTo>
                  <a:pt x="13" y="2"/>
                  <a:pt x="11" y="5"/>
                  <a:pt x="11" y="6"/>
                </a:cubicBezTo>
                <a:cubicBezTo>
                  <a:pt x="11" y="6"/>
                  <a:pt x="6" y="9"/>
                  <a:pt x="6" y="10"/>
                </a:cubicBezTo>
                <a:cubicBezTo>
                  <a:pt x="6" y="10"/>
                  <a:pt x="3" y="17"/>
                  <a:pt x="3" y="18"/>
                </a:cubicBezTo>
                <a:cubicBezTo>
                  <a:pt x="3" y="18"/>
                  <a:pt x="2" y="21"/>
                  <a:pt x="1" y="21"/>
                </a:cubicBezTo>
                <a:cubicBezTo>
                  <a:pt x="0" y="21"/>
                  <a:pt x="0" y="18"/>
                  <a:pt x="0" y="15"/>
                </a:cubicBezTo>
                <a:close/>
              </a:path>
            </a:pathLst>
          </a:custGeom>
          <a:solidFill>
            <a:schemeClr val="tx2">
              <a:lumMod val="40000"/>
              <a:lumOff val="6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7" name="Freeform 288"/>
          <p:cNvSpPr>
            <a:spLocks/>
          </p:cNvSpPr>
          <p:nvPr>
            <p:custDataLst>
              <p:tags r:id="rId203"/>
            </p:custDataLst>
          </p:nvPr>
        </p:nvSpPr>
        <p:spPr bwMode="auto">
          <a:xfrm>
            <a:off x="5678050" y="2547439"/>
            <a:ext cx="52683" cy="42146"/>
          </a:xfrm>
          <a:custGeom>
            <a:avLst/>
            <a:gdLst>
              <a:gd name="T0" fmla="*/ 30816 w 17"/>
              <a:gd name="T1" fmla="*/ 0 h 13"/>
              <a:gd name="T2" fmla="*/ 44824 w 17"/>
              <a:gd name="T3" fmla="*/ 23446 h 13"/>
              <a:gd name="T4" fmla="*/ 25213 w 17"/>
              <a:gd name="T5" fmla="*/ 38100 h 13"/>
              <a:gd name="T6" fmla="*/ 16809 w 17"/>
              <a:gd name="T7" fmla="*/ 32238 h 13"/>
              <a:gd name="T8" fmla="*/ 2801 w 17"/>
              <a:gd name="T9" fmla="*/ 29308 h 13"/>
              <a:gd name="T10" fmla="*/ 11206 w 17"/>
              <a:gd name="T11" fmla="*/ 8792 h 13"/>
              <a:gd name="T12" fmla="*/ 19610 w 17"/>
              <a:gd name="T13" fmla="*/ 0 h 13"/>
              <a:gd name="T14" fmla="*/ 30816 w 17"/>
              <a:gd name="T15" fmla="*/ 0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3">
                <a:moveTo>
                  <a:pt x="11" y="0"/>
                </a:moveTo>
                <a:cubicBezTo>
                  <a:pt x="12" y="1"/>
                  <a:pt x="17" y="8"/>
                  <a:pt x="16" y="8"/>
                </a:cubicBezTo>
                <a:cubicBezTo>
                  <a:pt x="15" y="9"/>
                  <a:pt x="9" y="12"/>
                  <a:pt x="9" y="13"/>
                </a:cubicBezTo>
                <a:cubicBezTo>
                  <a:pt x="6" y="11"/>
                  <a:pt x="6" y="11"/>
                  <a:pt x="6" y="11"/>
                </a:cubicBezTo>
                <a:cubicBezTo>
                  <a:pt x="6" y="10"/>
                  <a:pt x="0" y="11"/>
                  <a:pt x="1" y="10"/>
                </a:cubicBezTo>
                <a:cubicBezTo>
                  <a:pt x="1" y="9"/>
                  <a:pt x="4" y="3"/>
                  <a:pt x="4" y="3"/>
                </a:cubicBezTo>
                <a:cubicBezTo>
                  <a:pt x="7" y="0"/>
                  <a:pt x="7" y="0"/>
                  <a:pt x="7" y="0"/>
                </a:cubicBezTo>
                <a:cubicBezTo>
                  <a:pt x="9" y="0"/>
                  <a:pt x="11" y="0"/>
                  <a:pt x="11" y="0"/>
                </a:cubicBezTo>
                <a:close/>
              </a:path>
            </a:pathLst>
          </a:custGeom>
          <a:solidFill>
            <a:schemeClr val="tx2">
              <a:lumMod val="40000"/>
              <a:lumOff val="60000"/>
            </a:schemeClr>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8" name="Freeform 289"/>
          <p:cNvSpPr>
            <a:spLocks/>
          </p:cNvSpPr>
          <p:nvPr>
            <p:custDataLst>
              <p:tags r:id="rId204"/>
            </p:custDataLst>
          </p:nvPr>
        </p:nvSpPr>
        <p:spPr bwMode="auto">
          <a:xfrm>
            <a:off x="5613073" y="2545684"/>
            <a:ext cx="101854" cy="131707"/>
          </a:xfrm>
          <a:custGeom>
            <a:avLst/>
            <a:gdLst>
              <a:gd name="T0" fmla="*/ 83951 w 34"/>
              <a:gd name="T1" fmla="*/ 40656 h 41"/>
              <a:gd name="T2" fmla="*/ 92075 w 34"/>
              <a:gd name="T3" fmla="*/ 72599 h 41"/>
              <a:gd name="T4" fmla="*/ 86659 w 34"/>
              <a:gd name="T5" fmla="*/ 95831 h 41"/>
              <a:gd name="T6" fmla="*/ 56870 w 34"/>
              <a:gd name="T7" fmla="*/ 98735 h 41"/>
              <a:gd name="T8" fmla="*/ 32497 w 34"/>
              <a:gd name="T9" fmla="*/ 116159 h 41"/>
              <a:gd name="T10" fmla="*/ 13540 w 34"/>
              <a:gd name="T11" fmla="*/ 113255 h 41"/>
              <a:gd name="T12" fmla="*/ 2708 w 34"/>
              <a:gd name="T13" fmla="*/ 104543 h 41"/>
              <a:gd name="T14" fmla="*/ 5416 w 34"/>
              <a:gd name="T15" fmla="*/ 92927 h 41"/>
              <a:gd name="T16" fmla="*/ 21665 w 34"/>
              <a:gd name="T17" fmla="*/ 81311 h 41"/>
              <a:gd name="T18" fmla="*/ 32497 w 34"/>
              <a:gd name="T19" fmla="*/ 69695 h 41"/>
              <a:gd name="T20" fmla="*/ 24373 w 34"/>
              <a:gd name="T21" fmla="*/ 60983 h 41"/>
              <a:gd name="T22" fmla="*/ 8124 w 34"/>
              <a:gd name="T23" fmla="*/ 58080 h 41"/>
              <a:gd name="T24" fmla="*/ 13540 w 34"/>
              <a:gd name="T25" fmla="*/ 46464 h 41"/>
              <a:gd name="T26" fmla="*/ 8124 w 34"/>
              <a:gd name="T27" fmla="*/ 31944 h 41"/>
              <a:gd name="T28" fmla="*/ 46038 w 34"/>
              <a:gd name="T29" fmla="*/ 29040 h 41"/>
              <a:gd name="T30" fmla="*/ 48746 w 34"/>
              <a:gd name="T31" fmla="*/ 20328 h 41"/>
              <a:gd name="T32" fmla="*/ 35205 w 34"/>
              <a:gd name="T33" fmla="*/ 14520 h 41"/>
              <a:gd name="T34" fmla="*/ 56870 w 34"/>
              <a:gd name="T35" fmla="*/ 0 h 41"/>
              <a:gd name="T36" fmla="*/ 73118 w 34"/>
              <a:gd name="T37" fmla="*/ 2904 h 41"/>
              <a:gd name="T38" fmla="*/ 78535 w 34"/>
              <a:gd name="T39" fmla="*/ 2904 h 41"/>
              <a:gd name="T40" fmla="*/ 70410 w 34"/>
              <a:gd name="T41" fmla="*/ 11616 h 41"/>
              <a:gd name="T42" fmla="*/ 62286 w 34"/>
              <a:gd name="T43" fmla="*/ 31944 h 41"/>
              <a:gd name="T44" fmla="*/ 75826 w 34"/>
              <a:gd name="T45" fmla="*/ 34848 h 41"/>
              <a:gd name="T46" fmla="*/ 83951 w 34"/>
              <a:gd name="T47" fmla="*/ 40656 h 4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4" h="41">
                <a:moveTo>
                  <a:pt x="31" y="14"/>
                </a:moveTo>
                <a:cubicBezTo>
                  <a:pt x="31" y="15"/>
                  <a:pt x="34" y="24"/>
                  <a:pt x="34" y="25"/>
                </a:cubicBezTo>
                <a:cubicBezTo>
                  <a:pt x="34" y="27"/>
                  <a:pt x="33" y="32"/>
                  <a:pt x="32" y="33"/>
                </a:cubicBezTo>
                <a:cubicBezTo>
                  <a:pt x="31" y="34"/>
                  <a:pt x="25" y="33"/>
                  <a:pt x="21" y="34"/>
                </a:cubicBezTo>
                <a:cubicBezTo>
                  <a:pt x="18" y="35"/>
                  <a:pt x="13" y="39"/>
                  <a:pt x="12" y="40"/>
                </a:cubicBezTo>
                <a:cubicBezTo>
                  <a:pt x="11" y="41"/>
                  <a:pt x="6" y="40"/>
                  <a:pt x="5" y="39"/>
                </a:cubicBezTo>
                <a:cubicBezTo>
                  <a:pt x="4" y="39"/>
                  <a:pt x="1" y="37"/>
                  <a:pt x="1" y="36"/>
                </a:cubicBezTo>
                <a:cubicBezTo>
                  <a:pt x="0" y="36"/>
                  <a:pt x="0" y="32"/>
                  <a:pt x="2" y="32"/>
                </a:cubicBezTo>
                <a:cubicBezTo>
                  <a:pt x="3" y="32"/>
                  <a:pt x="7" y="30"/>
                  <a:pt x="8" y="28"/>
                </a:cubicBezTo>
                <a:cubicBezTo>
                  <a:pt x="9" y="27"/>
                  <a:pt x="12" y="25"/>
                  <a:pt x="12" y="24"/>
                </a:cubicBezTo>
                <a:cubicBezTo>
                  <a:pt x="13" y="21"/>
                  <a:pt x="11" y="21"/>
                  <a:pt x="9" y="21"/>
                </a:cubicBezTo>
                <a:cubicBezTo>
                  <a:pt x="7" y="21"/>
                  <a:pt x="3" y="22"/>
                  <a:pt x="3" y="20"/>
                </a:cubicBezTo>
                <a:cubicBezTo>
                  <a:pt x="2" y="19"/>
                  <a:pt x="4" y="17"/>
                  <a:pt x="5" y="16"/>
                </a:cubicBezTo>
                <a:cubicBezTo>
                  <a:pt x="5" y="15"/>
                  <a:pt x="2" y="11"/>
                  <a:pt x="3" y="11"/>
                </a:cubicBezTo>
                <a:cubicBezTo>
                  <a:pt x="4" y="11"/>
                  <a:pt x="16" y="11"/>
                  <a:pt x="17" y="10"/>
                </a:cubicBezTo>
                <a:cubicBezTo>
                  <a:pt x="18" y="9"/>
                  <a:pt x="18" y="8"/>
                  <a:pt x="18" y="7"/>
                </a:cubicBezTo>
                <a:cubicBezTo>
                  <a:pt x="18" y="7"/>
                  <a:pt x="13" y="5"/>
                  <a:pt x="13" y="5"/>
                </a:cubicBezTo>
                <a:cubicBezTo>
                  <a:pt x="14" y="4"/>
                  <a:pt x="19" y="0"/>
                  <a:pt x="21" y="0"/>
                </a:cubicBezTo>
                <a:cubicBezTo>
                  <a:pt x="22" y="0"/>
                  <a:pt x="26" y="1"/>
                  <a:pt x="27" y="1"/>
                </a:cubicBezTo>
                <a:cubicBezTo>
                  <a:pt x="27" y="1"/>
                  <a:pt x="28" y="1"/>
                  <a:pt x="29" y="1"/>
                </a:cubicBezTo>
                <a:cubicBezTo>
                  <a:pt x="26" y="4"/>
                  <a:pt x="26" y="4"/>
                  <a:pt x="26" y="4"/>
                </a:cubicBezTo>
                <a:cubicBezTo>
                  <a:pt x="26" y="4"/>
                  <a:pt x="23" y="10"/>
                  <a:pt x="23" y="11"/>
                </a:cubicBezTo>
                <a:cubicBezTo>
                  <a:pt x="22" y="12"/>
                  <a:pt x="28" y="11"/>
                  <a:pt x="28" y="12"/>
                </a:cubicBezTo>
                <a:lnTo>
                  <a:pt x="31" y="14"/>
                </a:lnTo>
                <a:close/>
              </a:path>
            </a:pathLst>
          </a:custGeom>
          <a:solidFill>
            <a:schemeClr val="tx2">
              <a:lumMod val="40000"/>
              <a:lumOff val="60000"/>
            </a:schemeClr>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09" name="Freeform 291"/>
          <p:cNvSpPr>
            <a:spLocks/>
          </p:cNvSpPr>
          <p:nvPr>
            <p:custDataLst>
              <p:tags r:id="rId205"/>
            </p:custDataLst>
          </p:nvPr>
        </p:nvSpPr>
        <p:spPr bwMode="auto">
          <a:xfrm>
            <a:off x="6842341" y="4368513"/>
            <a:ext cx="173854" cy="342439"/>
          </a:xfrm>
          <a:custGeom>
            <a:avLst/>
            <a:gdLst>
              <a:gd name="T0" fmla="*/ 16258 w 58"/>
              <a:gd name="T1" fmla="*/ 263273 h 107"/>
              <a:gd name="T2" fmla="*/ 8129 w 58"/>
              <a:gd name="T3" fmla="*/ 219877 h 107"/>
              <a:gd name="T4" fmla="*/ 35226 w 58"/>
              <a:gd name="T5" fmla="*/ 176480 h 107"/>
              <a:gd name="T6" fmla="*/ 21678 w 58"/>
              <a:gd name="T7" fmla="*/ 121511 h 107"/>
              <a:gd name="T8" fmla="*/ 37936 w 58"/>
              <a:gd name="T9" fmla="*/ 92580 h 107"/>
              <a:gd name="T10" fmla="*/ 84001 w 58"/>
              <a:gd name="T11" fmla="*/ 72328 h 107"/>
              <a:gd name="T12" fmla="*/ 105679 w 58"/>
              <a:gd name="T13" fmla="*/ 28931 h 107"/>
              <a:gd name="T14" fmla="*/ 121937 w 58"/>
              <a:gd name="T15" fmla="*/ 17359 h 107"/>
              <a:gd name="T16" fmla="*/ 132776 w 58"/>
              <a:gd name="T17" fmla="*/ 0 h 107"/>
              <a:gd name="T18" fmla="*/ 149034 w 58"/>
              <a:gd name="T19" fmla="*/ 26038 h 107"/>
              <a:gd name="T20" fmla="*/ 151744 w 58"/>
              <a:gd name="T21" fmla="*/ 75221 h 107"/>
              <a:gd name="T22" fmla="*/ 135485 w 58"/>
              <a:gd name="T23" fmla="*/ 92580 h 107"/>
              <a:gd name="T24" fmla="*/ 132776 w 58"/>
              <a:gd name="T25" fmla="*/ 130190 h 107"/>
              <a:gd name="T26" fmla="*/ 89420 w 58"/>
              <a:gd name="T27" fmla="*/ 289311 h 107"/>
              <a:gd name="T28" fmla="*/ 59614 w 58"/>
              <a:gd name="T29" fmla="*/ 309563 h 107"/>
              <a:gd name="T30" fmla="*/ 29807 w 58"/>
              <a:gd name="T31" fmla="*/ 297991 h 107"/>
              <a:gd name="T32" fmla="*/ 16258 w 58"/>
              <a:gd name="T33" fmla="*/ 263273 h 1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8" h="107">
                <a:moveTo>
                  <a:pt x="6" y="91"/>
                </a:moveTo>
                <a:cubicBezTo>
                  <a:pt x="6" y="85"/>
                  <a:pt x="0" y="81"/>
                  <a:pt x="3" y="76"/>
                </a:cubicBezTo>
                <a:cubicBezTo>
                  <a:pt x="7" y="72"/>
                  <a:pt x="13" y="67"/>
                  <a:pt x="13" y="61"/>
                </a:cubicBezTo>
                <a:cubicBezTo>
                  <a:pt x="13" y="54"/>
                  <a:pt x="6" y="47"/>
                  <a:pt x="8" y="42"/>
                </a:cubicBezTo>
                <a:cubicBezTo>
                  <a:pt x="10" y="37"/>
                  <a:pt x="11" y="33"/>
                  <a:pt x="14" y="32"/>
                </a:cubicBezTo>
                <a:cubicBezTo>
                  <a:pt x="16" y="31"/>
                  <a:pt x="25" y="32"/>
                  <a:pt x="31" y="25"/>
                </a:cubicBezTo>
                <a:cubicBezTo>
                  <a:pt x="36" y="18"/>
                  <a:pt x="39" y="12"/>
                  <a:pt x="39" y="10"/>
                </a:cubicBezTo>
                <a:cubicBezTo>
                  <a:pt x="40" y="8"/>
                  <a:pt x="45" y="9"/>
                  <a:pt x="45" y="6"/>
                </a:cubicBezTo>
                <a:cubicBezTo>
                  <a:pt x="46" y="4"/>
                  <a:pt x="49" y="0"/>
                  <a:pt x="49" y="0"/>
                </a:cubicBezTo>
                <a:cubicBezTo>
                  <a:pt x="52" y="1"/>
                  <a:pt x="55" y="5"/>
                  <a:pt x="55" y="9"/>
                </a:cubicBezTo>
                <a:cubicBezTo>
                  <a:pt x="55" y="13"/>
                  <a:pt x="58" y="21"/>
                  <a:pt x="56" y="26"/>
                </a:cubicBezTo>
                <a:cubicBezTo>
                  <a:pt x="54" y="30"/>
                  <a:pt x="50" y="28"/>
                  <a:pt x="50" y="32"/>
                </a:cubicBezTo>
                <a:cubicBezTo>
                  <a:pt x="50" y="36"/>
                  <a:pt x="53" y="39"/>
                  <a:pt x="49" y="45"/>
                </a:cubicBezTo>
                <a:cubicBezTo>
                  <a:pt x="46" y="51"/>
                  <a:pt x="35" y="97"/>
                  <a:pt x="33" y="100"/>
                </a:cubicBezTo>
                <a:cubicBezTo>
                  <a:pt x="31" y="103"/>
                  <a:pt x="26" y="107"/>
                  <a:pt x="22" y="107"/>
                </a:cubicBezTo>
                <a:cubicBezTo>
                  <a:pt x="18" y="107"/>
                  <a:pt x="11" y="103"/>
                  <a:pt x="11" y="103"/>
                </a:cubicBezTo>
                <a:cubicBezTo>
                  <a:pt x="8" y="100"/>
                  <a:pt x="5" y="97"/>
                  <a:pt x="6" y="9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0" name="Freeform 292"/>
          <p:cNvSpPr>
            <a:spLocks/>
          </p:cNvSpPr>
          <p:nvPr>
            <p:custDataLst>
              <p:tags r:id="rId206"/>
            </p:custDataLst>
          </p:nvPr>
        </p:nvSpPr>
        <p:spPr bwMode="auto">
          <a:xfrm>
            <a:off x="6794927" y="3767928"/>
            <a:ext cx="242341" cy="337171"/>
          </a:xfrm>
          <a:custGeom>
            <a:avLst/>
            <a:gdLst>
              <a:gd name="T0" fmla="*/ 0 w 80"/>
              <a:gd name="T1" fmla="*/ 290146 h 104"/>
              <a:gd name="T2" fmla="*/ 0 w 80"/>
              <a:gd name="T3" fmla="*/ 208085 h 104"/>
              <a:gd name="T4" fmla="*/ 8215 w 80"/>
              <a:gd name="T5" fmla="*/ 199292 h 104"/>
              <a:gd name="T6" fmla="*/ 16431 w 80"/>
              <a:gd name="T7" fmla="*/ 181708 h 104"/>
              <a:gd name="T8" fmla="*/ 24646 w 80"/>
              <a:gd name="T9" fmla="*/ 178777 h 104"/>
              <a:gd name="T10" fmla="*/ 54769 w 80"/>
              <a:gd name="T11" fmla="*/ 164123 h 104"/>
              <a:gd name="T12" fmla="*/ 84892 w 80"/>
              <a:gd name="T13" fmla="*/ 161192 h 104"/>
              <a:gd name="T14" fmla="*/ 147876 w 80"/>
              <a:gd name="T15" fmla="*/ 93785 h 104"/>
              <a:gd name="T16" fmla="*/ 68461 w 80"/>
              <a:gd name="T17" fmla="*/ 70338 h 104"/>
              <a:gd name="T18" fmla="*/ 35600 w 80"/>
              <a:gd name="T19" fmla="*/ 38100 h 104"/>
              <a:gd name="T20" fmla="*/ 41077 w 80"/>
              <a:gd name="T21" fmla="*/ 26377 h 104"/>
              <a:gd name="T22" fmla="*/ 52030 w 80"/>
              <a:gd name="T23" fmla="*/ 17585 h 104"/>
              <a:gd name="T24" fmla="*/ 76676 w 80"/>
              <a:gd name="T25" fmla="*/ 38100 h 104"/>
              <a:gd name="T26" fmla="*/ 104061 w 80"/>
              <a:gd name="T27" fmla="*/ 26377 h 104"/>
              <a:gd name="T28" fmla="*/ 147876 w 80"/>
              <a:gd name="T29" fmla="*/ 20515 h 104"/>
              <a:gd name="T30" fmla="*/ 194429 w 80"/>
              <a:gd name="T31" fmla="*/ 8792 h 104"/>
              <a:gd name="T32" fmla="*/ 205383 w 80"/>
              <a:gd name="T33" fmla="*/ 0 h 104"/>
              <a:gd name="T34" fmla="*/ 219075 w 80"/>
              <a:gd name="T35" fmla="*/ 2931 h 104"/>
              <a:gd name="T36" fmla="*/ 213598 w 80"/>
              <a:gd name="T37" fmla="*/ 32238 h 104"/>
              <a:gd name="T38" fmla="*/ 208121 w 80"/>
              <a:gd name="T39" fmla="*/ 64477 h 104"/>
              <a:gd name="T40" fmla="*/ 177998 w 80"/>
              <a:gd name="T41" fmla="*/ 117231 h 104"/>
              <a:gd name="T42" fmla="*/ 142399 w 80"/>
              <a:gd name="T43" fmla="*/ 178777 h 104"/>
              <a:gd name="T44" fmla="*/ 87630 w 80"/>
              <a:gd name="T45" fmla="*/ 228600 h 104"/>
              <a:gd name="T46" fmla="*/ 30123 w 80"/>
              <a:gd name="T47" fmla="*/ 281354 h 104"/>
              <a:gd name="T48" fmla="*/ 10954 w 80"/>
              <a:gd name="T49" fmla="*/ 304800 h 104"/>
              <a:gd name="T50" fmla="*/ 0 w 80"/>
              <a:gd name="T51" fmla="*/ 290146 h 10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104">
                <a:moveTo>
                  <a:pt x="0" y="99"/>
                </a:moveTo>
                <a:cubicBezTo>
                  <a:pt x="0" y="71"/>
                  <a:pt x="0" y="71"/>
                  <a:pt x="0" y="71"/>
                </a:cubicBezTo>
                <a:cubicBezTo>
                  <a:pt x="3" y="68"/>
                  <a:pt x="3" y="68"/>
                  <a:pt x="3" y="68"/>
                </a:cubicBezTo>
                <a:cubicBezTo>
                  <a:pt x="6" y="62"/>
                  <a:pt x="6" y="62"/>
                  <a:pt x="6" y="62"/>
                </a:cubicBezTo>
                <a:cubicBezTo>
                  <a:pt x="7" y="62"/>
                  <a:pt x="9" y="62"/>
                  <a:pt x="9" y="61"/>
                </a:cubicBezTo>
                <a:cubicBezTo>
                  <a:pt x="10" y="61"/>
                  <a:pt x="17" y="57"/>
                  <a:pt x="20" y="56"/>
                </a:cubicBezTo>
                <a:cubicBezTo>
                  <a:pt x="23" y="55"/>
                  <a:pt x="30" y="56"/>
                  <a:pt x="31" y="55"/>
                </a:cubicBezTo>
                <a:cubicBezTo>
                  <a:pt x="33" y="54"/>
                  <a:pt x="53" y="32"/>
                  <a:pt x="54" y="32"/>
                </a:cubicBezTo>
                <a:cubicBezTo>
                  <a:pt x="55" y="31"/>
                  <a:pt x="31" y="29"/>
                  <a:pt x="25" y="24"/>
                </a:cubicBezTo>
                <a:cubicBezTo>
                  <a:pt x="19" y="20"/>
                  <a:pt x="13" y="16"/>
                  <a:pt x="13" y="13"/>
                </a:cubicBezTo>
                <a:cubicBezTo>
                  <a:pt x="13" y="11"/>
                  <a:pt x="15" y="10"/>
                  <a:pt x="15" y="9"/>
                </a:cubicBezTo>
                <a:cubicBezTo>
                  <a:pt x="15" y="7"/>
                  <a:pt x="19" y="6"/>
                  <a:pt x="19" y="6"/>
                </a:cubicBezTo>
                <a:cubicBezTo>
                  <a:pt x="22" y="9"/>
                  <a:pt x="23" y="13"/>
                  <a:pt x="28" y="13"/>
                </a:cubicBezTo>
                <a:cubicBezTo>
                  <a:pt x="32" y="13"/>
                  <a:pt x="36" y="9"/>
                  <a:pt x="38" y="9"/>
                </a:cubicBezTo>
                <a:cubicBezTo>
                  <a:pt x="41" y="9"/>
                  <a:pt x="50" y="9"/>
                  <a:pt x="54" y="7"/>
                </a:cubicBezTo>
                <a:cubicBezTo>
                  <a:pt x="57" y="6"/>
                  <a:pt x="69" y="5"/>
                  <a:pt x="71" y="3"/>
                </a:cubicBezTo>
                <a:cubicBezTo>
                  <a:pt x="73" y="1"/>
                  <a:pt x="74" y="0"/>
                  <a:pt x="75" y="0"/>
                </a:cubicBezTo>
                <a:cubicBezTo>
                  <a:pt x="76" y="0"/>
                  <a:pt x="80" y="0"/>
                  <a:pt x="80" y="1"/>
                </a:cubicBezTo>
                <a:cubicBezTo>
                  <a:pt x="80" y="2"/>
                  <a:pt x="78" y="9"/>
                  <a:pt x="78" y="11"/>
                </a:cubicBezTo>
                <a:cubicBezTo>
                  <a:pt x="78" y="12"/>
                  <a:pt x="77" y="20"/>
                  <a:pt x="76" y="22"/>
                </a:cubicBezTo>
                <a:cubicBezTo>
                  <a:pt x="74" y="24"/>
                  <a:pt x="66" y="37"/>
                  <a:pt x="65" y="40"/>
                </a:cubicBezTo>
                <a:cubicBezTo>
                  <a:pt x="64" y="43"/>
                  <a:pt x="57" y="56"/>
                  <a:pt x="52" y="61"/>
                </a:cubicBezTo>
                <a:cubicBezTo>
                  <a:pt x="47" y="66"/>
                  <a:pt x="39" y="74"/>
                  <a:pt x="32" y="78"/>
                </a:cubicBezTo>
                <a:cubicBezTo>
                  <a:pt x="26" y="82"/>
                  <a:pt x="18" y="90"/>
                  <a:pt x="11" y="96"/>
                </a:cubicBezTo>
                <a:cubicBezTo>
                  <a:pt x="9" y="99"/>
                  <a:pt x="6" y="101"/>
                  <a:pt x="4" y="104"/>
                </a:cubicBezTo>
                <a:lnTo>
                  <a:pt x="0" y="99"/>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1" name="Freeform 293"/>
          <p:cNvSpPr>
            <a:spLocks/>
          </p:cNvSpPr>
          <p:nvPr>
            <p:custDataLst>
              <p:tags r:id="rId207"/>
            </p:custDataLst>
          </p:nvPr>
        </p:nvSpPr>
        <p:spPr bwMode="auto">
          <a:xfrm>
            <a:off x="6607025" y="3709977"/>
            <a:ext cx="352975" cy="272195"/>
          </a:xfrm>
          <a:custGeom>
            <a:avLst/>
            <a:gdLst>
              <a:gd name="T0" fmla="*/ 27041 w 118"/>
              <a:gd name="T1" fmla="*/ 164042 h 84"/>
              <a:gd name="T2" fmla="*/ 5408 w 118"/>
              <a:gd name="T3" fmla="*/ 155254 h 84"/>
              <a:gd name="T4" fmla="*/ 5408 w 118"/>
              <a:gd name="T5" fmla="*/ 134749 h 84"/>
              <a:gd name="T6" fmla="*/ 24337 w 118"/>
              <a:gd name="T7" fmla="*/ 134749 h 84"/>
              <a:gd name="T8" fmla="*/ 35154 w 118"/>
              <a:gd name="T9" fmla="*/ 87880 h 84"/>
              <a:gd name="T10" fmla="*/ 45970 w 118"/>
              <a:gd name="T11" fmla="*/ 79092 h 84"/>
              <a:gd name="T12" fmla="*/ 51379 w 118"/>
              <a:gd name="T13" fmla="*/ 52728 h 84"/>
              <a:gd name="T14" fmla="*/ 70308 w 118"/>
              <a:gd name="T15" fmla="*/ 35152 h 84"/>
              <a:gd name="T16" fmla="*/ 78420 w 118"/>
              <a:gd name="T17" fmla="*/ 5859 h 84"/>
              <a:gd name="T18" fmla="*/ 105461 w 118"/>
              <a:gd name="T19" fmla="*/ 8788 h 84"/>
              <a:gd name="T20" fmla="*/ 105461 w 118"/>
              <a:gd name="T21" fmla="*/ 8788 h 84"/>
              <a:gd name="T22" fmla="*/ 116278 w 118"/>
              <a:gd name="T23" fmla="*/ 0 h 84"/>
              <a:gd name="T24" fmla="*/ 140615 w 118"/>
              <a:gd name="T25" fmla="*/ 2929 h 84"/>
              <a:gd name="T26" fmla="*/ 170361 w 118"/>
              <a:gd name="T27" fmla="*/ 17576 h 84"/>
              <a:gd name="T28" fmla="*/ 191994 w 118"/>
              <a:gd name="T29" fmla="*/ 41011 h 84"/>
              <a:gd name="T30" fmla="*/ 189289 w 118"/>
              <a:gd name="T31" fmla="*/ 61516 h 84"/>
              <a:gd name="T32" fmla="*/ 186585 w 118"/>
              <a:gd name="T33" fmla="*/ 79092 h 84"/>
              <a:gd name="T34" fmla="*/ 210923 w 118"/>
              <a:gd name="T35" fmla="*/ 79092 h 84"/>
              <a:gd name="T36" fmla="*/ 205514 w 118"/>
              <a:gd name="T37" fmla="*/ 90809 h 84"/>
              <a:gd name="T38" fmla="*/ 237964 w 118"/>
              <a:gd name="T39" fmla="*/ 123032 h 84"/>
              <a:gd name="T40" fmla="*/ 316384 w 118"/>
              <a:gd name="T41" fmla="*/ 146466 h 84"/>
              <a:gd name="T42" fmla="*/ 254189 w 118"/>
              <a:gd name="T43" fmla="*/ 213840 h 84"/>
              <a:gd name="T44" fmla="*/ 224443 w 118"/>
              <a:gd name="T45" fmla="*/ 216770 h 84"/>
              <a:gd name="T46" fmla="*/ 194698 w 118"/>
              <a:gd name="T47" fmla="*/ 231416 h 84"/>
              <a:gd name="T48" fmla="*/ 186585 w 118"/>
              <a:gd name="T49" fmla="*/ 234346 h 84"/>
              <a:gd name="T50" fmla="*/ 178473 w 118"/>
              <a:gd name="T51" fmla="*/ 237275 h 84"/>
              <a:gd name="T52" fmla="*/ 162248 w 118"/>
              <a:gd name="T53" fmla="*/ 231416 h 84"/>
              <a:gd name="T54" fmla="*/ 140615 w 118"/>
              <a:gd name="T55" fmla="*/ 246063 h 84"/>
              <a:gd name="T56" fmla="*/ 116278 w 118"/>
              <a:gd name="T57" fmla="*/ 243134 h 84"/>
              <a:gd name="T58" fmla="*/ 89236 w 118"/>
              <a:gd name="T59" fmla="*/ 225558 h 84"/>
              <a:gd name="T60" fmla="*/ 67603 w 118"/>
              <a:gd name="T61" fmla="*/ 219699 h 84"/>
              <a:gd name="T62" fmla="*/ 62195 w 118"/>
              <a:gd name="T63" fmla="*/ 219699 h 84"/>
              <a:gd name="T64" fmla="*/ 62195 w 118"/>
              <a:gd name="T65" fmla="*/ 219699 h 84"/>
              <a:gd name="T66" fmla="*/ 59491 w 118"/>
              <a:gd name="T67" fmla="*/ 193335 h 84"/>
              <a:gd name="T68" fmla="*/ 51379 w 118"/>
              <a:gd name="T69" fmla="*/ 178689 h 84"/>
              <a:gd name="T70" fmla="*/ 27041 w 118"/>
              <a:gd name="T71" fmla="*/ 164042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18" h="84">
                <a:moveTo>
                  <a:pt x="10" y="56"/>
                </a:moveTo>
                <a:cubicBezTo>
                  <a:pt x="8" y="53"/>
                  <a:pt x="4" y="54"/>
                  <a:pt x="2" y="53"/>
                </a:cubicBezTo>
                <a:cubicBezTo>
                  <a:pt x="0" y="53"/>
                  <a:pt x="1" y="49"/>
                  <a:pt x="2" y="46"/>
                </a:cubicBezTo>
                <a:cubicBezTo>
                  <a:pt x="3" y="44"/>
                  <a:pt x="8" y="47"/>
                  <a:pt x="9" y="46"/>
                </a:cubicBezTo>
                <a:cubicBezTo>
                  <a:pt x="11" y="44"/>
                  <a:pt x="13" y="33"/>
                  <a:pt x="13" y="30"/>
                </a:cubicBezTo>
                <a:cubicBezTo>
                  <a:pt x="13" y="26"/>
                  <a:pt x="17" y="27"/>
                  <a:pt x="17" y="27"/>
                </a:cubicBezTo>
                <a:cubicBezTo>
                  <a:pt x="17" y="27"/>
                  <a:pt x="18" y="21"/>
                  <a:pt x="19" y="18"/>
                </a:cubicBezTo>
                <a:cubicBezTo>
                  <a:pt x="21" y="14"/>
                  <a:pt x="25" y="13"/>
                  <a:pt x="26" y="12"/>
                </a:cubicBezTo>
                <a:cubicBezTo>
                  <a:pt x="27" y="12"/>
                  <a:pt x="28" y="4"/>
                  <a:pt x="29" y="2"/>
                </a:cubicBezTo>
                <a:cubicBezTo>
                  <a:pt x="39" y="3"/>
                  <a:pt x="39" y="3"/>
                  <a:pt x="39" y="3"/>
                </a:cubicBezTo>
                <a:cubicBezTo>
                  <a:pt x="39" y="3"/>
                  <a:pt x="39" y="3"/>
                  <a:pt x="39" y="3"/>
                </a:cubicBezTo>
                <a:cubicBezTo>
                  <a:pt x="40" y="2"/>
                  <a:pt x="42" y="1"/>
                  <a:pt x="43" y="0"/>
                </a:cubicBezTo>
                <a:cubicBezTo>
                  <a:pt x="45" y="0"/>
                  <a:pt x="50" y="1"/>
                  <a:pt x="52" y="1"/>
                </a:cubicBezTo>
                <a:cubicBezTo>
                  <a:pt x="53" y="1"/>
                  <a:pt x="61" y="4"/>
                  <a:pt x="63" y="6"/>
                </a:cubicBezTo>
                <a:cubicBezTo>
                  <a:pt x="65" y="7"/>
                  <a:pt x="68" y="11"/>
                  <a:pt x="71" y="14"/>
                </a:cubicBezTo>
                <a:cubicBezTo>
                  <a:pt x="73" y="18"/>
                  <a:pt x="71" y="18"/>
                  <a:pt x="70" y="21"/>
                </a:cubicBezTo>
                <a:cubicBezTo>
                  <a:pt x="69" y="23"/>
                  <a:pt x="69" y="25"/>
                  <a:pt x="69" y="27"/>
                </a:cubicBezTo>
                <a:cubicBezTo>
                  <a:pt x="70" y="29"/>
                  <a:pt x="78" y="27"/>
                  <a:pt x="78" y="27"/>
                </a:cubicBezTo>
                <a:cubicBezTo>
                  <a:pt x="78" y="28"/>
                  <a:pt x="76" y="29"/>
                  <a:pt x="76" y="31"/>
                </a:cubicBezTo>
                <a:cubicBezTo>
                  <a:pt x="76" y="34"/>
                  <a:pt x="82" y="38"/>
                  <a:pt x="88" y="42"/>
                </a:cubicBezTo>
                <a:cubicBezTo>
                  <a:pt x="94" y="47"/>
                  <a:pt x="118" y="49"/>
                  <a:pt x="117" y="50"/>
                </a:cubicBezTo>
                <a:cubicBezTo>
                  <a:pt x="116" y="50"/>
                  <a:pt x="96" y="72"/>
                  <a:pt x="94" y="73"/>
                </a:cubicBezTo>
                <a:cubicBezTo>
                  <a:pt x="93" y="74"/>
                  <a:pt x="86" y="73"/>
                  <a:pt x="83" y="74"/>
                </a:cubicBezTo>
                <a:cubicBezTo>
                  <a:pt x="80" y="75"/>
                  <a:pt x="73" y="79"/>
                  <a:pt x="72" y="79"/>
                </a:cubicBezTo>
                <a:cubicBezTo>
                  <a:pt x="72" y="80"/>
                  <a:pt x="70" y="80"/>
                  <a:pt x="69" y="80"/>
                </a:cubicBezTo>
                <a:cubicBezTo>
                  <a:pt x="68" y="80"/>
                  <a:pt x="66" y="81"/>
                  <a:pt x="66" y="81"/>
                </a:cubicBezTo>
                <a:cubicBezTo>
                  <a:pt x="64" y="81"/>
                  <a:pt x="62" y="78"/>
                  <a:pt x="60" y="79"/>
                </a:cubicBezTo>
                <a:cubicBezTo>
                  <a:pt x="58" y="80"/>
                  <a:pt x="52" y="84"/>
                  <a:pt x="52" y="84"/>
                </a:cubicBezTo>
                <a:cubicBezTo>
                  <a:pt x="52" y="84"/>
                  <a:pt x="45" y="83"/>
                  <a:pt x="43" y="83"/>
                </a:cubicBezTo>
                <a:cubicBezTo>
                  <a:pt x="40" y="83"/>
                  <a:pt x="33" y="77"/>
                  <a:pt x="33" y="77"/>
                </a:cubicBezTo>
                <a:cubicBezTo>
                  <a:pt x="25" y="75"/>
                  <a:pt x="25" y="75"/>
                  <a:pt x="25" y="75"/>
                </a:cubicBezTo>
                <a:cubicBezTo>
                  <a:pt x="23" y="75"/>
                  <a:pt x="23" y="75"/>
                  <a:pt x="23" y="75"/>
                </a:cubicBezTo>
                <a:cubicBezTo>
                  <a:pt x="23" y="75"/>
                  <a:pt x="23" y="75"/>
                  <a:pt x="23" y="75"/>
                </a:cubicBezTo>
                <a:cubicBezTo>
                  <a:pt x="22" y="66"/>
                  <a:pt x="22" y="66"/>
                  <a:pt x="22" y="66"/>
                </a:cubicBezTo>
                <a:cubicBezTo>
                  <a:pt x="20" y="66"/>
                  <a:pt x="19" y="63"/>
                  <a:pt x="19" y="61"/>
                </a:cubicBezTo>
                <a:cubicBezTo>
                  <a:pt x="19" y="59"/>
                  <a:pt x="13" y="58"/>
                  <a:pt x="10" y="5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2" name="Freeform 294"/>
          <p:cNvSpPr>
            <a:spLocks/>
          </p:cNvSpPr>
          <p:nvPr>
            <p:custDataLst>
              <p:tags r:id="rId208"/>
            </p:custDataLst>
          </p:nvPr>
        </p:nvSpPr>
        <p:spPr bwMode="auto">
          <a:xfrm>
            <a:off x="6693074" y="3623927"/>
            <a:ext cx="161561" cy="179122"/>
          </a:xfrm>
          <a:custGeom>
            <a:avLst/>
            <a:gdLst>
              <a:gd name="T0" fmla="*/ 27557 w 53"/>
              <a:gd name="T1" fmla="*/ 86746 h 56"/>
              <a:gd name="T2" fmla="*/ 0 w 53"/>
              <a:gd name="T3" fmla="*/ 83854 h 56"/>
              <a:gd name="T4" fmla="*/ 11023 w 53"/>
              <a:gd name="T5" fmla="*/ 31807 h 56"/>
              <a:gd name="T6" fmla="*/ 33068 w 53"/>
              <a:gd name="T7" fmla="*/ 5783 h 56"/>
              <a:gd name="T8" fmla="*/ 46846 w 53"/>
              <a:gd name="T9" fmla="*/ 0 h 56"/>
              <a:gd name="T10" fmla="*/ 60625 w 53"/>
              <a:gd name="T11" fmla="*/ 46264 h 56"/>
              <a:gd name="T12" fmla="*/ 96448 w 53"/>
              <a:gd name="T13" fmla="*/ 69396 h 56"/>
              <a:gd name="T14" fmla="*/ 137783 w 53"/>
              <a:gd name="T15" fmla="*/ 118552 h 56"/>
              <a:gd name="T16" fmla="*/ 137783 w 53"/>
              <a:gd name="T17" fmla="*/ 133010 h 56"/>
              <a:gd name="T18" fmla="*/ 146050 w 53"/>
              <a:gd name="T19" fmla="*/ 147467 h 56"/>
              <a:gd name="T20" fmla="*/ 135027 w 53"/>
              <a:gd name="T21" fmla="*/ 156142 h 56"/>
              <a:gd name="T22" fmla="*/ 110226 w 53"/>
              <a:gd name="T23" fmla="*/ 156142 h 56"/>
              <a:gd name="T24" fmla="*/ 112982 w 53"/>
              <a:gd name="T25" fmla="*/ 138793 h 56"/>
              <a:gd name="T26" fmla="*/ 115738 w 53"/>
              <a:gd name="T27" fmla="*/ 118552 h 56"/>
              <a:gd name="T28" fmla="*/ 93692 w 53"/>
              <a:gd name="T29" fmla="*/ 95420 h 56"/>
              <a:gd name="T30" fmla="*/ 63380 w 53"/>
              <a:gd name="T31" fmla="*/ 80963 h 56"/>
              <a:gd name="T32" fmla="*/ 38579 w 53"/>
              <a:gd name="T33" fmla="*/ 78071 h 56"/>
              <a:gd name="T34" fmla="*/ 27557 w 53"/>
              <a:gd name="T35" fmla="*/ 86746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3" h="56">
                <a:moveTo>
                  <a:pt x="10" y="30"/>
                </a:moveTo>
                <a:cubicBezTo>
                  <a:pt x="0" y="29"/>
                  <a:pt x="0" y="29"/>
                  <a:pt x="0" y="29"/>
                </a:cubicBezTo>
                <a:cubicBezTo>
                  <a:pt x="1" y="26"/>
                  <a:pt x="2" y="18"/>
                  <a:pt x="4" y="11"/>
                </a:cubicBezTo>
                <a:cubicBezTo>
                  <a:pt x="5" y="4"/>
                  <a:pt x="10" y="3"/>
                  <a:pt x="12" y="2"/>
                </a:cubicBezTo>
                <a:cubicBezTo>
                  <a:pt x="15" y="1"/>
                  <a:pt x="17" y="0"/>
                  <a:pt x="17" y="0"/>
                </a:cubicBezTo>
                <a:cubicBezTo>
                  <a:pt x="18" y="4"/>
                  <a:pt x="20" y="14"/>
                  <a:pt x="22" y="16"/>
                </a:cubicBezTo>
                <a:cubicBezTo>
                  <a:pt x="26" y="18"/>
                  <a:pt x="35" y="23"/>
                  <a:pt x="35" y="24"/>
                </a:cubicBezTo>
                <a:cubicBezTo>
                  <a:pt x="35" y="26"/>
                  <a:pt x="49" y="39"/>
                  <a:pt x="50" y="41"/>
                </a:cubicBezTo>
                <a:cubicBezTo>
                  <a:pt x="51" y="42"/>
                  <a:pt x="52" y="45"/>
                  <a:pt x="50" y="46"/>
                </a:cubicBezTo>
                <a:cubicBezTo>
                  <a:pt x="49" y="46"/>
                  <a:pt x="51" y="48"/>
                  <a:pt x="53" y="51"/>
                </a:cubicBezTo>
                <a:cubicBezTo>
                  <a:pt x="53" y="51"/>
                  <a:pt x="49" y="52"/>
                  <a:pt x="49" y="54"/>
                </a:cubicBezTo>
                <a:cubicBezTo>
                  <a:pt x="49" y="54"/>
                  <a:pt x="41" y="56"/>
                  <a:pt x="40" y="54"/>
                </a:cubicBezTo>
                <a:cubicBezTo>
                  <a:pt x="40" y="52"/>
                  <a:pt x="40" y="50"/>
                  <a:pt x="41" y="48"/>
                </a:cubicBezTo>
                <a:cubicBezTo>
                  <a:pt x="42" y="45"/>
                  <a:pt x="44" y="45"/>
                  <a:pt x="42" y="41"/>
                </a:cubicBezTo>
                <a:cubicBezTo>
                  <a:pt x="39" y="38"/>
                  <a:pt x="36" y="34"/>
                  <a:pt x="34" y="33"/>
                </a:cubicBezTo>
                <a:cubicBezTo>
                  <a:pt x="32" y="31"/>
                  <a:pt x="24" y="28"/>
                  <a:pt x="23" y="28"/>
                </a:cubicBezTo>
                <a:cubicBezTo>
                  <a:pt x="21" y="28"/>
                  <a:pt x="16" y="27"/>
                  <a:pt x="14" y="27"/>
                </a:cubicBezTo>
                <a:cubicBezTo>
                  <a:pt x="13" y="28"/>
                  <a:pt x="11" y="29"/>
                  <a:pt x="10" y="3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3" name="Freeform 295"/>
          <p:cNvSpPr>
            <a:spLocks/>
          </p:cNvSpPr>
          <p:nvPr>
            <p:custDataLst>
              <p:tags r:id="rId209"/>
            </p:custDataLst>
          </p:nvPr>
        </p:nvSpPr>
        <p:spPr bwMode="auto">
          <a:xfrm>
            <a:off x="6633366" y="3952318"/>
            <a:ext cx="179122" cy="231805"/>
          </a:xfrm>
          <a:custGeom>
            <a:avLst/>
            <a:gdLst>
              <a:gd name="T0" fmla="*/ 2699 w 60"/>
              <a:gd name="T1" fmla="*/ 8731 h 72"/>
              <a:gd name="T2" fmla="*/ 8096 w 60"/>
              <a:gd name="T3" fmla="*/ 0 h 72"/>
              <a:gd name="T4" fmla="*/ 37783 w 60"/>
              <a:gd name="T5" fmla="*/ 0 h 72"/>
              <a:gd name="T6" fmla="*/ 43180 w 60"/>
              <a:gd name="T7" fmla="*/ 0 h 72"/>
              <a:gd name="T8" fmla="*/ 64770 w 60"/>
              <a:gd name="T9" fmla="*/ 5821 h 72"/>
              <a:gd name="T10" fmla="*/ 91758 w 60"/>
              <a:gd name="T11" fmla="*/ 23283 h 72"/>
              <a:gd name="T12" fmla="*/ 116046 w 60"/>
              <a:gd name="T13" fmla="*/ 26194 h 72"/>
              <a:gd name="T14" fmla="*/ 137636 w 60"/>
              <a:gd name="T15" fmla="*/ 11642 h 72"/>
              <a:gd name="T16" fmla="*/ 153829 w 60"/>
              <a:gd name="T17" fmla="*/ 17463 h 72"/>
              <a:gd name="T18" fmla="*/ 161925 w 60"/>
              <a:gd name="T19" fmla="*/ 14552 h 72"/>
              <a:gd name="T20" fmla="*/ 153829 w 60"/>
              <a:gd name="T21" fmla="*/ 32015 h 72"/>
              <a:gd name="T22" fmla="*/ 145733 w 60"/>
              <a:gd name="T23" fmla="*/ 40746 h 72"/>
              <a:gd name="T24" fmla="*/ 145733 w 60"/>
              <a:gd name="T25" fmla="*/ 122238 h 72"/>
              <a:gd name="T26" fmla="*/ 156528 w 60"/>
              <a:gd name="T27" fmla="*/ 136790 h 72"/>
              <a:gd name="T28" fmla="*/ 137636 w 60"/>
              <a:gd name="T29" fmla="*/ 162983 h 72"/>
              <a:gd name="T30" fmla="*/ 116046 w 60"/>
              <a:gd name="T31" fmla="*/ 203729 h 72"/>
              <a:gd name="T32" fmla="*/ 113348 w 60"/>
              <a:gd name="T33" fmla="*/ 209550 h 72"/>
              <a:gd name="T34" fmla="*/ 83661 w 60"/>
              <a:gd name="T35" fmla="*/ 189177 h 72"/>
              <a:gd name="T36" fmla="*/ 75565 w 60"/>
              <a:gd name="T37" fmla="*/ 168804 h 72"/>
              <a:gd name="T38" fmla="*/ 0 w 60"/>
              <a:gd name="T39" fmla="*/ 125148 h 72"/>
              <a:gd name="T40" fmla="*/ 2699 w 60"/>
              <a:gd name="T41" fmla="*/ 98954 h 72"/>
              <a:gd name="T42" fmla="*/ 21590 w 60"/>
              <a:gd name="T43" fmla="*/ 61119 h 72"/>
              <a:gd name="T44" fmla="*/ 13494 w 60"/>
              <a:gd name="T45" fmla="*/ 29104 h 72"/>
              <a:gd name="T46" fmla="*/ 2699 w 60"/>
              <a:gd name="T47" fmla="*/ 8731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72">
                <a:moveTo>
                  <a:pt x="1" y="3"/>
                </a:moveTo>
                <a:cubicBezTo>
                  <a:pt x="3" y="0"/>
                  <a:pt x="3" y="0"/>
                  <a:pt x="3" y="0"/>
                </a:cubicBezTo>
                <a:cubicBezTo>
                  <a:pt x="14" y="0"/>
                  <a:pt x="14" y="0"/>
                  <a:pt x="14" y="0"/>
                </a:cubicBezTo>
                <a:cubicBezTo>
                  <a:pt x="16" y="0"/>
                  <a:pt x="16" y="0"/>
                  <a:pt x="16" y="0"/>
                </a:cubicBezTo>
                <a:cubicBezTo>
                  <a:pt x="24" y="2"/>
                  <a:pt x="24" y="2"/>
                  <a:pt x="24" y="2"/>
                </a:cubicBezTo>
                <a:cubicBezTo>
                  <a:pt x="24" y="2"/>
                  <a:pt x="31" y="8"/>
                  <a:pt x="34" y="8"/>
                </a:cubicBezTo>
                <a:cubicBezTo>
                  <a:pt x="36" y="8"/>
                  <a:pt x="43" y="9"/>
                  <a:pt x="43" y="9"/>
                </a:cubicBezTo>
                <a:cubicBezTo>
                  <a:pt x="43" y="9"/>
                  <a:pt x="49" y="5"/>
                  <a:pt x="51" y="4"/>
                </a:cubicBezTo>
                <a:cubicBezTo>
                  <a:pt x="53" y="3"/>
                  <a:pt x="55" y="6"/>
                  <a:pt x="57" y="6"/>
                </a:cubicBezTo>
                <a:cubicBezTo>
                  <a:pt x="57" y="6"/>
                  <a:pt x="59" y="5"/>
                  <a:pt x="60" y="5"/>
                </a:cubicBezTo>
                <a:cubicBezTo>
                  <a:pt x="57" y="11"/>
                  <a:pt x="57" y="11"/>
                  <a:pt x="57" y="11"/>
                </a:cubicBezTo>
                <a:cubicBezTo>
                  <a:pt x="54" y="14"/>
                  <a:pt x="54" y="14"/>
                  <a:pt x="54" y="14"/>
                </a:cubicBezTo>
                <a:cubicBezTo>
                  <a:pt x="54" y="42"/>
                  <a:pt x="54" y="42"/>
                  <a:pt x="54" y="42"/>
                </a:cubicBezTo>
                <a:cubicBezTo>
                  <a:pt x="58" y="47"/>
                  <a:pt x="58" y="47"/>
                  <a:pt x="58" y="47"/>
                </a:cubicBezTo>
                <a:cubicBezTo>
                  <a:pt x="55" y="50"/>
                  <a:pt x="53" y="53"/>
                  <a:pt x="51" y="56"/>
                </a:cubicBezTo>
                <a:cubicBezTo>
                  <a:pt x="47" y="60"/>
                  <a:pt x="43" y="69"/>
                  <a:pt x="43" y="70"/>
                </a:cubicBezTo>
                <a:cubicBezTo>
                  <a:pt x="43" y="71"/>
                  <a:pt x="42" y="71"/>
                  <a:pt x="42" y="72"/>
                </a:cubicBezTo>
                <a:cubicBezTo>
                  <a:pt x="31" y="65"/>
                  <a:pt x="31" y="65"/>
                  <a:pt x="31" y="65"/>
                </a:cubicBezTo>
                <a:cubicBezTo>
                  <a:pt x="30" y="64"/>
                  <a:pt x="30" y="59"/>
                  <a:pt x="28" y="58"/>
                </a:cubicBezTo>
                <a:cubicBezTo>
                  <a:pt x="26" y="57"/>
                  <a:pt x="0" y="43"/>
                  <a:pt x="0" y="43"/>
                </a:cubicBezTo>
                <a:cubicBezTo>
                  <a:pt x="0" y="43"/>
                  <a:pt x="1" y="36"/>
                  <a:pt x="1" y="34"/>
                </a:cubicBezTo>
                <a:cubicBezTo>
                  <a:pt x="1" y="32"/>
                  <a:pt x="7" y="25"/>
                  <a:pt x="8" y="21"/>
                </a:cubicBezTo>
                <a:cubicBezTo>
                  <a:pt x="9" y="16"/>
                  <a:pt x="6" y="13"/>
                  <a:pt x="5" y="10"/>
                </a:cubicBezTo>
                <a:lnTo>
                  <a:pt x="1" y="3"/>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4" name="Freeform 296"/>
          <p:cNvSpPr>
            <a:spLocks/>
          </p:cNvSpPr>
          <p:nvPr>
            <p:custDataLst>
              <p:tags r:id="rId210"/>
            </p:custDataLst>
          </p:nvPr>
        </p:nvSpPr>
        <p:spPr bwMode="auto">
          <a:xfrm>
            <a:off x="6610536" y="4303538"/>
            <a:ext cx="72000" cy="189659"/>
          </a:xfrm>
          <a:custGeom>
            <a:avLst/>
            <a:gdLst>
              <a:gd name="T0" fmla="*/ 2712 w 24"/>
              <a:gd name="T1" fmla="*/ 78460 h 59"/>
              <a:gd name="T2" fmla="*/ 10848 w 24"/>
              <a:gd name="T3" fmla="*/ 61025 h 59"/>
              <a:gd name="T4" fmla="*/ 8136 w 24"/>
              <a:gd name="T5" fmla="*/ 31965 h 59"/>
              <a:gd name="T6" fmla="*/ 13560 w 24"/>
              <a:gd name="T7" fmla="*/ 14530 h 59"/>
              <a:gd name="T8" fmla="*/ 8136 w 24"/>
              <a:gd name="T9" fmla="*/ 2906 h 59"/>
              <a:gd name="T10" fmla="*/ 21696 w 24"/>
              <a:gd name="T11" fmla="*/ 2906 h 59"/>
              <a:gd name="T12" fmla="*/ 35256 w 24"/>
              <a:gd name="T13" fmla="*/ 5812 h 59"/>
              <a:gd name="T14" fmla="*/ 46104 w 24"/>
              <a:gd name="T15" fmla="*/ 46495 h 59"/>
              <a:gd name="T16" fmla="*/ 40680 w 24"/>
              <a:gd name="T17" fmla="*/ 49401 h 59"/>
              <a:gd name="T18" fmla="*/ 32544 w 24"/>
              <a:gd name="T19" fmla="*/ 81366 h 59"/>
              <a:gd name="T20" fmla="*/ 43392 w 24"/>
              <a:gd name="T21" fmla="*/ 87178 h 59"/>
              <a:gd name="T22" fmla="*/ 62376 w 24"/>
              <a:gd name="T23" fmla="*/ 113331 h 59"/>
              <a:gd name="T24" fmla="*/ 62376 w 24"/>
              <a:gd name="T25" fmla="*/ 145297 h 59"/>
              <a:gd name="T26" fmla="*/ 54240 w 24"/>
              <a:gd name="T27" fmla="*/ 151108 h 59"/>
              <a:gd name="T28" fmla="*/ 51528 w 24"/>
              <a:gd name="T29" fmla="*/ 171450 h 59"/>
              <a:gd name="T30" fmla="*/ 27120 w 24"/>
              <a:gd name="T31" fmla="*/ 142391 h 59"/>
              <a:gd name="T32" fmla="*/ 35256 w 24"/>
              <a:gd name="T33" fmla="*/ 110425 h 59"/>
              <a:gd name="T34" fmla="*/ 18984 w 24"/>
              <a:gd name="T35" fmla="*/ 113331 h 59"/>
              <a:gd name="T36" fmla="*/ 13560 w 24"/>
              <a:gd name="T37" fmla="*/ 101708 h 59"/>
              <a:gd name="T38" fmla="*/ 2712 w 24"/>
              <a:gd name="T39" fmla="*/ 98802 h 59"/>
              <a:gd name="T40" fmla="*/ 2712 w 24"/>
              <a:gd name="T41" fmla="*/ 78460 h 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59">
                <a:moveTo>
                  <a:pt x="1" y="27"/>
                </a:moveTo>
                <a:cubicBezTo>
                  <a:pt x="3" y="24"/>
                  <a:pt x="4" y="23"/>
                  <a:pt x="4" y="21"/>
                </a:cubicBezTo>
                <a:cubicBezTo>
                  <a:pt x="4" y="19"/>
                  <a:pt x="2" y="13"/>
                  <a:pt x="3" y="11"/>
                </a:cubicBezTo>
                <a:cubicBezTo>
                  <a:pt x="5" y="9"/>
                  <a:pt x="5" y="7"/>
                  <a:pt x="5" y="5"/>
                </a:cubicBezTo>
                <a:cubicBezTo>
                  <a:pt x="4" y="4"/>
                  <a:pt x="4" y="2"/>
                  <a:pt x="3" y="1"/>
                </a:cubicBezTo>
                <a:cubicBezTo>
                  <a:pt x="8" y="1"/>
                  <a:pt x="8" y="1"/>
                  <a:pt x="8" y="1"/>
                </a:cubicBezTo>
                <a:cubicBezTo>
                  <a:pt x="8" y="1"/>
                  <a:pt x="11" y="0"/>
                  <a:pt x="13" y="2"/>
                </a:cubicBezTo>
                <a:cubicBezTo>
                  <a:pt x="14" y="4"/>
                  <a:pt x="17" y="16"/>
                  <a:pt x="17" y="16"/>
                </a:cubicBezTo>
                <a:cubicBezTo>
                  <a:pt x="16" y="17"/>
                  <a:pt x="16" y="17"/>
                  <a:pt x="15" y="17"/>
                </a:cubicBezTo>
                <a:cubicBezTo>
                  <a:pt x="13" y="18"/>
                  <a:pt x="12" y="27"/>
                  <a:pt x="12" y="28"/>
                </a:cubicBezTo>
                <a:cubicBezTo>
                  <a:pt x="12" y="29"/>
                  <a:pt x="15" y="28"/>
                  <a:pt x="16" y="30"/>
                </a:cubicBezTo>
                <a:cubicBezTo>
                  <a:pt x="18" y="32"/>
                  <a:pt x="22" y="38"/>
                  <a:pt x="23" y="39"/>
                </a:cubicBezTo>
                <a:cubicBezTo>
                  <a:pt x="24" y="41"/>
                  <a:pt x="23" y="50"/>
                  <a:pt x="23" y="50"/>
                </a:cubicBezTo>
                <a:cubicBezTo>
                  <a:pt x="23" y="50"/>
                  <a:pt x="21" y="51"/>
                  <a:pt x="20" y="52"/>
                </a:cubicBezTo>
                <a:cubicBezTo>
                  <a:pt x="19" y="53"/>
                  <a:pt x="20" y="58"/>
                  <a:pt x="19" y="59"/>
                </a:cubicBezTo>
                <a:cubicBezTo>
                  <a:pt x="17" y="59"/>
                  <a:pt x="11" y="51"/>
                  <a:pt x="10" y="49"/>
                </a:cubicBezTo>
                <a:cubicBezTo>
                  <a:pt x="10" y="47"/>
                  <a:pt x="14" y="39"/>
                  <a:pt x="13" y="38"/>
                </a:cubicBezTo>
                <a:cubicBezTo>
                  <a:pt x="12" y="36"/>
                  <a:pt x="9" y="39"/>
                  <a:pt x="7" y="39"/>
                </a:cubicBezTo>
                <a:cubicBezTo>
                  <a:pt x="5" y="39"/>
                  <a:pt x="7" y="35"/>
                  <a:pt x="5" y="35"/>
                </a:cubicBezTo>
                <a:cubicBezTo>
                  <a:pt x="1" y="34"/>
                  <a:pt x="1" y="34"/>
                  <a:pt x="1" y="34"/>
                </a:cubicBezTo>
                <a:cubicBezTo>
                  <a:pt x="1" y="34"/>
                  <a:pt x="0" y="30"/>
                  <a:pt x="1" y="2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5" name="Freeform 297"/>
          <p:cNvSpPr>
            <a:spLocks/>
          </p:cNvSpPr>
          <p:nvPr>
            <p:custDataLst>
              <p:tags r:id="rId211"/>
            </p:custDataLst>
          </p:nvPr>
        </p:nvSpPr>
        <p:spPr bwMode="auto">
          <a:xfrm>
            <a:off x="6556097" y="4707440"/>
            <a:ext cx="40390" cy="56195"/>
          </a:xfrm>
          <a:custGeom>
            <a:avLst/>
            <a:gdLst>
              <a:gd name="T0" fmla="*/ 5617 w 13"/>
              <a:gd name="T1" fmla="*/ 29882 h 17"/>
              <a:gd name="T2" fmla="*/ 19661 w 13"/>
              <a:gd name="T3" fmla="*/ 2988 h 17"/>
              <a:gd name="T4" fmla="*/ 30896 w 13"/>
              <a:gd name="T5" fmla="*/ 8965 h 17"/>
              <a:gd name="T6" fmla="*/ 30896 w 13"/>
              <a:gd name="T7" fmla="*/ 29882 h 17"/>
              <a:gd name="T8" fmla="*/ 8426 w 13"/>
              <a:gd name="T9" fmla="*/ 44824 h 17"/>
              <a:gd name="T10" fmla="*/ 5617 w 13"/>
              <a:gd name="T11" fmla="*/ 29882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7">
                <a:moveTo>
                  <a:pt x="2" y="10"/>
                </a:moveTo>
                <a:cubicBezTo>
                  <a:pt x="2" y="7"/>
                  <a:pt x="4" y="2"/>
                  <a:pt x="7" y="1"/>
                </a:cubicBezTo>
                <a:cubicBezTo>
                  <a:pt x="10" y="0"/>
                  <a:pt x="11" y="3"/>
                  <a:pt x="11" y="3"/>
                </a:cubicBezTo>
                <a:cubicBezTo>
                  <a:pt x="11" y="6"/>
                  <a:pt x="11" y="10"/>
                  <a:pt x="11" y="10"/>
                </a:cubicBezTo>
                <a:cubicBezTo>
                  <a:pt x="11" y="10"/>
                  <a:pt x="13" y="17"/>
                  <a:pt x="3" y="15"/>
                </a:cubicBezTo>
                <a:cubicBezTo>
                  <a:pt x="0" y="14"/>
                  <a:pt x="2" y="12"/>
                  <a:pt x="2" y="1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6" name="Freeform 298"/>
          <p:cNvSpPr>
            <a:spLocks/>
          </p:cNvSpPr>
          <p:nvPr>
            <p:custDataLst>
              <p:tags r:id="rId212"/>
            </p:custDataLst>
          </p:nvPr>
        </p:nvSpPr>
        <p:spPr bwMode="auto">
          <a:xfrm>
            <a:off x="6552585" y="4324611"/>
            <a:ext cx="245854" cy="421463"/>
          </a:xfrm>
          <a:custGeom>
            <a:avLst/>
            <a:gdLst>
              <a:gd name="T0" fmla="*/ 2710 w 82"/>
              <a:gd name="T1" fmla="*/ 126023 h 130"/>
              <a:gd name="T2" fmla="*/ 0 w 82"/>
              <a:gd name="T3" fmla="*/ 117231 h 130"/>
              <a:gd name="T4" fmla="*/ 0 w 82"/>
              <a:gd name="T5" fmla="*/ 102577 h 130"/>
              <a:gd name="T6" fmla="*/ 0 w 82"/>
              <a:gd name="T7" fmla="*/ 99646 h 130"/>
              <a:gd name="T8" fmla="*/ 54207 w 82"/>
              <a:gd name="T9" fmla="*/ 79131 h 130"/>
              <a:gd name="T10" fmla="*/ 65049 w 82"/>
              <a:gd name="T11" fmla="*/ 82062 h 130"/>
              <a:gd name="T12" fmla="*/ 70470 w 82"/>
              <a:gd name="T13" fmla="*/ 93785 h 130"/>
              <a:gd name="T14" fmla="*/ 86732 w 82"/>
              <a:gd name="T15" fmla="*/ 90854 h 130"/>
              <a:gd name="T16" fmla="*/ 78601 w 82"/>
              <a:gd name="T17" fmla="*/ 123092 h 130"/>
              <a:gd name="T18" fmla="*/ 102994 w 82"/>
              <a:gd name="T19" fmla="*/ 152400 h 130"/>
              <a:gd name="T20" fmla="*/ 105704 w 82"/>
              <a:gd name="T21" fmla="*/ 131885 h 130"/>
              <a:gd name="T22" fmla="*/ 113835 w 82"/>
              <a:gd name="T23" fmla="*/ 126023 h 130"/>
              <a:gd name="T24" fmla="*/ 113835 w 82"/>
              <a:gd name="T25" fmla="*/ 93785 h 130"/>
              <a:gd name="T26" fmla="*/ 94863 w 82"/>
              <a:gd name="T27" fmla="*/ 67408 h 130"/>
              <a:gd name="T28" fmla="*/ 84021 w 82"/>
              <a:gd name="T29" fmla="*/ 61546 h 130"/>
              <a:gd name="T30" fmla="*/ 92152 w 82"/>
              <a:gd name="T31" fmla="*/ 29308 h 130"/>
              <a:gd name="T32" fmla="*/ 97573 w 82"/>
              <a:gd name="T33" fmla="*/ 26377 h 130"/>
              <a:gd name="T34" fmla="*/ 111125 w 82"/>
              <a:gd name="T35" fmla="*/ 23446 h 130"/>
              <a:gd name="T36" fmla="*/ 132808 w 82"/>
              <a:gd name="T37" fmla="*/ 29308 h 130"/>
              <a:gd name="T38" fmla="*/ 159912 w 82"/>
              <a:gd name="T39" fmla="*/ 20515 h 130"/>
              <a:gd name="T40" fmla="*/ 187015 w 82"/>
              <a:gd name="T41" fmla="*/ 14654 h 130"/>
              <a:gd name="T42" fmla="*/ 211409 w 82"/>
              <a:gd name="T43" fmla="*/ 0 h 130"/>
              <a:gd name="T44" fmla="*/ 211409 w 82"/>
              <a:gd name="T45" fmla="*/ 23446 h 130"/>
              <a:gd name="T46" fmla="*/ 214119 w 82"/>
              <a:gd name="T47" fmla="*/ 76200 h 130"/>
              <a:gd name="T48" fmla="*/ 216829 w 82"/>
              <a:gd name="T49" fmla="*/ 105508 h 130"/>
              <a:gd name="T50" fmla="*/ 187015 w 82"/>
              <a:gd name="T51" fmla="*/ 146538 h 130"/>
              <a:gd name="T52" fmla="*/ 132808 w 82"/>
              <a:gd name="T53" fmla="*/ 172915 h 130"/>
              <a:gd name="T54" fmla="*/ 108415 w 82"/>
              <a:gd name="T55" fmla="*/ 202223 h 130"/>
              <a:gd name="T56" fmla="*/ 86732 w 82"/>
              <a:gd name="T57" fmla="*/ 219808 h 130"/>
              <a:gd name="T58" fmla="*/ 92152 w 82"/>
              <a:gd name="T59" fmla="*/ 237392 h 130"/>
              <a:gd name="T60" fmla="*/ 108415 w 82"/>
              <a:gd name="T61" fmla="*/ 263769 h 130"/>
              <a:gd name="T62" fmla="*/ 108415 w 82"/>
              <a:gd name="T63" fmla="*/ 316523 h 130"/>
              <a:gd name="T64" fmla="*/ 54207 w 82"/>
              <a:gd name="T65" fmla="*/ 348762 h 130"/>
              <a:gd name="T66" fmla="*/ 48787 w 82"/>
              <a:gd name="T67" fmla="*/ 363415 h 130"/>
              <a:gd name="T68" fmla="*/ 51497 w 82"/>
              <a:gd name="T69" fmla="*/ 381000 h 130"/>
              <a:gd name="T70" fmla="*/ 32524 w 82"/>
              <a:gd name="T71" fmla="*/ 378069 h 130"/>
              <a:gd name="T72" fmla="*/ 32524 w 82"/>
              <a:gd name="T73" fmla="*/ 357554 h 130"/>
              <a:gd name="T74" fmla="*/ 32524 w 82"/>
              <a:gd name="T75" fmla="*/ 351692 h 130"/>
              <a:gd name="T76" fmla="*/ 29814 w 82"/>
              <a:gd name="T77" fmla="*/ 310662 h 130"/>
              <a:gd name="T78" fmla="*/ 21683 w 82"/>
              <a:gd name="T79" fmla="*/ 278423 h 130"/>
              <a:gd name="T80" fmla="*/ 18973 w 82"/>
              <a:gd name="T81" fmla="*/ 272562 h 130"/>
              <a:gd name="T82" fmla="*/ 32524 w 82"/>
              <a:gd name="T83" fmla="*/ 260838 h 130"/>
              <a:gd name="T84" fmla="*/ 43366 w 82"/>
              <a:gd name="T85" fmla="*/ 249115 h 130"/>
              <a:gd name="T86" fmla="*/ 48787 w 82"/>
              <a:gd name="T87" fmla="*/ 228600 h 130"/>
              <a:gd name="T88" fmla="*/ 54207 w 82"/>
              <a:gd name="T89" fmla="*/ 213946 h 130"/>
              <a:gd name="T90" fmla="*/ 54207 w 82"/>
              <a:gd name="T91" fmla="*/ 190500 h 130"/>
              <a:gd name="T92" fmla="*/ 51497 w 82"/>
              <a:gd name="T93" fmla="*/ 143608 h 130"/>
              <a:gd name="T94" fmla="*/ 24393 w 82"/>
              <a:gd name="T95" fmla="*/ 128954 h 130"/>
              <a:gd name="T96" fmla="*/ 2710 w 82"/>
              <a:gd name="T97" fmla="*/ 126023 h 1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130">
                <a:moveTo>
                  <a:pt x="1" y="43"/>
                </a:moveTo>
                <a:cubicBezTo>
                  <a:pt x="1" y="43"/>
                  <a:pt x="1" y="41"/>
                  <a:pt x="0" y="40"/>
                </a:cubicBezTo>
                <a:cubicBezTo>
                  <a:pt x="0" y="38"/>
                  <a:pt x="0" y="35"/>
                  <a:pt x="0" y="35"/>
                </a:cubicBezTo>
                <a:cubicBezTo>
                  <a:pt x="0" y="34"/>
                  <a:pt x="0" y="34"/>
                  <a:pt x="0" y="34"/>
                </a:cubicBezTo>
                <a:cubicBezTo>
                  <a:pt x="2" y="33"/>
                  <a:pt x="19" y="28"/>
                  <a:pt x="20" y="27"/>
                </a:cubicBezTo>
                <a:cubicBezTo>
                  <a:pt x="24" y="28"/>
                  <a:pt x="24" y="28"/>
                  <a:pt x="24" y="28"/>
                </a:cubicBezTo>
                <a:cubicBezTo>
                  <a:pt x="26" y="28"/>
                  <a:pt x="24" y="32"/>
                  <a:pt x="26" y="32"/>
                </a:cubicBezTo>
                <a:cubicBezTo>
                  <a:pt x="28" y="32"/>
                  <a:pt x="31" y="29"/>
                  <a:pt x="32" y="31"/>
                </a:cubicBezTo>
                <a:cubicBezTo>
                  <a:pt x="33" y="32"/>
                  <a:pt x="29" y="40"/>
                  <a:pt x="29" y="42"/>
                </a:cubicBezTo>
                <a:cubicBezTo>
                  <a:pt x="30" y="44"/>
                  <a:pt x="36" y="52"/>
                  <a:pt x="38" y="52"/>
                </a:cubicBezTo>
                <a:cubicBezTo>
                  <a:pt x="39" y="51"/>
                  <a:pt x="38" y="46"/>
                  <a:pt x="39" y="45"/>
                </a:cubicBezTo>
                <a:cubicBezTo>
                  <a:pt x="40" y="44"/>
                  <a:pt x="42" y="43"/>
                  <a:pt x="42" y="43"/>
                </a:cubicBezTo>
                <a:cubicBezTo>
                  <a:pt x="42" y="43"/>
                  <a:pt x="43" y="34"/>
                  <a:pt x="42" y="32"/>
                </a:cubicBezTo>
                <a:cubicBezTo>
                  <a:pt x="41" y="31"/>
                  <a:pt x="37" y="25"/>
                  <a:pt x="35" y="23"/>
                </a:cubicBezTo>
                <a:cubicBezTo>
                  <a:pt x="34" y="21"/>
                  <a:pt x="31" y="22"/>
                  <a:pt x="31" y="21"/>
                </a:cubicBezTo>
                <a:cubicBezTo>
                  <a:pt x="31" y="20"/>
                  <a:pt x="32" y="11"/>
                  <a:pt x="34" y="10"/>
                </a:cubicBezTo>
                <a:cubicBezTo>
                  <a:pt x="35" y="10"/>
                  <a:pt x="35" y="10"/>
                  <a:pt x="36" y="9"/>
                </a:cubicBezTo>
                <a:cubicBezTo>
                  <a:pt x="38" y="9"/>
                  <a:pt x="40" y="8"/>
                  <a:pt x="41" y="8"/>
                </a:cubicBezTo>
                <a:cubicBezTo>
                  <a:pt x="43" y="9"/>
                  <a:pt x="46" y="10"/>
                  <a:pt x="49" y="10"/>
                </a:cubicBezTo>
                <a:cubicBezTo>
                  <a:pt x="53" y="10"/>
                  <a:pt x="57" y="8"/>
                  <a:pt x="59" y="7"/>
                </a:cubicBezTo>
                <a:cubicBezTo>
                  <a:pt x="61" y="6"/>
                  <a:pt x="67" y="6"/>
                  <a:pt x="69" y="5"/>
                </a:cubicBezTo>
                <a:cubicBezTo>
                  <a:pt x="71" y="4"/>
                  <a:pt x="78" y="0"/>
                  <a:pt x="78" y="0"/>
                </a:cubicBezTo>
                <a:cubicBezTo>
                  <a:pt x="78" y="8"/>
                  <a:pt x="78" y="8"/>
                  <a:pt x="78" y="8"/>
                </a:cubicBezTo>
                <a:cubicBezTo>
                  <a:pt x="78" y="10"/>
                  <a:pt x="79" y="22"/>
                  <a:pt x="79" y="26"/>
                </a:cubicBezTo>
                <a:cubicBezTo>
                  <a:pt x="80" y="30"/>
                  <a:pt x="82" y="33"/>
                  <a:pt x="80" y="36"/>
                </a:cubicBezTo>
                <a:cubicBezTo>
                  <a:pt x="77" y="39"/>
                  <a:pt x="73" y="49"/>
                  <a:pt x="69" y="50"/>
                </a:cubicBezTo>
                <a:cubicBezTo>
                  <a:pt x="64" y="51"/>
                  <a:pt x="52" y="56"/>
                  <a:pt x="49" y="59"/>
                </a:cubicBezTo>
                <a:cubicBezTo>
                  <a:pt x="46" y="63"/>
                  <a:pt x="42" y="68"/>
                  <a:pt x="40" y="69"/>
                </a:cubicBezTo>
                <a:cubicBezTo>
                  <a:pt x="37" y="71"/>
                  <a:pt x="32" y="72"/>
                  <a:pt x="32" y="75"/>
                </a:cubicBezTo>
                <a:cubicBezTo>
                  <a:pt x="32" y="78"/>
                  <a:pt x="31" y="80"/>
                  <a:pt x="34" y="81"/>
                </a:cubicBezTo>
                <a:cubicBezTo>
                  <a:pt x="36" y="83"/>
                  <a:pt x="39" y="87"/>
                  <a:pt x="40" y="90"/>
                </a:cubicBezTo>
                <a:cubicBezTo>
                  <a:pt x="41" y="94"/>
                  <a:pt x="42" y="105"/>
                  <a:pt x="40" y="108"/>
                </a:cubicBezTo>
                <a:cubicBezTo>
                  <a:pt x="38" y="111"/>
                  <a:pt x="22" y="117"/>
                  <a:pt x="20" y="119"/>
                </a:cubicBezTo>
                <a:cubicBezTo>
                  <a:pt x="18" y="120"/>
                  <a:pt x="16" y="123"/>
                  <a:pt x="18" y="124"/>
                </a:cubicBezTo>
                <a:cubicBezTo>
                  <a:pt x="19" y="125"/>
                  <a:pt x="19" y="127"/>
                  <a:pt x="19" y="130"/>
                </a:cubicBezTo>
                <a:cubicBezTo>
                  <a:pt x="12" y="129"/>
                  <a:pt x="12" y="129"/>
                  <a:pt x="12" y="129"/>
                </a:cubicBezTo>
                <a:cubicBezTo>
                  <a:pt x="12" y="129"/>
                  <a:pt x="12" y="125"/>
                  <a:pt x="12" y="122"/>
                </a:cubicBezTo>
                <a:cubicBezTo>
                  <a:pt x="12" y="121"/>
                  <a:pt x="12" y="120"/>
                  <a:pt x="12" y="120"/>
                </a:cubicBezTo>
                <a:cubicBezTo>
                  <a:pt x="12" y="118"/>
                  <a:pt x="13" y="109"/>
                  <a:pt x="11" y="106"/>
                </a:cubicBezTo>
                <a:cubicBezTo>
                  <a:pt x="9" y="104"/>
                  <a:pt x="8" y="97"/>
                  <a:pt x="8" y="95"/>
                </a:cubicBezTo>
                <a:cubicBezTo>
                  <a:pt x="8" y="94"/>
                  <a:pt x="7" y="94"/>
                  <a:pt x="7" y="93"/>
                </a:cubicBezTo>
                <a:cubicBezTo>
                  <a:pt x="12" y="89"/>
                  <a:pt x="12" y="89"/>
                  <a:pt x="12" y="89"/>
                </a:cubicBezTo>
                <a:cubicBezTo>
                  <a:pt x="15" y="87"/>
                  <a:pt x="16" y="86"/>
                  <a:pt x="16" y="85"/>
                </a:cubicBezTo>
                <a:cubicBezTo>
                  <a:pt x="16" y="83"/>
                  <a:pt x="16" y="79"/>
                  <a:pt x="18" y="78"/>
                </a:cubicBezTo>
                <a:cubicBezTo>
                  <a:pt x="20" y="76"/>
                  <a:pt x="20" y="75"/>
                  <a:pt x="20" y="73"/>
                </a:cubicBezTo>
                <a:cubicBezTo>
                  <a:pt x="20" y="72"/>
                  <a:pt x="19" y="68"/>
                  <a:pt x="20" y="65"/>
                </a:cubicBezTo>
                <a:cubicBezTo>
                  <a:pt x="21" y="62"/>
                  <a:pt x="20" y="50"/>
                  <a:pt x="19" y="49"/>
                </a:cubicBezTo>
                <a:cubicBezTo>
                  <a:pt x="18" y="48"/>
                  <a:pt x="11" y="44"/>
                  <a:pt x="9" y="44"/>
                </a:cubicBezTo>
                <a:cubicBezTo>
                  <a:pt x="7" y="44"/>
                  <a:pt x="1" y="43"/>
                  <a:pt x="1" y="4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7" name="Freeform 299"/>
          <p:cNvSpPr>
            <a:spLocks/>
          </p:cNvSpPr>
          <p:nvPr>
            <p:custDataLst>
              <p:tags r:id="rId213"/>
            </p:custDataLst>
          </p:nvPr>
        </p:nvSpPr>
        <p:spPr bwMode="auto">
          <a:xfrm>
            <a:off x="6528001" y="3961098"/>
            <a:ext cx="131707" cy="140488"/>
          </a:xfrm>
          <a:custGeom>
            <a:avLst/>
            <a:gdLst>
              <a:gd name="T0" fmla="*/ 0 w 44"/>
              <a:gd name="T1" fmla="*/ 127000 h 43"/>
              <a:gd name="T2" fmla="*/ 8118 w 44"/>
              <a:gd name="T3" fmla="*/ 97465 h 43"/>
              <a:gd name="T4" fmla="*/ 24354 w 44"/>
              <a:gd name="T5" fmla="*/ 73837 h 43"/>
              <a:gd name="T6" fmla="*/ 43296 w 44"/>
              <a:gd name="T7" fmla="*/ 50209 h 43"/>
              <a:gd name="T8" fmla="*/ 29766 w 44"/>
              <a:gd name="T9" fmla="*/ 38395 h 43"/>
              <a:gd name="T10" fmla="*/ 35178 w 44"/>
              <a:gd name="T11" fmla="*/ 14767 h 43"/>
              <a:gd name="T12" fmla="*/ 64943 w 44"/>
              <a:gd name="T13" fmla="*/ 11814 h 43"/>
              <a:gd name="T14" fmla="*/ 92003 w 44"/>
              <a:gd name="T15" fmla="*/ 11814 h 43"/>
              <a:gd name="T16" fmla="*/ 97415 w 44"/>
              <a:gd name="T17" fmla="*/ 0 h 43"/>
              <a:gd name="T18" fmla="*/ 108239 w 44"/>
              <a:gd name="T19" fmla="*/ 20674 h 43"/>
              <a:gd name="T20" fmla="*/ 116357 w 44"/>
              <a:gd name="T21" fmla="*/ 53163 h 43"/>
              <a:gd name="T22" fmla="*/ 97415 w 44"/>
              <a:gd name="T23" fmla="*/ 91558 h 43"/>
              <a:gd name="T24" fmla="*/ 94709 w 44"/>
              <a:gd name="T25" fmla="*/ 118140 h 43"/>
              <a:gd name="T26" fmla="*/ 27060 w 44"/>
              <a:gd name="T27" fmla="*/ 118140 h 43"/>
              <a:gd name="T28" fmla="*/ 13530 w 44"/>
              <a:gd name="T29" fmla="*/ 127000 h 43"/>
              <a:gd name="T30" fmla="*/ 0 w 44"/>
              <a:gd name="T31" fmla="*/ 12700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4" h="43">
                <a:moveTo>
                  <a:pt x="0" y="43"/>
                </a:moveTo>
                <a:cubicBezTo>
                  <a:pt x="2" y="41"/>
                  <a:pt x="3" y="35"/>
                  <a:pt x="3" y="33"/>
                </a:cubicBezTo>
                <a:cubicBezTo>
                  <a:pt x="4" y="31"/>
                  <a:pt x="6" y="27"/>
                  <a:pt x="9" y="25"/>
                </a:cubicBezTo>
                <a:cubicBezTo>
                  <a:pt x="11" y="23"/>
                  <a:pt x="16" y="17"/>
                  <a:pt x="16" y="17"/>
                </a:cubicBezTo>
                <a:cubicBezTo>
                  <a:pt x="16" y="17"/>
                  <a:pt x="11" y="14"/>
                  <a:pt x="11" y="13"/>
                </a:cubicBezTo>
                <a:cubicBezTo>
                  <a:pt x="11" y="11"/>
                  <a:pt x="12" y="5"/>
                  <a:pt x="13" y="5"/>
                </a:cubicBezTo>
                <a:cubicBezTo>
                  <a:pt x="14" y="4"/>
                  <a:pt x="21" y="4"/>
                  <a:pt x="24" y="4"/>
                </a:cubicBezTo>
                <a:cubicBezTo>
                  <a:pt x="27" y="4"/>
                  <a:pt x="34" y="4"/>
                  <a:pt x="34" y="4"/>
                </a:cubicBezTo>
                <a:cubicBezTo>
                  <a:pt x="36" y="0"/>
                  <a:pt x="36" y="0"/>
                  <a:pt x="36" y="0"/>
                </a:cubicBezTo>
                <a:cubicBezTo>
                  <a:pt x="40" y="7"/>
                  <a:pt x="40" y="7"/>
                  <a:pt x="40" y="7"/>
                </a:cubicBezTo>
                <a:cubicBezTo>
                  <a:pt x="41" y="10"/>
                  <a:pt x="44" y="13"/>
                  <a:pt x="43" y="18"/>
                </a:cubicBezTo>
                <a:cubicBezTo>
                  <a:pt x="42" y="22"/>
                  <a:pt x="36" y="29"/>
                  <a:pt x="36" y="31"/>
                </a:cubicBezTo>
                <a:cubicBezTo>
                  <a:pt x="36" y="33"/>
                  <a:pt x="35" y="40"/>
                  <a:pt x="35" y="40"/>
                </a:cubicBezTo>
                <a:cubicBezTo>
                  <a:pt x="10" y="40"/>
                  <a:pt x="10" y="40"/>
                  <a:pt x="10" y="40"/>
                </a:cubicBezTo>
                <a:cubicBezTo>
                  <a:pt x="5" y="43"/>
                  <a:pt x="5" y="43"/>
                  <a:pt x="5" y="43"/>
                </a:cubicBezTo>
                <a:lnTo>
                  <a:pt x="0" y="43"/>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8" name="Freeform 300"/>
          <p:cNvSpPr>
            <a:spLocks/>
          </p:cNvSpPr>
          <p:nvPr>
            <p:custDataLst>
              <p:tags r:id="rId214"/>
            </p:custDataLst>
          </p:nvPr>
        </p:nvSpPr>
        <p:spPr bwMode="auto">
          <a:xfrm>
            <a:off x="6520976" y="4126172"/>
            <a:ext cx="45659" cy="52683"/>
          </a:xfrm>
          <a:custGeom>
            <a:avLst/>
            <a:gdLst>
              <a:gd name="T0" fmla="*/ 2580 w 16"/>
              <a:gd name="T1" fmla="*/ 29766 h 16"/>
              <a:gd name="T2" fmla="*/ 0 w 16"/>
              <a:gd name="T3" fmla="*/ 11906 h 16"/>
              <a:gd name="T4" fmla="*/ 12898 w 16"/>
              <a:gd name="T5" fmla="*/ 11906 h 16"/>
              <a:gd name="T6" fmla="*/ 23217 w 16"/>
              <a:gd name="T7" fmla="*/ 0 h 16"/>
              <a:gd name="T8" fmla="*/ 36116 w 16"/>
              <a:gd name="T9" fmla="*/ 5953 h 16"/>
              <a:gd name="T10" fmla="*/ 41275 w 16"/>
              <a:gd name="T11" fmla="*/ 20836 h 16"/>
              <a:gd name="T12" fmla="*/ 20638 w 16"/>
              <a:gd name="T13" fmla="*/ 44648 h 16"/>
              <a:gd name="T14" fmla="*/ 7739 w 16"/>
              <a:gd name="T15" fmla="*/ 47625 h 16"/>
              <a:gd name="T16" fmla="*/ 2580 w 16"/>
              <a:gd name="T17" fmla="*/ 29766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6">
                <a:moveTo>
                  <a:pt x="1" y="10"/>
                </a:moveTo>
                <a:cubicBezTo>
                  <a:pt x="1" y="8"/>
                  <a:pt x="0" y="6"/>
                  <a:pt x="0" y="4"/>
                </a:cubicBezTo>
                <a:cubicBezTo>
                  <a:pt x="0" y="4"/>
                  <a:pt x="2" y="4"/>
                  <a:pt x="5" y="4"/>
                </a:cubicBezTo>
                <a:cubicBezTo>
                  <a:pt x="8" y="4"/>
                  <a:pt x="6" y="0"/>
                  <a:pt x="9" y="0"/>
                </a:cubicBezTo>
                <a:cubicBezTo>
                  <a:pt x="12" y="0"/>
                  <a:pt x="14" y="2"/>
                  <a:pt x="14" y="2"/>
                </a:cubicBezTo>
                <a:cubicBezTo>
                  <a:pt x="13" y="3"/>
                  <a:pt x="16" y="5"/>
                  <a:pt x="16" y="7"/>
                </a:cubicBezTo>
                <a:cubicBezTo>
                  <a:pt x="15" y="8"/>
                  <a:pt x="10" y="13"/>
                  <a:pt x="8" y="15"/>
                </a:cubicBezTo>
                <a:cubicBezTo>
                  <a:pt x="3" y="16"/>
                  <a:pt x="3" y="16"/>
                  <a:pt x="3" y="16"/>
                </a:cubicBezTo>
                <a:cubicBezTo>
                  <a:pt x="2" y="13"/>
                  <a:pt x="2" y="11"/>
                  <a:pt x="1" y="1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19" name="Freeform 302"/>
          <p:cNvSpPr>
            <a:spLocks/>
          </p:cNvSpPr>
          <p:nvPr>
            <p:custDataLst>
              <p:tags r:id="rId215"/>
            </p:custDataLst>
          </p:nvPr>
        </p:nvSpPr>
        <p:spPr bwMode="auto">
          <a:xfrm>
            <a:off x="6528000" y="4091050"/>
            <a:ext cx="259902" cy="268683"/>
          </a:xfrm>
          <a:custGeom>
            <a:avLst/>
            <a:gdLst>
              <a:gd name="T0" fmla="*/ 2732 w 86"/>
              <a:gd name="T1" fmla="*/ 111202 h 83"/>
              <a:gd name="T2" fmla="*/ 0 w 86"/>
              <a:gd name="T3" fmla="*/ 79012 h 83"/>
              <a:gd name="T4" fmla="*/ 13660 w 86"/>
              <a:gd name="T5" fmla="*/ 76085 h 83"/>
              <a:gd name="T6" fmla="*/ 35516 w 86"/>
              <a:gd name="T7" fmla="*/ 52675 h 83"/>
              <a:gd name="T8" fmla="*/ 30052 w 86"/>
              <a:gd name="T9" fmla="*/ 38043 h 83"/>
              <a:gd name="T10" fmla="*/ 35516 w 86"/>
              <a:gd name="T11" fmla="*/ 17558 h 83"/>
              <a:gd name="T12" fmla="*/ 27320 w 86"/>
              <a:gd name="T13" fmla="*/ 0 h 83"/>
              <a:gd name="T14" fmla="*/ 95619 w 86"/>
              <a:gd name="T15" fmla="*/ 0 h 83"/>
              <a:gd name="T16" fmla="*/ 172115 w 86"/>
              <a:gd name="T17" fmla="*/ 43895 h 83"/>
              <a:gd name="T18" fmla="*/ 180310 w 86"/>
              <a:gd name="T19" fmla="*/ 64380 h 83"/>
              <a:gd name="T20" fmla="*/ 210362 w 86"/>
              <a:gd name="T21" fmla="*/ 84864 h 83"/>
              <a:gd name="T22" fmla="*/ 199434 w 86"/>
              <a:gd name="T23" fmla="*/ 117054 h 83"/>
              <a:gd name="T24" fmla="*/ 213094 w 86"/>
              <a:gd name="T25" fmla="*/ 137539 h 83"/>
              <a:gd name="T26" fmla="*/ 210362 w 86"/>
              <a:gd name="T27" fmla="*/ 160950 h 83"/>
              <a:gd name="T28" fmla="*/ 221290 w 86"/>
              <a:gd name="T29" fmla="*/ 198993 h 83"/>
              <a:gd name="T30" fmla="*/ 234950 w 86"/>
              <a:gd name="T31" fmla="*/ 213624 h 83"/>
              <a:gd name="T32" fmla="*/ 210362 w 86"/>
              <a:gd name="T33" fmla="*/ 228256 h 83"/>
              <a:gd name="T34" fmla="*/ 183042 w 86"/>
              <a:gd name="T35" fmla="*/ 234109 h 83"/>
              <a:gd name="T36" fmla="*/ 155723 w 86"/>
              <a:gd name="T37" fmla="*/ 242888 h 83"/>
              <a:gd name="T38" fmla="*/ 133867 w 86"/>
              <a:gd name="T39" fmla="*/ 237035 h 83"/>
              <a:gd name="T40" fmla="*/ 120207 w 86"/>
              <a:gd name="T41" fmla="*/ 239962 h 83"/>
              <a:gd name="T42" fmla="*/ 109279 w 86"/>
              <a:gd name="T43" fmla="*/ 198993 h 83"/>
              <a:gd name="T44" fmla="*/ 95619 w 86"/>
              <a:gd name="T45" fmla="*/ 196066 h 83"/>
              <a:gd name="T46" fmla="*/ 81959 w 86"/>
              <a:gd name="T47" fmla="*/ 196066 h 83"/>
              <a:gd name="T48" fmla="*/ 76495 w 86"/>
              <a:gd name="T49" fmla="*/ 190213 h 83"/>
              <a:gd name="T50" fmla="*/ 32784 w 86"/>
              <a:gd name="T51" fmla="*/ 166803 h 83"/>
              <a:gd name="T52" fmla="*/ 30052 w 86"/>
              <a:gd name="T53" fmla="*/ 158024 h 83"/>
              <a:gd name="T54" fmla="*/ 19124 w 86"/>
              <a:gd name="T55" fmla="*/ 134613 h 83"/>
              <a:gd name="T56" fmla="*/ 2732 w 86"/>
              <a:gd name="T57" fmla="*/ 111202 h 8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83">
                <a:moveTo>
                  <a:pt x="1" y="38"/>
                </a:moveTo>
                <a:cubicBezTo>
                  <a:pt x="1" y="36"/>
                  <a:pt x="1" y="31"/>
                  <a:pt x="0" y="27"/>
                </a:cubicBezTo>
                <a:cubicBezTo>
                  <a:pt x="5" y="26"/>
                  <a:pt x="5" y="26"/>
                  <a:pt x="5" y="26"/>
                </a:cubicBezTo>
                <a:cubicBezTo>
                  <a:pt x="7" y="24"/>
                  <a:pt x="12" y="19"/>
                  <a:pt x="13" y="18"/>
                </a:cubicBezTo>
                <a:cubicBezTo>
                  <a:pt x="13" y="16"/>
                  <a:pt x="10" y="14"/>
                  <a:pt x="11" y="13"/>
                </a:cubicBezTo>
                <a:cubicBezTo>
                  <a:pt x="12" y="11"/>
                  <a:pt x="14" y="8"/>
                  <a:pt x="13" y="6"/>
                </a:cubicBezTo>
                <a:cubicBezTo>
                  <a:pt x="12" y="4"/>
                  <a:pt x="10" y="0"/>
                  <a:pt x="10" y="0"/>
                </a:cubicBezTo>
                <a:cubicBezTo>
                  <a:pt x="35" y="0"/>
                  <a:pt x="35" y="0"/>
                  <a:pt x="35" y="0"/>
                </a:cubicBezTo>
                <a:cubicBezTo>
                  <a:pt x="35" y="0"/>
                  <a:pt x="61" y="14"/>
                  <a:pt x="63" y="15"/>
                </a:cubicBezTo>
                <a:cubicBezTo>
                  <a:pt x="65" y="16"/>
                  <a:pt x="65" y="21"/>
                  <a:pt x="66" y="22"/>
                </a:cubicBezTo>
                <a:cubicBezTo>
                  <a:pt x="77" y="29"/>
                  <a:pt x="77" y="29"/>
                  <a:pt x="77" y="29"/>
                </a:cubicBezTo>
                <a:cubicBezTo>
                  <a:pt x="75" y="32"/>
                  <a:pt x="72" y="37"/>
                  <a:pt x="73" y="40"/>
                </a:cubicBezTo>
                <a:cubicBezTo>
                  <a:pt x="73" y="43"/>
                  <a:pt x="80" y="45"/>
                  <a:pt x="78" y="47"/>
                </a:cubicBezTo>
                <a:cubicBezTo>
                  <a:pt x="77" y="49"/>
                  <a:pt x="76" y="51"/>
                  <a:pt x="77" y="55"/>
                </a:cubicBezTo>
                <a:cubicBezTo>
                  <a:pt x="77" y="59"/>
                  <a:pt x="78" y="65"/>
                  <a:pt x="81" y="68"/>
                </a:cubicBezTo>
                <a:cubicBezTo>
                  <a:pt x="83" y="70"/>
                  <a:pt x="86" y="72"/>
                  <a:pt x="86" y="73"/>
                </a:cubicBezTo>
                <a:cubicBezTo>
                  <a:pt x="86" y="73"/>
                  <a:pt x="79" y="77"/>
                  <a:pt x="77" y="78"/>
                </a:cubicBezTo>
                <a:cubicBezTo>
                  <a:pt x="75" y="79"/>
                  <a:pt x="69" y="79"/>
                  <a:pt x="67" y="80"/>
                </a:cubicBezTo>
                <a:cubicBezTo>
                  <a:pt x="65" y="81"/>
                  <a:pt x="61" y="83"/>
                  <a:pt x="57" y="83"/>
                </a:cubicBezTo>
                <a:cubicBezTo>
                  <a:pt x="54" y="83"/>
                  <a:pt x="51" y="82"/>
                  <a:pt x="49" y="81"/>
                </a:cubicBezTo>
                <a:cubicBezTo>
                  <a:pt x="48" y="81"/>
                  <a:pt x="46" y="82"/>
                  <a:pt x="44" y="82"/>
                </a:cubicBezTo>
                <a:cubicBezTo>
                  <a:pt x="44" y="82"/>
                  <a:pt x="41" y="70"/>
                  <a:pt x="40" y="68"/>
                </a:cubicBezTo>
                <a:cubicBezTo>
                  <a:pt x="38" y="66"/>
                  <a:pt x="35" y="67"/>
                  <a:pt x="35" y="67"/>
                </a:cubicBezTo>
                <a:cubicBezTo>
                  <a:pt x="30" y="67"/>
                  <a:pt x="30" y="67"/>
                  <a:pt x="30" y="67"/>
                </a:cubicBezTo>
                <a:cubicBezTo>
                  <a:pt x="30" y="66"/>
                  <a:pt x="29" y="65"/>
                  <a:pt x="28" y="65"/>
                </a:cubicBezTo>
                <a:cubicBezTo>
                  <a:pt x="26" y="64"/>
                  <a:pt x="13" y="60"/>
                  <a:pt x="12" y="57"/>
                </a:cubicBezTo>
                <a:cubicBezTo>
                  <a:pt x="11" y="56"/>
                  <a:pt x="11" y="55"/>
                  <a:pt x="11" y="54"/>
                </a:cubicBezTo>
                <a:cubicBezTo>
                  <a:pt x="10" y="51"/>
                  <a:pt x="9" y="47"/>
                  <a:pt x="7" y="46"/>
                </a:cubicBezTo>
                <a:cubicBezTo>
                  <a:pt x="5" y="44"/>
                  <a:pt x="1" y="40"/>
                  <a:pt x="1" y="3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0" name="Freeform 303"/>
          <p:cNvSpPr>
            <a:spLocks/>
          </p:cNvSpPr>
          <p:nvPr>
            <p:custDataLst>
              <p:tags r:id="rId216"/>
            </p:custDataLst>
          </p:nvPr>
        </p:nvSpPr>
        <p:spPr bwMode="auto">
          <a:xfrm>
            <a:off x="6517464" y="4091050"/>
            <a:ext cx="52683" cy="49171"/>
          </a:xfrm>
          <a:custGeom>
            <a:avLst/>
            <a:gdLst>
              <a:gd name="T0" fmla="*/ 15875 w 18"/>
              <a:gd name="T1" fmla="*/ 44450 h 15"/>
              <a:gd name="T2" fmla="*/ 2646 w 18"/>
              <a:gd name="T3" fmla="*/ 44450 h 15"/>
              <a:gd name="T4" fmla="*/ 0 w 18"/>
              <a:gd name="T5" fmla="*/ 35560 h 15"/>
              <a:gd name="T6" fmla="*/ 10583 w 18"/>
              <a:gd name="T7" fmla="*/ 8890 h 15"/>
              <a:gd name="T8" fmla="*/ 23813 w 18"/>
              <a:gd name="T9" fmla="*/ 8890 h 15"/>
              <a:gd name="T10" fmla="*/ 37042 w 18"/>
              <a:gd name="T11" fmla="*/ 0 h 15"/>
              <a:gd name="T12" fmla="*/ 44979 w 18"/>
              <a:gd name="T13" fmla="*/ 17780 h 15"/>
              <a:gd name="T14" fmla="*/ 39688 w 18"/>
              <a:gd name="T15" fmla="*/ 38523 h 15"/>
              <a:gd name="T16" fmla="*/ 26458 w 18"/>
              <a:gd name="T17" fmla="*/ 32597 h 15"/>
              <a:gd name="T18" fmla="*/ 15875 w 18"/>
              <a:gd name="T19" fmla="*/ 4445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15">
                <a:moveTo>
                  <a:pt x="6" y="15"/>
                </a:moveTo>
                <a:cubicBezTo>
                  <a:pt x="3" y="15"/>
                  <a:pt x="1" y="15"/>
                  <a:pt x="1" y="15"/>
                </a:cubicBezTo>
                <a:cubicBezTo>
                  <a:pt x="1" y="14"/>
                  <a:pt x="0" y="13"/>
                  <a:pt x="0" y="12"/>
                </a:cubicBezTo>
                <a:cubicBezTo>
                  <a:pt x="0" y="9"/>
                  <a:pt x="3" y="4"/>
                  <a:pt x="4" y="3"/>
                </a:cubicBezTo>
                <a:cubicBezTo>
                  <a:pt x="9" y="3"/>
                  <a:pt x="9" y="3"/>
                  <a:pt x="9" y="3"/>
                </a:cubicBezTo>
                <a:cubicBezTo>
                  <a:pt x="14" y="0"/>
                  <a:pt x="14" y="0"/>
                  <a:pt x="14" y="0"/>
                </a:cubicBezTo>
                <a:cubicBezTo>
                  <a:pt x="14" y="0"/>
                  <a:pt x="16" y="4"/>
                  <a:pt x="17" y="6"/>
                </a:cubicBezTo>
                <a:cubicBezTo>
                  <a:pt x="18" y="8"/>
                  <a:pt x="16" y="11"/>
                  <a:pt x="15" y="13"/>
                </a:cubicBezTo>
                <a:cubicBezTo>
                  <a:pt x="15" y="13"/>
                  <a:pt x="13" y="11"/>
                  <a:pt x="10" y="11"/>
                </a:cubicBezTo>
                <a:cubicBezTo>
                  <a:pt x="7" y="11"/>
                  <a:pt x="9" y="15"/>
                  <a:pt x="6" y="15"/>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1" name="Freeform 304"/>
          <p:cNvSpPr>
            <a:spLocks/>
          </p:cNvSpPr>
          <p:nvPr>
            <p:custDataLst>
              <p:tags r:id="rId217"/>
            </p:custDataLst>
          </p:nvPr>
        </p:nvSpPr>
        <p:spPr bwMode="auto">
          <a:xfrm>
            <a:off x="6473562" y="4786463"/>
            <a:ext cx="57951" cy="63220"/>
          </a:xfrm>
          <a:custGeom>
            <a:avLst/>
            <a:gdLst>
              <a:gd name="T0" fmla="*/ 2757 w 19"/>
              <a:gd name="T1" fmla="*/ 25718 h 20"/>
              <a:gd name="T2" fmla="*/ 35844 w 19"/>
              <a:gd name="T3" fmla="*/ 2858 h 20"/>
              <a:gd name="T4" fmla="*/ 52388 w 19"/>
              <a:gd name="T5" fmla="*/ 20003 h 20"/>
              <a:gd name="T6" fmla="*/ 38602 w 19"/>
              <a:gd name="T7" fmla="*/ 40005 h 20"/>
              <a:gd name="T8" fmla="*/ 24815 w 19"/>
              <a:gd name="T9" fmla="*/ 54293 h 20"/>
              <a:gd name="T10" fmla="*/ 8272 w 19"/>
              <a:gd name="T11" fmla="*/ 37148 h 20"/>
              <a:gd name="T12" fmla="*/ 2757 w 19"/>
              <a:gd name="T13" fmla="*/ 25718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1" y="9"/>
                </a:moveTo>
                <a:cubicBezTo>
                  <a:pt x="2" y="8"/>
                  <a:pt x="9" y="0"/>
                  <a:pt x="13" y="1"/>
                </a:cubicBezTo>
                <a:cubicBezTo>
                  <a:pt x="16" y="1"/>
                  <a:pt x="19" y="5"/>
                  <a:pt x="19" y="7"/>
                </a:cubicBezTo>
                <a:cubicBezTo>
                  <a:pt x="19" y="9"/>
                  <a:pt x="15" y="14"/>
                  <a:pt x="14" y="14"/>
                </a:cubicBezTo>
                <a:cubicBezTo>
                  <a:pt x="13" y="14"/>
                  <a:pt x="11" y="17"/>
                  <a:pt x="9" y="19"/>
                </a:cubicBezTo>
                <a:cubicBezTo>
                  <a:pt x="8" y="20"/>
                  <a:pt x="3" y="13"/>
                  <a:pt x="3" y="13"/>
                </a:cubicBezTo>
                <a:cubicBezTo>
                  <a:pt x="2" y="12"/>
                  <a:pt x="0" y="11"/>
                  <a:pt x="1" y="9"/>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2" name="Freeform 305"/>
          <p:cNvSpPr>
            <a:spLocks/>
          </p:cNvSpPr>
          <p:nvPr>
            <p:custDataLst>
              <p:tags r:id="rId218"/>
            </p:custDataLst>
          </p:nvPr>
        </p:nvSpPr>
        <p:spPr bwMode="auto">
          <a:xfrm>
            <a:off x="6434927" y="4452805"/>
            <a:ext cx="180878" cy="172098"/>
          </a:xfrm>
          <a:custGeom>
            <a:avLst/>
            <a:gdLst>
              <a:gd name="T0" fmla="*/ 5450 w 60"/>
              <a:gd name="T1" fmla="*/ 58708 h 53"/>
              <a:gd name="T2" fmla="*/ 0 w 60"/>
              <a:gd name="T3" fmla="*/ 46966 h 53"/>
              <a:gd name="T4" fmla="*/ 32703 w 60"/>
              <a:gd name="T5" fmla="*/ 52837 h 53"/>
              <a:gd name="T6" fmla="*/ 57230 w 60"/>
              <a:gd name="T7" fmla="*/ 29354 h 53"/>
              <a:gd name="T8" fmla="*/ 76306 w 60"/>
              <a:gd name="T9" fmla="*/ 17612 h 53"/>
              <a:gd name="T10" fmla="*/ 87207 w 60"/>
              <a:gd name="T11" fmla="*/ 0 h 53"/>
              <a:gd name="T12" fmla="*/ 98108 w 60"/>
              <a:gd name="T13" fmla="*/ 0 h 53"/>
              <a:gd name="T14" fmla="*/ 106283 w 60"/>
              <a:gd name="T15" fmla="*/ 0 h 53"/>
              <a:gd name="T16" fmla="*/ 106283 w 60"/>
              <a:gd name="T17" fmla="*/ 0 h 53"/>
              <a:gd name="T18" fmla="*/ 109009 w 60"/>
              <a:gd name="T19" fmla="*/ 8806 h 53"/>
              <a:gd name="T20" fmla="*/ 130810 w 60"/>
              <a:gd name="T21" fmla="*/ 11742 h 53"/>
              <a:gd name="T22" fmla="*/ 158063 w 60"/>
              <a:gd name="T23" fmla="*/ 26418 h 53"/>
              <a:gd name="T24" fmla="*/ 160788 w 60"/>
              <a:gd name="T25" fmla="*/ 73384 h 53"/>
              <a:gd name="T26" fmla="*/ 160788 w 60"/>
              <a:gd name="T27" fmla="*/ 96867 h 53"/>
              <a:gd name="T28" fmla="*/ 155337 w 60"/>
              <a:gd name="T29" fmla="*/ 111544 h 53"/>
              <a:gd name="T30" fmla="*/ 149887 w 60"/>
              <a:gd name="T31" fmla="*/ 132092 h 53"/>
              <a:gd name="T32" fmla="*/ 138986 w 60"/>
              <a:gd name="T33" fmla="*/ 143833 h 53"/>
              <a:gd name="T34" fmla="*/ 125360 w 60"/>
              <a:gd name="T35" fmla="*/ 155575 h 53"/>
              <a:gd name="T36" fmla="*/ 125360 w 60"/>
              <a:gd name="T37" fmla="*/ 155575 h 53"/>
              <a:gd name="T38" fmla="*/ 106283 w 60"/>
              <a:gd name="T39" fmla="*/ 152640 h 53"/>
              <a:gd name="T40" fmla="*/ 87207 w 60"/>
              <a:gd name="T41" fmla="*/ 146769 h 53"/>
              <a:gd name="T42" fmla="*/ 81757 w 60"/>
              <a:gd name="T43" fmla="*/ 143833 h 53"/>
              <a:gd name="T44" fmla="*/ 54504 w 60"/>
              <a:gd name="T45" fmla="*/ 132092 h 53"/>
              <a:gd name="T46" fmla="*/ 51779 w 60"/>
              <a:gd name="T47" fmla="*/ 111544 h 53"/>
              <a:gd name="T48" fmla="*/ 43603 w 60"/>
              <a:gd name="T49" fmla="*/ 114480 h 53"/>
              <a:gd name="T50" fmla="*/ 29977 w 60"/>
              <a:gd name="T51" fmla="*/ 99803 h 53"/>
              <a:gd name="T52" fmla="*/ 5450 w 60"/>
              <a:gd name="T53" fmla="*/ 64578 h 53"/>
              <a:gd name="T54" fmla="*/ 5450 w 60"/>
              <a:gd name="T55" fmla="*/ 58708 h 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0" h="53">
                <a:moveTo>
                  <a:pt x="2" y="20"/>
                </a:moveTo>
                <a:cubicBezTo>
                  <a:pt x="0" y="16"/>
                  <a:pt x="0" y="16"/>
                  <a:pt x="0" y="16"/>
                </a:cubicBezTo>
                <a:cubicBezTo>
                  <a:pt x="4" y="17"/>
                  <a:pt x="11" y="18"/>
                  <a:pt x="12" y="18"/>
                </a:cubicBezTo>
                <a:cubicBezTo>
                  <a:pt x="14" y="18"/>
                  <a:pt x="19" y="11"/>
                  <a:pt x="21" y="10"/>
                </a:cubicBezTo>
                <a:cubicBezTo>
                  <a:pt x="24" y="9"/>
                  <a:pt x="28" y="6"/>
                  <a:pt x="28" y="6"/>
                </a:cubicBezTo>
                <a:cubicBezTo>
                  <a:pt x="28" y="6"/>
                  <a:pt x="30" y="0"/>
                  <a:pt x="32" y="0"/>
                </a:cubicBezTo>
                <a:cubicBezTo>
                  <a:pt x="34" y="0"/>
                  <a:pt x="36" y="0"/>
                  <a:pt x="36" y="0"/>
                </a:cubicBezTo>
                <a:cubicBezTo>
                  <a:pt x="39" y="0"/>
                  <a:pt x="39" y="0"/>
                  <a:pt x="39" y="0"/>
                </a:cubicBezTo>
                <a:cubicBezTo>
                  <a:pt x="39" y="0"/>
                  <a:pt x="39" y="0"/>
                  <a:pt x="39" y="0"/>
                </a:cubicBezTo>
                <a:cubicBezTo>
                  <a:pt x="40" y="1"/>
                  <a:pt x="40" y="3"/>
                  <a:pt x="40" y="3"/>
                </a:cubicBezTo>
                <a:cubicBezTo>
                  <a:pt x="40" y="3"/>
                  <a:pt x="46" y="4"/>
                  <a:pt x="48" y="4"/>
                </a:cubicBezTo>
                <a:cubicBezTo>
                  <a:pt x="50" y="4"/>
                  <a:pt x="57" y="8"/>
                  <a:pt x="58" y="9"/>
                </a:cubicBezTo>
                <a:cubicBezTo>
                  <a:pt x="59" y="10"/>
                  <a:pt x="60" y="22"/>
                  <a:pt x="59" y="25"/>
                </a:cubicBezTo>
                <a:cubicBezTo>
                  <a:pt x="58" y="28"/>
                  <a:pt x="59" y="32"/>
                  <a:pt x="59" y="33"/>
                </a:cubicBezTo>
                <a:cubicBezTo>
                  <a:pt x="59" y="35"/>
                  <a:pt x="59" y="36"/>
                  <a:pt x="57" y="38"/>
                </a:cubicBezTo>
                <a:cubicBezTo>
                  <a:pt x="55" y="39"/>
                  <a:pt x="55" y="43"/>
                  <a:pt x="55" y="45"/>
                </a:cubicBezTo>
                <a:cubicBezTo>
                  <a:pt x="55" y="46"/>
                  <a:pt x="54" y="47"/>
                  <a:pt x="51" y="49"/>
                </a:cubicBezTo>
                <a:cubicBezTo>
                  <a:pt x="46" y="53"/>
                  <a:pt x="46" y="53"/>
                  <a:pt x="46" y="53"/>
                </a:cubicBezTo>
                <a:cubicBezTo>
                  <a:pt x="46" y="53"/>
                  <a:pt x="46" y="53"/>
                  <a:pt x="46" y="53"/>
                </a:cubicBezTo>
                <a:cubicBezTo>
                  <a:pt x="45" y="52"/>
                  <a:pt x="41" y="52"/>
                  <a:pt x="39" y="52"/>
                </a:cubicBezTo>
                <a:cubicBezTo>
                  <a:pt x="37" y="52"/>
                  <a:pt x="34" y="51"/>
                  <a:pt x="32" y="50"/>
                </a:cubicBezTo>
                <a:cubicBezTo>
                  <a:pt x="31" y="50"/>
                  <a:pt x="30" y="49"/>
                  <a:pt x="30" y="49"/>
                </a:cubicBezTo>
                <a:cubicBezTo>
                  <a:pt x="27" y="48"/>
                  <a:pt x="21" y="46"/>
                  <a:pt x="20" y="45"/>
                </a:cubicBezTo>
                <a:cubicBezTo>
                  <a:pt x="20" y="44"/>
                  <a:pt x="19" y="38"/>
                  <a:pt x="19" y="38"/>
                </a:cubicBezTo>
                <a:cubicBezTo>
                  <a:pt x="16" y="39"/>
                  <a:pt x="16" y="39"/>
                  <a:pt x="16" y="39"/>
                </a:cubicBezTo>
                <a:cubicBezTo>
                  <a:pt x="16" y="39"/>
                  <a:pt x="13" y="35"/>
                  <a:pt x="11" y="34"/>
                </a:cubicBezTo>
                <a:cubicBezTo>
                  <a:pt x="8" y="32"/>
                  <a:pt x="4" y="24"/>
                  <a:pt x="2" y="22"/>
                </a:cubicBezTo>
                <a:lnTo>
                  <a:pt x="2" y="20"/>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3" name="Freeform 301"/>
          <p:cNvSpPr>
            <a:spLocks/>
          </p:cNvSpPr>
          <p:nvPr>
            <p:custDataLst>
              <p:tags r:id="rId219"/>
            </p:custDataLst>
          </p:nvPr>
        </p:nvSpPr>
        <p:spPr bwMode="auto">
          <a:xfrm>
            <a:off x="6505172" y="4264903"/>
            <a:ext cx="119415" cy="170341"/>
          </a:xfrm>
          <a:custGeom>
            <a:avLst/>
            <a:gdLst>
              <a:gd name="T0" fmla="*/ 8096 w 40"/>
              <a:gd name="T1" fmla="*/ 75541 h 53"/>
              <a:gd name="T2" fmla="*/ 5398 w 40"/>
              <a:gd name="T3" fmla="*/ 29054 h 53"/>
              <a:gd name="T4" fmla="*/ 16193 w 40"/>
              <a:gd name="T5" fmla="*/ 8716 h 53"/>
              <a:gd name="T6" fmla="*/ 51276 w 40"/>
              <a:gd name="T7" fmla="*/ 0 h 53"/>
              <a:gd name="T8" fmla="*/ 53975 w 40"/>
              <a:gd name="T9" fmla="*/ 8716 h 53"/>
              <a:gd name="T10" fmla="*/ 97155 w 40"/>
              <a:gd name="T11" fmla="*/ 31960 h 53"/>
              <a:gd name="T12" fmla="*/ 102553 w 40"/>
              <a:gd name="T13" fmla="*/ 37771 h 53"/>
              <a:gd name="T14" fmla="*/ 107950 w 40"/>
              <a:gd name="T15" fmla="*/ 49392 h 53"/>
              <a:gd name="T16" fmla="*/ 102553 w 40"/>
              <a:gd name="T17" fmla="*/ 66825 h 53"/>
              <a:gd name="T18" fmla="*/ 105251 w 40"/>
              <a:gd name="T19" fmla="*/ 95879 h 53"/>
              <a:gd name="T20" fmla="*/ 97155 w 40"/>
              <a:gd name="T21" fmla="*/ 113312 h 53"/>
              <a:gd name="T22" fmla="*/ 97155 w 40"/>
              <a:gd name="T23" fmla="*/ 133650 h 53"/>
              <a:gd name="T24" fmla="*/ 43180 w 40"/>
              <a:gd name="T25" fmla="*/ 153988 h 53"/>
              <a:gd name="T26" fmla="*/ 26988 w 40"/>
              <a:gd name="T27" fmla="*/ 122028 h 53"/>
              <a:gd name="T28" fmla="*/ 26988 w 40"/>
              <a:gd name="T29" fmla="*/ 122028 h 53"/>
              <a:gd name="T30" fmla="*/ 32385 w 40"/>
              <a:gd name="T31" fmla="*/ 92974 h 53"/>
              <a:gd name="T32" fmla="*/ 8096 w 40"/>
              <a:gd name="T33" fmla="*/ 7554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53">
                <a:moveTo>
                  <a:pt x="3" y="26"/>
                </a:moveTo>
                <a:cubicBezTo>
                  <a:pt x="2" y="23"/>
                  <a:pt x="3" y="13"/>
                  <a:pt x="2" y="10"/>
                </a:cubicBezTo>
                <a:cubicBezTo>
                  <a:pt x="0" y="8"/>
                  <a:pt x="6" y="3"/>
                  <a:pt x="6" y="3"/>
                </a:cubicBezTo>
                <a:cubicBezTo>
                  <a:pt x="19" y="0"/>
                  <a:pt x="19" y="0"/>
                  <a:pt x="19" y="0"/>
                </a:cubicBezTo>
                <a:cubicBezTo>
                  <a:pt x="19" y="1"/>
                  <a:pt x="19" y="2"/>
                  <a:pt x="20" y="3"/>
                </a:cubicBezTo>
                <a:cubicBezTo>
                  <a:pt x="21" y="6"/>
                  <a:pt x="34" y="10"/>
                  <a:pt x="36" y="11"/>
                </a:cubicBezTo>
                <a:cubicBezTo>
                  <a:pt x="37" y="11"/>
                  <a:pt x="38" y="12"/>
                  <a:pt x="38" y="13"/>
                </a:cubicBezTo>
                <a:cubicBezTo>
                  <a:pt x="39" y="14"/>
                  <a:pt x="39" y="16"/>
                  <a:pt x="40" y="17"/>
                </a:cubicBezTo>
                <a:cubicBezTo>
                  <a:pt x="40" y="19"/>
                  <a:pt x="40" y="21"/>
                  <a:pt x="38" y="23"/>
                </a:cubicBezTo>
                <a:cubicBezTo>
                  <a:pt x="37" y="25"/>
                  <a:pt x="39" y="31"/>
                  <a:pt x="39" y="33"/>
                </a:cubicBezTo>
                <a:cubicBezTo>
                  <a:pt x="39" y="35"/>
                  <a:pt x="38" y="36"/>
                  <a:pt x="36" y="39"/>
                </a:cubicBezTo>
                <a:cubicBezTo>
                  <a:pt x="35" y="42"/>
                  <a:pt x="36" y="46"/>
                  <a:pt x="36" y="46"/>
                </a:cubicBezTo>
                <a:cubicBezTo>
                  <a:pt x="35" y="47"/>
                  <a:pt x="18" y="52"/>
                  <a:pt x="16" y="53"/>
                </a:cubicBezTo>
                <a:cubicBezTo>
                  <a:pt x="10" y="42"/>
                  <a:pt x="10" y="42"/>
                  <a:pt x="10" y="42"/>
                </a:cubicBezTo>
                <a:cubicBezTo>
                  <a:pt x="10" y="42"/>
                  <a:pt x="10" y="42"/>
                  <a:pt x="10" y="42"/>
                </a:cubicBezTo>
                <a:cubicBezTo>
                  <a:pt x="12" y="41"/>
                  <a:pt x="12" y="34"/>
                  <a:pt x="12" y="32"/>
                </a:cubicBezTo>
                <a:cubicBezTo>
                  <a:pt x="12" y="30"/>
                  <a:pt x="4" y="29"/>
                  <a:pt x="3" y="2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4" name="Freeform 306"/>
          <p:cNvSpPr>
            <a:spLocks/>
          </p:cNvSpPr>
          <p:nvPr>
            <p:custDataLst>
              <p:tags r:id="rId220"/>
            </p:custDataLst>
          </p:nvPr>
        </p:nvSpPr>
        <p:spPr bwMode="auto">
          <a:xfrm>
            <a:off x="6361172" y="4340415"/>
            <a:ext cx="191415" cy="172098"/>
          </a:xfrm>
          <a:custGeom>
            <a:avLst/>
            <a:gdLst>
              <a:gd name="T0" fmla="*/ 24333 w 64"/>
              <a:gd name="T1" fmla="*/ 146932 h 54"/>
              <a:gd name="T2" fmla="*/ 0 w 64"/>
              <a:gd name="T3" fmla="*/ 115241 h 54"/>
              <a:gd name="T4" fmla="*/ 0 w 64"/>
              <a:gd name="T5" fmla="*/ 46096 h 54"/>
              <a:gd name="T6" fmla="*/ 43260 w 64"/>
              <a:gd name="T7" fmla="*/ 46096 h 54"/>
              <a:gd name="T8" fmla="*/ 40556 w 64"/>
              <a:gd name="T9" fmla="*/ 0 h 54"/>
              <a:gd name="T10" fmla="*/ 70297 w 64"/>
              <a:gd name="T11" fmla="*/ 5762 h 54"/>
              <a:gd name="T12" fmla="*/ 91926 w 64"/>
              <a:gd name="T13" fmla="*/ 20167 h 54"/>
              <a:gd name="T14" fmla="*/ 108149 w 64"/>
              <a:gd name="T15" fmla="*/ 11524 h 54"/>
              <a:gd name="T16" fmla="*/ 135186 w 64"/>
              <a:gd name="T17" fmla="*/ 37453 h 54"/>
              <a:gd name="T18" fmla="*/ 156816 w 64"/>
              <a:gd name="T19" fmla="*/ 54739 h 54"/>
              <a:gd name="T20" fmla="*/ 173038 w 64"/>
              <a:gd name="T21" fmla="*/ 86431 h 54"/>
              <a:gd name="T22" fmla="*/ 173038 w 64"/>
              <a:gd name="T23" fmla="*/ 89312 h 54"/>
              <a:gd name="T24" fmla="*/ 173038 w 64"/>
              <a:gd name="T25" fmla="*/ 103717 h 54"/>
              <a:gd name="T26" fmla="*/ 173038 w 64"/>
              <a:gd name="T27" fmla="*/ 103717 h 54"/>
              <a:gd name="T28" fmla="*/ 164927 w 64"/>
              <a:gd name="T29" fmla="*/ 103717 h 54"/>
              <a:gd name="T30" fmla="*/ 154112 w 64"/>
              <a:gd name="T31" fmla="*/ 103717 h 54"/>
              <a:gd name="T32" fmla="*/ 143297 w 64"/>
              <a:gd name="T33" fmla="*/ 121003 h 54"/>
              <a:gd name="T34" fmla="*/ 124371 w 64"/>
              <a:gd name="T35" fmla="*/ 132527 h 54"/>
              <a:gd name="T36" fmla="*/ 100038 w 64"/>
              <a:gd name="T37" fmla="*/ 155575 h 54"/>
              <a:gd name="T38" fmla="*/ 67593 w 64"/>
              <a:gd name="T39" fmla="*/ 149813 h 54"/>
              <a:gd name="T40" fmla="*/ 62186 w 64"/>
              <a:gd name="T41" fmla="*/ 146932 h 54"/>
              <a:gd name="T42" fmla="*/ 24333 w 64"/>
              <a:gd name="T43" fmla="*/ 146932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4">
                <a:moveTo>
                  <a:pt x="9" y="51"/>
                </a:moveTo>
                <a:cubicBezTo>
                  <a:pt x="0" y="40"/>
                  <a:pt x="0" y="40"/>
                  <a:pt x="0" y="40"/>
                </a:cubicBezTo>
                <a:cubicBezTo>
                  <a:pt x="0" y="16"/>
                  <a:pt x="0" y="16"/>
                  <a:pt x="0" y="16"/>
                </a:cubicBezTo>
                <a:cubicBezTo>
                  <a:pt x="16" y="16"/>
                  <a:pt x="16" y="16"/>
                  <a:pt x="16" y="16"/>
                </a:cubicBezTo>
                <a:cubicBezTo>
                  <a:pt x="15" y="0"/>
                  <a:pt x="15" y="0"/>
                  <a:pt x="15" y="0"/>
                </a:cubicBezTo>
                <a:cubicBezTo>
                  <a:pt x="17" y="0"/>
                  <a:pt x="26" y="2"/>
                  <a:pt x="26" y="2"/>
                </a:cubicBezTo>
                <a:cubicBezTo>
                  <a:pt x="26" y="2"/>
                  <a:pt x="32" y="7"/>
                  <a:pt x="34" y="7"/>
                </a:cubicBezTo>
                <a:cubicBezTo>
                  <a:pt x="37" y="7"/>
                  <a:pt x="40" y="2"/>
                  <a:pt x="40" y="4"/>
                </a:cubicBezTo>
                <a:cubicBezTo>
                  <a:pt x="42" y="6"/>
                  <a:pt x="47" y="11"/>
                  <a:pt x="50" y="13"/>
                </a:cubicBezTo>
                <a:cubicBezTo>
                  <a:pt x="52" y="16"/>
                  <a:pt x="55" y="19"/>
                  <a:pt x="58" y="19"/>
                </a:cubicBezTo>
                <a:cubicBezTo>
                  <a:pt x="64" y="30"/>
                  <a:pt x="64" y="30"/>
                  <a:pt x="64" y="30"/>
                </a:cubicBezTo>
                <a:cubicBezTo>
                  <a:pt x="64" y="30"/>
                  <a:pt x="64" y="30"/>
                  <a:pt x="64" y="31"/>
                </a:cubicBezTo>
                <a:cubicBezTo>
                  <a:pt x="64" y="31"/>
                  <a:pt x="64" y="34"/>
                  <a:pt x="64" y="36"/>
                </a:cubicBezTo>
                <a:cubicBezTo>
                  <a:pt x="64" y="36"/>
                  <a:pt x="64" y="36"/>
                  <a:pt x="64" y="36"/>
                </a:cubicBezTo>
                <a:cubicBezTo>
                  <a:pt x="61" y="36"/>
                  <a:pt x="61" y="36"/>
                  <a:pt x="61" y="36"/>
                </a:cubicBezTo>
                <a:cubicBezTo>
                  <a:pt x="61" y="36"/>
                  <a:pt x="59" y="36"/>
                  <a:pt x="57" y="36"/>
                </a:cubicBezTo>
                <a:cubicBezTo>
                  <a:pt x="55" y="36"/>
                  <a:pt x="53" y="42"/>
                  <a:pt x="53" y="42"/>
                </a:cubicBezTo>
                <a:cubicBezTo>
                  <a:pt x="53" y="42"/>
                  <a:pt x="49" y="45"/>
                  <a:pt x="46" y="46"/>
                </a:cubicBezTo>
                <a:cubicBezTo>
                  <a:pt x="44" y="47"/>
                  <a:pt x="39" y="54"/>
                  <a:pt x="37" y="54"/>
                </a:cubicBezTo>
                <a:cubicBezTo>
                  <a:pt x="36" y="54"/>
                  <a:pt x="29" y="53"/>
                  <a:pt x="25" y="52"/>
                </a:cubicBezTo>
                <a:cubicBezTo>
                  <a:pt x="24" y="52"/>
                  <a:pt x="23" y="52"/>
                  <a:pt x="23" y="51"/>
                </a:cubicBezTo>
                <a:cubicBezTo>
                  <a:pt x="22" y="50"/>
                  <a:pt x="15" y="51"/>
                  <a:pt x="9" y="5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5" name="Freeform 307"/>
          <p:cNvSpPr>
            <a:spLocks/>
          </p:cNvSpPr>
          <p:nvPr>
            <p:custDataLst>
              <p:tags r:id="rId221"/>
            </p:custDataLst>
          </p:nvPr>
        </p:nvSpPr>
        <p:spPr bwMode="auto">
          <a:xfrm>
            <a:off x="6310244" y="4519538"/>
            <a:ext cx="221268" cy="226537"/>
          </a:xfrm>
          <a:custGeom>
            <a:avLst/>
            <a:gdLst>
              <a:gd name="T0" fmla="*/ 0 w 73"/>
              <a:gd name="T1" fmla="*/ 155054 h 70"/>
              <a:gd name="T2" fmla="*/ 0 w 73"/>
              <a:gd name="T3" fmla="*/ 87766 h 70"/>
              <a:gd name="T4" fmla="*/ 24661 w 73"/>
              <a:gd name="T5" fmla="*/ 87766 h 70"/>
              <a:gd name="T6" fmla="*/ 24661 w 73"/>
              <a:gd name="T7" fmla="*/ 11702 h 70"/>
              <a:gd name="T8" fmla="*/ 63022 w 73"/>
              <a:gd name="T9" fmla="*/ 2926 h 70"/>
              <a:gd name="T10" fmla="*/ 79462 w 73"/>
              <a:gd name="T11" fmla="*/ 8777 h 70"/>
              <a:gd name="T12" fmla="*/ 95902 w 73"/>
              <a:gd name="T13" fmla="*/ 5851 h 70"/>
              <a:gd name="T14" fmla="*/ 117823 w 73"/>
              <a:gd name="T15" fmla="*/ 0 h 70"/>
              <a:gd name="T16" fmla="*/ 117823 w 73"/>
              <a:gd name="T17" fmla="*/ 5851 h 70"/>
              <a:gd name="T18" fmla="*/ 142484 w 73"/>
              <a:gd name="T19" fmla="*/ 40958 h 70"/>
              <a:gd name="T20" fmla="*/ 156184 w 73"/>
              <a:gd name="T21" fmla="*/ 55585 h 70"/>
              <a:gd name="T22" fmla="*/ 164404 w 73"/>
              <a:gd name="T23" fmla="*/ 52660 h 70"/>
              <a:gd name="T24" fmla="*/ 167144 w 73"/>
              <a:gd name="T25" fmla="*/ 73139 h 70"/>
              <a:gd name="T26" fmla="*/ 194545 w 73"/>
              <a:gd name="T27" fmla="*/ 84841 h 70"/>
              <a:gd name="T28" fmla="*/ 200025 w 73"/>
              <a:gd name="T29" fmla="*/ 87766 h 70"/>
              <a:gd name="T30" fmla="*/ 183585 w 73"/>
              <a:gd name="T31" fmla="*/ 108245 h 70"/>
              <a:gd name="T32" fmla="*/ 164404 w 73"/>
              <a:gd name="T33" fmla="*/ 119947 h 70"/>
              <a:gd name="T34" fmla="*/ 147964 w 73"/>
              <a:gd name="T35" fmla="*/ 143352 h 70"/>
              <a:gd name="T36" fmla="*/ 126043 w 73"/>
              <a:gd name="T37" fmla="*/ 155054 h 70"/>
              <a:gd name="T38" fmla="*/ 115083 w 73"/>
              <a:gd name="T39" fmla="*/ 178458 h 70"/>
              <a:gd name="T40" fmla="*/ 68502 w 73"/>
              <a:gd name="T41" fmla="*/ 169681 h 70"/>
              <a:gd name="T42" fmla="*/ 52061 w 73"/>
              <a:gd name="T43" fmla="*/ 193086 h 70"/>
              <a:gd name="T44" fmla="*/ 21921 w 73"/>
              <a:gd name="T45" fmla="*/ 201862 h 70"/>
              <a:gd name="T46" fmla="*/ 13700 w 73"/>
              <a:gd name="T47" fmla="*/ 155054 h 70"/>
              <a:gd name="T48" fmla="*/ 0 w 73"/>
              <a:gd name="T49" fmla="*/ 155054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3" h="70">
                <a:moveTo>
                  <a:pt x="0" y="53"/>
                </a:moveTo>
                <a:cubicBezTo>
                  <a:pt x="0" y="30"/>
                  <a:pt x="0" y="30"/>
                  <a:pt x="0" y="30"/>
                </a:cubicBezTo>
                <a:cubicBezTo>
                  <a:pt x="9" y="30"/>
                  <a:pt x="9" y="30"/>
                  <a:pt x="9" y="30"/>
                </a:cubicBezTo>
                <a:cubicBezTo>
                  <a:pt x="9" y="4"/>
                  <a:pt x="9" y="4"/>
                  <a:pt x="9" y="4"/>
                </a:cubicBezTo>
                <a:cubicBezTo>
                  <a:pt x="12" y="4"/>
                  <a:pt x="23" y="1"/>
                  <a:pt x="23" y="1"/>
                </a:cubicBezTo>
                <a:cubicBezTo>
                  <a:pt x="26" y="1"/>
                  <a:pt x="28" y="4"/>
                  <a:pt x="29" y="3"/>
                </a:cubicBezTo>
                <a:cubicBezTo>
                  <a:pt x="31" y="2"/>
                  <a:pt x="34" y="2"/>
                  <a:pt x="35" y="2"/>
                </a:cubicBezTo>
                <a:cubicBezTo>
                  <a:pt x="43" y="0"/>
                  <a:pt x="43" y="0"/>
                  <a:pt x="43" y="0"/>
                </a:cubicBezTo>
                <a:cubicBezTo>
                  <a:pt x="43" y="2"/>
                  <a:pt x="43" y="2"/>
                  <a:pt x="43" y="2"/>
                </a:cubicBezTo>
                <a:cubicBezTo>
                  <a:pt x="45" y="4"/>
                  <a:pt x="49" y="12"/>
                  <a:pt x="52" y="14"/>
                </a:cubicBezTo>
                <a:cubicBezTo>
                  <a:pt x="54" y="15"/>
                  <a:pt x="57" y="19"/>
                  <a:pt x="57" y="19"/>
                </a:cubicBezTo>
                <a:cubicBezTo>
                  <a:pt x="60" y="18"/>
                  <a:pt x="60" y="18"/>
                  <a:pt x="60" y="18"/>
                </a:cubicBezTo>
                <a:cubicBezTo>
                  <a:pt x="60" y="18"/>
                  <a:pt x="61" y="24"/>
                  <a:pt x="61" y="25"/>
                </a:cubicBezTo>
                <a:cubicBezTo>
                  <a:pt x="62" y="26"/>
                  <a:pt x="68" y="28"/>
                  <a:pt x="71" y="29"/>
                </a:cubicBezTo>
                <a:cubicBezTo>
                  <a:pt x="71" y="29"/>
                  <a:pt x="72" y="30"/>
                  <a:pt x="73" y="30"/>
                </a:cubicBezTo>
                <a:cubicBezTo>
                  <a:pt x="67" y="37"/>
                  <a:pt x="67" y="37"/>
                  <a:pt x="67" y="37"/>
                </a:cubicBezTo>
                <a:cubicBezTo>
                  <a:pt x="64" y="38"/>
                  <a:pt x="62" y="39"/>
                  <a:pt x="60" y="41"/>
                </a:cubicBezTo>
                <a:cubicBezTo>
                  <a:pt x="58" y="42"/>
                  <a:pt x="54" y="47"/>
                  <a:pt x="54" y="49"/>
                </a:cubicBezTo>
                <a:cubicBezTo>
                  <a:pt x="54" y="51"/>
                  <a:pt x="48" y="52"/>
                  <a:pt x="46" y="53"/>
                </a:cubicBezTo>
                <a:cubicBezTo>
                  <a:pt x="45" y="54"/>
                  <a:pt x="43" y="59"/>
                  <a:pt x="42" y="61"/>
                </a:cubicBezTo>
                <a:cubicBezTo>
                  <a:pt x="41" y="63"/>
                  <a:pt x="28" y="59"/>
                  <a:pt x="25" y="58"/>
                </a:cubicBezTo>
                <a:cubicBezTo>
                  <a:pt x="22" y="58"/>
                  <a:pt x="20" y="63"/>
                  <a:pt x="19" y="66"/>
                </a:cubicBezTo>
                <a:cubicBezTo>
                  <a:pt x="17" y="69"/>
                  <a:pt x="9" y="70"/>
                  <a:pt x="8" y="69"/>
                </a:cubicBezTo>
                <a:cubicBezTo>
                  <a:pt x="6" y="69"/>
                  <a:pt x="8" y="53"/>
                  <a:pt x="5" y="53"/>
                </a:cubicBezTo>
                <a:lnTo>
                  <a:pt x="0" y="53"/>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6" name="Freeform 308"/>
          <p:cNvSpPr>
            <a:spLocks noEditPoints="1"/>
          </p:cNvSpPr>
          <p:nvPr>
            <p:custDataLst>
              <p:tags r:id="rId222"/>
            </p:custDataLst>
          </p:nvPr>
        </p:nvSpPr>
        <p:spPr bwMode="auto">
          <a:xfrm>
            <a:off x="6234733" y="4616123"/>
            <a:ext cx="377561" cy="349463"/>
          </a:xfrm>
          <a:custGeom>
            <a:avLst/>
            <a:gdLst>
              <a:gd name="T0" fmla="*/ 218440 w 125"/>
              <a:gd name="T1" fmla="*/ 179694 h 109"/>
              <a:gd name="T2" fmla="*/ 223901 w 125"/>
              <a:gd name="T3" fmla="*/ 191287 h 109"/>
              <a:gd name="T4" fmla="*/ 240284 w 125"/>
              <a:gd name="T5" fmla="*/ 208676 h 109"/>
              <a:gd name="T6" fmla="*/ 253937 w 125"/>
              <a:gd name="T7" fmla="*/ 194185 h 109"/>
              <a:gd name="T8" fmla="*/ 267589 w 125"/>
              <a:gd name="T9" fmla="*/ 173897 h 109"/>
              <a:gd name="T10" fmla="*/ 251206 w 125"/>
              <a:gd name="T11" fmla="*/ 156507 h 109"/>
              <a:gd name="T12" fmla="*/ 218440 w 125"/>
              <a:gd name="T13" fmla="*/ 179694 h 109"/>
              <a:gd name="T14" fmla="*/ 0 w 125"/>
              <a:gd name="T15" fmla="*/ 159406 h 109"/>
              <a:gd name="T16" fmla="*/ 13653 w 125"/>
              <a:gd name="T17" fmla="*/ 144914 h 109"/>
              <a:gd name="T18" fmla="*/ 27305 w 125"/>
              <a:gd name="T19" fmla="*/ 162304 h 109"/>
              <a:gd name="T20" fmla="*/ 68263 w 125"/>
              <a:gd name="T21" fmla="*/ 156507 h 109"/>
              <a:gd name="T22" fmla="*/ 68263 w 125"/>
              <a:gd name="T23" fmla="*/ 66661 h 109"/>
              <a:gd name="T24" fmla="*/ 81915 w 125"/>
              <a:gd name="T25" fmla="*/ 66661 h 109"/>
              <a:gd name="T26" fmla="*/ 90107 w 125"/>
              <a:gd name="T27" fmla="*/ 113033 h 109"/>
              <a:gd name="T28" fmla="*/ 120142 w 125"/>
              <a:gd name="T29" fmla="*/ 104338 h 109"/>
              <a:gd name="T30" fmla="*/ 136525 w 125"/>
              <a:gd name="T31" fmla="*/ 81152 h 109"/>
              <a:gd name="T32" fmla="*/ 182944 w 125"/>
              <a:gd name="T33" fmla="*/ 89847 h 109"/>
              <a:gd name="T34" fmla="*/ 193866 w 125"/>
              <a:gd name="T35" fmla="*/ 66661 h 109"/>
              <a:gd name="T36" fmla="*/ 215710 w 125"/>
              <a:gd name="T37" fmla="*/ 55067 h 109"/>
              <a:gd name="T38" fmla="*/ 232093 w 125"/>
              <a:gd name="T39" fmla="*/ 31881 h 109"/>
              <a:gd name="T40" fmla="*/ 251206 w 125"/>
              <a:gd name="T41" fmla="*/ 20288 h 109"/>
              <a:gd name="T42" fmla="*/ 267589 w 125"/>
              <a:gd name="T43" fmla="*/ 0 h 109"/>
              <a:gd name="T44" fmla="*/ 286703 w 125"/>
              <a:gd name="T45" fmla="*/ 5797 h 109"/>
              <a:gd name="T46" fmla="*/ 305816 w 125"/>
              <a:gd name="T47" fmla="*/ 8695 h 109"/>
              <a:gd name="T48" fmla="*/ 305816 w 125"/>
              <a:gd name="T49" fmla="*/ 8695 h 109"/>
              <a:gd name="T50" fmla="*/ 308547 w 125"/>
              <a:gd name="T51" fmla="*/ 14491 h 109"/>
              <a:gd name="T52" fmla="*/ 316738 w 125"/>
              <a:gd name="T53" fmla="*/ 46373 h 109"/>
              <a:gd name="T54" fmla="*/ 319469 w 125"/>
              <a:gd name="T55" fmla="*/ 86949 h 109"/>
              <a:gd name="T56" fmla="*/ 319469 w 125"/>
              <a:gd name="T57" fmla="*/ 92745 h 109"/>
              <a:gd name="T58" fmla="*/ 308547 w 125"/>
              <a:gd name="T59" fmla="*/ 86949 h 109"/>
              <a:gd name="T60" fmla="*/ 294894 w 125"/>
              <a:gd name="T61" fmla="*/ 113033 h 109"/>
              <a:gd name="T62" fmla="*/ 297625 w 125"/>
              <a:gd name="T63" fmla="*/ 127525 h 109"/>
              <a:gd name="T64" fmla="*/ 319469 w 125"/>
              <a:gd name="T65" fmla="*/ 113033 h 109"/>
              <a:gd name="T66" fmla="*/ 338582 w 125"/>
              <a:gd name="T67" fmla="*/ 115931 h 109"/>
              <a:gd name="T68" fmla="*/ 338582 w 125"/>
              <a:gd name="T69" fmla="*/ 124626 h 109"/>
              <a:gd name="T70" fmla="*/ 322199 w 125"/>
              <a:gd name="T71" fmla="*/ 165202 h 109"/>
              <a:gd name="T72" fmla="*/ 292164 w 125"/>
              <a:gd name="T73" fmla="*/ 205778 h 109"/>
              <a:gd name="T74" fmla="*/ 226632 w 125"/>
              <a:gd name="T75" fmla="*/ 272439 h 109"/>
              <a:gd name="T76" fmla="*/ 185674 w 125"/>
              <a:gd name="T77" fmla="*/ 289828 h 109"/>
              <a:gd name="T78" fmla="*/ 136525 w 125"/>
              <a:gd name="T79" fmla="*/ 289828 h 109"/>
              <a:gd name="T80" fmla="*/ 106490 w 125"/>
              <a:gd name="T81" fmla="*/ 298523 h 109"/>
              <a:gd name="T82" fmla="*/ 65532 w 125"/>
              <a:gd name="T83" fmla="*/ 313015 h 109"/>
              <a:gd name="T84" fmla="*/ 46419 w 125"/>
              <a:gd name="T85" fmla="*/ 295625 h 109"/>
              <a:gd name="T86" fmla="*/ 35497 w 125"/>
              <a:gd name="T87" fmla="*/ 284032 h 109"/>
              <a:gd name="T88" fmla="*/ 27305 w 125"/>
              <a:gd name="T89" fmla="*/ 263744 h 109"/>
              <a:gd name="T90" fmla="*/ 38227 w 125"/>
              <a:gd name="T91" fmla="*/ 240558 h 109"/>
              <a:gd name="T92" fmla="*/ 30036 w 125"/>
              <a:gd name="T93" fmla="*/ 223168 h 109"/>
              <a:gd name="T94" fmla="*/ 10922 w 125"/>
              <a:gd name="T95" fmla="*/ 188388 h 109"/>
              <a:gd name="T96" fmla="*/ 0 w 125"/>
              <a:gd name="T97" fmla="*/ 159406 h 1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25" h="109">
                <a:moveTo>
                  <a:pt x="80" y="62"/>
                </a:moveTo>
                <a:cubicBezTo>
                  <a:pt x="79" y="64"/>
                  <a:pt x="81" y="65"/>
                  <a:pt x="82" y="66"/>
                </a:cubicBezTo>
                <a:cubicBezTo>
                  <a:pt x="82" y="66"/>
                  <a:pt x="87" y="73"/>
                  <a:pt x="88" y="72"/>
                </a:cubicBezTo>
                <a:cubicBezTo>
                  <a:pt x="90" y="70"/>
                  <a:pt x="92" y="67"/>
                  <a:pt x="93" y="67"/>
                </a:cubicBezTo>
                <a:cubicBezTo>
                  <a:pt x="94" y="67"/>
                  <a:pt x="98" y="62"/>
                  <a:pt x="98" y="60"/>
                </a:cubicBezTo>
                <a:cubicBezTo>
                  <a:pt x="98" y="58"/>
                  <a:pt x="95" y="54"/>
                  <a:pt x="92" y="54"/>
                </a:cubicBezTo>
                <a:cubicBezTo>
                  <a:pt x="88" y="53"/>
                  <a:pt x="81" y="61"/>
                  <a:pt x="80" y="62"/>
                </a:cubicBezTo>
                <a:close/>
                <a:moveTo>
                  <a:pt x="0" y="55"/>
                </a:moveTo>
                <a:cubicBezTo>
                  <a:pt x="1" y="53"/>
                  <a:pt x="3" y="50"/>
                  <a:pt x="5" y="50"/>
                </a:cubicBezTo>
                <a:cubicBezTo>
                  <a:pt x="7" y="50"/>
                  <a:pt x="8" y="56"/>
                  <a:pt x="10" y="56"/>
                </a:cubicBezTo>
                <a:cubicBezTo>
                  <a:pt x="13" y="56"/>
                  <a:pt x="25" y="54"/>
                  <a:pt x="25" y="54"/>
                </a:cubicBezTo>
                <a:cubicBezTo>
                  <a:pt x="25" y="23"/>
                  <a:pt x="25" y="23"/>
                  <a:pt x="25" y="23"/>
                </a:cubicBezTo>
                <a:cubicBezTo>
                  <a:pt x="30" y="23"/>
                  <a:pt x="30" y="23"/>
                  <a:pt x="30" y="23"/>
                </a:cubicBezTo>
                <a:cubicBezTo>
                  <a:pt x="33" y="23"/>
                  <a:pt x="31" y="39"/>
                  <a:pt x="33" y="39"/>
                </a:cubicBezTo>
                <a:cubicBezTo>
                  <a:pt x="34" y="40"/>
                  <a:pt x="42" y="39"/>
                  <a:pt x="44" y="36"/>
                </a:cubicBezTo>
                <a:cubicBezTo>
                  <a:pt x="45" y="33"/>
                  <a:pt x="47" y="28"/>
                  <a:pt x="50" y="28"/>
                </a:cubicBezTo>
                <a:cubicBezTo>
                  <a:pt x="53" y="29"/>
                  <a:pt x="66" y="33"/>
                  <a:pt x="67" y="31"/>
                </a:cubicBezTo>
                <a:cubicBezTo>
                  <a:pt x="68" y="29"/>
                  <a:pt x="70" y="24"/>
                  <a:pt x="71" y="23"/>
                </a:cubicBezTo>
                <a:cubicBezTo>
                  <a:pt x="73" y="22"/>
                  <a:pt x="79" y="21"/>
                  <a:pt x="79" y="19"/>
                </a:cubicBezTo>
                <a:cubicBezTo>
                  <a:pt x="79" y="17"/>
                  <a:pt x="83" y="12"/>
                  <a:pt x="85" y="11"/>
                </a:cubicBezTo>
                <a:cubicBezTo>
                  <a:pt x="87" y="9"/>
                  <a:pt x="89" y="8"/>
                  <a:pt x="92" y="7"/>
                </a:cubicBezTo>
                <a:cubicBezTo>
                  <a:pt x="98" y="0"/>
                  <a:pt x="98" y="0"/>
                  <a:pt x="98" y="0"/>
                </a:cubicBezTo>
                <a:cubicBezTo>
                  <a:pt x="100" y="1"/>
                  <a:pt x="103" y="2"/>
                  <a:pt x="105" y="2"/>
                </a:cubicBezTo>
                <a:cubicBezTo>
                  <a:pt x="107" y="2"/>
                  <a:pt x="111" y="2"/>
                  <a:pt x="112" y="3"/>
                </a:cubicBezTo>
                <a:cubicBezTo>
                  <a:pt x="112" y="3"/>
                  <a:pt x="112" y="3"/>
                  <a:pt x="112" y="3"/>
                </a:cubicBezTo>
                <a:cubicBezTo>
                  <a:pt x="112" y="4"/>
                  <a:pt x="113" y="4"/>
                  <a:pt x="113" y="5"/>
                </a:cubicBezTo>
                <a:cubicBezTo>
                  <a:pt x="113" y="7"/>
                  <a:pt x="114" y="14"/>
                  <a:pt x="116" y="16"/>
                </a:cubicBezTo>
                <a:cubicBezTo>
                  <a:pt x="118" y="19"/>
                  <a:pt x="117" y="28"/>
                  <a:pt x="117" y="30"/>
                </a:cubicBezTo>
                <a:cubicBezTo>
                  <a:pt x="117" y="30"/>
                  <a:pt x="117" y="31"/>
                  <a:pt x="117" y="32"/>
                </a:cubicBezTo>
                <a:cubicBezTo>
                  <a:pt x="117" y="32"/>
                  <a:pt x="116" y="29"/>
                  <a:pt x="113" y="30"/>
                </a:cubicBezTo>
                <a:cubicBezTo>
                  <a:pt x="110" y="31"/>
                  <a:pt x="108" y="36"/>
                  <a:pt x="108" y="39"/>
                </a:cubicBezTo>
                <a:cubicBezTo>
                  <a:pt x="108" y="41"/>
                  <a:pt x="106" y="43"/>
                  <a:pt x="109" y="44"/>
                </a:cubicBezTo>
                <a:cubicBezTo>
                  <a:pt x="119" y="46"/>
                  <a:pt x="117" y="39"/>
                  <a:pt x="117" y="39"/>
                </a:cubicBezTo>
                <a:cubicBezTo>
                  <a:pt x="124" y="40"/>
                  <a:pt x="124" y="40"/>
                  <a:pt x="124" y="40"/>
                </a:cubicBezTo>
                <a:cubicBezTo>
                  <a:pt x="125" y="41"/>
                  <a:pt x="124" y="42"/>
                  <a:pt x="124" y="43"/>
                </a:cubicBezTo>
                <a:cubicBezTo>
                  <a:pt x="123" y="46"/>
                  <a:pt x="120" y="54"/>
                  <a:pt x="118" y="57"/>
                </a:cubicBezTo>
                <a:cubicBezTo>
                  <a:pt x="115" y="59"/>
                  <a:pt x="109" y="69"/>
                  <a:pt x="107" y="71"/>
                </a:cubicBezTo>
                <a:cubicBezTo>
                  <a:pt x="105" y="73"/>
                  <a:pt x="87" y="92"/>
                  <a:pt x="83" y="94"/>
                </a:cubicBezTo>
                <a:cubicBezTo>
                  <a:pt x="79" y="96"/>
                  <a:pt x="75" y="100"/>
                  <a:pt x="68" y="100"/>
                </a:cubicBezTo>
                <a:cubicBezTo>
                  <a:pt x="50" y="100"/>
                  <a:pt x="50" y="100"/>
                  <a:pt x="50" y="100"/>
                </a:cubicBezTo>
                <a:cubicBezTo>
                  <a:pt x="45" y="100"/>
                  <a:pt x="42" y="102"/>
                  <a:pt x="39" y="103"/>
                </a:cubicBezTo>
                <a:cubicBezTo>
                  <a:pt x="36" y="103"/>
                  <a:pt x="27" y="109"/>
                  <a:pt x="24" y="108"/>
                </a:cubicBezTo>
                <a:cubicBezTo>
                  <a:pt x="21" y="106"/>
                  <a:pt x="20" y="102"/>
                  <a:pt x="17" y="102"/>
                </a:cubicBezTo>
                <a:cubicBezTo>
                  <a:pt x="14" y="102"/>
                  <a:pt x="13" y="101"/>
                  <a:pt x="13" y="98"/>
                </a:cubicBezTo>
                <a:cubicBezTo>
                  <a:pt x="12" y="95"/>
                  <a:pt x="10" y="92"/>
                  <a:pt x="10" y="91"/>
                </a:cubicBezTo>
                <a:cubicBezTo>
                  <a:pt x="10" y="89"/>
                  <a:pt x="14" y="85"/>
                  <a:pt x="14" y="83"/>
                </a:cubicBezTo>
                <a:cubicBezTo>
                  <a:pt x="14" y="82"/>
                  <a:pt x="13" y="79"/>
                  <a:pt x="11" y="77"/>
                </a:cubicBezTo>
                <a:cubicBezTo>
                  <a:pt x="8" y="74"/>
                  <a:pt x="6" y="70"/>
                  <a:pt x="4" y="65"/>
                </a:cubicBezTo>
                <a:cubicBezTo>
                  <a:pt x="3" y="61"/>
                  <a:pt x="2" y="58"/>
                  <a:pt x="0" y="55"/>
                </a:cubicBezTo>
                <a:close/>
              </a:path>
            </a:pathLst>
          </a:custGeom>
          <a:solidFill>
            <a:schemeClr val="tx2">
              <a:lumMod val="50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7" name="Freeform 309"/>
          <p:cNvSpPr>
            <a:spLocks/>
          </p:cNvSpPr>
          <p:nvPr>
            <p:custDataLst>
              <p:tags r:id="rId223"/>
            </p:custDataLst>
          </p:nvPr>
        </p:nvSpPr>
        <p:spPr bwMode="auto">
          <a:xfrm>
            <a:off x="6190829" y="3790756"/>
            <a:ext cx="293268" cy="212488"/>
          </a:xfrm>
          <a:custGeom>
            <a:avLst/>
            <a:gdLst>
              <a:gd name="T0" fmla="*/ 30064 w 97"/>
              <a:gd name="T1" fmla="*/ 183357 h 66"/>
              <a:gd name="T2" fmla="*/ 0 w 97"/>
              <a:gd name="T3" fmla="*/ 136790 h 66"/>
              <a:gd name="T4" fmla="*/ 8199 w 97"/>
              <a:gd name="T5" fmla="*/ 96044 h 66"/>
              <a:gd name="T6" fmla="*/ 16399 w 97"/>
              <a:gd name="T7" fmla="*/ 81492 h 66"/>
              <a:gd name="T8" fmla="*/ 35531 w 97"/>
              <a:gd name="T9" fmla="*/ 81492 h 66"/>
              <a:gd name="T10" fmla="*/ 84727 w 97"/>
              <a:gd name="T11" fmla="*/ 66940 h 66"/>
              <a:gd name="T12" fmla="*/ 98392 w 97"/>
              <a:gd name="T13" fmla="*/ 46567 h 66"/>
              <a:gd name="T14" fmla="*/ 125724 w 97"/>
              <a:gd name="T15" fmla="*/ 40746 h 66"/>
              <a:gd name="T16" fmla="*/ 147589 w 97"/>
              <a:gd name="T17" fmla="*/ 8731 h 66"/>
              <a:gd name="T18" fmla="*/ 172187 w 97"/>
              <a:gd name="T19" fmla="*/ 5821 h 66"/>
              <a:gd name="T20" fmla="*/ 188586 w 97"/>
              <a:gd name="T21" fmla="*/ 32015 h 66"/>
              <a:gd name="T22" fmla="*/ 185852 w 97"/>
              <a:gd name="T23" fmla="*/ 55298 h 66"/>
              <a:gd name="T24" fmla="*/ 210451 w 97"/>
              <a:gd name="T25" fmla="*/ 66940 h 66"/>
              <a:gd name="T26" fmla="*/ 224116 w 97"/>
              <a:gd name="T27" fmla="*/ 84402 h 66"/>
              <a:gd name="T28" fmla="*/ 245981 w 97"/>
              <a:gd name="T29" fmla="*/ 101865 h 66"/>
              <a:gd name="T30" fmla="*/ 265113 w 97"/>
              <a:gd name="T31" fmla="*/ 119327 h 66"/>
              <a:gd name="T32" fmla="*/ 262380 w 97"/>
              <a:gd name="T33" fmla="*/ 133880 h 66"/>
              <a:gd name="T34" fmla="*/ 251447 w 97"/>
              <a:gd name="T35" fmla="*/ 130969 h 66"/>
              <a:gd name="T36" fmla="*/ 215917 w 97"/>
              <a:gd name="T37" fmla="*/ 136790 h 66"/>
              <a:gd name="T38" fmla="*/ 174920 w 97"/>
              <a:gd name="T39" fmla="*/ 142611 h 66"/>
              <a:gd name="T40" fmla="*/ 163987 w 97"/>
              <a:gd name="T41" fmla="*/ 157163 h 66"/>
              <a:gd name="T42" fmla="*/ 125724 w 97"/>
              <a:gd name="T43" fmla="*/ 151342 h 66"/>
              <a:gd name="T44" fmla="*/ 98392 w 97"/>
              <a:gd name="T45" fmla="*/ 136790 h 66"/>
              <a:gd name="T46" fmla="*/ 84727 w 97"/>
              <a:gd name="T47" fmla="*/ 157163 h 66"/>
              <a:gd name="T48" fmla="*/ 84727 w 97"/>
              <a:gd name="T49" fmla="*/ 168805 h 66"/>
              <a:gd name="T50" fmla="*/ 46463 w 97"/>
              <a:gd name="T51" fmla="*/ 168805 h 66"/>
              <a:gd name="T52" fmla="*/ 43730 w 97"/>
              <a:gd name="T53" fmla="*/ 186267 h 66"/>
              <a:gd name="T54" fmla="*/ 32797 w 97"/>
              <a:gd name="T55" fmla="*/ 192088 h 66"/>
              <a:gd name="T56" fmla="*/ 30064 w 97"/>
              <a:gd name="T57" fmla="*/ 183357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7" h="66">
                <a:moveTo>
                  <a:pt x="11" y="63"/>
                </a:moveTo>
                <a:cubicBezTo>
                  <a:pt x="9" y="61"/>
                  <a:pt x="1" y="51"/>
                  <a:pt x="0" y="47"/>
                </a:cubicBezTo>
                <a:cubicBezTo>
                  <a:pt x="0" y="44"/>
                  <a:pt x="1" y="36"/>
                  <a:pt x="3" y="33"/>
                </a:cubicBezTo>
                <a:cubicBezTo>
                  <a:pt x="4" y="31"/>
                  <a:pt x="6" y="30"/>
                  <a:pt x="6" y="28"/>
                </a:cubicBezTo>
                <a:cubicBezTo>
                  <a:pt x="6" y="28"/>
                  <a:pt x="10" y="29"/>
                  <a:pt x="13" y="28"/>
                </a:cubicBezTo>
                <a:cubicBezTo>
                  <a:pt x="15" y="27"/>
                  <a:pt x="28" y="24"/>
                  <a:pt x="31" y="23"/>
                </a:cubicBezTo>
                <a:cubicBezTo>
                  <a:pt x="33" y="23"/>
                  <a:pt x="35" y="17"/>
                  <a:pt x="36" y="16"/>
                </a:cubicBezTo>
                <a:cubicBezTo>
                  <a:pt x="38" y="16"/>
                  <a:pt x="44" y="16"/>
                  <a:pt x="46" y="14"/>
                </a:cubicBezTo>
                <a:cubicBezTo>
                  <a:pt x="48" y="12"/>
                  <a:pt x="53" y="3"/>
                  <a:pt x="54" y="3"/>
                </a:cubicBezTo>
                <a:cubicBezTo>
                  <a:pt x="56" y="2"/>
                  <a:pt x="61" y="0"/>
                  <a:pt x="63" y="2"/>
                </a:cubicBezTo>
                <a:cubicBezTo>
                  <a:pt x="64" y="4"/>
                  <a:pt x="69" y="8"/>
                  <a:pt x="69" y="11"/>
                </a:cubicBezTo>
                <a:cubicBezTo>
                  <a:pt x="69" y="14"/>
                  <a:pt x="68" y="19"/>
                  <a:pt x="68" y="19"/>
                </a:cubicBezTo>
                <a:cubicBezTo>
                  <a:pt x="68" y="19"/>
                  <a:pt x="77" y="21"/>
                  <a:pt x="77" y="23"/>
                </a:cubicBezTo>
                <a:cubicBezTo>
                  <a:pt x="78" y="25"/>
                  <a:pt x="80" y="28"/>
                  <a:pt x="82" y="29"/>
                </a:cubicBezTo>
                <a:cubicBezTo>
                  <a:pt x="84" y="30"/>
                  <a:pt x="89" y="34"/>
                  <a:pt x="90" y="35"/>
                </a:cubicBezTo>
                <a:cubicBezTo>
                  <a:pt x="91" y="36"/>
                  <a:pt x="97" y="41"/>
                  <a:pt x="97" y="41"/>
                </a:cubicBezTo>
                <a:cubicBezTo>
                  <a:pt x="96" y="46"/>
                  <a:pt x="96" y="46"/>
                  <a:pt x="96" y="46"/>
                </a:cubicBezTo>
                <a:cubicBezTo>
                  <a:pt x="95" y="46"/>
                  <a:pt x="93" y="45"/>
                  <a:pt x="92" y="45"/>
                </a:cubicBezTo>
                <a:cubicBezTo>
                  <a:pt x="89" y="45"/>
                  <a:pt x="81" y="46"/>
                  <a:pt x="79" y="47"/>
                </a:cubicBezTo>
                <a:cubicBezTo>
                  <a:pt x="77" y="48"/>
                  <a:pt x="67" y="49"/>
                  <a:pt x="64" y="49"/>
                </a:cubicBezTo>
                <a:cubicBezTo>
                  <a:pt x="62" y="49"/>
                  <a:pt x="62" y="53"/>
                  <a:pt x="60" y="54"/>
                </a:cubicBezTo>
                <a:cubicBezTo>
                  <a:pt x="57" y="55"/>
                  <a:pt x="49" y="52"/>
                  <a:pt x="46" y="52"/>
                </a:cubicBezTo>
                <a:cubicBezTo>
                  <a:pt x="43" y="52"/>
                  <a:pt x="39" y="47"/>
                  <a:pt x="36" y="47"/>
                </a:cubicBezTo>
                <a:cubicBezTo>
                  <a:pt x="33" y="47"/>
                  <a:pt x="32" y="53"/>
                  <a:pt x="31" y="54"/>
                </a:cubicBezTo>
                <a:cubicBezTo>
                  <a:pt x="31" y="54"/>
                  <a:pt x="31" y="56"/>
                  <a:pt x="31" y="58"/>
                </a:cubicBezTo>
                <a:cubicBezTo>
                  <a:pt x="17" y="58"/>
                  <a:pt x="17" y="58"/>
                  <a:pt x="17" y="58"/>
                </a:cubicBezTo>
                <a:cubicBezTo>
                  <a:pt x="16" y="64"/>
                  <a:pt x="16" y="64"/>
                  <a:pt x="16" y="64"/>
                </a:cubicBezTo>
                <a:cubicBezTo>
                  <a:pt x="12" y="66"/>
                  <a:pt x="12" y="66"/>
                  <a:pt x="12" y="66"/>
                </a:cubicBezTo>
                <a:cubicBezTo>
                  <a:pt x="12" y="65"/>
                  <a:pt x="11" y="63"/>
                  <a:pt x="11" y="6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8" name="Freeform 310"/>
          <p:cNvSpPr>
            <a:spLocks/>
          </p:cNvSpPr>
          <p:nvPr>
            <p:custDataLst>
              <p:tags r:id="rId224"/>
            </p:custDataLst>
          </p:nvPr>
        </p:nvSpPr>
        <p:spPr bwMode="auto">
          <a:xfrm>
            <a:off x="6164489" y="3478172"/>
            <a:ext cx="240585" cy="407415"/>
          </a:xfrm>
          <a:custGeom>
            <a:avLst/>
            <a:gdLst>
              <a:gd name="T0" fmla="*/ 38060 w 80"/>
              <a:gd name="T1" fmla="*/ 350762 h 126"/>
              <a:gd name="T2" fmla="*/ 10874 w 80"/>
              <a:gd name="T3" fmla="*/ 315686 h 126"/>
              <a:gd name="T4" fmla="*/ 19030 w 80"/>
              <a:gd name="T5" fmla="*/ 309840 h 126"/>
              <a:gd name="T6" fmla="*/ 46216 w 80"/>
              <a:gd name="T7" fmla="*/ 309840 h 126"/>
              <a:gd name="T8" fmla="*/ 38060 w 80"/>
              <a:gd name="T9" fmla="*/ 263071 h 126"/>
              <a:gd name="T10" fmla="*/ 27186 w 80"/>
              <a:gd name="T11" fmla="*/ 245533 h 126"/>
              <a:gd name="T12" fmla="*/ 19030 w 80"/>
              <a:gd name="T13" fmla="*/ 236764 h 126"/>
              <a:gd name="T14" fmla="*/ 8156 w 80"/>
              <a:gd name="T15" fmla="*/ 239687 h 126"/>
              <a:gd name="T16" fmla="*/ 0 w 80"/>
              <a:gd name="T17" fmla="*/ 225072 h 126"/>
              <a:gd name="T18" fmla="*/ 2719 w 80"/>
              <a:gd name="T19" fmla="*/ 207534 h 126"/>
              <a:gd name="T20" fmla="*/ 40779 w 80"/>
              <a:gd name="T21" fmla="*/ 151997 h 126"/>
              <a:gd name="T22" fmla="*/ 46216 w 80"/>
              <a:gd name="T23" fmla="*/ 87690 h 126"/>
              <a:gd name="T24" fmla="*/ 54372 w 80"/>
              <a:gd name="T25" fmla="*/ 73075 h 126"/>
              <a:gd name="T26" fmla="*/ 35342 w 80"/>
              <a:gd name="T27" fmla="*/ 46768 h 126"/>
              <a:gd name="T28" fmla="*/ 32623 w 80"/>
              <a:gd name="T29" fmla="*/ 20461 h 126"/>
              <a:gd name="T30" fmla="*/ 32623 w 80"/>
              <a:gd name="T31" fmla="*/ 8769 h 126"/>
              <a:gd name="T32" fmla="*/ 51653 w 80"/>
              <a:gd name="T33" fmla="*/ 0 h 126"/>
              <a:gd name="T34" fmla="*/ 217488 w 80"/>
              <a:gd name="T35" fmla="*/ 90613 h 126"/>
              <a:gd name="T36" fmla="*/ 217488 w 80"/>
              <a:gd name="T37" fmla="*/ 178304 h 126"/>
              <a:gd name="T38" fmla="*/ 195739 w 80"/>
              <a:gd name="T39" fmla="*/ 184150 h 126"/>
              <a:gd name="T40" fmla="*/ 184865 w 80"/>
              <a:gd name="T41" fmla="*/ 219226 h 126"/>
              <a:gd name="T42" fmla="*/ 173990 w 80"/>
              <a:gd name="T43" fmla="*/ 242610 h 126"/>
              <a:gd name="T44" fmla="*/ 184865 w 80"/>
              <a:gd name="T45" fmla="*/ 251379 h 126"/>
              <a:gd name="T46" fmla="*/ 198458 w 80"/>
              <a:gd name="T47" fmla="*/ 268917 h 126"/>
              <a:gd name="T48" fmla="*/ 195739 w 80"/>
              <a:gd name="T49" fmla="*/ 289379 h 126"/>
              <a:gd name="T50" fmla="*/ 171272 w 80"/>
              <a:gd name="T51" fmla="*/ 292302 h 126"/>
              <a:gd name="T52" fmla="*/ 149523 w 80"/>
              <a:gd name="T53" fmla="*/ 324455 h 126"/>
              <a:gd name="T54" fmla="*/ 122337 w 80"/>
              <a:gd name="T55" fmla="*/ 330301 h 126"/>
              <a:gd name="T56" fmla="*/ 108744 w 80"/>
              <a:gd name="T57" fmla="*/ 350762 h 126"/>
              <a:gd name="T58" fmla="*/ 59809 w 80"/>
              <a:gd name="T59" fmla="*/ 365377 h 126"/>
              <a:gd name="T60" fmla="*/ 40779 w 80"/>
              <a:gd name="T61" fmla="*/ 365377 h 126"/>
              <a:gd name="T62" fmla="*/ 38060 w 80"/>
              <a:gd name="T63" fmla="*/ 350762 h 1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 h="126">
                <a:moveTo>
                  <a:pt x="14" y="120"/>
                </a:moveTo>
                <a:cubicBezTo>
                  <a:pt x="12" y="116"/>
                  <a:pt x="4" y="108"/>
                  <a:pt x="4" y="108"/>
                </a:cubicBezTo>
                <a:cubicBezTo>
                  <a:pt x="7" y="106"/>
                  <a:pt x="7" y="106"/>
                  <a:pt x="7" y="106"/>
                </a:cubicBezTo>
                <a:cubicBezTo>
                  <a:pt x="7" y="106"/>
                  <a:pt x="16" y="108"/>
                  <a:pt x="17" y="106"/>
                </a:cubicBezTo>
                <a:cubicBezTo>
                  <a:pt x="17" y="104"/>
                  <a:pt x="13" y="95"/>
                  <a:pt x="14" y="90"/>
                </a:cubicBezTo>
                <a:cubicBezTo>
                  <a:pt x="15" y="86"/>
                  <a:pt x="12" y="87"/>
                  <a:pt x="10" y="84"/>
                </a:cubicBezTo>
                <a:cubicBezTo>
                  <a:pt x="9" y="82"/>
                  <a:pt x="8" y="81"/>
                  <a:pt x="7" y="81"/>
                </a:cubicBezTo>
                <a:cubicBezTo>
                  <a:pt x="6" y="81"/>
                  <a:pt x="3" y="82"/>
                  <a:pt x="3" y="82"/>
                </a:cubicBezTo>
                <a:cubicBezTo>
                  <a:pt x="0" y="77"/>
                  <a:pt x="0" y="77"/>
                  <a:pt x="0" y="77"/>
                </a:cubicBezTo>
                <a:cubicBezTo>
                  <a:pt x="1" y="76"/>
                  <a:pt x="0" y="72"/>
                  <a:pt x="1" y="71"/>
                </a:cubicBezTo>
                <a:cubicBezTo>
                  <a:pt x="1" y="70"/>
                  <a:pt x="15" y="53"/>
                  <a:pt x="15" y="52"/>
                </a:cubicBezTo>
                <a:cubicBezTo>
                  <a:pt x="16" y="51"/>
                  <a:pt x="16" y="32"/>
                  <a:pt x="17" y="30"/>
                </a:cubicBezTo>
                <a:cubicBezTo>
                  <a:pt x="18" y="28"/>
                  <a:pt x="20" y="25"/>
                  <a:pt x="20" y="25"/>
                </a:cubicBezTo>
                <a:cubicBezTo>
                  <a:pt x="13" y="16"/>
                  <a:pt x="13" y="16"/>
                  <a:pt x="13" y="16"/>
                </a:cubicBezTo>
                <a:cubicBezTo>
                  <a:pt x="12" y="7"/>
                  <a:pt x="12" y="7"/>
                  <a:pt x="12" y="7"/>
                </a:cubicBezTo>
                <a:cubicBezTo>
                  <a:pt x="12" y="3"/>
                  <a:pt x="12" y="3"/>
                  <a:pt x="12" y="3"/>
                </a:cubicBezTo>
                <a:cubicBezTo>
                  <a:pt x="19" y="0"/>
                  <a:pt x="19" y="0"/>
                  <a:pt x="19" y="0"/>
                </a:cubicBezTo>
                <a:cubicBezTo>
                  <a:pt x="80" y="31"/>
                  <a:pt x="80" y="31"/>
                  <a:pt x="80" y="31"/>
                </a:cubicBezTo>
                <a:cubicBezTo>
                  <a:pt x="80" y="61"/>
                  <a:pt x="80" y="61"/>
                  <a:pt x="80" y="61"/>
                </a:cubicBezTo>
                <a:cubicBezTo>
                  <a:pt x="80" y="61"/>
                  <a:pt x="73" y="62"/>
                  <a:pt x="72" y="63"/>
                </a:cubicBezTo>
                <a:cubicBezTo>
                  <a:pt x="70" y="65"/>
                  <a:pt x="69" y="72"/>
                  <a:pt x="68" y="75"/>
                </a:cubicBezTo>
                <a:cubicBezTo>
                  <a:pt x="68" y="78"/>
                  <a:pt x="65" y="80"/>
                  <a:pt x="64" y="83"/>
                </a:cubicBezTo>
                <a:cubicBezTo>
                  <a:pt x="64" y="87"/>
                  <a:pt x="68" y="85"/>
                  <a:pt x="68" y="86"/>
                </a:cubicBezTo>
                <a:cubicBezTo>
                  <a:pt x="68" y="88"/>
                  <a:pt x="71" y="90"/>
                  <a:pt x="73" y="92"/>
                </a:cubicBezTo>
                <a:cubicBezTo>
                  <a:pt x="72" y="99"/>
                  <a:pt x="72" y="99"/>
                  <a:pt x="72" y="99"/>
                </a:cubicBezTo>
                <a:cubicBezTo>
                  <a:pt x="70" y="97"/>
                  <a:pt x="65" y="99"/>
                  <a:pt x="63" y="100"/>
                </a:cubicBezTo>
                <a:cubicBezTo>
                  <a:pt x="62" y="100"/>
                  <a:pt x="57" y="109"/>
                  <a:pt x="55" y="111"/>
                </a:cubicBezTo>
                <a:cubicBezTo>
                  <a:pt x="53" y="113"/>
                  <a:pt x="47" y="113"/>
                  <a:pt x="45" y="113"/>
                </a:cubicBezTo>
                <a:cubicBezTo>
                  <a:pt x="44" y="114"/>
                  <a:pt x="42" y="120"/>
                  <a:pt x="40" y="120"/>
                </a:cubicBezTo>
                <a:cubicBezTo>
                  <a:pt x="37" y="121"/>
                  <a:pt x="24" y="124"/>
                  <a:pt x="22" y="125"/>
                </a:cubicBezTo>
                <a:cubicBezTo>
                  <a:pt x="19" y="126"/>
                  <a:pt x="15" y="125"/>
                  <a:pt x="15" y="125"/>
                </a:cubicBezTo>
                <a:cubicBezTo>
                  <a:pt x="16" y="124"/>
                  <a:pt x="16" y="122"/>
                  <a:pt x="14" y="12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29" name="Freeform 311"/>
          <p:cNvSpPr>
            <a:spLocks/>
          </p:cNvSpPr>
          <p:nvPr>
            <p:custDataLst>
              <p:tags r:id="rId225"/>
            </p:custDataLst>
          </p:nvPr>
        </p:nvSpPr>
        <p:spPr bwMode="auto">
          <a:xfrm>
            <a:off x="6129367" y="3936512"/>
            <a:ext cx="449561" cy="465366"/>
          </a:xfrm>
          <a:custGeom>
            <a:avLst/>
            <a:gdLst>
              <a:gd name="T0" fmla="*/ 0 w 149"/>
              <a:gd name="T1" fmla="*/ 227873 h 144"/>
              <a:gd name="T2" fmla="*/ 19093 w 149"/>
              <a:gd name="T3" fmla="*/ 219108 h 144"/>
              <a:gd name="T4" fmla="*/ 38185 w 149"/>
              <a:gd name="T5" fmla="*/ 222030 h 144"/>
              <a:gd name="T6" fmla="*/ 51823 w 149"/>
              <a:gd name="T7" fmla="*/ 216187 h 144"/>
              <a:gd name="T8" fmla="*/ 68188 w 149"/>
              <a:gd name="T9" fmla="*/ 224951 h 144"/>
              <a:gd name="T10" fmla="*/ 90008 w 149"/>
              <a:gd name="T11" fmla="*/ 186972 h 144"/>
              <a:gd name="T12" fmla="*/ 106373 w 149"/>
              <a:gd name="T13" fmla="*/ 143151 h 144"/>
              <a:gd name="T14" fmla="*/ 125466 w 149"/>
              <a:gd name="T15" fmla="*/ 116858 h 144"/>
              <a:gd name="T16" fmla="*/ 133648 w 149"/>
              <a:gd name="T17" fmla="*/ 67193 h 144"/>
              <a:gd name="T18" fmla="*/ 141831 w 149"/>
              <a:gd name="T19" fmla="*/ 37979 h 144"/>
              <a:gd name="T20" fmla="*/ 141831 w 149"/>
              <a:gd name="T21" fmla="*/ 26293 h 144"/>
              <a:gd name="T22" fmla="*/ 155468 w 149"/>
              <a:gd name="T23" fmla="*/ 5843 h 144"/>
              <a:gd name="T24" fmla="*/ 182744 w 149"/>
              <a:gd name="T25" fmla="*/ 20450 h 144"/>
              <a:gd name="T26" fmla="*/ 220929 w 149"/>
              <a:gd name="T27" fmla="*/ 26293 h 144"/>
              <a:gd name="T28" fmla="*/ 231839 w 149"/>
              <a:gd name="T29" fmla="*/ 11686 h 144"/>
              <a:gd name="T30" fmla="*/ 272752 w 149"/>
              <a:gd name="T31" fmla="*/ 5843 h 144"/>
              <a:gd name="T32" fmla="*/ 308209 w 149"/>
              <a:gd name="T33" fmla="*/ 0 h 144"/>
              <a:gd name="T34" fmla="*/ 319119 w 149"/>
              <a:gd name="T35" fmla="*/ 2921 h 144"/>
              <a:gd name="T36" fmla="*/ 330030 w 149"/>
              <a:gd name="T37" fmla="*/ 11686 h 144"/>
              <a:gd name="T38" fmla="*/ 351850 w 149"/>
              <a:gd name="T39" fmla="*/ 23372 h 144"/>
              <a:gd name="T40" fmla="*/ 368215 w 149"/>
              <a:gd name="T41" fmla="*/ 14607 h 144"/>
              <a:gd name="T42" fmla="*/ 379125 w 149"/>
              <a:gd name="T43" fmla="*/ 26293 h 144"/>
              <a:gd name="T44" fmla="*/ 398217 w 149"/>
              <a:gd name="T45" fmla="*/ 37979 h 144"/>
              <a:gd name="T46" fmla="*/ 392762 w 149"/>
              <a:gd name="T47" fmla="*/ 61350 h 144"/>
              <a:gd name="T48" fmla="*/ 406400 w 149"/>
              <a:gd name="T49" fmla="*/ 73036 h 144"/>
              <a:gd name="T50" fmla="*/ 387307 w 149"/>
              <a:gd name="T51" fmla="*/ 96408 h 144"/>
              <a:gd name="T52" fmla="*/ 370942 w 149"/>
              <a:gd name="T53" fmla="*/ 119779 h 144"/>
              <a:gd name="T54" fmla="*/ 362760 w 149"/>
              <a:gd name="T55" fmla="*/ 148994 h 144"/>
              <a:gd name="T56" fmla="*/ 351850 w 149"/>
              <a:gd name="T57" fmla="*/ 175287 h 144"/>
              <a:gd name="T58" fmla="*/ 354577 w 149"/>
              <a:gd name="T59" fmla="*/ 184051 h 144"/>
              <a:gd name="T60" fmla="*/ 357305 w 149"/>
              <a:gd name="T61" fmla="*/ 201580 h 144"/>
              <a:gd name="T62" fmla="*/ 362760 w 149"/>
              <a:gd name="T63" fmla="*/ 219108 h 144"/>
              <a:gd name="T64" fmla="*/ 365487 w 149"/>
              <a:gd name="T65" fmla="*/ 251244 h 144"/>
              <a:gd name="T66" fmla="*/ 381852 w 149"/>
              <a:gd name="T67" fmla="*/ 274616 h 144"/>
              <a:gd name="T68" fmla="*/ 392762 w 149"/>
              <a:gd name="T69" fmla="*/ 297987 h 144"/>
              <a:gd name="T70" fmla="*/ 357305 w 149"/>
              <a:gd name="T71" fmla="*/ 306752 h 144"/>
              <a:gd name="T72" fmla="*/ 346395 w 149"/>
              <a:gd name="T73" fmla="*/ 327202 h 144"/>
              <a:gd name="T74" fmla="*/ 349122 w 149"/>
              <a:gd name="T75" fmla="*/ 373945 h 144"/>
              <a:gd name="T76" fmla="*/ 373670 w 149"/>
              <a:gd name="T77" fmla="*/ 391474 h 144"/>
              <a:gd name="T78" fmla="*/ 368215 w 149"/>
              <a:gd name="T79" fmla="*/ 420688 h 144"/>
              <a:gd name="T80" fmla="*/ 368215 w 149"/>
              <a:gd name="T81" fmla="*/ 420688 h 144"/>
              <a:gd name="T82" fmla="*/ 346395 w 149"/>
              <a:gd name="T83" fmla="*/ 403159 h 144"/>
              <a:gd name="T84" fmla="*/ 319119 w 149"/>
              <a:gd name="T85" fmla="*/ 376866 h 144"/>
              <a:gd name="T86" fmla="*/ 302754 w 149"/>
              <a:gd name="T87" fmla="*/ 385631 h 144"/>
              <a:gd name="T88" fmla="*/ 280934 w 149"/>
              <a:gd name="T89" fmla="*/ 371023 h 144"/>
              <a:gd name="T90" fmla="*/ 250932 w 149"/>
              <a:gd name="T91" fmla="*/ 365181 h 144"/>
              <a:gd name="T92" fmla="*/ 220929 w 149"/>
              <a:gd name="T93" fmla="*/ 362259 h 144"/>
              <a:gd name="T94" fmla="*/ 210019 w 149"/>
              <a:gd name="T95" fmla="*/ 330123 h 144"/>
              <a:gd name="T96" fmla="*/ 204564 w 149"/>
              <a:gd name="T97" fmla="*/ 280459 h 144"/>
              <a:gd name="T98" fmla="*/ 160923 w 149"/>
              <a:gd name="T99" fmla="*/ 271694 h 144"/>
              <a:gd name="T100" fmla="*/ 152741 w 149"/>
              <a:gd name="T101" fmla="*/ 295066 h 144"/>
              <a:gd name="T102" fmla="*/ 117283 w 149"/>
              <a:gd name="T103" fmla="*/ 300909 h 144"/>
              <a:gd name="T104" fmla="*/ 95463 w 149"/>
              <a:gd name="T105" fmla="*/ 251244 h 144"/>
              <a:gd name="T106" fmla="*/ 35458 w 149"/>
              <a:gd name="T107" fmla="*/ 248323 h 144"/>
              <a:gd name="T108" fmla="*/ 10910 w 149"/>
              <a:gd name="T109" fmla="*/ 260009 h 144"/>
              <a:gd name="T110" fmla="*/ 10910 w 149"/>
              <a:gd name="T111" fmla="*/ 257087 h 144"/>
              <a:gd name="T112" fmla="*/ 0 w 149"/>
              <a:gd name="T113" fmla="*/ 227873 h 1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9" h="144">
                <a:moveTo>
                  <a:pt x="0" y="78"/>
                </a:moveTo>
                <a:cubicBezTo>
                  <a:pt x="1" y="77"/>
                  <a:pt x="5" y="75"/>
                  <a:pt x="7" y="75"/>
                </a:cubicBezTo>
                <a:cubicBezTo>
                  <a:pt x="9" y="75"/>
                  <a:pt x="11" y="77"/>
                  <a:pt x="14" y="76"/>
                </a:cubicBezTo>
                <a:cubicBezTo>
                  <a:pt x="16" y="75"/>
                  <a:pt x="18" y="75"/>
                  <a:pt x="19" y="74"/>
                </a:cubicBezTo>
                <a:cubicBezTo>
                  <a:pt x="21" y="74"/>
                  <a:pt x="22" y="79"/>
                  <a:pt x="25" y="77"/>
                </a:cubicBezTo>
                <a:cubicBezTo>
                  <a:pt x="27" y="75"/>
                  <a:pt x="33" y="69"/>
                  <a:pt x="33" y="64"/>
                </a:cubicBezTo>
                <a:cubicBezTo>
                  <a:pt x="33" y="59"/>
                  <a:pt x="35" y="52"/>
                  <a:pt x="39" y="49"/>
                </a:cubicBezTo>
                <a:cubicBezTo>
                  <a:pt x="42" y="47"/>
                  <a:pt x="46" y="43"/>
                  <a:pt x="46" y="40"/>
                </a:cubicBezTo>
                <a:cubicBezTo>
                  <a:pt x="46" y="36"/>
                  <a:pt x="48" y="25"/>
                  <a:pt x="49" y="23"/>
                </a:cubicBezTo>
                <a:cubicBezTo>
                  <a:pt x="50" y="21"/>
                  <a:pt x="51" y="16"/>
                  <a:pt x="52" y="13"/>
                </a:cubicBezTo>
                <a:cubicBezTo>
                  <a:pt x="52" y="11"/>
                  <a:pt x="52" y="9"/>
                  <a:pt x="52" y="9"/>
                </a:cubicBezTo>
                <a:cubicBezTo>
                  <a:pt x="53" y="8"/>
                  <a:pt x="54" y="2"/>
                  <a:pt x="57" y="2"/>
                </a:cubicBezTo>
                <a:cubicBezTo>
                  <a:pt x="60" y="2"/>
                  <a:pt x="64" y="7"/>
                  <a:pt x="67" y="7"/>
                </a:cubicBezTo>
                <a:cubicBezTo>
                  <a:pt x="70" y="7"/>
                  <a:pt x="78" y="10"/>
                  <a:pt x="81" y="9"/>
                </a:cubicBezTo>
                <a:cubicBezTo>
                  <a:pt x="83" y="8"/>
                  <a:pt x="83" y="4"/>
                  <a:pt x="85" y="4"/>
                </a:cubicBezTo>
                <a:cubicBezTo>
                  <a:pt x="88" y="4"/>
                  <a:pt x="98" y="3"/>
                  <a:pt x="100" y="2"/>
                </a:cubicBezTo>
                <a:cubicBezTo>
                  <a:pt x="102" y="1"/>
                  <a:pt x="110" y="0"/>
                  <a:pt x="113" y="0"/>
                </a:cubicBezTo>
                <a:cubicBezTo>
                  <a:pt x="114" y="0"/>
                  <a:pt x="116" y="1"/>
                  <a:pt x="117" y="1"/>
                </a:cubicBezTo>
                <a:cubicBezTo>
                  <a:pt x="119" y="2"/>
                  <a:pt x="120" y="3"/>
                  <a:pt x="121" y="4"/>
                </a:cubicBezTo>
                <a:cubicBezTo>
                  <a:pt x="123" y="6"/>
                  <a:pt x="124" y="8"/>
                  <a:pt x="129" y="8"/>
                </a:cubicBezTo>
                <a:cubicBezTo>
                  <a:pt x="134" y="8"/>
                  <a:pt x="133" y="4"/>
                  <a:pt x="135" y="5"/>
                </a:cubicBezTo>
                <a:cubicBezTo>
                  <a:pt x="137" y="6"/>
                  <a:pt x="139" y="9"/>
                  <a:pt x="139" y="9"/>
                </a:cubicBezTo>
                <a:cubicBezTo>
                  <a:pt x="146" y="13"/>
                  <a:pt x="146" y="13"/>
                  <a:pt x="146" y="13"/>
                </a:cubicBezTo>
                <a:cubicBezTo>
                  <a:pt x="145" y="13"/>
                  <a:pt x="144" y="19"/>
                  <a:pt x="144" y="21"/>
                </a:cubicBezTo>
                <a:cubicBezTo>
                  <a:pt x="144" y="22"/>
                  <a:pt x="149" y="25"/>
                  <a:pt x="149" y="25"/>
                </a:cubicBezTo>
                <a:cubicBezTo>
                  <a:pt x="149" y="25"/>
                  <a:pt x="144" y="31"/>
                  <a:pt x="142" y="33"/>
                </a:cubicBezTo>
                <a:cubicBezTo>
                  <a:pt x="139" y="35"/>
                  <a:pt x="137" y="39"/>
                  <a:pt x="136" y="41"/>
                </a:cubicBezTo>
                <a:cubicBezTo>
                  <a:pt x="136" y="43"/>
                  <a:pt x="135" y="49"/>
                  <a:pt x="133" y="51"/>
                </a:cubicBezTo>
                <a:cubicBezTo>
                  <a:pt x="132" y="52"/>
                  <a:pt x="129" y="57"/>
                  <a:pt x="129" y="60"/>
                </a:cubicBezTo>
                <a:cubicBezTo>
                  <a:pt x="129" y="61"/>
                  <a:pt x="130" y="62"/>
                  <a:pt x="130" y="63"/>
                </a:cubicBezTo>
                <a:cubicBezTo>
                  <a:pt x="130" y="65"/>
                  <a:pt x="131" y="67"/>
                  <a:pt x="131" y="69"/>
                </a:cubicBezTo>
                <a:cubicBezTo>
                  <a:pt x="132" y="70"/>
                  <a:pt x="132" y="72"/>
                  <a:pt x="133" y="75"/>
                </a:cubicBezTo>
                <a:cubicBezTo>
                  <a:pt x="134" y="79"/>
                  <a:pt x="134" y="84"/>
                  <a:pt x="134" y="86"/>
                </a:cubicBezTo>
                <a:cubicBezTo>
                  <a:pt x="134" y="88"/>
                  <a:pt x="138" y="92"/>
                  <a:pt x="140" y="94"/>
                </a:cubicBezTo>
                <a:cubicBezTo>
                  <a:pt x="142" y="95"/>
                  <a:pt x="143" y="99"/>
                  <a:pt x="144" y="102"/>
                </a:cubicBezTo>
                <a:cubicBezTo>
                  <a:pt x="131" y="105"/>
                  <a:pt x="131" y="105"/>
                  <a:pt x="131" y="105"/>
                </a:cubicBezTo>
                <a:cubicBezTo>
                  <a:pt x="131" y="105"/>
                  <a:pt x="125" y="110"/>
                  <a:pt x="127" y="112"/>
                </a:cubicBezTo>
                <a:cubicBezTo>
                  <a:pt x="128" y="115"/>
                  <a:pt x="127" y="125"/>
                  <a:pt x="128" y="128"/>
                </a:cubicBezTo>
                <a:cubicBezTo>
                  <a:pt x="129" y="131"/>
                  <a:pt x="137" y="132"/>
                  <a:pt x="137" y="134"/>
                </a:cubicBezTo>
                <a:cubicBezTo>
                  <a:pt x="137" y="136"/>
                  <a:pt x="137" y="143"/>
                  <a:pt x="135" y="144"/>
                </a:cubicBezTo>
                <a:cubicBezTo>
                  <a:pt x="135" y="144"/>
                  <a:pt x="135" y="144"/>
                  <a:pt x="135" y="144"/>
                </a:cubicBezTo>
                <a:cubicBezTo>
                  <a:pt x="132" y="144"/>
                  <a:pt x="129" y="141"/>
                  <a:pt x="127" y="138"/>
                </a:cubicBezTo>
                <a:cubicBezTo>
                  <a:pt x="124" y="136"/>
                  <a:pt x="119" y="131"/>
                  <a:pt x="117" y="129"/>
                </a:cubicBezTo>
                <a:cubicBezTo>
                  <a:pt x="117" y="127"/>
                  <a:pt x="114" y="132"/>
                  <a:pt x="111" y="132"/>
                </a:cubicBezTo>
                <a:cubicBezTo>
                  <a:pt x="109" y="132"/>
                  <a:pt x="103" y="127"/>
                  <a:pt x="103" y="127"/>
                </a:cubicBezTo>
                <a:cubicBezTo>
                  <a:pt x="103" y="127"/>
                  <a:pt x="94" y="125"/>
                  <a:pt x="92" y="125"/>
                </a:cubicBezTo>
                <a:cubicBezTo>
                  <a:pt x="90" y="125"/>
                  <a:pt x="80" y="126"/>
                  <a:pt x="81" y="124"/>
                </a:cubicBezTo>
                <a:cubicBezTo>
                  <a:pt x="81" y="122"/>
                  <a:pt x="79" y="115"/>
                  <a:pt x="77" y="113"/>
                </a:cubicBezTo>
                <a:cubicBezTo>
                  <a:pt x="75" y="111"/>
                  <a:pt x="75" y="96"/>
                  <a:pt x="75" y="96"/>
                </a:cubicBezTo>
                <a:cubicBezTo>
                  <a:pt x="59" y="93"/>
                  <a:pt x="59" y="93"/>
                  <a:pt x="59" y="93"/>
                </a:cubicBezTo>
                <a:cubicBezTo>
                  <a:pt x="59" y="93"/>
                  <a:pt x="58" y="101"/>
                  <a:pt x="56" y="101"/>
                </a:cubicBezTo>
                <a:cubicBezTo>
                  <a:pt x="54" y="101"/>
                  <a:pt x="45" y="103"/>
                  <a:pt x="43" y="103"/>
                </a:cubicBezTo>
                <a:cubicBezTo>
                  <a:pt x="41" y="103"/>
                  <a:pt x="37" y="86"/>
                  <a:pt x="35" y="86"/>
                </a:cubicBezTo>
                <a:cubicBezTo>
                  <a:pt x="34" y="86"/>
                  <a:pt x="17" y="85"/>
                  <a:pt x="13" y="85"/>
                </a:cubicBezTo>
                <a:cubicBezTo>
                  <a:pt x="10" y="85"/>
                  <a:pt x="7" y="87"/>
                  <a:pt x="4" y="89"/>
                </a:cubicBezTo>
                <a:cubicBezTo>
                  <a:pt x="4" y="88"/>
                  <a:pt x="4" y="88"/>
                  <a:pt x="4" y="88"/>
                </a:cubicBezTo>
                <a:cubicBezTo>
                  <a:pt x="2" y="84"/>
                  <a:pt x="2" y="81"/>
                  <a:pt x="0" y="7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0" name="Freeform 312"/>
          <p:cNvSpPr>
            <a:spLocks/>
          </p:cNvSpPr>
          <p:nvPr>
            <p:custDataLst>
              <p:tags r:id="rId226"/>
            </p:custDataLst>
          </p:nvPr>
        </p:nvSpPr>
        <p:spPr bwMode="auto">
          <a:xfrm>
            <a:off x="6125855" y="4489684"/>
            <a:ext cx="314341" cy="305561"/>
          </a:xfrm>
          <a:custGeom>
            <a:avLst/>
            <a:gdLst>
              <a:gd name="T0" fmla="*/ 2706 w 105"/>
              <a:gd name="T1" fmla="*/ 20353 h 95"/>
              <a:gd name="T2" fmla="*/ 0 w 105"/>
              <a:gd name="T3" fmla="*/ 2908 h 95"/>
              <a:gd name="T4" fmla="*/ 18944 w 105"/>
              <a:gd name="T5" fmla="*/ 5815 h 95"/>
              <a:gd name="T6" fmla="*/ 35182 w 105"/>
              <a:gd name="T7" fmla="*/ 0 h 95"/>
              <a:gd name="T8" fmla="*/ 51420 w 105"/>
              <a:gd name="T9" fmla="*/ 8723 h 95"/>
              <a:gd name="T10" fmla="*/ 138022 w 105"/>
              <a:gd name="T11" fmla="*/ 8723 h 95"/>
              <a:gd name="T12" fmla="*/ 151554 w 105"/>
              <a:gd name="T13" fmla="*/ 20353 h 95"/>
              <a:gd name="T14" fmla="*/ 178617 w 105"/>
              <a:gd name="T15" fmla="*/ 20353 h 95"/>
              <a:gd name="T16" fmla="*/ 192148 w 105"/>
              <a:gd name="T17" fmla="*/ 20353 h 95"/>
              <a:gd name="T18" fmla="*/ 221918 w 105"/>
              <a:gd name="T19" fmla="*/ 14538 h 95"/>
              <a:gd name="T20" fmla="*/ 235449 w 105"/>
              <a:gd name="T21" fmla="*/ 11631 h 95"/>
              <a:gd name="T22" fmla="*/ 273338 w 105"/>
              <a:gd name="T23" fmla="*/ 11631 h 95"/>
              <a:gd name="T24" fmla="*/ 278750 w 105"/>
              <a:gd name="T25" fmla="*/ 14538 h 95"/>
              <a:gd name="T26" fmla="*/ 284163 w 105"/>
              <a:gd name="T27" fmla="*/ 26169 h 95"/>
              <a:gd name="T28" fmla="*/ 262512 w 105"/>
              <a:gd name="T29" fmla="*/ 31984 h 95"/>
              <a:gd name="T30" fmla="*/ 246275 w 105"/>
              <a:gd name="T31" fmla="*/ 34892 h 95"/>
              <a:gd name="T32" fmla="*/ 230037 w 105"/>
              <a:gd name="T33" fmla="*/ 29076 h 95"/>
              <a:gd name="T34" fmla="*/ 192148 w 105"/>
              <a:gd name="T35" fmla="*/ 37799 h 95"/>
              <a:gd name="T36" fmla="*/ 192148 w 105"/>
              <a:gd name="T37" fmla="*/ 113398 h 95"/>
              <a:gd name="T38" fmla="*/ 167791 w 105"/>
              <a:gd name="T39" fmla="*/ 113398 h 95"/>
              <a:gd name="T40" fmla="*/ 167791 w 105"/>
              <a:gd name="T41" fmla="*/ 180273 h 95"/>
              <a:gd name="T42" fmla="*/ 167791 w 105"/>
              <a:gd name="T43" fmla="*/ 270410 h 95"/>
              <a:gd name="T44" fmla="*/ 127197 w 105"/>
              <a:gd name="T45" fmla="*/ 276225 h 95"/>
              <a:gd name="T46" fmla="*/ 113665 w 105"/>
              <a:gd name="T47" fmla="*/ 258779 h 95"/>
              <a:gd name="T48" fmla="*/ 100134 w 105"/>
              <a:gd name="T49" fmla="*/ 273317 h 95"/>
              <a:gd name="T50" fmla="*/ 100134 w 105"/>
              <a:gd name="T51" fmla="*/ 273317 h 95"/>
              <a:gd name="T52" fmla="*/ 94721 w 105"/>
              <a:gd name="T53" fmla="*/ 267502 h 95"/>
              <a:gd name="T54" fmla="*/ 67658 w 105"/>
              <a:gd name="T55" fmla="*/ 226795 h 95"/>
              <a:gd name="T56" fmla="*/ 59539 w 105"/>
              <a:gd name="T57" fmla="*/ 180273 h 95"/>
              <a:gd name="T58" fmla="*/ 56833 w 105"/>
              <a:gd name="T59" fmla="*/ 151197 h 95"/>
              <a:gd name="T60" fmla="*/ 51420 w 105"/>
              <a:gd name="T61" fmla="*/ 119213 h 95"/>
              <a:gd name="T62" fmla="*/ 24357 w 105"/>
              <a:gd name="T63" fmla="*/ 66876 h 95"/>
              <a:gd name="T64" fmla="*/ 2706 w 105"/>
              <a:gd name="T65" fmla="*/ 20353 h 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5" h="95">
                <a:moveTo>
                  <a:pt x="1" y="7"/>
                </a:moveTo>
                <a:cubicBezTo>
                  <a:pt x="0" y="6"/>
                  <a:pt x="0" y="3"/>
                  <a:pt x="0" y="1"/>
                </a:cubicBezTo>
                <a:cubicBezTo>
                  <a:pt x="0" y="1"/>
                  <a:pt x="4" y="2"/>
                  <a:pt x="7" y="2"/>
                </a:cubicBezTo>
                <a:cubicBezTo>
                  <a:pt x="9" y="2"/>
                  <a:pt x="11" y="0"/>
                  <a:pt x="13" y="0"/>
                </a:cubicBezTo>
                <a:cubicBezTo>
                  <a:pt x="16" y="0"/>
                  <a:pt x="18" y="3"/>
                  <a:pt x="19" y="3"/>
                </a:cubicBezTo>
                <a:cubicBezTo>
                  <a:pt x="20" y="3"/>
                  <a:pt x="51" y="3"/>
                  <a:pt x="51" y="3"/>
                </a:cubicBezTo>
                <a:cubicBezTo>
                  <a:pt x="51" y="3"/>
                  <a:pt x="54" y="7"/>
                  <a:pt x="56" y="7"/>
                </a:cubicBezTo>
                <a:cubicBezTo>
                  <a:pt x="57" y="7"/>
                  <a:pt x="62" y="7"/>
                  <a:pt x="66" y="7"/>
                </a:cubicBezTo>
                <a:cubicBezTo>
                  <a:pt x="71" y="7"/>
                  <a:pt x="71" y="7"/>
                  <a:pt x="71" y="7"/>
                </a:cubicBezTo>
                <a:cubicBezTo>
                  <a:pt x="82" y="5"/>
                  <a:pt x="82" y="5"/>
                  <a:pt x="82" y="5"/>
                </a:cubicBezTo>
                <a:cubicBezTo>
                  <a:pt x="83" y="5"/>
                  <a:pt x="85" y="5"/>
                  <a:pt x="87" y="4"/>
                </a:cubicBezTo>
                <a:cubicBezTo>
                  <a:pt x="93" y="4"/>
                  <a:pt x="100" y="3"/>
                  <a:pt x="101" y="4"/>
                </a:cubicBezTo>
                <a:cubicBezTo>
                  <a:pt x="101" y="5"/>
                  <a:pt x="102" y="5"/>
                  <a:pt x="103" y="5"/>
                </a:cubicBezTo>
                <a:cubicBezTo>
                  <a:pt x="105" y="9"/>
                  <a:pt x="105" y="9"/>
                  <a:pt x="105" y="9"/>
                </a:cubicBezTo>
                <a:cubicBezTo>
                  <a:pt x="97" y="11"/>
                  <a:pt x="97" y="11"/>
                  <a:pt x="97" y="11"/>
                </a:cubicBezTo>
                <a:cubicBezTo>
                  <a:pt x="96" y="11"/>
                  <a:pt x="93" y="11"/>
                  <a:pt x="91" y="12"/>
                </a:cubicBezTo>
                <a:cubicBezTo>
                  <a:pt x="90" y="13"/>
                  <a:pt x="88" y="10"/>
                  <a:pt x="85" y="10"/>
                </a:cubicBezTo>
                <a:cubicBezTo>
                  <a:pt x="85" y="10"/>
                  <a:pt x="74" y="13"/>
                  <a:pt x="71" y="13"/>
                </a:cubicBezTo>
                <a:cubicBezTo>
                  <a:pt x="71" y="39"/>
                  <a:pt x="71" y="39"/>
                  <a:pt x="71" y="39"/>
                </a:cubicBezTo>
                <a:cubicBezTo>
                  <a:pt x="62" y="39"/>
                  <a:pt x="62" y="39"/>
                  <a:pt x="62" y="39"/>
                </a:cubicBezTo>
                <a:cubicBezTo>
                  <a:pt x="62" y="62"/>
                  <a:pt x="62" y="62"/>
                  <a:pt x="62" y="62"/>
                </a:cubicBezTo>
                <a:cubicBezTo>
                  <a:pt x="62" y="93"/>
                  <a:pt x="62" y="93"/>
                  <a:pt x="62" y="93"/>
                </a:cubicBezTo>
                <a:cubicBezTo>
                  <a:pt x="62" y="93"/>
                  <a:pt x="50" y="95"/>
                  <a:pt x="47" y="95"/>
                </a:cubicBezTo>
                <a:cubicBezTo>
                  <a:pt x="45" y="95"/>
                  <a:pt x="44" y="89"/>
                  <a:pt x="42" y="89"/>
                </a:cubicBezTo>
                <a:cubicBezTo>
                  <a:pt x="40" y="89"/>
                  <a:pt x="38" y="92"/>
                  <a:pt x="37" y="94"/>
                </a:cubicBezTo>
                <a:cubicBezTo>
                  <a:pt x="37" y="94"/>
                  <a:pt x="37" y="94"/>
                  <a:pt x="37" y="94"/>
                </a:cubicBezTo>
                <a:cubicBezTo>
                  <a:pt x="37" y="93"/>
                  <a:pt x="36" y="92"/>
                  <a:pt x="35" y="92"/>
                </a:cubicBezTo>
                <a:cubicBezTo>
                  <a:pt x="31" y="88"/>
                  <a:pt x="26" y="84"/>
                  <a:pt x="25" y="78"/>
                </a:cubicBezTo>
                <a:cubicBezTo>
                  <a:pt x="25" y="72"/>
                  <a:pt x="24" y="66"/>
                  <a:pt x="22" y="62"/>
                </a:cubicBezTo>
                <a:cubicBezTo>
                  <a:pt x="21" y="58"/>
                  <a:pt x="21" y="56"/>
                  <a:pt x="21" y="52"/>
                </a:cubicBezTo>
                <a:cubicBezTo>
                  <a:pt x="21" y="49"/>
                  <a:pt x="22" y="46"/>
                  <a:pt x="19" y="41"/>
                </a:cubicBezTo>
                <a:cubicBezTo>
                  <a:pt x="17" y="36"/>
                  <a:pt x="12" y="27"/>
                  <a:pt x="9" y="23"/>
                </a:cubicBezTo>
                <a:cubicBezTo>
                  <a:pt x="6" y="19"/>
                  <a:pt x="1" y="12"/>
                  <a:pt x="1" y="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1" name="Freeform 313"/>
          <p:cNvSpPr>
            <a:spLocks/>
          </p:cNvSpPr>
          <p:nvPr>
            <p:custDataLst>
              <p:tags r:id="rId227"/>
            </p:custDataLst>
          </p:nvPr>
        </p:nvSpPr>
        <p:spPr bwMode="auto">
          <a:xfrm>
            <a:off x="6125854" y="4210464"/>
            <a:ext cx="282732" cy="302049"/>
          </a:xfrm>
          <a:custGeom>
            <a:avLst/>
            <a:gdLst>
              <a:gd name="T0" fmla="*/ 0 w 94"/>
              <a:gd name="T1" fmla="*/ 255621 h 94"/>
              <a:gd name="T2" fmla="*/ 2719 w 94"/>
              <a:gd name="T3" fmla="*/ 229478 h 94"/>
              <a:gd name="T4" fmla="*/ 13595 w 94"/>
              <a:gd name="T5" fmla="*/ 194621 h 94"/>
              <a:gd name="T6" fmla="*/ 16314 w 94"/>
              <a:gd name="T7" fmla="*/ 168478 h 94"/>
              <a:gd name="T8" fmla="*/ 35347 w 94"/>
              <a:gd name="T9" fmla="*/ 148144 h 94"/>
              <a:gd name="T10" fmla="*/ 43504 w 94"/>
              <a:gd name="T11" fmla="*/ 113287 h 94"/>
              <a:gd name="T12" fmla="*/ 24471 w 94"/>
              <a:gd name="T13" fmla="*/ 75524 h 94"/>
              <a:gd name="T14" fmla="*/ 35347 w 94"/>
              <a:gd name="T15" fmla="*/ 58096 h 94"/>
              <a:gd name="T16" fmla="*/ 13595 w 94"/>
              <a:gd name="T17" fmla="*/ 11619 h 94"/>
              <a:gd name="T18" fmla="*/ 38066 w 94"/>
              <a:gd name="T19" fmla="*/ 0 h 94"/>
              <a:gd name="T20" fmla="*/ 97885 w 94"/>
              <a:gd name="T21" fmla="*/ 2905 h 94"/>
              <a:gd name="T22" fmla="*/ 119637 w 94"/>
              <a:gd name="T23" fmla="*/ 52286 h 94"/>
              <a:gd name="T24" fmla="*/ 154984 w 94"/>
              <a:gd name="T25" fmla="*/ 46477 h 94"/>
              <a:gd name="T26" fmla="*/ 163141 w 94"/>
              <a:gd name="T27" fmla="*/ 23238 h 94"/>
              <a:gd name="T28" fmla="*/ 206646 w 94"/>
              <a:gd name="T29" fmla="*/ 31953 h 94"/>
              <a:gd name="T30" fmla="*/ 212084 w 94"/>
              <a:gd name="T31" fmla="*/ 81334 h 94"/>
              <a:gd name="T32" fmla="*/ 222960 w 94"/>
              <a:gd name="T33" fmla="*/ 113287 h 94"/>
              <a:gd name="T34" fmla="*/ 252869 w 94"/>
              <a:gd name="T35" fmla="*/ 116191 h 94"/>
              <a:gd name="T36" fmla="*/ 255588 w 94"/>
              <a:gd name="T37" fmla="*/ 162668 h 94"/>
              <a:gd name="T38" fmla="*/ 212084 w 94"/>
              <a:gd name="T39" fmla="*/ 162668 h 94"/>
              <a:gd name="T40" fmla="*/ 212084 w 94"/>
              <a:gd name="T41" fmla="*/ 232383 h 94"/>
              <a:gd name="T42" fmla="*/ 236555 w 94"/>
              <a:gd name="T43" fmla="*/ 264336 h 94"/>
              <a:gd name="T44" fmla="*/ 222960 w 94"/>
              <a:gd name="T45" fmla="*/ 267240 h 94"/>
              <a:gd name="T46" fmla="*/ 193051 w 94"/>
              <a:gd name="T47" fmla="*/ 273050 h 94"/>
              <a:gd name="T48" fmla="*/ 179455 w 94"/>
              <a:gd name="T49" fmla="*/ 273050 h 94"/>
              <a:gd name="T50" fmla="*/ 152265 w 94"/>
              <a:gd name="T51" fmla="*/ 273050 h 94"/>
              <a:gd name="T52" fmla="*/ 138670 w 94"/>
              <a:gd name="T53" fmla="*/ 261431 h 94"/>
              <a:gd name="T54" fmla="*/ 51661 w 94"/>
              <a:gd name="T55" fmla="*/ 261431 h 94"/>
              <a:gd name="T56" fmla="*/ 35347 w 94"/>
              <a:gd name="T57" fmla="*/ 252716 h 94"/>
              <a:gd name="T58" fmla="*/ 19033 w 94"/>
              <a:gd name="T59" fmla="*/ 258526 h 94"/>
              <a:gd name="T60" fmla="*/ 0 w 94"/>
              <a:gd name="T61" fmla="*/ 255621 h 9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4" h="94">
                <a:moveTo>
                  <a:pt x="0" y="88"/>
                </a:moveTo>
                <a:cubicBezTo>
                  <a:pt x="0" y="85"/>
                  <a:pt x="0" y="81"/>
                  <a:pt x="1" y="79"/>
                </a:cubicBezTo>
                <a:cubicBezTo>
                  <a:pt x="2" y="75"/>
                  <a:pt x="4" y="70"/>
                  <a:pt x="5" y="67"/>
                </a:cubicBezTo>
                <a:cubicBezTo>
                  <a:pt x="5" y="64"/>
                  <a:pt x="6" y="59"/>
                  <a:pt x="6" y="58"/>
                </a:cubicBezTo>
                <a:cubicBezTo>
                  <a:pt x="6" y="57"/>
                  <a:pt x="12" y="53"/>
                  <a:pt x="13" y="51"/>
                </a:cubicBezTo>
                <a:cubicBezTo>
                  <a:pt x="15" y="48"/>
                  <a:pt x="18" y="43"/>
                  <a:pt x="16" y="39"/>
                </a:cubicBezTo>
                <a:cubicBezTo>
                  <a:pt x="14" y="34"/>
                  <a:pt x="10" y="29"/>
                  <a:pt x="9" y="26"/>
                </a:cubicBezTo>
                <a:cubicBezTo>
                  <a:pt x="9" y="24"/>
                  <a:pt x="13" y="23"/>
                  <a:pt x="13" y="20"/>
                </a:cubicBezTo>
                <a:cubicBezTo>
                  <a:pt x="12" y="18"/>
                  <a:pt x="7" y="8"/>
                  <a:pt x="5" y="4"/>
                </a:cubicBezTo>
                <a:cubicBezTo>
                  <a:pt x="8" y="2"/>
                  <a:pt x="11" y="0"/>
                  <a:pt x="14" y="0"/>
                </a:cubicBezTo>
                <a:cubicBezTo>
                  <a:pt x="18" y="0"/>
                  <a:pt x="35" y="1"/>
                  <a:pt x="36" y="1"/>
                </a:cubicBezTo>
                <a:cubicBezTo>
                  <a:pt x="38" y="1"/>
                  <a:pt x="42" y="18"/>
                  <a:pt x="44" y="18"/>
                </a:cubicBezTo>
                <a:cubicBezTo>
                  <a:pt x="46" y="18"/>
                  <a:pt x="55" y="16"/>
                  <a:pt x="57" y="16"/>
                </a:cubicBezTo>
                <a:cubicBezTo>
                  <a:pt x="59" y="16"/>
                  <a:pt x="60" y="8"/>
                  <a:pt x="60" y="8"/>
                </a:cubicBezTo>
                <a:cubicBezTo>
                  <a:pt x="76" y="11"/>
                  <a:pt x="76" y="11"/>
                  <a:pt x="76" y="11"/>
                </a:cubicBezTo>
                <a:cubicBezTo>
                  <a:pt x="76" y="11"/>
                  <a:pt x="76" y="26"/>
                  <a:pt x="78" y="28"/>
                </a:cubicBezTo>
                <a:cubicBezTo>
                  <a:pt x="80" y="30"/>
                  <a:pt x="82" y="37"/>
                  <a:pt x="82" y="39"/>
                </a:cubicBezTo>
                <a:cubicBezTo>
                  <a:pt x="81" y="41"/>
                  <a:pt x="91" y="40"/>
                  <a:pt x="93" y="40"/>
                </a:cubicBezTo>
                <a:cubicBezTo>
                  <a:pt x="94" y="56"/>
                  <a:pt x="94" y="56"/>
                  <a:pt x="94" y="56"/>
                </a:cubicBezTo>
                <a:cubicBezTo>
                  <a:pt x="78" y="56"/>
                  <a:pt x="78" y="56"/>
                  <a:pt x="78" y="56"/>
                </a:cubicBezTo>
                <a:cubicBezTo>
                  <a:pt x="78" y="80"/>
                  <a:pt x="78" y="80"/>
                  <a:pt x="78" y="80"/>
                </a:cubicBezTo>
                <a:cubicBezTo>
                  <a:pt x="87" y="91"/>
                  <a:pt x="87" y="91"/>
                  <a:pt x="87" y="91"/>
                </a:cubicBezTo>
                <a:cubicBezTo>
                  <a:pt x="85" y="92"/>
                  <a:pt x="83" y="92"/>
                  <a:pt x="82" y="92"/>
                </a:cubicBezTo>
                <a:cubicBezTo>
                  <a:pt x="71" y="94"/>
                  <a:pt x="71" y="94"/>
                  <a:pt x="71" y="94"/>
                </a:cubicBezTo>
                <a:cubicBezTo>
                  <a:pt x="66" y="94"/>
                  <a:pt x="66" y="94"/>
                  <a:pt x="66" y="94"/>
                </a:cubicBezTo>
                <a:cubicBezTo>
                  <a:pt x="62" y="94"/>
                  <a:pt x="57" y="94"/>
                  <a:pt x="56" y="94"/>
                </a:cubicBezTo>
                <a:cubicBezTo>
                  <a:pt x="54" y="94"/>
                  <a:pt x="51" y="90"/>
                  <a:pt x="51" y="90"/>
                </a:cubicBezTo>
                <a:cubicBezTo>
                  <a:pt x="51" y="90"/>
                  <a:pt x="20" y="90"/>
                  <a:pt x="19" y="90"/>
                </a:cubicBezTo>
                <a:cubicBezTo>
                  <a:pt x="18" y="90"/>
                  <a:pt x="16" y="87"/>
                  <a:pt x="13" y="87"/>
                </a:cubicBezTo>
                <a:cubicBezTo>
                  <a:pt x="11" y="87"/>
                  <a:pt x="9" y="89"/>
                  <a:pt x="7" y="89"/>
                </a:cubicBezTo>
                <a:cubicBezTo>
                  <a:pt x="4" y="89"/>
                  <a:pt x="0" y="88"/>
                  <a:pt x="0" y="8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2" name="Freeform 314"/>
          <p:cNvSpPr>
            <a:spLocks/>
          </p:cNvSpPr>
          <p:nvPr>
            <p:custDataLst>
              <p:tags r:id="rId228"/>
            </p:custDataLst>
          </p:nvPr>
        </p:nvSpPr>
        <p:spPr bwMode="auto">
          <a:xfrm>
            <a:off x="6108293" y="3978659"/>
            <a:ext cx="177366" cy="210732"/>
          </a:xfrm>
          <a:custGeom>
            <a:avLst/>
            <a:gdLst>
              <a:gd name="T0" fmla="*/ 19023 w 59"/>
              <a:gd name="T1" fmla="*/ 184727 h 66"/>
              <a:gd name="T2" fmla="*/ 0 w 59"/>
              <a:gd name="T3" fmla="*/ 164523 h 66"/>
              <a:gd name="T4" fmla="*/ 13588 w 59"/>
              <a:gd name="T5" fmla="*/ 158750 h 66"/>
              <a:gd name="T6" fmla="*/ 21741 w 59"/>
              <a:gd name="T7" fmla="*/ 161636 h 66"/>
              <a:gd name="T8" fmla="*/ 27176 w 59"/>
              <a:gd name="T9" fmla="*/ 144318 h 66"/>
              <a:gd name="T10" fmla="*/ 13588 w 59"/>
              <a:gd name="T11" fmla="*/ 138545 h 66"/>
              <a:gd name="T12" fmla="*/ 16306 w 59"/>
              <a:gd name="T13" fmla="*/ 121227 h 66"/>
              <a:gd name="T14" fmla="*/ 62505 w 59"/>
              <a:gd name="T15" fmla="*/ 132773 h 66"/>
              <a:gd name="T16" fmla="*/ 73375 w 59"/>
              <a:gd name="T17" fmla="*/ 98136 h 66"/>
              <a:gd name="T18" fmla="*/ 59787 w 59"/>
              <a:gd name="T19" fmla="*/ 77932 h 66"/>
              <a:gd name="T20" fmla="*/ 73375 w 59"/>
              <a:gd name="T21" fmla="*/ 57727 h 66"/>
              <a:gd name="T22" fmla="*/ 48917 w 59"/>
              <a:gd name="T23" fmla="*/ 51955 h 66"/>
              <a:gd name="T24" fmla="*/ 46199 w 59"/>
              <a:gd name="T25" fmla="*/ 40409 h 66"/>
              <a:gd name="T26" fmla="*/ 48917 w 59"/>
              <a:gd name="T27" fmla="*/ 28864 h 66"/>
              <a:gd name="T28" fmla="*/ 48917 w 59"/>
              <a:gd name="T29" fmla="*/ 28864 h 66"/>
              <a:gd name="T30" fmla="*/ 70657 w 59"/>
              <a:gd name="T31" fmla="*/ 31750 h 66"/>
              <a:gd name="T32" fmla="*/ 108704 w 59"/>
              <a:gd name="T33" fmla="*/ 43295 h 66"/>
              <a:gd name="T34" fmla="*/ 108704 w 59"/>
              <a:gd name="T35" fmla="*/ 23091 h 66"/>
              <a:gd name="T36" fmla="*/ 119574 w 59"/>
              <a:gd name="T37" fmla="*/ 17318 h 66"/>
              <a:gd name="T38" fmla="*/ 122292 w 59"/>
              <a:gd name="T39" fmla="*/ 0 h 66"/>
              <a:gd name="T40" fmla="*/ 160338 w 59"/>
              <a:gd name="T41" fmla="*/ 0 h 66"/>
              <a:gd name="T42" fmla="*/ 152185 w 59"/>
              <a:gd name="T43" fmla="*/ 28864 h 66"/>
              <a:gd name="T44" fmla="*/ 144032 w 59"/>
              <a:gd name="T45" fmla="*/ 77932 h 66"/>
              <a:gd name="T46" fmla="*/ 125009 w 59"/>
              <a:gd name="T47" fmla="*/ 103909 h 66"/>
              <a:gd name="T48" fmla="*/ 108704 w 59"/>
              <a:gd name="T49" fmla="*/ 147205 h 66"/>
              <a:gd name="T50" fmla="*/ 86963 w 59"/>
              <a:gd name="T51" fmla="*/ 184727 h 66"/>
              <a:gd name="T52" fmla="*/ 70657 w 59"/>
              <a:gd name="T53" fmla="*/ 176068 h 66"/>
              <a:gd name="T54" fmla="*/ 57069 w 59"/>
              <a:gd name="T55" fmla="*/ 181841 h 66"/>
              <a:gd name="T56" fmla="*/ 38046 w 59"/>
              <a:gd name="T57" fmla="*/ 178955 h 66"/>
              <a:gd name="T58" fmla="*/ 19023 w 59"/>
              <a:gd name="T59" fmla="*/ 187614 h 66"/>
              <a:gd name="T60" fmla="*/ 19023 w 59"/>
              <a:gd name="T61" fmla="*/ 184727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9" h="66">
                <a:moveTo>
                  <a:pt x="7" y="64"/>
                </a:moveTo>
                <a:cubicBezTo>
                  <a:pt x="5" y="62"/>
                  <a:pt x="3" y="60"/>
                  <a:pt x="0" y="57"/>
                </a:cubicBezTo>
                <a:cubicBezTo>
                  <a:pt x="2" y="56"/>
                  <a:pt x="4" y="54"/>
                  <a:pt x="5" y="55"/>
                </a:cubicBezTo>
                <a:cubicBezTo>
                  <a:pt x="7" y="56"/>
                  <a:pt x="8" y="56"/>
                  <a:pt x="8" y="56"/>
                </a:cubicBezTo>
                <a:cubicBezTo>
                  <a:pt x="10" y="50"/>
                  <a:pt x="10" y="50"/>
                  <a:pt x="10" y="50"/>
                </a:cubicBezTo>
                <a:cubicBezTo>
                  <a:pt x="5" y="48"/>
                  <a:pt x="5" y="48"/>
                  <a:pt x="5" y="48"/>
                </a:cubicBezTo>
                <a:cubicBezTo>
                  <a:pt x="6" y="42"/>
                  <a:pt x="6" y="42"/>
                  <a:pt x="6" y="42"/>
                </a:cubicBezTo>
                <a:cubicBezTo>
                  <a:pt x="6" y="42"/>
                  <a:pt x="21" y="46"/>
                  <a:pt x="23" y="46"/>
                </a:cubicBezTo>
                <a:cubicBezTo>
                  <a:pt x="26" y="46"/>
                  <a:pt x="29" y="37"/>
                  <a:pt x="27" y="34"/>
                </a:cubicBezTo>
                <a:cubicBezTo>
                  <a:pt x="25" y="31"/>
                  <a:pt x="21" y="29"/>
                  <a:pt x="22" y="27"/>
                </a:cubicBezTo>
                <a:cubicBezTo>
                  <a:pt x="23" y="24"/>
                  <a:pt x="30" y="22"/>
                  <a:pt x="27" y="20"/>
                </a:cubicBezTo>
                <a:cubicBezTo>
                  <a:pt x="24" y="18"/>
                  <a:pt x="19" y="21"/>
                  <a:pt x="18" y="18"/>
                </a:cubicBezTo>
                <a:cubicBezTo>
                  <a:pt x="17" y="15"/>
                  <a:pt x="17" y="14"/>
                  <a:pt x="17" y="14"/>
                </a:cubicBezTo>
                <a:cubicBezTo>
                  <a:pt x="18" y="10"/>
                  <a:pt x="18" y="10"/>
                  <a:pt x="18" y="10"/>
                </a:cubicBezTo>
                <a:cubicBezTo>
                  <a:pt x="18" y="10"/>
                  <a:pt x="18" y="10"/>
                  <a:pt x="18" y="10"/>
                </a:cubicBezTo>
                <a:cubicBezTo>
                  <a:pt x="22" y="11"/>
                  <a:pt x="25" y="11"/>
                  <a:pt x="26" y="11"/>
                </a:cubicBezTo>
                <a:cubicBezTo>
                  <a:pt x="29" y="11"/>
                  <a:pt x="38" y="16"/>
                  <a:pt x="40" y="15"/>
                </a:cubicBezTo>
                <a:cubicBezTo>
                  <a:pt x="41" y="15"/>
                  <a:pt x="41" y="11"/>
                  <a:pt x="40" y="8"/>
                </a:cubicBezTo>
                <a:cubicBezTo>
                  <a:pt x="44" y="6"/>
                  <a:pt x="44" y="6"/>
                  <a:pt x="44" y="6"/>
                </a:cubicBezTo>
                <a:cubicBezTo>
                  <a:pt x="45" y="0"/>
                  <a:pt x="45" y="0"/>
                  <a:pt x="45" y="0"/>
                </a:cubicBezTo>
                <a:cubicBezTo>
                  <a:pt x="59" y="0"/>
                  <a:pt x="59" y="0"/>
                  <a:pt x="59" y="0"/>
                </a:cubicBezTo>
                <a:cubicBezTo>
                  <a:pt x="58" y="3"/>
                  <a:pt x="57" y="8"/>
                  <a:pt x="56" y="10"/>
                </a:cubicBezTo>
                <a:cubicBezTo>
                  <a:pt x="55" y="12"/>
                  <a:pt x="53" y="23"/>
                  <a:pt x="53" y="27"/>
                </a:cubicBezTo>
                <a:cubicBezTo>
                  <a:pt x="53" y="30"/>
                  <a:pt x="49" y="34"/>
                  <a:pt x="46" y="36"/>
                </a:cubicBezTo>
                <a:cubicBezTo>
                  <a:pt x="42" y="39"/>
                  <a:pt x="40" y="46"/>
                  <a:pt x="40" y="51"/>
                </a:cubicBezTo>
                <a:cubicBezTo>
                  <a:pt x="40" y="56"/>
                  <a:pt x="34" y="62"/>
                  <a:pt x="32" y="64"/>
                </a:cubicBezTo>
                <a:cubicBezTo>
                  <a:pt x="29" y="66"/>
                  <a:pt x="28" y="61"/>
                  <a:pt x="26" y="61"/>
                </a:cubicBezTo>
                <a:cubicBezTo>
                  <a:pt x="25" y="62"/>
                  <a:pt x="23" y="62"/>
                  <a:pt x="21" y="63"/>
                </a:cubicBezTo>
                <a:cubicBezTo>
                  <a:pt x="18" y="64"/>
                  <a:pt x="16" y="62"/>
                  <a:pt x="14" y="62"/>
                </a:cubicBezTo>
                <a:cubicBezTo>
                  <a:pt x="12" y="62"/>
                  <a:pt x="8" y="64"/>
                  <a:pt x="7" y="65"/>
                </a:cubicBezTo>
                <a:cubicBezTo>
                  <a:pt x="7" y="64"/>
                  <a:pt x="7" y="64"/>
                  <a:pt x="7" y="64"/>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3" name="Freeform 315"/>
          <p:cNvSpPr>
            <a:spLocks/>
          </p:cNvSpPr>
          <p:nvPr>
            <p:custDataLst>
              <p:tags r:id="rId229"/>
            </p:custDataLst>
          </p:nvPr>
        </p:nvSpPr>
        <p:spPr bwMode="auto">
          <a:xfrm>
            <a:off x="6055610" y="4010268"/>
            <a:ext cx="142244" cy="151024"/>
          </a:xfrm>
          <a:custGeom>
            <a:avLst/>
            <a:gdLst>
              <a:gd name="T0" fmla="*/ 8208 w 47"/>
              <a:gd name="T1" fmla="*/ 87144 h 47"/>
              <a:gd name="T2" fmla="*/ 0 w 47"/>
              <a:gd name="T3" fmla="*/ 66810 h 47"/>
              <a:gd name="T4" fmla="*/ 13680 w 47"/>
              <a:gd name="T5" fmla="*/ 58096 h 47"/>
              <a:gd name="T6" fmla="*/ 13680 w 47"/>
              <a:gd name="T7" fmla="*/ 43572 h 47"/>
              <a:gd name="T8" fmla="*/ 21887 w 47"/>
              <a:gd name="T9" fmla="*/ 31953 h 47"/>
              <a:gd name="T10" fmla="*/ 16415 w 47"/>
              <a:gd name="T11" fmla="*/ 17429 h 47"/>
              <a:gd name="T12" fmla="*/ 27359 w 47"/>
              <a:gd name="T13" fmla="*/ 0 h 47"/>
              <a:gd name="T14" fmla="*/ 95757 w 47"/>
              <a:gd name="T15" fmla="*/ 0 h 47"/>
              <a:gd name="T16" fmla="*/ 95757 w 47"/>
              <a:gd name="T17" fmla="*/ 0 h 47"/>
              <a:gd name="T18" fmla="*/ 93021 w 47"/>
              <a:gd name="T19" fmla="*/ 11619 h 47"/>
              <a:gd name="T20" fmla="*/ 95757 w 47"/>
              <a:gd name="T21" fmla="*/ 23238 h 47"/>
              <a:gd name="T22" fmla="*/ 120380 w 47"/>
              <a:gd name="T23" fmla="*/ 29048 h 47"/>
              <a:gd name="T24" fmla="*/ 106701 w 47"/>
              <a:gd name="T25" fmla="*/ 49381 h 47"/>
              <a:gd name="T26" fmla="*/ 120380 w 47"/>
              <a:gd name="T27" fmla="*/ 69715 h 47"/>
              <a:gd name="T28" fmla="*/ 109437 w 47"/>
              <a:gd name="T29" fmla="*/ 104572 h 47"/>
              <a:gd name="T30" fmla="*/ 62926 w 47"/>
              <a:gd name="T31" fmla="*/ 92953 h 47"/>
              <a:gd name="T32" fmla="*/ 60190 w 47"/>
              <a:gd name="T33" fmla="*/ 110382 h 47"/>
              <a:gd name="T34" fmla="*/ 73870 w 47"/>
              <a:gd name="T35" fmla="*/ 116191 h 47"/>
              <a:gd name="T36" fmla="*/ 68398 w 47"/>
              <a:gd name="T37" fmla="*/ 133620 h 47"/>
              <a:gd name="T38" fmla="*/ 60190 w 47"/>
              <a:gd name="T39" fmla="*/ 130715 h 47"/>
              <a:gd name="T40" fmla="*/ 46511 w 47"/>
              <a:gd name="T41" fmla="*/ 136525 h 47"/>
              <a:gd name="T42" fmla="*/ 32831 w 47"/>
              <a:gd name="T43" fmla="*/ 122001 h 47"/>
              <a:gd name="T44" fmla="*/ 8208 w 47"/>
              <a:gd name="T45" fmla="*/ 87144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7">
                <a:moveTo>
                  <a:pt x="3" y="30"/>
                </a:moveTo>
                <a:cubicBezTo>
                  <a:pt x="2" y="28"/>
                  <a:pt x="0" y="24"/>
                  <a:pt x="0" y="23"/>
                </a:cubicBezTo>
                <a:cubicBezTo>
                  <a:pt x="0" y="22"/>
                  <a:pt x="5" y="22"/>
                  <a:pt x="5" y="20"/>
                </a:cubicBezTo>
                <a:cubicBezTo>
                  <a:pt x="5" y="19"/>
                  <a:pt x="4" y="16"/>
                  <a:pt x="5" y="15"/>
                </a:cubicBezTo>
                <a:cubicBezTo>
                  <a:pt x="6" y="13"/>
                  <a:pt x="8" y="12"/>
                  <a:pt x="8" y="11"/>
                </a:cubicBezTo>
                <a:cubicBezTo>
                  <a:pt x="8" y="9"/>
                  <a:pt x="5" y="8"/>
                  <a:pt x="6" y="6"/>
                </a:cubicBezTo>
                <a:cubicBezTo>
                  <a:pt x="7" y="5"/>
                  <a:pt x="9" y="2"/>
                  <a:pt x="10" y="0"/>
                </a:cubicBezTo>
                <a:cubicBezTo>
                  <a:pt x="11" y="0"/>
                  <a:pt x="26" y="0"/>
                  <a:pt x="35" y="0"/>
                </a:cubicBezTo>
                <a:cubicBezTo>
                  <a:pt x="35" y="0"/>
                  <a:pt x="35" y="0"/>
                  <a:pt x="35" y="0"/>
                </a:cubicBezTo>
                <a:cubicBezTo>
                  <a:pt x="34" y="4"/>
                  <a:pt x="34" y="4"/>
                  <a:pt x="34" y="4"/>
                </a:cubicBezTo>
                <a:cubicBezTo>
                  <a:pt x="34" y="4"/>
                  <a:pt x="34" y="5"/>
                  <a:pt x="35" y="8"/>
                </a:cubicBezTo>
                <a:cubicBezTo>
                  <a:pt x="36" y="11"/>
                  <a:pt x="41" y="8"/>
                  <a:pt x="44" y="10"/>
                </a:cubicBezTo>
                <a:cubicBezTo>
                  <a:pt x="47" y="12"/>
                  <a:pt x="40" y="14"/>
                  <a:pt x="39" y="17"/>
                </a:cubicBezTo>
                <a:cubicBezTo>
                  <a:pt x="38" y="19"/>
                  <a:pt x="42" y="21"/>
                  <a:pt x="44" y="24"/>
                </a:cubicBezTo>
                <a:cubicBezTo>
                  <a:pt x="46" y="27"/>
                  <a:pt x="43" y="36"/>
                  <a:pt x="40" y="36"/>
                </a:cubicBezTo>
                <a:cubicBezTo>
                  <a:pt x="38" y="36"/>
                  <a:pt x="23" y="32"/>
                  <a:pt x="23" y="32"/>
                </a:cubicBezTo>
                <a:cubicBezTo>
                  <a:pt x="22" y="38"/>
                  <a:pt x="22" y="38"/>
                  <a:pt x="22" y="38"/>
                </a:cubicBezTo>
                <a:cubicBezTo>
                  <a:pt x="27" y="40"/>
                  <a:pt x="27" y="40"/>
                  <a:pt x="27" y="40"/>
                </a:cubicBezTo>
                <a:cubicBezTo>
                  <a:pt x="25" y="46"/>
                  <a:pt x="25" y="46"/>
                  <a:pt x="25" y="46"/>
                </a:cubicBezTo>
                <a:cubicBezTo>
                  <a:pt x="25" y="46"/>
                  <a:pt x="24" y="46"/>
                  <a:pt x="22" y="45"/>
                </a:cubicBezTo>
                <a:cubicBezTo>
                  <a:pt x="21" y="44"/>
                  <a:pt x="19" y="46"/>
                  <a:pt x="17" y="47"/>
                </a:cubicBezTo>
                <a:cubicBezTo>
                  <a:pt x="15" y="45"/>
                  <a:pt x="14" y="43"/>
                  <a:pt x="12" y="42"/>
                </a:cubicBezTo>
                <a:cubicBezTo>
                  <a:pt x="9" y="39"/>
                  <a:pt x="5" y="33"/>
                  <a:pt x="3" y="3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4" name="Freeform 316"/>
          <p:cNvSpPr>
            <a:spLocks/>
          </p:cNvSpPr>
          <p:nvPr>
            <p:custDataLst>
              <p:tags r:id="rId230"/>
            </p:custDataLst>
          </p:nvPr>
        </p:nvSpPr>
        <p:spPr bwMode="auto">
          <a:xfrm>
            <a:off x="6050341" y="3739829"/>
            <a:ext cx="180878" cy="289756"/>
          </a:xfrm>
          <a:custGeom>
            <a:avLst/>
            <a:gdLst>
              <a:gd name="T0" fmla="*/ 0 w 60"/>
              <a:gd name="T1" fmla="*/ 192088 h 90"/>
              <a:gd name="T2" fmla="*/ 8176 w 60"/>
              <a:gd name="T3" fmla="*/ 165894 h 90"/>
              <a:gd name="T4" fmla="*/ 35428 w 60"/>
              <a:gd name="T5" fmla="*/ 139700 h 90"/>
              <a:gd name="T6" fmla="*/ 49054 w 60"/>
              <a:gd name="T7" fmla="*/ 139700 h 90"/>
              <a:gd name="T8" fmla="*/ 59955 w 60"/>
              <a:gd name="T9" fmla="*/ 151342 h 90"/>
              <a:gd name="T10" fmla="*/ 79031 w 60"/>
              <a:gd name="T11" fmla="*/ 113506 h 90"/>
              <a:gd name="T12" fmla="*/ 98108 w 60"/>
              <a:gd name="T13" fmla="*/ 78581 h 90"/>
              <a:gd name="T14" fmla="*/ 109009 w 60"/>
              <a:gd name="T15" fmla="*/ 43656 h 90"/>
              <a:gd name="T16" fmla="*/ 122635 w 60"/>
              <a:gd name="T17" fmla="*/ 29104 h 90"/>
              <a:gd name="T18" fmla="*/ 114459 w 60"/>
              <a:gd name="T19" fmla="*/ 17463 h 90"/>
              <a:gd name="T20" fmla="*/ 111734 w 60"/>
              <a:gd name="T21" fmla="*/ 2910 h 90"/>
              <a:gd name="T22" fmla="*/ 122635 w 60"/>
              <a:gd name="T23" fmla="*/ 0 h 90"/>
              <a:gd name="T24" fmla="*/ 130810 w 60"/>
              <a:gd name="T25" fmla="*/ 8731 h 90"/>
              <a:gd name="T26" fmla="*/ 141711 w 60"/>
              <a:gd name="T27" fmla="*/ 26194 h 90"/>
              <a:gd name="T28" fmla="*/ 149887 w 60"/>
              <a:gd name="T29" fmla="*/ 72761 h 90"/>
              <a:gd name="T30" fmla="*/ 122635 w 60"/>
              <a:gd name="T31" fmla="*/ 72761 h 90"/>
              <a:gd name="T32" fmla="*/ 114459 w 60"/>
              <a:gd name="T33" fmla="*/ 78581 h 90"/>
              <a:gd name="T34" fmla="*/ 141711 w 60"/>
              <a:gd name="T35" fmla="*/ 113506 h 90"/>
              <a:gd name="T36" fmla="*/ 144436 w 60"/>
              <a:gd name="T37" fmla="*/ 128059 h 90"/>
              <a:gd name="T38" fmla="*/ 136261 w 60"/>
              <a:gd name="T39" fmla="*/ 142611 h 90"/>
              <a:gd name="T40" fmla="*/ 128085 w 60"/>
              <a:gd name="T41" fmla="*/ 183357 h 90"/>
              <a:gd name="T42" fmla="*/ 158063 w 60"/>
              <a:gd name="T43" fmla="*/ 229923 h 90"/>
              <a:gd name="T44" fmla="*/ 160788 w 60"/>
              <a:gd name="T45" fmla="*/ 238655 h 90"/>
              <a:gd name="T46" fmla="*/ 160788 w 60"/>
              <a:gd name="T47" fmla="*/ 259028 h 90"/>
              <a:gd name="T48" fmla="*/ 122635 w 60"/>
              <a:gd name="T49" fmla="*/ 247386 h 90"/>
              <a:gd name="T50" fmla="*/ 100833 w 60"/>
              <a:gd name="T51" fmla="*/ 244475 h 90"/>
              <a:gd name="T52" fmla="*/ 32703 w 60"/>
              <a:gd name="T53" fmla="*/ 244475 h 90"/>
              <a:gd name="T54" fmla="*/ 32703 w 60"/>
              <a:gd name="T55" fmla="*/ 241565 h 90"/>
              <a:gd name="T56" fmla="*/ 27252 w 60"/>
              <a:gd name="T57" fmla="*/ 215371 h 90"/>
              <a:gd name="T58" fmla="*/ 5450 w 60"/>
              <a:gd name="T59" fmla="*/ 192088 h 90"/>
              <a:gd name="T60" fmla="*/ 0 w 60"/>
              <a:gd name="T61" fmla="*/ 192088 h 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0" h="90">
                <a:moveTo>
                  <a:pt x="0" y="66"/>
                </a:moveTo>
                <a:cubicBezTo>
                  <a:pt x="0" y="66"/>
                  <a:pt x="1" y="60"/>
                  <a:pt x="3" y="57"/>
                </a:cubicBezTo>
                <a:cubicBezTo>
                  <a:pt x="4" y="55"/>
                  <a:pt x="11" y="48"/>
                  <a:pt x="13" y="48"/>
                </a:cubicBezTo>
                <a:cubicBezTo>
                  <a:pt x="15" y="48"/>
                  <a:pt x="16" y="48"/>
                  <a:pt x="18" y="48"/>
                </a:cubicBezTo>
                <a:cubicBezTo>
                  <a:pt x="19" y="49"/>
                  <a:pt x="20" y="53"/>
                  <a:pt x="22" y="52"/>
                </a:cubicBezTo>
                <a:cubicBezTo>
                  <a:pt x="24" y="51"/>
                  <a:pt x="26" y="43"/>
                  <a:pt x="29" y="39"/>
                </a:cubicBezTo>
                <a:cubicBezTo>
                  <a:pt x="32" y="35"/>
                  <a:pt x="36" y="30"/>
                  <a:pt x="36" y="27"/>
                </a:cubicBezTo>
                <a:cubicBezTo>
                  <a:pt x="36" y="25"/>
                  <a:pt x="38" y="17"/>
                  <a:pt x="40" y="15"/>
                </a:cubicBezTo>
                <a:cubicBezTo>
                  <a:pt x="42" y="14"/>
                  <a:pt x="47" y="13"/>
                  <a:pt x="45" y="10"/>
                </a:cubicBezTo>
                <a:cubicBezTo>
                  <a:pt x="44" y="7"/>
                  <a:pt x="42" y="6"/>
                  <a:pt x="42" y="6"/>
                </a:cubicBezTo>
                <a:cubicBezTo>
                  <a:pt x="41" y="1"/>
                  <a:pt x="41" y="1"/>
                  <a:pt x="41" y="1"/>
                </a:cubicBezTo>
                <a:cubicBezTo>
                  <a:pt x="41" y="1"/>
                  <a:pt x="44" y="0"/>
                  <a:pt x="45" y="0"/>
                </a:cubicBezTo>
                <a:cubicBezTo>
                  <a:pt x="46" y="0"/>
                  <a:pt x="47" y="1"/>
                  <a:pt x="48" y="3"/>
                </a:cubicBezTo>
                <a:cubicBezTo>
                  <a:pt x="50" y="6"/>
                  <a:pt x="53" y="5"/>
                  <a:pt x="52" y="9"/>
                </a:cubicBezTo>
                <a:cubicBezTo>
                  <a:pt x="51" y="14"/>
                  <a:pt x="55" y="23"/>
                  <a:pt x="55" y="25"/>
                </a:cubicBezTo>
                <a:cubicBezTo>
                  <a:pt x="54" y="27"/>
                  <a:pt x="45" y="25"/>
                  <a:pt x="45" y="25"/>
                </a:cubicBezTo>
                <a:cubicBezTo>
                  <a:pt x="42" y="27"/>
                  <a:pt x="42" y="27"/>
                  <a:pt x="42" y="27"/>
                </a:cubicBezTo>
                <a:cubicBezTo>
                  <a:pt x="42" y="27"/>
                  <a:pt x="50" y="35"/>
                  <a:pt x="52" y="39"/>
                </a:cubicBezTo>
                <a:cubicBezTo>
                  <a:pt x="54" y="41"/>
                  <a:pt x="54" y="43"/>
                  <a:pt x="53" y="44"/>
                </a:cubicBezTo>
                <a:cubicBezTo>
                  <a:pt x="53" y="46"/>
                  <a:pt x="51" y="47"/>
                  <a:pt x="50" y="49"/>
                </a:cubicBezTo>
                <a:cubicBezTo>
                  <a:pt x="48" y="52"/>
                  <a:pt x="47" y="60"/>
                  <a:pt x="47" y="63"/>
                </a:cubicBezTo>
                <a:cubicBezTo>
                  <a:pt x="48" y="67"/>
                  <a:pt x="56" y="77"/>
                  <a:pt x="58" y="79"/>
                </a:cubicBezTo>
                <a:cubicBezTo>
                  <a:pt x="58" y="79"/>
                  <a:pt x="59" y="81"/>
                  <a:pt x="59" y="82"/>
                </a:cubicBezTo>
                <a:cubicBezTo>
                  <a:pt x="60" y="85"/>
                  <a:pt x="60" y="89"/>
                  <a:pt x="59" y="89"/>
                </a:cubicBezTo>
                <a:cubicBezTo>
                  <a:pt x="57" y="90"/>
                  <a:pt x="48" y="85"/>
                  <a:pt x="45" y="85"/>
                </a:cubicBezTo>
                <a:cubicBezTo>
                  <a:pt x="44" y="85"/>
                  <a:pt x="41" y="85"/>
                  <a:pt x="37" y="84"/>
                </a:cubicBezTo>
                <a:cubicBezTo>
                  <a:pt x="28" y="84"/>
                  <a:pt x="13" y="84"/>
                  <a:pt x="12" y="84"/>
                </a:cubicBezTo>
                <a:cubicBezTo>
                  <a:pt x="12" y="84"/>
                  <a:pt x="12" y="83"/>
                  <a:pt x="12" y="83"/>
                </a:cubicBezTo>
                <a:cubicBezTo>
                  <a:pt x="12" y="81"/>
                  <a:pt x="13" y="76"/>
                  <a:pt x="10" y="74"/>
                </a:cubicBezTo>
                <a:cubicBezTo>
                  <a:pt x="7" y="72"/>
                  <a:pt x="2" y="66"/>
                  <a:pt x="2" y="66"/>
                </a:cubicBezTo>
                <a:cubicBezTo>
                  <a:pt x="2" y="66"/>
                  <a:pt x="1" y="66"/>
                  <a:pt x="0" y="6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5" name="Freeform 317"/>
          <p:cNvSpPr>
            <a:spLocks/>
          </p:cNvSpPr>
          <p:nvPr>
            <p:custDataLst>
              <p:tags r:id="rId231"/>
            </p:custDataLst>
          </p:nvPr>
        </p:nvSpPr>
        <p:spPr bwMode="auto">
          <a:xfrm>
            <a:off x="6020488" y="3102367"/>
            <a:ext cx="101854" cy="196683"/>
          </a:xfrm>
          <a:custGeom>
            <a:avLst/>
            <a:gdLst>
              <a:gd name="T0" fmla="*/ 21665 w 34"/>
              <a:gd name="T1" fmla="*/ 116590 h 61"/>
              <a:gd name="T2" fmla="*/ 5416 w 34"/>
              <a:gd name="T3" fmla="*/ 99102 h 61"/>
              <a:gd name="T4" fmla="*/ 18957 w 34"/>
              <a:gd name="T5" fmla="*/ 72869 h 61"/>
              <a:gd name="T6" fmla="*/ 24373 w 34"/>
              <a:gd name="T7" fmla="*/ 34977 h 61"/>
              <a:gd name="T8" fmla="*/ 27081 w 34"/>
              <a:gd name="T9" fmla="*/ 8744 h 61"/>
              <a:gd name="T10" fmla="*/ 27081 w 34"/>
              <a:gd name="T11" fmla="*/ 8744 h 61"/>
              <a:gd name="T12" fmla="*/ 40621 w 34"/>
              <a:gd name="T13" fmla="*/ 5830 h 61"/>
              <a:gd name="T14" fmla="*/ 59578 w 34"/>
              <a:gd name="T15" fmla="*/ 2915 h 61"/>
              <a:gd name="T16" fmla="*/ 64994 w 34"/>
              <a:gd name="T17" fmla="*/ 17489 h 61"/>
              <a:gd name="T18" fmla="*/ 81243 w 34"/>
              <a:gd name="T19" fmla="*/ 8744 h 61"/>
              <a:gd name="T20" fmla="*/ 86659 w 34"/>
              <a:gd name="T21" fmla="*/ 14574 h 61"/>
              <a:gd name="T22" fmla="*/ 67702 w 34"/>
              <a:gd name="T23" fmla="*/ 32062 h 61"/>
              <a:gd name="T24" fmla="*/ 81243 w 34"/>
              <a:gd name="T25" fmla="*/ 49551 h 61"/>
              <a:gd name="T26" fmla="*/ 67702 w 34"/>
              <a:gd name="T27" fmla="*/ 72869 h 61"/>
              <a:gd name="T28" fmla="*/ 59578 w 34"/>
              <a:gd name="T29" fmla="*/ 87443 h 61"/>
              <a:gd name="T30" fmla="*/ 78535 w 34"/>
              <a:gd name="T31" fmla="*/ 93272 h 61"/>
              <a:gd name="T32" fmla="*/ 92075 w 34"/>
              <a:gd name="T33" fmla="*/ 104931 h 61"/>
              <a:gd name="T34" fmla="*/ 92075 w 34"/>
              <a:gd name="T35" fmla="*/ 104931 h 61"/>
              <a:gd name="T36" fmla="*/ 86659 w 34"/>
              <a:gd name="T37" fmla="*/ 128249 h 61"/>
              <a:gd name="T38" fmla="*/ 70410 w 34"/>
              <a:gd name="T39" fmla="*/ 148652 h 61"/>
              <a:gd name="T40" fmla="*/ 67702 w 34"/>
              <a:gd name="T41" fmla="*/ 177800 h 61"/>
              <a:gd name="T42" fmla="*/ 48746 w 34"/>
              <a:gd name="T43" fmla="*/ 177800 h 61"/>
              <a:gd name="T44" fmla="*/ 35205 w 34"/>
              <a:gd name="T45" fmla="*/ 136993 h 61"/>
              <a:gd name="T46" fmla="*/ 21665 w 34"/>
              <a:gd name="T47" fmla="*/ 116590 h 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4" h="61">
                <a:moveTo>
                  <a:pt x="8" y="40"/>
                </a:moveTo>
                <a:cubicBezTo>
                  <a:pt x="7" y="39"/>
                  <a:pt x="4" y="36"/>
                  <a:pt x="2" y="34"/>
                </a:cubicBezTo>
                <a:cubicBezTo>
                  <a:pt x="0" y="31"/>
                  <a:pt x="5" y="27"/>
                  <a:pt x="7" y="25"/>
                </a:cubicBezTo>
                <a:cubicBezTo>
                  <a:pt x="8" y="24"/>
                  <a:pt x="9" y="14"/>
                  <a:pt x="9" y="12"/>
                </a:cubicBezTo>
                <a:cubicBezTo>
                  <a:pt x="9" y="10"/>
                  <a:pt x="10" y="3"/>
                  <a:pt x="10" y="3"/>
                </a:cubicBezTo>
                <a:cubicBezTo>
                  <a:pt x="10" y="3"/>
                  <a:pt x="10" y="3"/>
                  <a:pt x="10" y="3"/>
                </a:cubicBezTo>
                <a:cubicBezTo>
                  <a:pt x="10" y="3"/>
                  <a:pt x="12" y="3"/>
                  <a:pt x="15" y="2"/>
                </a:cubicBezTo>
                <a:cubicBezTo>
                  <a:pt x="17" y="1"/>
                  <a:pt x="20" y="0"/>
                  <a:pt x="22" y="1"/>
                </a:cubicBezTo>
                <a:cubicBezTo>
                  <a:pt x="23" y="1"/>
                  <a:pt x="22" y="6"/>
                  <a:pt x="24" y="6"/>
                </a:cubicBezTo>
                <a:cubicBezTo>
                  <a:pt x="25" y="6"/>
                  <a:pt x="29" y="2"/>
                  <a:pt x="30" y="3"/>
                </a:cubicBezTo>
                <a:cubicBezTo>
                  <a:pt x="31" y="4"/>
                  <a:pt x="32" y="4"/>
                  <a:pt x="32" y="5"/>
                </a:cubicBezTo>
                <a:cubicBezTo>
                  <a:pt x="32" y="6"/>
                  <a:pt x="24" y="10"/>
                  <a:pt x="25" y="11"/>
                </a:cubicBezTo>
                <a:cubicBezTo>
                  <a:pt x="27" y="12"/>
                  <a:pt x="30" y="15"/>
                  <a:pt x="30" y="17"/>
                </a:cubicBezTo>
                <a:cubicBezTo>
                  <a:pt x="30" y="18"/>
                  <a:pt x="28" y="25"/>
                  <a:pt x="25" y="25"/>
                </a:cubicBezTo>
                <a:cubicBezTo>
                  <a:pt x="23" y="26"/>
                  <a:pt x="20" y="28"/>
                  <a:pt x="22" y="30"/>
                </a:cubicBezTo>
                <a:cubicBezTo>
                  <a:pt x="23" y="32"/>
                  <a:pt x="28" y="30"/>
                  <a:pt x="29" y="32"/>
                </a:cubicBezTo>
                <a:cubicBezTo>
                  <a:pt x="30" y="33"/>
                  <a:pt x="32" y="35"/>
                  <a:pt x="34" y="36"/>
                </a:cubicBezTo>
                <a:cubicBezTo>
                  <a:pt x="34" y="36"/>
                  <a:pt x="34" y="36"/>
                  <a:pt x="34" y="36"/>
                </a:cubicBezTo>
                <a:cubicBezTo>
                  <a:pt x="33" y="37"/>
                  <a:pt x="34" y="42"/>
                  <a:pt x="32" y="44"/>
                </a:cubicBezTo>
                <a:cubicBezTo>
                  <a:pt x="31" y="45"/>
                  <a:pt x="27" y="50"/>
                  <a:pt x="26" y="51"/>
                </a:cubicBezTo>
                <a:cubicBezTo>
                  <a:pt x="24" y="53"/>
                  <a:pt x="26" y="60"/>
                  <a:pt x="25" y="61"/>
                </a:cubicBezTo>
                <a:cubicBezTo>
                  <a:pt x="25" y="61"/>
                  <a:pt x="21" y="61"/>
                  <a:pt x="18" y="61"/>
                </a:cubicBezTo>
                <a:cubicBezTo>
                  <a:pt x="16" y="56"/>
                  <a:pt x="14" y="48"/>
                  <a:pt x="13" y="47"/>
                </a:cubicBezTo>
                <a:cubicBezTo>
                  <a:pt x="13" y="45"/>
                  <a:pt x="8" y="41"/>
                  <a:pt x="8" y="4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6" name="Freeform 318"/>
          <p:cNvSpPr>
            <a:spLocks/>
          </p:cNvSpPr>
          <p:nvPr>
            <p:custDataLst>
              <p:tags r:id="rId232"/>
            </p:custDataLst>
          </p:nvPr>
        </p:nvSpPr>
        <p:spPr bwMode="auto">
          <a:xfrm>
            <a:off x="5860683" y="3474660"/>
            <a:ext cx="365268" cy="303805"/>
          </a:xfrm>
          <a:custGeom>
            <a:avLst/>
            <a:gdLst>
              <a:gd name="T0" fmla="*/ 30018 w 121"/>
              <a:gd name="T1" fmla="*/ 251265 h 94"/>
              <a:gd name="T2" fmla="*/ 10916 w 121"/>
              <a:gd name="T3" fmla="*/ 230813 h 94"/>
              <a:gd name="T4" fmla="*/ 0 w 121"/>
              <a:gd name="T5" fmla="*/ 213283 h 94"/>
              <a:gd name="T6" fmla="*/ 2729 w 121"/>
              <a:gd name="T7" fmla="*/ 195753 h 94"/>
              <a:gd name="T8" fmla="*/ 19102 w 121"/>
              <a:gd name="T9" fmla="*/ 198674 h 94"/>
              <a:gd name="T10" fmla="*/ 70952 w 121"/>
              <a:gd name="T11" fmla="*/ 189909 h 94"/>
              <a:gd name="T12" fmla="*/ 81868 w 121"/>
              <a:gd name="T13" fmla="*/ 154849 h 94"/>
              <a:gd name="T14" fmla="*/ 84597 w 121"/>
              <a:gd name="T15" fmla="*/ 102259 h 94"/>
              <a:gd name="T16" fmla="*/ 117344 w 121"/>
              <a:gd name="T17" fmla="*/ 96415 h 94"/>
              <a:gd name="T18" fmla="*/ 147362 w 121"/>
              <a:gd name="T19" fmla="*/ 64277 h 94"/>
              <a:gd name="T20" fmla="*/ 240145 w 121"/>
              <a:gd name="T21" fmla="*/ 2922 h 94"/>
              <a:gd name="T22" fmla="*/ 245603 w 121"/>
              <a:gd name="T23" fmla="*/ 0 h 94"/>
              <a:gd name="T24" fmla="*/ 267435 w 121"/>
              <a:gd name="T25" fmla="*/ 8765 h 94"/>
              <a:gd name="T26" fmla="*/ 289266 w 121"/>
              <a:gd name="T27" fmla="*/ 23373 h 94"/>
              <a:gd name="T28" fmla="*/ 308369 w 121"/>
              <a:gd name="T29" fmla="*/ 11687 h 94"/>
              <a:gd name="T30" fmla="*/ 308369 w 121"/>
              <a:gd name="T31" fmla="*/ 23373 h 94"/>
              <a:gd name="T32" fmla="*/ 311098 w 121"/>
              <a:gd name="T33" fmla="*/ 49669 h 94"/>
              <a:gd name="T34" fmla="*/ 330200 w 121"/>
              <a:gd name="T35" fmla="*/ 75964 h 94"/>
              <a:gd name="T36" fmla="*/ 322013 w 121"/>
              <a:gd name="T37" fmla="*/ 90572 h 94"/>
              <a:gd name="T38" fmla="*/ 316555 w 121"/>
              <a:gd name="T39" fmla="*/ 154849 h 94"/>
              <a:gd name="T40" fmla="*/ 278350 w 121"/>
              <a:gd name="T41" fmla="*/ 210361 h 94"/>
              <a:gd name="T42" fmla="*/ 275621 w 121"/>
              <a:gd name="T43" fmla="*/ 227891 h 94"/>
              <a:gd name="T44" fmla="*/ 248332 w 121"/>
              <a:gd name="T45" fmla="*/ 242500 h 94"/>
              <a:gd name="T46" fmla="*/ 218314 w 121"/>
              <a:gd name="T47" fmla="*/ 236656 h 94"/>
              <a:gd name="T48" fmla="*/ 196483 w 121"/>
              <a:gd name="T49" fmla="*/ 251265 h 94"/>
              <a:gd name="T50" fmla="*/ 161007 w 121"/>
              <a:gd name="T51" fmla="*/ 236656 h 94"/>
              <a:gd name="T52" fmla="*/ 139175 w 121"/>
              <a:gd name="T53" fmla="*/ 242500 h 94"/>
              <a:gd name="T54" fmla="*/ 111886 w 121"/>
              <a:gd name="T55" fmla="*/ 227891 h 94"/>
              <a:gd name="T56" fmla="*/ 81868 w 121"/>
              <a:gd name="T57" fmla="*/ 236656 h 94"/>
              <a:gd name="T58" fmla="*/ 70952 w 121"/>
              <a:gd name="T59" fmla="*/ 274638 h 94"/>
              <a:gd name="T60" fmla="*/ 54579 w 121"/>
              <a:gd name="T61" fmla="*/ 257108 h 94"/>
              <a:gd name="T62" fmla="*/ 40934 w 121"/>
              <a:gd name="T63" fmla="*/ 262951 h 94"/>
              <a:gd name="T64" fmla="*/ 30018 w 121"/>
              <a:gd name="T65" fmla="*/ 251265 h 9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1" h="94">
                <a:moveTo>
                  <a:pt x="11" y="86"/>
                </a:moveTo>
                <a:cubicBezTo>
                  <a:pt x="9" y="84"/>
                  <a:pt x="5" y="81"/>
                  <a:pt x="4" y="79"/>
                </a:cubicBezTo>
                <a:cubicBezTo>
                  <a:pt x="2" y="77"/>
                  <a:pt x="0" y="75"/>
                  <a:pt x="0" y="73"/>
                </a:cubicBezTo>
                <a:cubicBezTo>
                  <a:pt x="1" y="67"/>
                  <a:pt x="1" y="67"/>
                  <a:pt x="1" y="67"/>
                </a:cubicBezTo>
                <a:cubicBezTo>
                  <a:pt x="3" y="67"/>
                  <a:pt x="6" y="68"/>
                  <a:pt x="7" y="68"/>
                </a:cubicBezTo>
                <a:cubicBezTo>
                  <a:pt x="8" y="68"/>
                  <a:pt x="24" y="65"/>
                  <a:pt x="26" y="65"/>
                </a:cubicBezTo>
                <a:cubicBezTo>
                  <a:pt x="28" y="65"/>
                  <a:pt x="30" y="55"/>
                  <a:pt x="30" y="53"/>
                </a:cubicBezTo>
                <a:cubicBezTo>
                  <a:pt x="31" y="35"/>
                  <a:pt x="31" y="35"/>
                  <a:pt x="31" y="35"/>
                </a:cubicBezTo>
                <a:cubicBezTo>
                  <a:pt x="43" y="33"/>
                  <a:pt x="43" y="33"/>
                  <a:pt x="43" y="33"/>
                </a:cubicBezTo>
                <a:cubicBezTo>
                  <a:pt x="43" y="33"/>
                  <a:pt x="52" y="24"/>
                  <a:pt x="54" y="22"/>
                </a:cubicBezTo>
                <a:cubicBezTo>
                  <a:pt x="55" y="20"/>
                  <a:pt x="81" y="5"/>
                  <a:pt x="88" y="1"/>
                </a:cubicBezTo>
                <a:cubicBezTo>
                  <a:pt x="89" y="0"/>
                  <a:pt x="90" y="0"/>
                  <a:pt x="90" y="0"/>
                </a:cubicBezTo>
                <a:cubicBezTo>
                  <a:pt x="98" y="3"/>
                  <a:pt x="98" y="3"/>
                  <a:pt x="98" y="3"/>
                </a:cubicBezTo>
                <a:cubicBezTo>
                  <a:pt x="106" y="8"/>
                  <a:pt x="106" y="8"/>
                  <a:pt x="106" y="8"/>
                </a:cubicBezTo>
                <a:cubicBezTo>
                  <a:pt x="113" y="4"/>
                  <a:pt x="113" y="4"/>
                  <a:pt x="113" y="4"/>
                </a:cubicBezTo>
                <a:cubicBezTo>
                  <a:pt x="113" y="8"/>
                  <a:pt x="113" y="8"/>
                  <a:pt x="113" y="8"/>
                </a:cubicBezTo>
                <a:cubicBezTo>
                  <a:pt x="114" y="17"/>
                  <a:pt x="114" y="17"/>
                  <a:pt x="114" y="17"/>
                </a:cubicBezTo>
                <a:cubicBezTo>
                  <a:pt x="121" y="26"/>
                  <a:pt x="121" y="26"/>
                  <a:pt x="121" y="26"/>
                </a:cubicBezTo>
                <a:cubicBezTo>
                  <a:pt x="121" y="26"/>
                  <a:pt x="119" y="29"/>
                  <a:pt x="118" y="31"/>
                </a:cubicBezTo>
                <a:cubicBezTo>
                  <a:pt x="117" y="33"/>
                  <a:pt x="117" y="52"/>
                  <a:pt x="116" y="53"/>
                </a:cubicBezTo>
                <a:cubicBezTo>
                  <a:pt x="116" y="54"/>
                  <a:pt x="102" y="71"/>
                  <a:pt x="102" y="72"/>
                </a:cubicBezTo>
                <a:cubicBezTo>
                  <a:pt x="101" y="73"/>
                  <a:pt x="102" y="77"/>
                  <a:pt x="101" y="78"/>
                </a:cubicBezTo>
                <a:cubicBezTo>
                  <a:pt x="100" y="79"/>
                  <a:pt x="94" y="83"/>
                  <a:pt x="91" y="83"/>
                </a:cubicBezTo>
                <a:cubicBezTo>
                  <a:pt x="88" y="83"/>
                  <a:pt x="82" y="81"/>
                  <a:pt x="80" y="81"/>
                </a:cubicBezTo>
                <a:cubicBezTo>
                  <a:pt x="78" y="81"/>
                  <a:pt x="74" y="85"/>
                  <a:pt x="72" y="86"/>
                </a:cubicBezTo>
                <a:cubicBezTo>
                  <a:pt x="70" y="87"/>
                  <a:pt x="61" y="82"/>
                  <a:pt x="59" y="81"/>
                </a:cubicBezTo>
                <a:cubicBezTo>
                  <a:pt x="57" y="80"/>
                  <a:pt x="51" y="85"/>
                  <a:pt x="51" y="83"/>
                </a:cubicBezTo>
                <a:cubicBezTo>
                  <a:pt x="51" y="82"/>
                  <a:pt x="44" y="77"/>
                  <a:pt x="41" y="78"/>
                </a:cubicBezTo>
                <a:cubicBezTo>
                  <a:pt x="38" y="78"/>
                  <a:pt x="31" y="78"/>
                  <a:pt x="30" y="81"/>
                </a:cubicBezTo>
                <a:cubicBezTo>
                  <a:pt x="28" y="84"/>
                  <a:pt x="27" y="90"/>
                  <a:pt x="26" y="94"/>
                </a:cubicBezTo>
                <a:cubicBezTo>
                  <a:pt x="20" y="88"/>
                  <a:pt x="20" y="88"/>
                  <a:pt x="20" y="88"/>
                </a:cubicBezTo>
                <a:cubicBezTo>
                  <a:pt x="15" y="90"/>
                  <a:pt x="15" y="90"/>
                  <a:pt x="15" y="90"/>
                </a:cubicBezTo>
                <a:cubicBezTo>
                  <a:pt x="14" y="89"/>
                  <a:pt x="13" y="88"/>
                  <a:pt x="11" y="8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7" name="Freeform 319"/>
          <p:cNvSpPr>
            <a:spLocks/>
          </p:cNvSpPr>
          <p:nvPr>
            <p:custDataLst>
              <p:tags r:id="rId233"/>
            </p:custDataLst>
          </p:nvPr>
        </p:nvSpPr>
        <p:spPr bwMode="auto">
          <a:xfrm>
            <a:off x="5920391" y="3724025"/>
            <a:ext cx="270439" cy="240585"/>
          </a:xfrm>
          <a:custGeom>
            <a:avLst/>
            <a:gdLst>
              <a:gd name="T0" fmla="*/ 16298 w 90"/>
              <a:gd name="T1" fmla="*/ 49297 h 75"/>
              <a:gd name="T2" fmla="*/ 27164 w 90"/>
              <a:gd name="T3" fmla="*/ 11599 h 75"/>
              <a:gd name="T4" fmla="*/ 57044 w 90"/>
              <a:gd name="T5" fmla="*/ 2900 h 75"/>
              <a:gd name="T6" fmla="*/ 84208 w 90"/>
              <a:gd name="T7" fmla="*/ 17399 h 75"/>
              <a:gd name="T8" fmla="*/ 105939 w 90"/>
              <a:gd name="T9" fmla="*/ 11599 h 75"/>
              <a:gd name="T10" fmla="*/ 141252 w 90"/>
              <a:gd name="T11" fmla="*/ 26099 h 75"/>
              <a:gd name="T12" fmla="*/ 162983 w 90"/>
              <a:gd name="T13" fmla="*/ 11599 h 75"/>
              <a:gd name="T14" fmla="*/ 192864 w 90"/>
              <a:gd name="T15" fmla="*/ 17399 h 75"/>
              <a:gd name="T16" fmla="*/ 220028 w 90"/>
              <a:gd name="T17" fmla="*/ 2900 h 75"/>
              <a:gd name="T18" fmla="*/ 228177 w 90"/>
              <a:gd name="T19" fmla="*/ 17399 h 75"/>
              <a:gd name="T20" fmla="*/ 230893 w 90"/>
              <a:gd name="T21" fmla="*/ 31898 h 75"/>
              <a:gd name="T22" fmla="*/ 239042 w 90"/>
              <a:gd name="T23" fmla="*/ 43498 h 75"/>
              <a:gd name="T24" fmla="*/ 225460 w 90"/>
              <a:gd name="T25" fmla="*/ 57997 h 75"/>
              <a:gd name="T26" fmla="*/ 214595 w 90"/>
              <a:gd name="T27" fmla="*/ 92795 h 75"/>
              <a:gd name="T28" fmla="*/ 195580 w 90"/>
              <a:gd name="T29" fmla="*/ 127593 h 75"/>
              <a:gd name="T30" fmla="*/ 176565 w 90"/>
              <a:gd name="T31" fmla="*/ 165291 h 75"/>
              <a:gd name="T32" fmla="*/ 165700 w 90"/>
              <a:gd name="T33" fmla="*/ 153692 h 75"/>
              <a:gd name="T34" fmla="*/ 152118 w 90"/>
              <a:gd name="T35" fmla="*/ 153692 h 75"/>
              <a:gd name="T36" fmla="*/ 124954 w 90"/>
              <a:gd name="T37" fmla="*/ 179790 h 75"/>
              <a:gd name="T38" fmla="*/ 116805 w 90"/>
              <a:gd name="T39" fmla="*/ 205889 h 75"/>
              <a:gd name="T40" fmla="*/ 92357 w 90"/>
              <a:gd name="T41" fmla="*/ 211688 h 75"/>
              <a:gd name="T42" fmla="*/ 62477 w 90"/>
              <a:gd name="T43" fmla="*/ 208788 h 75"/>
              <a:gd name="T44" fmla="*/ 35313 w 90"/>
              <a:gd name="T45" fmla="*/ 168191 h 75"/>
              <a:gd name="T46" fmla="*/ 2716 w 90"/>
              <a:gd name="T47" fmla="*/ 165291 h 75"/>
              <a:gd name="T48" fmla="*/ 0 w 90"/>
              <a:gd name="T49" fmla="*/ 110194 h 75"/>
              <a:gd name="T50" fmla="*/ 19015 w 90"/>
              <a:gd name="T51" fmla="*/ 81196 h 75"/>
              <a:gd name="T52" fmla="*/ 16298 w 90"/>
              <a:gd name="T53" fmla="*/ 4929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0" h="75">
                <a:moveTo>
                  <a:pt x="6" y="17"/>
                </a:moveTo>
                <a:cubicBezTo>
                  <a:pt x="7" y="13"/>
                  <a:pt x="8" y="7"/>
                  <a:pt x="10" y="4"/>
                </a:cubicBezTo>
                <a:cubicBezTo>
                  <a:pt x="11" y="1"/>
                  <a:pt x="18" y="1"/>
                  <a:pt x="21" y="1"/>
                </a:cubicBezTo>
                <a:cubicBezTo>
                  <a:pt x="24" y="0"/>
                  <a:pt x="31" y="5"/>
                  <a:pt x="31" y="6"/>
                </a:cubicBezTo>
                <a:cubicBezTo>
                  <a:pt x="31" y="8"/>
                  <a:pt x="37" y="3"/>
                  <a:pt x="39" y="4"/>
                </a:cubicBezTo>
                <a:cubicBezTo>
                  <a:pt x="41" y="5"/>
                  <a:pt x="50" y="10"/>
                  <a:pt x="52" y="9"/>
                </a:cubicBezTo>
                <a:cubicBezTo>
                  <a:pt x="54" y="8"/>
                  <a:pt x="58" y="4"/>
                  <a:pt x="60" y="4"/>
                </a:cubicBezTo>
                <a:cubicBezTo>
                  <a:pt x="62" y="4"/>
                  <a:pt x="68" y="6"/>
                  <a:pt x="71" y="6"/>
                </a:cubicBezTo>
                <a:cubicBezTo>
                  <a:pt x="74" y="6"/>
                  <a:pt x="80" y="2"/>
                  <a:pt x="81" y="1"/>
                </a:cubicBezTo>
                <a:cubicBezTo>
                  <a:pt x="84" y="6"/>
                  <a:pt x="84" y="6"/>
                  <a:pt x="84" y="6"/>
                </a:cubicBezTo>
                <a:cubicBezTo>
                  <a:pt x="85" y="11"/>
                  <a:pt x="85" y="11"/>
                  <a:pt x="85" y="11"/>
                </a:cubicBezTo>
                <a:cubicBezTo>
                  <a:pt x="85" y="11"/>
                  <a:pt x="87" y="12"/>
                  <a:pt x="88" y="15"/>
                </a:cubicBezTo>
                <a:cubicBezTo>
                  <a:pt x="90" y="18"/>
                  <a:pt x="85" y="19"/>
                  <a:pt x="83" y="20"/>
                </a:cubicBezTo>
                <a:cubicBezTo>
                  <a:pt x="81" y="22"/>
                  <a:pt x="79" y="30"/>
                  <a:pt x="79" y="32"/>
                </a:cubicBezTo>
                <a:cubicBezTo>
                  <a:pt x="79" y="35"/>
                  <a:pt x="75" y="40"/>
                  <a:pt x="72" y="44"/>
                </a:cubicBezTo>
                <a:cubicBezTo>
                  <a:pt x="69" y="48"/>
                  <a:pt x="67" y="56"/>
                  <a:pt x="65" y="57"/>
                </a:cubicBezTo>
                <a:cubicBezTo>
                  <a:pt x="63" y="58"/>
                  <a:pt x="62" y="54"/>
                  <a:pt x="61" y="53"/>
                </a:cubicBezTo>
                <a:cubicBezTo>
                  <a:pt x="59" y="53"/>
                  <a:pt x="58" y="53"/>
                  <a:pt x="56" y="53"/>
                </a:cubicBezTo>
                <a:cubicBezTo>
                  <a:pt x="54" y="53"/>
                  <a:pt x="47" y="60"/>
                  <a:pt x="46" y="62"/>
                </a:cubicBezTo>
                <a:cubicBezTo>
                  <a:pt x="44" y="65"/>
                  <a:pt x="43" y="71"/>
                  <a:pt x="43" y="71"/>
                </a:cubicBezTo>
                <a:cubicBezTo>
                  <a:pt x="40" y="72"/>
                  <a:pt x="36" y="73"/>
                  <a:pt x="34" y="73"/>
                </a:cubicBezTo>
                <a:cubicBezTo>
                  <a:pt x="32" y="73"/>
                  <a:pt x="25" y="75"/>
                  <a:pt x="23" y="72"/>
                </a:cubicBezTo>
                <a:cubicBezTo>
                  <a:pt x="20" y="70"/>
                  <a:pt x="18" y="60"/>
                  <a:pt x="13" y="58"/>
                </a:cubicBezTo>
                <a:cubicBezTo>
                  <a:pt x="11" y="57"/>
                  <a:pt x="6" y="57"/>
                  <a:pt x="1" y="57"/>
                </a:cubicBezTo>
                <a:cubicBezTo>
                  <a:pt x="0" y="38"/>
                  <a:pt x="0" y="38"/>
                  <a:pt x="0" y="38"/>
                </a:cubicBezTo>
                <a:cubicBezTo>
                  <a:pt x="0" y="38"/>
                  <a:pt x="5" y="32"/>
                  <a:pt x="7" y="28"/>
                </a:cubicBezTo>
                <a:cubicBezTo>
                  <a:pt x="9" y="25"/>
                  <a:pt x="6" y="21"/>
                  <a:pt x="6" y="1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8" name="Freeform 320"/>
          <p:cNvSpPr>
            <a:spLocks/>
          </p:cNvSpPr>
          <p:nvPr>
            <p:custDataLst>
              <p:tags r:id="rId234"/>
            </p:custDataLst>
          </p:nvPr>
        </p:nvSpPr>
        <p:spPr bwMode="auto">
          <a:xfrm>
            <a:off x="5869464" y="3759146"/>
            <a:ext cx="77268" cy="151024"/>
          </a:xfrm>
          <a:custGeom>
            <a:avLst/>
            <a:gdLst>
              <a:gd name="T0" fmla="*/ 10746 w 26"/>
              <a:gd name="T1" fmla="*/ 52286 h 47"/>
              <a:gd name="T2" fmla="*/ 0 w 26"/>
              <a:gd name="T3" fmla="*/ 40667 h 47"/>
              <a:gd name="T4" fmla="*/ 2687 w 26"/>
              <a:gd name="T5" fmla="*/ 34857 h 47"/>
              <a:gd name="T6" fmla="*/ 13433 w 26"/>
              <a:gd name="T7" fmla="*/ 23238 h 47"/>
              <a:gd name="T8" fmla="*/ 32238 w 26"/>
              <a:gd name="T9" fmla="*/ 11619 h 47"/>
              <a:gd name="T10" fmla="*/ 32238 w 26"/>
              <a:gd name="T11" fmla="*/ 5810 h 47"/>
              <a:gd name="T12" fmla="*/ 45671 w 26"/>
              <a:gd name="T13" fmla="*/ 0 h 47"/>
              <a:gd name="T14" fmla="*/ 61790 w 26"/>
              <a:gd name="T15" fmla="*/ 17429 h 47"/>
              <a:gd name="T16" fmla="*/ 64477 w 26"/>
              <a:gd name="T17" fmla="*/ 49381 h 47"/>
              <a:gd name="T18" fmla="*/ 45671 w 26"/>
              <a:gd name="T19" fmla="*/ 78429 h 47"/>
              <a:gd name="T20" fmla="*/ 48358 w 26"/>
              <a:gd name="T21" fmla="*/ 133620 h 47"/>
              <a:gd name="T22" fmla="*/ 24179 w 26"/>
              <a:gd name="T23" fmla="*/ 136525 h 47"/>
              <a:gd name="T24" fmla="*/ 18806 w 26"/>
              <a:gd name="T25" fmla="*/ 122001 h 47"/>
              <a:gd name="T26" fmla="*/ 18806 w 26"/>
              <a:gd name="T27" fmla="*/ 75524 h 47"/>
              <a:gd name="T28" fmla="*/ 10746 w 26"/>
              <a:gd name="T29" fmla="*/ 52286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7">
                <a:moveTo>
                  <a:pt x="4" y="18"/>
                </a:moveTo>
                <a:cubicBezTo>
                  <a:pt x="4" y="18"/>
                  <a:pt x="0" y="17"/>
                  <a:pt x="0" y="14"/>
                </a:cubicBezTo>
                <a:cubicBezTo>
                  <a:pt x="0" y="13"/>
                  <a:pt x="0" y="12"/>
                  <a:pt x="1" y="12"/>
                </a:cubicBezTo>
                <a:cubicBezTo>
                  <a:pt x="2" y="10"/>
                  <a:pt x="4" y="9"/>
                  <a:pt x="5" y="8"/>
                </a:cubicBezTo>
                <a:cubicBezTo>
                  <a:pt x="7" y="7"/>
                  <a:pt x="13" y="7"/>
                  <a:pt x="12" y="4"/>
                </a:cubicBezTo>
                <a:cubicBezTo>
                  <a:pt x="12" y="3"/>
                  <a:pt x="12" y="3"/>
                  <a:pt x="12" y="2"/>
                </a:cubicBezTo>
                <a:cubicBezTo>
                  <a:pt x="17" y="0"/>
                  <a:pt x="17" y="0"/>
                  <a:pt x="17" y="0"/>
                </a:cubicBezTo>
                <a:cubicBezTo>
                  <a:pt x="23" y="6"/>
                  <a:pt x="23" y="6"/>
                  <a:pt x="23" y="6"/>
                </a:cubicBezTo>
                <a:cubicBezTo>
                  <a:pt x="23" y="10"/>
                  <a:pt x="26" y="14"/>
                  <a:pt x="24" y="17"/>
                </a:cubicBezTo>
                <a:cubicBezTo>
                  <a:pt x="22" y="21"/>
                  <a:pt x="17" y="27"/>
                  <a:pt x="17" y="27"/>
                </a:cubicBezTo>
                <a:cubicBezTo>
                  <a:pt x="18" y="46"/>
                  <a:pt x="18" y="46"/>
                  <a:pt x="18" y="46"/>
                </a:cubicBezTo>
                <a:cubicBezTo>
                  <a:pt x="15" y="47"/>
                  <a:pt x="11" y="47"/>
                  <a:pt x="9" y="47"/>
                </a:cubicBezTo>
                <a:cubicBezTo>
                  <a:pt x="8" y="45"/>
                  <a:pt x="7" y="45"/>
                  <a:pt x="7" y="42"/>
                </a:cubicBezTo>
                <a:cubicBezTo>
                  <a:pt x="7" y="39"/>
                  <a:pt x="9" y="28"/>
                  <a:pt x="7" y="26"/>
                </a:cubicBezTo>
                <a:cubicBezTo>
                  <a:pt x="6" y="23"/>
                  <a:pt x="4" y="18"/>
                  <a:pt x="4" y="1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39" name="Freeform 321"/>
          <p:cNvSpPr>
            <a:spLocks/>
          </p:cNvSpPr>
          <p:nvPr>
            <p:custDataLst>
              <p:tags r:id="rId235"/>
            </p:custDataLst>
          </p:nvPr>
        </p:nvSpPr>
        <p:spPr bwMode="auto">
          <a:xfrm>
            <a:off x="5843123" y="3794269"/>
            <a:ext cx="52683" cy="126439"/>
          </a:xfrm>
          <a:custGeom>
            <a:avLst/>
            <a:gdLst>
              <a:gd name="T0" fmla="*/ 8404 w 17"/>
              <a:gd name="T1" fmla="*/ 29308 h 39"/>
              <a:gd name="T2" fmla="*/ 2801 w 17"/>
              <a:gd name="T3" fmla="*/ 8792 h 39"/>
              <a:gd name="T4" fmla="*/ 2801 w 17"/>
              <a:gd name="T5" fmla="*/ 0 h 39"/>
              <a:gd name="T6" fmla="*/ 8404 w 17"/>
              <a:gd name="T7" fmla="*/ 0 h 39"/>
              <a:gd name="T8" fmla="*/ 25213 w 17"/>
              <a:gd name="T9" fmla="*/ 2931 h 39"/>
              <a:gd name="T10" fmla="*/ 22412 w 17"/>
              <a:gd name="T11" fmla="*/ 8792 h 39"/>
              <a:gd name="T12" fmla="*/ 33618 w 17"/>
              <a:gd name="T13" fmla="*/ 20515 h 39"/>
              <a:gd name="T14" fmla="*/ 42022 w 17"/>
              <a:gd name="T15" fmla="*/ 43962 h 39"/>
              <a:gd name="T16" fmla="*/ 42022 w 17"/>
              <a:gd name="T17" fmla="*/ 90854 h 39"/>
              <a:gd name="T18" fmla="*/ 47625 w 17"/>
              <a:gd name="T19" fmla="*/ 105508 h 39"/>
              <a:gd name="T20" fmla="*/ 28015 w 17"/>
              <a:gd name="T21" fmla="*/ 114300 h 39"/>
              <a:gd name="T22" fmla="*/ 28015 w 17"/>
              <a:gd name="T23" fmla="*/ 114300 h 39"/>
              <a:gd name="T24" fmla="*/ 19610 w 17"/>
              <a:gd name="T25" fmla="*/ 93785 h 39"/>
              <a:gd name="T26" fmla="*/ 19610 w 17"/>
              <a:gd name="T27" fmla="*/ 58615 h 39"/>
              <a:gd name="T28" fmla="*/ 8404 w 17"/>
              <a:gd name="T29" fmla="*/ 29308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 h="39">
                <a:moveTo>
                  <a:pt x="3" y="10"/>
                </a:moveTo>
                <a:cubicBezTo>
                  <a:pt x="1" y="7"/>
                  <a:pt x="0" y="4"/>
                  <a:pt x="1" y="3"/>
                </a:cubicBezTo>
                <a:cubicBezTo>
                  <a:pt x="1" y="0"/>
                  <a:pt x="1" y="0"/>
                  <a:pt x="1" y="0"/>
                </a:cubicBezTo>
                <a:cubicBezTo>
                  <a:pt x="1" y="0"/>
                  <a:pt x="2" y="0"/>
                  <a:pt x="3" y="0"/>
                </a:cubicBezTo>
                <a:cubicBezTo>
                  <a:pt x="5" y="0"/>
                  <a:pt x="9" y="1"/>
                  <a:pt x="9" y="1"/>
                </a:cubicBezTo>
                <a:cubicBezTo>
                  <a:pt x="8" y="1"/>
                  <a:pt x="8" y="2"/>
                  <a:pt x="8" y="3"/>
                </a:cubicBezTo>
                <a:cubicBezTo>
                  <a:pt x="8" y="6"/>
                  <a:pt x="12" y="7"/>
                  <a:pt x="12" y="7"/>
                </a:cubicBezTo>
                <a:cubicBezTo>
                  <a:pt x="12" y="7"/>
                  <a:pt x="14" y="12"/>
                  <a:pt x="15" y="15"/>
                </a:cubicBezTo>
                <a:cubicBezTo>
                  <a:pt x="17" y="17"/>
                  <a:pt x="15" y="28"/>
                  <a:pt x="15" y="31"/>
                </a:cubicBezTo>
                <a:cubicBezTo>
                  <a:pt x="15" y="34"/>
                  <a:pt x="16" y="34"/>
                  <a:pt x="17" y="36"/>
                </a:cubicBezTo>
                <a:cubicBezTo>
                  <a:pt x="13" y="37"/>
                  <a:pt x="12" y="38"/>
                  <a:pt x="10" y="39"/>
                </a:cubicBezTo>
                <a:cubicBezTo>
                  <a:pt x="10" y="39"/>
                  <a:pt x="10" y="39"/>
                  <a:pt x="10" y="39"/>
                </a:cubicBezTo>
                <a:cubicBezTo>
                  <a:pt x="10" y="39"/>
                  <a:pt x="8" y="35"/>
                  <a:pt x="7" y="32"/>
                </a:cubicBezTo>
                <a:cubicBezTo>
                  <a:pt x="6" y="30"/>
                  <a:pt x="7" y="23"/>
                  <a:pt x="7" y="20"/>
                </a:cubicBezTo>
                <a:cubicBezTo>
                  <a:pt x="7" y="17"/>
                  <a:pt x="5" y="12"/>
                  <a:pt x="3" y="10"/>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0" name="Freeform 322"/>
          <p:cNvSpPr>
            <a:spLocks/>
          </p:cNvSpPr>
          <p:nvPr>
            <p:custDataLst>
              <p:tags r:id="rId236"/>
            </p:custDataLst>
          </p:nvPr>
        </p:nvSpPr>
        <p:spPr bwMode="auto">
          <a:xfrm>
            <a:off x="5778147" y="3794269"/>
            <a:ext cx="98341" cy="154537"/>
          </a:xfrm>
          <a:custGeom>
            <a:avLst/>
            <a:gdLst>
              <a:gd name="T0" fmla="*/ 11113 w 32"/>
              <a:gd name="T1" fmla="*/ 0 h 48"/>
              <a:gd name="T2" fmla="*/ 55563 w 32"/>
              <a:gd name="T3" fmla="*/ 0 h 48"/>
              <a:gd name="T4" fmla="*/ 63897 w 32"/>
              <a:gd name="T5" fmla="*/ 0 h 48"/>
              <a:gd name="T6" fmla="*/ 63897 w 32"/>
              <a:gd name="T7" fmla="*/ 8731 h 48"/>
              <a:gd name="T8" fmla="*/ 69453 w 32"/>
              <a:gd name="T9" fmla="*/ 29104 h 48"/>
              <a:gd name="T10" fmla="*/ 80566 w 32"/>
              <a:gd name="T11" fmla="*/ 58208 h 48"/>
              <a:gd name="T12" fmla="*/ 80566 w 32"/>
              <a:gd name="T13" fmla="*/ 93133 h 48"/>
              <a:gd name="T14" fmla="*/ 88900 w 32"/>
              <a:gd name="T15" fmla="*/ 113506 h 48"/>
              <a:gd name="T16" fmla="*/ 88900 w 32"/>
              <a:gd name="T17" fmla="*/ 113506 h 48"/>
              <a:gd name="T18" fmla="*/ 83344 w 32"/>
              <a:gd name="T19" fmla="*/ 116417 h 48"/>
              <a:gd name="T20" fmla="*/ 27781 w 32"/>
              <a:gd name="T21" fmla="*/ 139700 h 48"/>
              <a:gd name="T22" fmla="*/ 8334 w 32"/>
              <a:gd name="T23" fmla="*/ 136790 h 48"/>
              <a:gd name="T24" fmla="*/ 11113 w 32"/>
              <a:gd name="T25" fmla="*/ 116417 h 48"/>
              <a:gd name="T26" fmla="*/ 2778 w 32"/>
              <a:gd name="T27" fmla="*/ 96044 h 48"/>
              <a:gd name="T28" fmla="*/ 16669 w 32"/>
              <a:gd name="T29" fmla="*/ 55298 h 48"/>
              <a:gd name="T30" fmla="*/ 8334 w 32"/>
              <a:gd name="T31" fmla="*/ 32015 h 48"/>
              <a:gd name="T32" fmla="*/ 8334 w 32"/>
              <a:gd name="T33" fmla="*/ 32015 h 48"/>
              <a:gd name="T34" fmla="*/ 11113 w 32"/>
              <a:gd name="T35" fmla="*/ 0 h 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48">
                <a:moveTo>
                  <a:pt x="4" y="0"/>
                </a:moveTo>
                <a:cubicBezTo>
                  <a:pt x="20" y="0"/>
                  <a:pt x="20" y="0"/>
                  <a:pt x="20" y="0"/>
                </a:cubicBezTo>
                <a:cubicBezTo>
                  <a:pt x="20" y="0"/>
                  <a:pt x="21" y="0"/>
                  <a:pt x="23" y="0"/>
                </a:cubicBezTo>
                <a:cubicBezTo>
                  <a:pt x="23" y="0"/>
                  <a:pt x="23" y="0"/>
                  <a:pt x="23" y="3"/>
                </a:cubicBezTo>
                <a:cubicBezTo>
                  <a:pt x="22" y="4"/>
                  <a:pt x="23" y="7"/>
                  <a:pt x="25" y="10"/>
                </a:cubicBezTo>
                <a:cubicBezTo>
                  <a:pt x="27" y="12"/>
                  <a:pt x="29" y="17"/>
                  <a:pt x="29" y="20"/>
                </a:cubicBezTo>
                <a:cubicBezTo>
                  <a:pt x="29" y="23"/>
                  <a:pt x="28" y="30"/>
                  <a:pt x="29" y="32"/>
                </a:cubicBezTo>
                <a:cubicBezTo>
                  <a:pt x="30" y="35"/>
                  <a:pt x="32" y="39"/>
                  <a:pt x="32" y="39"/>
                </a:cubicBezTo>
                <a:cubicBezTo>
                  <a:pt x="32" y="39"/>
                  <a:pt x="32" y="39"/>
                  <a:pt x="32" y="39"/>
                </a:cubicBezTo>
                <a:cubicBezTo>
                  <a:pt x="32" y="40"/>
                  <a:pt x="31" y="40"/>
                  <a:pt x="30" y="40"/>
                </a:cubicBezTo>
                <a:cubicBezTo>
                  <a:pt x="28" y="41"/>
                  <a:pt x="12" y="48"/>
                  <a:pt x="10" y="48"/>
                </a:cubicBezTo>
                <a:cubicBezTo>
                  <a:pt x="9" y="48"/>
                  <a:pt x="6" y="48"/>
                  <a:pt x="3" y="47"/>
                </a:cubicBezTo>
                <a:cubicBezTo>
                  <a:pt x="3" y="46"/>
                  <a:pt x="4" y="41"/>
                  <a:pt x="4" y="40"/>
                </a:cubicBezTo>
                <a:cubicBezTo>
                  <a:pt x="4" y="38"/>
                  <a:pt x="2" y="36"/>
                  <a:pt x="1" y="33"/>
                </a:cubicBezTo>
                <a:cubicBezTo>
                  <a:pt x="0" y="29"/>
                  <a:pt x="5" y="22"/>
                  <a:pt x="6" y="19"/>
                </a:cubicBezTo>
                <a:cubicBezTo>
                  <a:pt x="6" y="17"/>
                  <a:pt x="5" y="13"/>
                  <a:pt x="3" y="11"/>
                </a:cubicBezTo>
                <a:cubicBezTo>
                  <a:pt x="3" y="11"/>
                  <a:pt x="3" y="11"/>
                  <a:pt x="3" y="11"/>
                </a:cubicBezTo>
                <a:lnTo>
                  <a:pt x="4" y="0"/>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1" name="Freeform 323"/>
          <p:cNvSpPr>
            <a:spLocks/>
          </p:cNvSpPr>
          <p:nvPr>
            <p:custDataLst>
              <p:tags r:id="rId237"/>
            </p:custDataLst>
          </p:nvPr>
        </p:nvSpPr>
        <p:spPr bwMode="auto">
          <a:xfrm>
            <a:off x="5723707" y="3692415"/>
            <a:ext cx="184390" cy="138732"/>
          </a:xfrm>
          <a:custGeom>
            <a:avLst/>
            <a:gdLst>
              <a:gd name="T0" fmla="*/ 0 w 61"/>
              <a:gd name="T1" fmla="*/ 107914 h 43"/>
              <a:gd name="T2" fmla="*/ 8198 w 61"/>
              <a:gd name="T3" fmla="*/ 78748 h 43"/>
              <a:gd name="T4" fmla="*/ 24593 w 61"/>
              <a:gd name="T5" fmla="*/ 61248 h 43"/>
              <a:gd name="T6" fmla="*/ 21861 w 61"/>
              <a:gd name="T7" fmla="*/ 46665 h 43"/>
              <a:gd name="T8" fmla="*/ 38256 w 61"/>
              <a:gd name="T9" fmla="*/ 34999 h 43"/>
              <a:gd name="T10" fmla="*/ 49187 w 61"/>
              <a:gd name="T11" fmla="*/ 43749 h 43"/>
              <a:gd name="T12" fmla="*/ 68315 w 61"/>
              <a:gd name="T13" fmla="*/ 20416 h 43"/>
              <a:gd name="T14" fmla="*/ 106571 w 61"/>
              <a:gd name="T15" fmla="*/ 0 h 43"/>
              <a:gd name="T16" fmla="*/ 125699 w 61"/>
              <a:gd name="T17" fmla="*/ 0 h 43"/>
              <a:gd name="T18" fmla="*/ 122967 w 61"/>
              <a:gd name="T19" fmla="*/ 17499 h 43"/>
              <a:gd name="T20" fmla="*/ 133897 w 61"/>
              <a:gd name="T21" fmla="*/ 34999 h 43"/>
              <a:gd name="T22" fmla="*/ 153025 w 61"/>
              <a:gd name="T23" fmla="*/ 55415 h 43"/>
              <a:gd name="T24" fmla="*/ 163955 w 61"/>
              <a:gd name="T25" fmla="*/ 67081 h 43"/>
              <a:gd name="T26" fmla="*/ 163955 w 61"/>
              <a:gd name="T27" fmla="*/ 72915 h 43"/>
              <a:gd name="T28" fmla="*/ 144827 w 61"/>
              <a:gd name="T29" fmla="*/ 84581 h 43"/>
              <a:gd name="T30" fmla="*/ 133897 w 61"/>
              <a:gd name="T31" fmla="*/ 96247 h 43"/>
              <a:gd name="T32" fmla="*/ 117501 w 61"/>
              <a:gd name="T33" fmla="*/ 93331 h 43"/>
              <a:gd name="T34" fmla="*/ 112036 w 61"/>
              <a:gd name="T35" fmla="*/ 93331 h 43"/>
              <a:gd name="T36" fmla="*/ 103838 w 61"/>
              <a:gd name="T37" fmla="*/ 93331 h 43"/>
              <a:gd name="T38" fmla="*/ 60117 w 61"/>
              <a:gd name="T39" fmla="*/ 93331 h 43"/>
              <a:gd name="T40" fmla="*/ 57384 w 61"/>
              <a:gd name="T41" fmla="*/ 125413 h 43"/>
              <a:gd name="T42" fmla="*/ 57384 w 61"/>
              <a:gd name="T43" fmla="*/ 125413 h 43"/>
              <a:gd name="T44" fmla="*/ 49187 w 61"/>
              <a:gd name="T45" fmla="*/ 122496 h 43"/>
              <a:gd name="T46" fmla="*/ 24593 w 61"/>
              <a:gd name="T47" fmla="*/ 125413 h 43"/>
              <a:gd name="T48" fmla="*/ 0 w 61"/>
              <a:gd name="T49" fmla="*/ 107914 h 4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43">
                <a:moveTo>
                  <a:pt x="0" y="37"/>
                </a:moveTo>
                <a:cubicBezTo>
                  <a:pt x="0" y="37"/>
                  <a:pt x="1" y="29"/>
                  <a:pt x="3" y="27"/>
                </a:cubicBezTo>
                <a:cubicBezTo>
                  <a:pt x="5" y="25"/>
                  <a:pt x="8" y="22"/>
                  <a:pt x="9" y="21"/>
                </a:cubicBezTo>
                <a:cubicBezTo>
                  <a:pt x="11" y="20"/>
                  <a:pt x="7" y="17"/>
                  <a:pt x="8" y="16"/>
                </a:cubicBezTo>
                <a:cubicBezTo>
                  <a:pt x="9" y="15"/>
                  <a:pt x="14" y="12"/>
                  <a:pt x="14" y="12"/>
                </a:cubicBezTo>
                <a:cubicBezTo>
                  <a:pt x="14" y="12"/>
                  <a:pt x="17" y="16"/>
                  <a:pt x="18" y="15"/>
                </a:cubicBezTo>
                <a:cubicBezTo>
                  <a:pt x="19" y="15"/>
                  <a:pt x="23" y="9"/>
                  <a:pt x="25" y="7"/>
                </a:cubicBezTo>
                <a:cubicBezTo>
                  <a:pt x="27" y="5"/>
                  <a:pt x="36" y="0"/>
                  <a:pt x="39" y="0"/>
                </a:cubicBezTo>
                <a:cubicBezTo>
                  <a:pt x="40" y="0"/>
                  <a:pt x="43" y="0"/>
                  <a:pt x="46" y="0"/>
                </a:cubicBezTo>
                <a:cubicBezTo>
                  <a:pt x="45" y="6"/>
                  <a:pt x="45" y="6"/>
                  <a:pt x="45" y="6"/>
                </a:cubicBezTo>
                <a:cubicBezTo>
                  <a:pt x="45" y="8"/>
                  <a:pt x="47" y="10"/>
                  <a:pt x="49" y="12"/>
                </a:cubicBezTo>
                <a:cubicBezTo>
                  <a:pt x="50" y="14"/>
                  <a:pt x="54" y="17"/>
                  <a:pt x="56" y="19"/>
                </a:cubicBezTo>
                <a:cubicBezTo>
                  <a:pt x="58" y="21"/>
                  <a:pt x="59" y="22"/>
                  <a:pt x="60" y="23"/>
                </a:cubicBezTo>
                <a:cubicBezTo>
                  <a:pt x="60" y="24"/>
                  <a:pt x="60" y="24"/>
                  <a:pt x="60" y="25"/>
                </a:cubicBezTo>
                <a:cubicBezTo>
                  <a:pt x="61" y="28"/>
                  <a:pt x="55" y="28"/>
                  <a:pt x="53" y="29"/>
                </a:cubicBezTo>
                <a:cubicBezTo>
                  <a:pt x="52" y="30"/>
                  <a:pt x="50" y="31"/>
                  <a:pt x="49" y="33"/>
                </a:cubicBezTo>
                <a:cubicBezTo>
                  <a:pt x="49" y="33"/>
                  <a:pt x="45" y="32"/>
                  <a:pt x="43" y="32"/>
                </a:cubicBezTo>
                <a:cubicBezTo>
                  <a:pt x="42" y="32"/>
                  <a:pt x="41" y="32"/>
                  <a:pt x="41" y="32"/>
                </a:cubicBezTo>
                <a:cubicBezTo>
                  <a:pt x="39" y="32"/>
                  <a:pt x="38" y="32"/>
                  <a:pt x="38" y="32"/>
                </a:cubicBezTo>
                <a:cubicBezTo>
                  <a:pt x="22" y="32"/>
                  <a:pt x="22" y="32"/>
                  <a:pt x="22" y="32"/>
                </a:cubicBezTo>
                <a:cubicBezTo>
                  <a:pt x="21" y="43"/>
                  <a:pt x="21" y="43"/>
                  <a:pt x="21" y="43"/>
                </a:cubicBezTo>
                <a:cubicBezTo>
                  <a:pt x="21" y="43"/>
                  <a:pt x="21" y="43"/>
                  <a:pt x="21" y="43"/>
                </a:cubicBezTo>
                <a:cubicBezTo>
                  <a:pt x="20" y="42"/>
                  <a:pt x="19" y="42"/>
                  <a:pt x="18" y="42"/>
                </a:cubicBezTo>
                <a:cubicBezTo>
                  <a:pt x="15" y="41"/>
                  <a:pt x="12" y="43"/>
                  <a:pt x="9" y="43"/>
                </a:cubicBezTo>
                <a:cubicBezTo>
                  <a:pt x="7" y="43"/>
                  <a:pt x="2" y="37"/>
                  <a:pt x="0" y="3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2" name="Freeform 324"/>
          <p:cNvSpPr>
            <a:spLocks/>
          </p:cNvSpPr>
          <p:nvPr>
            <p:custDataLst>
              <p:tags r:id="rId238"/>
            </p:custDataLst>
          </p:nvPr>
        </p:nvSpPr>
        <p:spPr bwMode="auto">
          <a:xfrm>
            <a:off x="5655220" y="3111147"/>
            <a:ext cx="470634" cy="481171"/>
          </a:xfrm>
          <a:custGeom>
            <a:avLst/>
            <a:gdLst>
              <a:gd name="T0" fmla="*/ 79090 w 156"/>
              <a:gd name="T1" fmla="*/ 300687 h 149"/>
              <a:gd name="T2" fmla="*/ 0 w 156"/>
              <a:gd name="T3" fmla="*/ 245221 h 149"/>
              <a:gd name="T4" fmla="*/ 0 w 156"/>
              <a:gd name="T5" fmla="*/ 236463 h 149"/>
              <a:gd name="T6" fmla="*/ 2727 w 156"/>
              <a:gd name="T7" fmla="*/ 207270 h 149"/>
              <a:gd name="T8" fmla="*/ 35454 w 156"/>
              <a:gd name="T9" fmla="*/ 183916 h 149"/>
              <a:gd name="T10" fmla="*/ 70908 w 156"/>
              <a:gd name="T11" fmla="*/ 178077 h 149"/>
              <a:gd name="T12" fmla="*/ 79090 w 156"/>
              <a:gd name="T13" fmla="*/ 160561 h 149"/>
              <a:gd name="T14" fmla="*/ 103635 w 156"/>
              <a:gd name="T15" fmla="*/ 151803 h 149"/>
              <a:gd name="T16" fmla="*/ 106363 w 156"/>
              <a:gd name="T17" fmla="*/ 131368 h 149"/>
              <a:gd name="T18" fmla="*/ 155453 w 156"/>
              <a:gd name="T19" fmla="*/ 122610 h 149"/>
              <a:gd name="T20" fmla="*/ 158180 w 156"/>
              <a:gd name="T21" fmla="*/ 108014 h 149"/>
              <a:gd name="T22" fmla="*/ 144544 w 156"/>
              <a:gd name="T23" fmla="*/ 81740 h 149"/>
              <a:gd name="T24" fmla="*/ 139089 w 156"/>
              <a:gd name="T25" fmla="*/ 49628 h 149"/>
              <a:gd name="T26" fmla="*/ 139089 w 156"/>
              <a:gd name="T27" fmla="*/ 49628 h 149"/>
              <a:gd name="T28" fmla="*/ 149998 w 156"/>
              <a:gd name="T29" fmla="*/ 46709 h 149"/>
              <a:gd name="T30" fmla="*/ 169089 w 156"/>
              <a:gd name="T31" fmla="*/ 32112 h 149"/>
              <a:gd name="T32" fmla="*/ 201816 w 156"/>
              <a:gd name="T33" fmla="*/ 14596 h 149"/>
              <a:gd name="T34" fmla="*/ 231816 w 156"/>
              <a:gd name="T35" fmla="*/ 11677 h 149"/>
              <a:gd name="T36" fmla="*/ 256361 w 156"/>
              <a:gd name="T37" fmla="*/ 2919 h 149"/>
              <a:gd name="T38" fmla="*/ 278179 w 156"/>
              <a:gd name="T39" fmla="*/ 2919 h 149"/>
              <a:gd name="T40" fmla="*/ 294542 w 156"/>
              <a:gd name="T41" fmla="*/ 11677 h 149"/>
              <a:gd name="T42" fmla="*/ 313633 w 156"/>
              <a:gd name="T43" fmla="*/ 0 h 149"/>
              <a:gd name="T44" fmla="*/ 335451 w 156"/>
              <a:gd name="T45" fmla="*/ 0 h 149"/>
              <a:gd name="T46" fmla="*/ 357269 w 156"/>
              <a:gd name="T47" fmla="*/ 0 h 149"/>
              <a:gd name="T48" fmla="*/ 354542 w 156"/>
              <a:gd name="T49" fmla="*/ 26274 h 149"/>
              <a:gd name="T50" fmla="*/ 349087 w 156"/>
              <a:gd name="T51" fmla="*/ 64224 h 149"/>
              <a:gd name="T52" fmla="*/ 335451 w 156"/>
              <a:gd name="T53" fmla="*/ 90498 h 149"/>
              <a:gd name="T54" fmla="*/ 351814 w 156"/>
              <a:gd name="T55" fmla="*/ 108014 h 149"/>
              <a:gd name="T56" fmla="*/ 365451 w 156"/>
              <a:gd name="T57" fmla="*/ 128449 h 149"/>
              <a:gd name="T58" fmla="*/ 379087 w 156"/>
              <a:gd name="T59" fmla="*/ 169319 h 149"/>
              <a:gd name="T60" fmla="*/ 381814 w 156"/>
              <a:gd name="T61" fmla="*/ 180996 h 149"/>
              <a:gd name="T62" fmla="*/ 387269 w 156"/>
              <a:gd name="T63" fmla="*/ 251059 h 149"/>
              <a:gd name="T64" fmla="*/ 376360 w 156"/>
              <a:gd name="T65" fmla="*/ 271494 h 149"/>
              <a:gd name="T66" fmla="*/ 392723 w 156"/>
              <a:gd name="T67" fmla="*/ 303607 h 149"/>
              <a:gd name="T68" fmla="*/ 417268 w 156"/>
              <a:gd name="T69" fmla="*/ 309445 h 149"/>
              <a:gd name="T70" fmla="*/ 425450 w 156"/>
              <a:gd name="T71" fmla="*/ 332800 h 149"/>
              <a:gd name="T72" fmla="*/ 332724 w 156"/>
              <a:gd name="T73" fmla="*/ 394105 h 149"/>
              <a:gd name="T74" fmla="*/ 302724 w 156"/>
              <a:gd name="T75" fmla="*/ 426217 h 149"/>
              <a:gd name="T76" fmla="*/ 269997 w 156"/>
              <a:gd name="T77" fmla="*/ 432056 h 149"/>
              <a:gd name="T78" fmla="*/ 248179 w 156"/>
              <a:gd name="T79" fmla="*/ 434975 h 149"/>
              <a:gd name="T80" fmla="*/ 239997 w 156"/>
              <a:gd name="T81" fmla="*/ 414540 h 149"/>
              <a:gd name="T82" fmla="*/ 207271 w 156"/>
              <a:gd name="T83" fmla="*/ 397024 h 149"/>
              <a:gd name="T84" fmla="*/ 201816 w 156"/>
              <a:gd name="T85" fmla="*/ 385347 h 149"/>
              <a:gd name="T86" fmla="*/ 79090 w 156"/>
              <a:gd name="T87" fmla="*/ 300687 h 1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6" h="149">
                <a:moveTo>
                  <a:pt x="29" y="103"/>
                </a:moveTo>
                <a:cubicBezTo>
                  <a:pt x="0" y="84"/>
                  <a:pt x="0" y="84"/>
                  <a:pt x="0" y="84"/>
                </a:cubicBezTo>
                <a:cubicBezTo>
                  <a:pt x="0" y="81"/>
                  <a:pt x="0" y="81"/>
                  <a:pt x="0" y="81"/>
                </a:cubicBezTo>
                <a:cubicBezTo>
                  <a:pt x="1" y="71"/>
                  <a:pt x="1" y="71"/>
                  <a:pt x="1" y="71"/>
                </a:cubicBezTo>
                <a:cubicBezTo>
                  <a:pt x="1" y="71"/>
                  <a:pt x="10" y="64"/>
                  <a:pt x="13" y="63"/>
                </a:cubicBezTo>
                <a:cubicBezTo>
                  <a:pt x="16" y="63"/>
                  <a:pt x="25" y="63"/>
                  <a:pt x="26" y="61"/>
                </a:cubicBezTo>
                <a:cubicBezTo>
                  <a:pt x="28" y="60"/>
                  <a:pt x="27" y="55"/>
                  <a:pt x="29" y="55"/>
                </a:cubicBezTo>
                <a:cubicBezTo>
                  <a:pt x="32" y="55"/>
                  <a:pt x="36" y="53"/>
                  <a:pt x="38" y="52"/>
                </a:cubicBezTo>
                <a:cubicBezTo>
                  <a:pt x="40" y="52"/>
                  <a:pt x="37" y="47"/>
                  <a:pt x="39" y="45"/>
                </a:cubicBezTo>
                <a:cubicBezTo>
                  <a:pt x="41" y="44"/>
                  <a:pt x="57" y="42"/>
                  <a:pt x="57" y="42"/>
                </a:cubicBezTo>
                <a:cubicBezTo>
                  <a:pt x="57" y="42"/>
                  <a:pt x="58" y="38"/>
                  <a:pt x="58" y="37"/>
                </a:cubicBezTo>
                <a:cubicBezTo>
                  <a:pt x="58" y="35"/>
                  <a:pt x="53" y="32"/>
                  <a:pt x="53" y="28"/>
                </a:cubicBezTo>
                <a:cubicBezTo>
                  <a:pt x="53" y="25"/>
                  <a:pt x="51" y="17"/>
                  <a:pt x="51" y="17"/>
                </a:cubicBezTo>
                <a:cubicBezTo>
                  <a:pt x="51" y="17"/>
                  <a:pt x="51" y="17"/>
                  <a:pt x="51" y="17"/>
                </a:cubicBezTo>
                <a:cubicBezTo>
                  <a:pt x="52" y="17"/>
                  <a:pt x="53" y="16"/>
                  <a:pt x="55" y="16"/>
                </a:cubicBezTo>
                <a:cubicBezTo>
                  <a:pt x="58" y="16"/>
                  <a:pt x="59" y="13"/>
                  <a:pt x="62" y="11"/>
                </a:cubicBezTo>
                <a:cubicBezTo>
                  <a:pt x="65" y="9"/>
                  <a:pt x="70" y="6"/>
                  <a:pt x="74" y="5"/>
                </a:cubicBezTo>
                <a:cubicBezTo>
                  <a:pt x="78" y="5"/>
                  <a:pt x="82" y="4"/>
                  <a:pt x="85" y="4"/>
                </a:cubicBezTo>
                <a:cubicBezTo>
                  <a:pt x="89" y="4"/>
                  <a:pt x="93" y="1"/>
                  <a:pt x="94" y="1"/>
                </a:cubicBezTo>
                <a:cubicBezTo>
                  <a:pt x="96" y="1"/>
                  <a:pt x="101" y="1"/>
                  <a:pt x="102" y="1"/>
                </a:cubicBezTo>
                <a:cubicBezTo>
                  <a:pt x="103" y="1"/>
                  <a:pt x="103" y="4"/>
                  <a:pt x="108" y="4"/>
                </a:cubicBezTo>
                <a:cubicBezTo>
                  <a:pt x="112" y="4"/>
                  <a:pt x="113" y="1"/>
                  <a:pt x="115" y="0"/>
                </a:cubicBezTo>
                <a:cubicBezTo>
                  <a:pt x="117" y="0"/>
                  <a:pt x="121" y="0"/>
                  <a:pt x="123" y="0"/>
                </a:cubicBezTo>
                <a:cubicBezTo>
                  <a:pt x="125" y="1"/>
                  <a:pt x="130" y="1"/>
                  <a:pt x="131" y="0"/>
                </a:cubicBezTo>
                <a:cubicBezTo>
                  <a:pt x="131" y="0"/>
                  <a:pt x="130" y="7"/>
                  <a:pt x="130" y="9"/>
                </a:cubicBezTo>
                <a:cubicBezTo>
                  <a:pt x="130" y="11"/>
                  <a:pt x="129" y="21"/>
                  <a:pt x="128" y="22"/>
                </a:cubicBezTo>
                <a:cubicBezTo>
                  <a:pt x="126" y="24"/>
                  <a:pt x="121" y="28"/>
                  <a:pt x="123" y="31"/>
                </a:cubicBezTo>
                <a:cubicBezTo>
                  <a:pt x="125" y="33"/>
                  <a:pt x="128" y="36"/>
                  <a:pt x="129" y="37"/>
                </a:cubicBezTo>
                <a:cubicBezTo>
                  <a:pt x="129" y="38"/>
                  <a:pt x="134" y="42"/>
                  <a:pt x="134" y="44"/>
                </a:cubicBezTo>
                <a:cubicBezTo>
                  <a:pt x="135" y="45"/>
                  <a:pt x="137" y="53"/>
                  <a:pt x="139" y="58"/>
                </a:cubicBezTo>
                <a:cubicBezTo>
                  <a:pt x="139" y="60"/>
                  <a:pt x="140" y="61"/>
                  <a:pt x="140" y="62"/>
                </a:cubicBezTo>
                <a:cubicBezTo>
                  <a:pt x="141" y="67"/>
                  <a:pt x="142" y="84"/>
                  <a:pt x="142" y="86"/>
                </a:cubicBezTo>
                <a:cubicBezTo>
                  <a:pt x="142" y="88"/>
                  <a:pt x="136" y="91"/>
                  <a:pt x="138" y="93"/>
                </a:cubicBezTo>
                <a:cubicBezTo>
                  <a:pt x="141" y="96"/>
                  <a:pt x="143" y="103"/>
                  <a:pt x="144" y="104"/>
                </a:cubicBezTo>
                <a:cubicBezTo>
                  <a:pt x="146" y="104"/>
                  <a:pt x="152" y="105"/>
                  <a:pt x="153" y="106"/>
                </a:cubicBezTo>
                <a:cubicBezTo>
                  <a:pt x="156" y="114"/>
                  <a:pt x="156" y="114"/>
                  <a:pt x="156" y="114"/>
                </a:cubicBezTo>
                <a:cubicBezTo>
                  <a:pt x="149" y="118"/>
                  <a:pt x="123" y="133"/>
                  <a:pt x="122" y="135"/>
                </a:cubicBezTo>
                <a:cubicBezTo>
                  <a:pt x="120" y="137"/>
                  <a:pt x="111" y="146"/>
                  <a:pt x="111" y="146"/>
                </a:cubicBezTo>
                <a:cubicBezTo>
                  <a:pt x="99" y="148"/>
                  <a:pt x="99" y="148"/>
                  <a:pt x="99" y="148"/>
                </a:cubicBezTo>
                <a:cubicBezTo>
                  <a:pt x="91" y="149"/>
                  <a:pt x="91" y="149"/>
                  <a:pt x="91" y="149"/>
                </a:cubicBezTo>
                <a:cubicBezTo>
                  <a:pt x="91" y="149"/>
                  <a:pt x="91" y="143"/>
                  <a:pt x="88" y="142"/>
                </a:cubicBezTo>
                <a:cubicBezTo>
                  <a:pt x="86" y="141"/>
                  <a:pt x="77" y="138"/>
                  <a:pt x="76" y="136"/>
                </a:cubicBezTo>
                <a:cubicBezTo>
                  <a:pt x="75" y="135"/>
                  <a:pt x="74" y="132"/>
                  <a:pt x="74" y="132"/>
                </a:cubicBezTo>
                <a:cubicBezTo>
                  <a:pt x="29" y="103"/>
                  <a:pt x="29" y="103"/>
                  <a:pt x="29" y="10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3" name="Freeform 325"/>
          <p:cNvSpPr>
            <a:spLocks/>
          </p:cNvSpPr>
          <p:nvPr>
            <p:custDataLst>
              <p:tags r:id="rId239"/>
            </p:custDataLst>
          </p:nvPr>
        </p:nvSpPr>
        <p:spPr bwMode="auto">
          <a:xfrm>
            <a:off x="5655220" y="3811829"/>
            <a:ext cx="142244" cy="147512"/>
          </a:xfrm>
          <a:custGeom>
            <a:avLst/>
            <a:gdLst>
              <a:gd name="T0" fmla="*/ 10944 w 47"/>
              <a:gd name="T1" fmla="*/ 52180 h 46"/>
              <a:gd name="T2" fmla="*/ 16415 w 47"/>
              <a:gd name="T3" fmla="*/ 31888 h 46"/>
              <a:gd name="T4" fmla="*/ 10944 w 47"/>
              <a:gd name="T5" fmla="*/ 2899 h 46"/>
              <a:gd name="T6" fmla="*/ 35567 w 47"/>
              <a:gd name="T7" fmla="*/ 2899 h 46"/>
              <a:gd name="T8" fmla="*/ 62926 w 47"/>
              <a:gd name="T9" fmla="*/ 0 h 46"/>
              <a:gd name="T10" fmla="*/ 87549 w 47"/>
              <a:gd name="T11" fmla="*/ 17393 h 46"/>
              <a:gd name="T12" fmla="*/ 112173 w 47"/>
              <a:gd name="T13" fmla="*/ 14495 h 46"/>
              <a:gd name="T14" fmla="*/ 120380 w 47"/>
              <a:gd name="T15" fmla="*/ 17393 h 46"/>
              <a:gd name="T16" fmla="*/ 128588 w 47"/>
              <a:gd name="T17" fmla="*/ 40585 h 46"/>
              <a:gd name="T18" fmla="*/ 114908 w 47"/>
              <a:gd name="T19" fmla="*/ 81170 h 46"/>
              <a:gd name="T20" fmla="*/ 123116 w 47"/>
              <a:gd name="T21" fmla="*/ 101462 h 46"/>
              <a:gd name="T22" fmla="*/ 120380 w 47"/>
              <a:gd name="T23" fmla="*/ 121754 h 46"/>
              <a:gd name="T24" fmla="*/ 90285 w 47"/>
              <a:gd name="T25" fmla="*/ 115957 h 46"/>
              <a:gd name="T26" fmla="*/ 21887 w 47"/>
              <a:gd name="T27" fmla="*/ 133350 h 46"/>
              <a:gd name="T28" fmla="*/ 19151 w 47"/>
              <a:gd name="T29" fmla="*/ 133350 h 46"/>
              <a:gd name="T30" fmla="*/ 27359 w 47"/>
              <a:gd name="T31" fmla="*/ 104361 h 46"/>
              <a:gd name="T32" fmla="*/ 8208 w 47"/>
              <a:gd name="T33" fmla="*/ 86967 h 46"/>
              <a:gd name="T34" fmla="*/ 2736 w 47"/>
              <a:gd name="T35" fmla="*/ 63776 h 46"/>
              <a:gd name="T36" fmla="*/ 10944 w 47"/>
              <a:gd name="T37" fmla="*/ 5218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7" h="46">
                <a:moveTo>
                  <a:pt x="4" y="18"/>
                </a:moveTo>
                <a:cubicBezTo>
                  <a:pt x="5" y="18"/>
                  <a:pt x="7" y="13"/>
                  <a:pt x="6" y="11"/>
                </a:cubicBezTo>
                <a:cubicBezTo>
                  <a:pt x="4" y="10"/>
                  <a:pt x="4" y="3"/>
                  <a:pt x="4" y="1"/>
                </a:cubicBezTo>
                <a:cubicBezTo>
                  <a:pt x="9" y="1"/>
                  <a:pt x="13" y="1"/>
                  <a:pt x="13" y="1"/>
                </a:cubicBezTo>
                <a:cubicBezTo>
                  <a:pt x="15" y="1"/>
                  <a:pt x="21" y="0"/>
                  <a:pt x="23" y="0"/>
                </a:cubicBezTo>
                <a:cubicBezTo>
                  <a:pt x="25" y="0"/>
                  <a:pt x="30" y="6"/>
                  <a:pt x="32" y="6"/>
                </a:cubicBezTo>
                <a:cubicBezTo>
                  <a:pt x="35" y="6"/>
                  <a:pt x="38" y="4"/>
                  <a:pt x="41" y="5"/>
                </a:cubicBezTo>
                <a:cubicBezTo>
                  <a:pt x="42" y="5"/>
                  <a:pt x="43" y="5"/>
                  <a:pt x="44" y="6"/>
                </a:cubicBezTo>
                <a:cubicBezTo>
                  <a:pt x="46" y="8"/>
                  <a:pt x="47" y="12"/>
                  <a:pt x="47" y="14"/>
                </a:cubicBezTo>
                <a:cubicBezTo>
                  <a:pt x="46" y="17"/>
                  <a:pt x="41" y="24"/>
                  <a:pt x="42" y="28"/>
                </a:cubicBezTo>
                <a:cubicBezTo>
                  <a:pt x="43" y="31"/>
                  <a:pt x="45" y="33"/>
                  <a:pt x="45" y="35"/>
                </a:cubicBezTo>
                <a:cubicBezTo>
                  <a:pt x="45" y="36"/>
                  <a:pt x="44" y="41"/>
                  <a:pt x="44" y="42"/>
                </a:cubicBezTo>
                <a:cubicBezTo>
                  <a:pt x="40" y="41"/>
                  <a:pt x="36" y="40"/>
                  <a:pt x="33" y="40"/>
                </a:cubicBezTo>
                <a:cubicBezTo>
                  <a:pt x="28" y="40"/>
                  <a:pt x="12" y="46"/>
                  <a:pt x="8" y="46"/>
                </a:cubicBezTo>
                <a:cubicBezTo>
                  <a:pt x="8" y="46"/>
                  <a:pt x="8" y="46"/>
                  <a:pt x="7" y="46"/>
                </a:cubicBezTo>
                <a:cubicBezTo>
                  <a:pt x="7" y="46"/>
                  <a:pt x="9" y="38"/>
                  <a:pt x="10" y="36"/>
                </a:cubicBezTo>
                <a:cubicBezTo>
                  <a:pt x="10" y="34"/>
                  <a:pt x="5" y="31"/>
                  <a:pt x="3" y="30"/>
                </a:cubicBezTo>
                <a:cubicBezTo>
                  <a:pt x="0" y="28"/>
                  <a:pt x="2" y="24"/>
                  <a:pt x="1" y="22"/>
                </a:cubicBezTo>
                <a:cubicBezTo>
                  <a:pt x="1" y="21"/>
                  <a:pt x="2" y="18"/>
                  <a:pt x="4" y="1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4" name="Freeform 326"/>
          <p:cNvSpPr>
            <a:spLocks/>
          </p:cNvSpPr>
          <p:nvPr>
            <p:custDataLst>
              <p:tags r:id="rId240"/>
            </p:custDataLst>
          </p:nvPr>
        </p:nvSpPr>
        <p:spPr bwMode="auto">
          <a:xfrm>
            <a:off x="5588489" y="3855732"/>
            <a:ext cx="96585" cy="103610"/>
          </a:xfrm>
          <a:custGeom>
            <a:avLst/>
            <a:gdLst>
              <a:gd name="T0" fmla="*/ 19100 w 32"/>
              <a:gd name="T1" fmla="*/ 20489 h 32"/>
              <a:gd name="T2" fmla="*/ 21828 w 32"/>
              <a:gd name="T3" fmla="*/ 2927 h 32"/>
              <a:gd name="T4" fmla="*/ 38199 w 32"/>
              <a:gd name="T5" fmla="*/ 5854 h 32"/>
              <a:gd name="T6" fmla="*/ 40928 w 32"/>
              <a:gd name="T7" fmla="*/ 23416 h 32"/>
              <a:gd name="T8" fmla="*/ 62756 w 32"/>
              <a:gd name="T9" fmla="*/ 23416 h 32"/>
              <a:gd name="T10" fmla="*/ 68213 w 32"/>
              <a:gd name="T11" fmla="*/ 46832 h 32"/>
              <a:gd name="T12" fmla="*/ 87313 w 32"/>
              <a:gd name="T13" fmla="*/ 64393 h 32"/>
              <a:gd name="T14" fmla="*/ 79127 w 32"/>
              <a:gd name="T15" fmla="*/ 93663 h 32"/>
              <a:gd name="T16" fmla="*/ 27285 w 32"/>
              <a:gd name="T17" fmla="*/ 58539 h 32"/>
              <a:gd name="T18" fmla="*/ 0 w 32"/>
              <a:gd name="T19" fmla="*/ 38051 h 32"/>
              <a:gd name="T20" fmla="*/ 19100 w 32"/>
              <a:gd name="T21" fmla="*/ 20489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32">
                <a:moveTo>
                  <a:pt x="7" y="7"/>
                </a:moveTo>
                <a:cubicBezTo>
                  <a:pt x="8" y="1"/>
                  <a:pt x="8" y="1"/>
                  <a:pt x="8" y="1"/>
                </a:cubicBezTo>
                <a:cubicBezTo>
                  <a:pt x="9" y="1"/>
                  <a:pt x="14" y="0"/>
                  <a:pt x="14" y="2"/>
                </a:cubicBezTo>
                <a:cubicBezTo>
                  <a:pt x="14" y="3"/>
                  <a:pt x="14" y="8"/>
                  <a:pt x="15" y="8"/>
                </a:cubicBezTo>
                <a:cubicBezTo>
                  <a:pt x="23" y="8"/>
                  <a:pt x="23" y="8"/>
                  <a:pt x="23" y="8"/>
                </a:cubicBezTo>
                <a:cubicBezTo>
                  <a:pt x="24" y="10"/>
                  <a:pt x="22" y="14"/>
                  <a:pt x="25" y="16"/>
                </a:cubicBezTo>
                <a:cubicBezTo>
                  <a:pt x="27" y="17"/>
                  <a:pt x="32" y="20"/>
                  <a:pt x="32" y="22"/>
                </a:cubicBezTo>
                <a:cubicBezTo>
                  <a:pt x="31" y="24"/>
                  <a:pt x="29" y="32"/>
                  <a:pt x="29" y="32"/>
                </a:cubicBezTo>
                <a:cubicBezTo>
                  <a:pt x="25" y="30"/>
                  <a:pt x="14" y="24"/>
                  <a:pt x="10" y="20"/>
                </a:cubicBezTo>
                <a:cubicBezTo>
                  <a:pt x="8" y="17"/>
                  <a:pt x="4" y="15"/>
                  <a:pt x="0" y="13"/>
                </a:cubicBezTo>
                <a:lnTo>
                  <a:pt x="7" y="7"/>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5" name="Freeform 327"/>
          <p:cNvSpPr>
            <a:spLocks/>
          </p:cNvSpPr>
          <p:nvPr>
            <p:custDataLst>
              <p:tags r:id="rId241"/>
            </p:custDataLst>
          </p:nvPr>
        </p:nvSpPr>
        <p:spPr bwMode="auto">
          <a:xfrm>
            <a:off x="5572684" y="3443050"/>
            <a:ext cx="379317" cy="372293"/>
          </a:xfrm>
          <a:custGeom>
            <a:avLst/>
            <a:gdLst>
              <a:gd name="T0" fmla="*/ 29936 w 126"/>
              <a:gd name="T1" fmla="*/ 225342 h 115"/>
              <a:gd name="T2" fmla="*/ 138793 w 126"/>
              <a:gd name="T3" fmla="*/ 219489 h 115"/>
              <a:gd name="T4" fmla="*/ 144236 w 126"/>
              <a:gd name="T5" fmla="*/ 199003 h 115"/>
              <a:gd name="T6" fmla="*/ 117021 w 126"/>
              <a:gd name="T7" fmla="*/ 2927 h 115"/>
              <a:gd name="T8" fmla="*/ 152400 w 126"/>
              <a:gd name="T9" fmla="*/ 0 h 115"/>
              <a:gd name="T10" fmla="*/ 152400 w 126"/>
              <a:gd name="T11" fmla="*/ 0 h 115"/>
              <a:gd name="T12" fmla="*/ 274864 w 126"/>
              <a:gd name="T13" fmla="*/ 84869 h 115"/>
              <a:gd name="T14" fmla="*/ 280307 w 126"/>
              <a:gd name="T15" fmla="*/ 96575 h 115"/>
              <a:gd name="T16" fmla="*/ 312964 w 126"/>
              <a:gd name="T17" fmla="*/ 114134 h 115"/>
              <a:gd name="T18" fmla="*/ 321129 w 126"/>
              <a:gd name="T19" fmla="*/ 134620 h 115"/>
              <a:gd name="T20" fmla="*/ 342900 w 126"/>
              <a:gd name="T21" fmla="*/ 131693 h 115"/>
              <a:gd name="T22" fmla="*/ 340179 w 126"/>
              <a:gd name="T23" fmla="*/ 184371 h 115"/>
              <a:gd name="T24" fmla="*/ 329293 w 126"/>
              <a:gd name="T25" fmla="*/ 219489 h 115"/>
              <a:gd name="T26" fmla="*/ 277586 w 126"/>
              <a:gd name="T27" fmla="*/ 228269 h 115"/>
              <a:gd name="T28" fmla="*/ 261257 w 126"/>
              <a:gd name="T29" fmla="*/ 225342 h 115"/>
              <a:gd name="T30" fmla="*/ 242207 w 126"/>
              <a:gd name="T31" fmla="*/ 225342 h 115"/>
              <a:gd name="T32" fmla="*/ 204107 w 126"/>
              <a:gd name="T33" fmla="*/ 245828 h 115"/>
              <a:gd name="T34" fmla="*/ 185057 w 126"/>
              <a:gd name="T35" fmla="*/ 269240 h 115"/>
              <a:gd name="T36" fmla="*/ 174171 w 126"/>
              <a:gd name="T37" fmla="*/ 260460 h 115"/>
              <a:gd name="T38" fmla="*/ 157843 w 126"/>
              <a:gd name="T39" fmla="*/ 272167 h 115"/>
              <a:gd name="T40" fmla="*/ 160564 w 126"/>
              <a:gd name="T41" fmla="*/ 286799 h 115"/>
              <a:gd name="T42" fmla="*/ 144236 w 126"/>
              <a:gd name="T43" fmla="*/ 304358 h 115"/>
              <a:gd name="T44" fmla="*/ 136071 w 126"/>
              <a:gd name="T45" fmla="*/ 333623 h 115"/>
              <a:gd name="T46" fmla="*/ 108857 w 126"/>
              <a:gd name="T47" fmla="*/ 336550 h 115"/>
              <a:gd name="T48" fmla="*/ 84364 w 126"/>
              <a:gd name="T49" fmla="*/ 336550 h 115"/>
              <a:gd name="T50" fmla="*/ 73479 w 126"/>
              <a:gd name="T51" fmla="*/ 307285 h 115"/>
              <a:gd name="T52" fmla="*/ 62593 w 126"/>
              <a:gd name="T53" fmla="*/ 286799 h 115"/>
              <a:gd name="T54" fmla="*/ 35379 w 126"/>
              <a:gd name="T55" fmla="*/ 298505 h 115"/>
              <a:gd name="T56" fmla="*/ 16329 w 126"/>
              <a:gd name="T57" fmla="*/ 286799 h 115"/>
              <a:gd name="T58" fmla="*/ 10886 w 126"/>
              <a:gd name="T59" fmla="*/ 263387 h 115"/>
              <a:gd name="T60" fmla="*/ 0 w 126"/>
              <a:gd name="T61" fmla="*/ 237048 h 115"/>
              <a:gd name="T62" fmla="*/ 13607 w 126"/>
              <a:gd name="T63" fmla="*/ 216563 h 115"/>
              <a:gd name="T64" fmla="*/ 29936 w 126"/>
              <a:gd name="T65" fmla="*/ 225342 h 1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6" h="115">
                <a:moveTo>
                  <a:pt x="11" y="77"/>
                </a:moveTo>
                <a:cubicBezTo>
                  <a:pt x="12" y="77"/>
                  <a:pt x="51" y="75"/>
                  <a:pt x="51" y="75"/>
                </a:cubicBezTo>
                <a:cubicBezTo>
                  <a:pt x="53" y="68"/>
                  <a:pt x="53" y="68"/>
                  <a:pt x="53" y="68"/>
                </a:cubicBezTo>
                <a:cubicBezTo>
                  <a:pt x="43" y="1"/>
                  <a:pt x="43" y="1"/>
                  <a:pt x="43" y="1"/>
                </a:cubicBezTo>
                <a:cubicBezTo>
                  <a:pt x="56" y="0"/>
                  <a:pt x="56" y="0"/>
                  <a:pt x="56" y="0"/>
                </a:cubicBezTo>
                <a:cubicBezTo>
                  <a:pt x="56" y="0"/>
                  <a:pt x="56" y="0"/>
                  <a:pt x="56" y="0"/>
                </a:cubicBezTo>
                <a:cubicBezTo>
                  <a:pt x="101" y="29"/>
                  <a:pt x="101" y="29"/>
                  <a:pt x="101" y="29"/>
                </a:cubicBezTo>
                <a:cubicBezTo>
                  <a:pt x="101" y="29"/>
                  <a:pt x="102" y="32"/>
                  <a:pt x="103" y="33"/>
                </a:cubicBezTo>
                <a:cubicBezTo>
                  <a:pt x="104" y="35"/>
                  <a:pt x="113" y="38"/>
                  <a:pt x="115" y="39"/>
                </a:cubicBezTo>
                <a:cubicBezTo>
                  <a:pt x="118" y="40"/>
                  <a:pt x="118" y="46"/>
                  <a:pt x="118" y="46"/>
                </a:cubicBezTo>
                <a:cubicBezTo>
                  <a:pt x="126" y="45"/>
                  <a:pt x="126" y="45"/>
                  <a:pt x="126" y="45"/>
                </a:cubicBezTo>
                <a:cubicBezTo>
                  <a:pt x="125" y="63"/>
                  <a:pt x="125" y="63"/>
                  <a:pt x="125" y="63"/>
                </a:cubicBezTo>
                <a:cubicBezTo>
                  <a:pt x="125" y="65"/>
                  <a:pt x="123" y="75"/>
                  <a:pt x="121" y="75"/>
                </a:cubicBezTo>
                <a:cubicBezTo>
                  <a:pt x="119" y="75"/>
                  <a:pt x="103" y="78"/>
                  <a:pt x="102" y="78"/>
                </a:cubicBezTo>
                <a:cubicBezTo>
                  <a:pt x="101" y="78"/>
                  <a:pt x="98" y="77"/>
                  <a:pt x="96" y="77"/>
                </a:cubicBezTo>
                <a:cubicBezTo>
                  <a:pt x="93" y="77"/>
                  <a:pt x="90" y="77"/>
                  <a:pt x="89" y="77"/>
                </a:cubicBezTo>
                <a:cubicBezTo>
                  <a:pt x="86" y="77"/>
                  <a:pt x="77" y="82"/>
                  <a:pt x="75" y="84"/>
                </a:cubicBezTo>
                <a:cubicBezTo>
                  <a:pt x="73" y="86"/>
                  <a:pt x="69" y="92"/>
                  <a:pt x="68" y="92"/>
                </a:cubicBezTo>
                <a:cubicBezTo>
                  <a:pt x="67" y="93"/>
                  <a:pt x="64" y="89"/>
                  <a:pt x="64" y="89"/>
                </a:cubicBezTo>
                <a:cubicBezTo>
                  <a:pt x="64" y="89"/>
                  <a:pt x="59" y="92"/>
                  <a:pt x="58" y="93"/>
                </a:cubicBezTo>
                <a:cubicBezTo>
                  <a:pt x="57" y="94"/>
                  <a:pt x="61" y="97"/>
                  <a:pt x="59" y="98"/>
                </a:cubicBezTo>
                <a:cubicBezTo>
                  <a:pt x="58" y="99"/>
                  <a:pt x="55" y="102"/>
                  <a:pt x="53" y="104"/>
                </a:cubicBezTo>
                <a:cubicBezTo>
                  <a:pt x="51" y="106"/>
                  <a:pt x="50" y="114"/>
                  <a:pt x="50" y="114"/>
                </a:cubicBezTo>
                <a:cubicBezTo>
                  <a:pt x="48" y="114"/>
                  <a:pt x="42" y="115"/>
                  <a:pt x="40" y="115"/>
                </a:cubicBezTo>
                <a:cubicBezTo>
                  <a:pt x="40" y="115"/>
                  <a:pt x="36" y="115"/>
                  <a:pt x="31" y="115"/>
                </a:cubicBezTo>
                <a:cubicBezTo>
                  <a:pt x="32" y="114"/>
                  <a:pt x="28" y="107"/>
                  <a:pt x="27" y="105"/>
                </a:cubicBezTo>
                <a:cubicBezTo>
                  <a:pt x="26" y="103"/>
                  <a:pt x="24" y="98"/>
                  <a:pt x="23" y="98"/>
                </a:cubicBezTo>
                <a:cubicBezTo>
                  <a:pt x="21" y="98"/>
                  <a:pt x="16" y="102"/>
                  <a:pt x="13" y="102"/>
                </a:cubicBezTo>
                <a:cubicBezTo>
                  <a:pt x="9" y="103"/>
                  <a:pt x="7" y="99"/>
                  <a:pt x="6" y="98"/>
                </a:cubicBezTo>
                <a:cubicBezTo>
                  <a:pt x="6" y="98"/>
                  <a:pt x="5" y="92"/>
                  <a:pt x="4" y="90"/>
                </a:cubicBezTo>
                <a:cubicBezTo>
                  <a:pt x="2" y="88"/>
                  <a:pt x="0" y="81"/>
                  <a:pt x="0" y="81"/>
                </a:cubicBezTo>
                <a:cubicBezTo>
                  <a:pt x="3" y="80"/>
                  <a:pt x="3" y="74"/>
                  <a:pt x="5" y="74"/>
                </a:cubicBezTo>
                <a:cubicBezTo>
                  <a:pt x="8" y="74"/>
                  <a:pt x="9" y="77"/>
                  <a:pt x="11" y="7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6" name="Freeform 328"/>
          <p:cNvSpPr>
            <a:spLocks/>
          </p:cNvSpPr>
          <p:nvPr>
            <p:custDataLst>
              <p:tags r:id="rId242"/>
            </p:custDataLst>
          </p:nvPr>
        </p:nvSpPr>
        <p:spPr bwMode="auto">
          <a:xfrm>
            <a:off x="5551611" y="3148025"/>
            <a:ext cx="277463" cy="228293"/>
          </a:xfrm>
          <a:custGeom>
            <a:avLst/>
            <a:gdLst>
              <a:gd name="T0" fmla="*/ 5394 w 93"/>
              <a:gd name="T1" fmla="*/ 194582 h 70"/>
              <a:gd name="T2" fmla="*/ 26970 w 93"/>
              <a:gd name="T3" fmla="*/ 188686 h 70"/>
              <a:gd name="T4" fmla="*/ 67426 w 93"/>
              <a:gd name="T5" fmla="*/ 156255 h 70"/>
              <a:gd name="T6" fmla="*/ 78214 w 93"/>
              <a:gd name="T7" fmla="*/ 129721 h 70"/>
              <a:gd name="T8" fmla="*/ 67426 w 93"/>
              <a:gd name="T9" fmla="*/ 126773 h 70"/>
              <a:gd name="T10" fmla="*/ 70123 w 93"/>
              <a:gd name="T11" fmla="*/ 106136 h 70"/>
              <a:gd name="T12" fmla="*/ 97094 w 93"/>
              <a:gd name="T13" fmla="*/ 64861 h 70"/>
              <a:gd name="T14" fmla="*/ 137549 w 93"/>
              <a:gd name="T15" fmla="*/ 35379 h 70"/>
              <a:gd name="T16" fmla="*/ 151034 w 93"/>
              <a:gd name="T17" fmla="*/ 5896 h 70"/>
              <a:gd name="T18" fmla="*/ 159126 w 93"/>
              <a:gd name="T19" fmla="*/ 0 h 70"/>
              <a:gd name="T20" fmla="*/ 164520 w 93"/>
              <a:gd name="T21" fmla="*/ 0 h 70"/>
              <a:gd name="T22" fmla="*/ 172611 w 93"/>
              <a:gd name="T23" fmla="*/ 8845 h 70"/>
              <a:gd name="T24" fmla="*/ 196884 w 93"/>
              <a:gd name="T25" fmla="*/ 11793 h 70"/>
              <a:gd name="T26" fmla="*/ 210369 w 93"/>
              <a:gd name="T27" fmla="*/ 5896 h 70"/>
              <a:gd name="T28" fmla="*/ 221158 w 93"/>
              <a:gd name="T29" fmla="*/ 17689 h 70"/>
              <a:gd name="T30" fmla="*/ 231946 w 93"/>
              <a:gd name="T31" fmla="*/ 14741 h 70"/>
              <a:gd name="T32" fmla="*/ 231946 w 93"/>
              <a:gd name="T33" fmla="*/ 14741 h 70"/>
              <a:gd name="T34" fmla="*/ 237340 w 93"/>
              <a:gd name="T35" fmla="*/ 47171 h 70"/>
              <a:gd name="T36" fmla="*/ 250825 w 93"/>
              <a:gd name="T37" fmla="*/ 73705 h 70"/>
              <a:gd name="T38" fmla="*/ 248128 w 93"/>
              <a:gd name="T39" fmla="*/ 88446 h 70"/>
              <a:gd name="T40" fmla="*/ 199581 w 93"/>
              <a:gd name="T41" fmla="*/ 97291 h 70"/>
              <a:gd name="T42" fmla="*/ 196884 w 93"/>
              <a:gd name="T43" fmla="*/ 117929 h 70"/>
              <a:gd name="T44" fmla="*/ 172611 w 93"/>
              <a:gd name="T45" fmla="*/ 126773 h 70"/>
              <a:gd name="T46" fmla="*/ 164520 w 93"/>
              <a:gd name="T47" fmla="*/ 144463 h 70"/>
              <a:gd name="T48" fmla="*/ 129458 w 93"/>
              <a:gd name="T49" fmla="*/ 150359 h 70"/>
              <a:gd name="T50" fmla="*/ 97094 w 93"/>
              <a:gd name="T51" fmla="*/ 173945 h 70"/>
              <a:gd name="T52" fmla="*/ 94397 w 93"/>
              <a:gd name="T53" fmla="*/ 203427 h 70"/>
              <a:gd name="T54" fmla="*/ 0 w 93"/>
              <a:gd name="T55" fmla="*/ 206375 h 70"/>
              <a:gd name="T56" fmla="*/ 5394 w 93"/>
              <a:gd name="T57" fmla="*/ 194582 h 7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3" h="70">
                <a:moveTo>
                  <a:pt x="2" y="66"/>
                </a:moveTo>
                <a:cubicBezTo>
                  <a:pt x="3" y="64"/>
                  <a:pt x="7" y="65"/>
                  <a:pt x="10" y="64"/>
                </a:cubicBezTo>
                <a:cubicBezTo>
                  <a:pt x="12" y="63"/>
                  <a:pt x="23" y="57"/>
                  <a:pt x="25" y="53"/>
                </a:cubicBezTo>
                <a:cubicBezTo>
                  <a:pt x="27" y="49"/>
                  <a:pt x="29" y="45"/>
                  <a:pt x="29" y="44"/>
                </a:cubicBezTo>
                <a:cubicBezTo>
                  <a:pt x="29" y="42"/>
                  <a:pt x="25" y="45"/>
                  <a:pt x="25" y="43"/>
                </a:cubicBezTo>
                <a:cubicBezTo>
                  <a:pt x="25" y="41"/>
                  <a:pt x="25" y="40"/>
                  <a:pt x="26" y="36"/>
                </a:cubicBezTo>
                <a:cubicBezTo>
                  <a:pt x="28" y="32"/>
                  <a:pt x="32" y="25"/>
                  <a:pt x="36" y="22"/>
                </a:cubicBezTo>
                <a:cubicBezTo>
                  <a:pt x="40" y="19"/>
                  <a:pt x="49" y="15"/>
                  <a:pt x="51" y="12"/>
                </a:cubicBezTo>
                <a:cubicBezTo>
                  <a:pt x="55" y="9"/>
                  <a:pt x="56" y="3"/>
                  <a:pt x="56" y="2"/>
                </a:cubicBezTo>
                <a:cubicBezTo>
                  <a:pt x="56" y="1"/>
                  <a:pt x="58" y="0"/>
                  <a:pt x="59" y="0"/>
                </a:cubicBezTo>
                <a:cubicBezTo>
                  <a:pt x="60" y="0"/>
                  <a:pt x="60" y="0"/>
                  <a:pt x="61" y="0"/>
                </a:cubicBezTo>
                <a:cubicBezTo>
                  <a:pt x="62" y="0"/>
                  <a:pt x="61" y="2"/>
                  <a:pt x="64" y="3"/>
                </a:cubicBezTo>
                <a:cubicBezTo>
                  <a:pt x="66" y="4"/>
                  <a:pt x="70" y="4"/>
                  <a:pt x="73" y="4"/>
                </a:cubicBezTo>
                <a:cubicBezTo>
                  <a:pt x="75" y="4"/>
                  <a:pt x="77" y="2"/>
                  <a:pt x="78" y="2"/>
                </a:cubicBezTo>
                <a:cubicBezTo>
                  <a:pt x="79" y="1"/>
                  <a:pt x="80" y="6"/>
                  <a:pt x="82" y="6"/>
                </a:cubicBezTo>
                <a:cubicBezTo>
                  <a:pt x="83" y="6"/>
                  <a:pt x="84" y="5"/>
                  <a:pt x="86" y="5"/>
                </a:cubicBezTo>
                <a:cubicBezTo>
                  <a:pt x="86" y="5"/>
                  <a:pt x="86" y="5"/>
                  <a:pt x="86" y="5"/>
                </a:cubicBezTo>
                <a:cubicBezTo>
                  <a:pt x="86" y="5"/>
                  <a:pt x="88" y="13"/>
                  <a:pt x="88" y="16"/>
                </a:cubicBezTo>
                <a:cubicBezTo>
                  <a:pt x="88" y="20"/>
                  <a:pt x="93" y="23"/>
                  <a:pt x="93" y="25"/>
                </a:cubicBezTo>
                <a:cubicBezTo>
                  <a:pt x="93" y="26"/>
                  <a:pt x="92" y="30"/>
                  <a:pt x="92" y="30"/>
                </a:cubicBezTo>
                <a:cubicBezTo>
                  <a:pt x="92" y="30"/>
                  <a:pt x="76" y="32"/>
                  <a:pt x="74" y="33"/>
                </a:cubicBezTo>
                <a:cubicBezTo>
                  <a:pt x="72" y="35"/>
                  <a:pt x="75" y="40"/>
                  <a:pt x="73" y="40"/>
                </a:cubicBezTo>
                <a:cubicBezTo>
                  <a:pt x="71" y="41"/>
                  <a:pt x="67" y="43"/>
                  <a:pt x="64" y="43"/>
                </a:cubicBezTo>
                <a:cubicBezTo>
                  <a:pt x="62" y="43"/>
                  <a:pt x="63" y="48"/>
                  <a:pt x="61" y="49"/>
                </a:cubicBezTo>
                <a:cubicBezTo>
                  <a:pt x="60" y="51"/>
                  <a:pt x="51" y="51"/>
                  <a:pt x="48" y="51"/>
                </a:cubicBezTo>
                <a:cubicBezTo>
                  <a:pt x="45" y="52"/>
                  <a:pt x="36" y="59"/>
                  <a:pt x="36" y="59"/>
                </a:cubicBezTo>
                <a:cubicBezTo>
                  <a:pt x="35" y="69"/>
                  <a:pt x="35" y="69"/>
                  <a:pt x="35" y="69"/>
                </a:cubicBezTo>
                <a:cubicBezTo>
                  <a:pt x="0" y="70"/>
                  <a:pt x="0" y="70"/>
                  <a:pt x="0" y="70"/>
                </a:cubicBezTo>
                <a:cubicBezTo>
                  <a:pt x="1" y="68"/>
                  <a:pt x="1" y="67"/>
                  <a:pt x="2" y="6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7" name="Freeform 329"/>
          <p:cNvSpPr>
            <a:spLocks/>
          </p:cNvSpPr>
          <p:nvPr>
            <p:custDataLst>
              <p:tags r:id="rId243"/>
            </p:custDataLst>
          </p:nvPr>
        </p:nvSpPr>
        <p:spPr bwMode="auto">
          <a:xfrm>
            <a:off x="5548098" y="3820610"/>
            <a:ext cx="64976" cy="77268"/>
          </a:xfrm>
          <a:custGeom>
            <a:avLst/>
            <a:gdLst>
              <a:gd name="T0" fmla="*/ 10680 w 22"/>
              <a:gd name="T1" fmla="*/ 52388 h 24"/>
              <a:gd name="T2" fmla="*/ 5340 w 22"/>
              <a:gd name="T3" fmla="*/ 34925 h 24"/>
              <a:gd name="T4" fmla="*/ 0 w 22"/>
              <a:gd name="T5" fmla="*/ 20373 h 24"/>
              <a:gd name="T6" fmla="*/ 16019 w 22"/>
              <a:gd name="T7" fmla="*/ 11642 h 24"/>
              <a:gd name="T8" fmla="*/ 32039 w 22"/>
              <a:gd name="T9" fmla="*/ 0 h 24"/>
              <a:gd name="T10" fmla="*/ 50728 w 22"/>
              <a:gd name="T11" fmla="*/ 8731 h 24"/>
              <a:gd name="T12" fmla="*/ 58738 w 22"/>
              <a:gd name="T13" fmla="*/ 34925 h 24"/>
              <a:gd name="T14" fmla="*/ 56068 w 22"/>
              <a:gd name="T15" fmla="*/ 52388 h 24"/>
              <a:gd name="T16" fmla="*/ 37379 w 22"/>
              <a:gd name="T17" fmla="*/ 69850 h 24"/>
              <a:gd name="T18" fmla="*/ 26699 w 22"/>
              <a:gd name="T19" fmla="*/ 64029 h 24"/>
              <a:gd name="T20" fmla="*/ 10680 w 22"/>
              <a:gd name="T21" fmla="*/ 52388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24">
                <a:moveTo>
                  <a:pt x="4" y="18"/>
                </a:moveTo>
                <a:cubicBezTo>
                  <a:pt x="4" y="17"/>
                  <a:pt x="3" y="14"/>
                  <a:pt x="2" y="12"/>
                </a:cubicBezTo>
                <a:cubicBezTo>
                  <a:pt x="2" y="12"/>
                  <a:pt x="1" y="10"/>
                  <a:pt x="0" y="7"/>
                </a:cubicBezTo>
                <a:cubicBezTo>
                  <a:pt x="0" y="7"/>
                  <a:pt x="4" y="6"/>
                  <a:pt x="6" y="4"/>
                </a:cubicBezTo>
                <a:cubicBezTo>
                  <a:pt x="7" y="3"/>
                  <a:pt x="7" y="0"/>
                  <a:pt x="12" y="0"/>
                </a:cubicBezTo>
                <a:cubicBezTo>
                  <a:pt x="18" y="0"/>
                  <a:pt x="19" y="1"/>
                  <a:pt x="19" y="3"/>
                </a:cubicBezTo>
                <a:cubicBezTo>
                  <a:pt x="19" y="4"/>
                  <a:pt x="21" y="11"/>
                  <a:pt x="22" y="12"/>
                </a:cubicBezTo>
                <a:cubicBezTo>
                  <a:pt x="21" y="18"/>
                  <a:pt x="21" y="18"/>
                  <a:pt x="21" y="18"/>
                </a:cubicBezTo>
                <a:cubicBezTo>
                  <a:pt x="14" y="24"/>
                  <a:pt x="14" y="24"/>
                  <a:pt x="14" y="24"/>
                </a:cubicBezTo>
                <a:cubicBezTo>
                  <a:pt x="13" y="23"/>
                  <a:pt x="11" y="22"/>
                  <a:pt x="10" y="22"/>
                </a:cubicBezTo>
                <a:cubicBezTo>
                  <a:pt x="7" y="20"/>
                  <a:pt x="6" y="20"/>
                  <a:pt x="4" y="1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8" name="Freeform 330"/>
          <p:cNvSpPr>
            <a:spLocks/>
          </p:cNvSpPr>
          <p:nvPr>
            <p:custDataLst>
              <p:tags r:id="rId244"/>
            </p:custDataLst>
          </p:nvPr>
        </p:nvSpPr>
        <p:spPr bwMode="auto">
          <a:xfrm>
            <a:off x="5511221" y="3752123"/>
            <a:ext cx="165073" cy="129951"/>
          </a:xfrm>
          <a:custGeom>
            <a:avLst/>
            <a:gdLst>
              <a:gd name="T0" fmla="*/ 21705 w 55"/>
              <a:gd name="T1" fmla="*/ 67548 h 40"/>
              <a:gd name="T2" fmla="*/ 0 w 55"/>
              <a:gd name="T3" fmla="*/ 41116 h 40"/>
              <a:gd name="T4" fmla="*/ 13566 w 55"/>
              <a:gd name="T5" fmla="*/ 26432 h 40"/>
              <a:gd name="T6" fmla="*/ 27132 w 55"/>
              <a:gd name="T7" fmla="*/ 23495 h 40"/>
              <a:gd name="T8" fmla="*/ 32558 w 55"/>
              <a:gd name="T9" fmla="*/ 2937 h 40"/>
              <a:gd name="T10" fmla="*/ 73256 w 55"/>
              <a:gd name="T11" fmla="*/ 5874 h 40"/>
              <a:gd name="T12" fmla="*/ 92248 w 55"/>
              <a:gd name="T13" fmla="*/ 17621 h 40"/>
              <a:gd name="T14" fmla="*/ 119380 w 55"/>
              <a:gd name="T15" fmla="*/ 5874 h 40"/>
              <a:gd name="T16" fmla="*/ 130233 w 55"/>
              <a:gd name="T17" fmla="*/ 26432 h 40"/>
              <a:gd name="T18" fmla="*/ 141085 w 55"/>
              <a:gd name="T19" fmla="*/ 55801 h 40"/>
              <a:gd name="T20" fmla="*/ 146512 w 55"/>
              <a:gd name="T21" fmla="*/ 85169 h 40"/>
              <a:gd name="T22" fmla="*/ 141085 w 55"/>
              <a:gd name="T23" fmla="*/ 105728 h 40"/>
              <a:gd name="T24" fmla="*/ 132946 w 55"/>
              <a:gd name="T25" fmla="*/ 117475 h 40"/>
              <a:gd name="T26" fmla="*/ 111240 w 55"/>
              <a:gd name="T27" fmla="*/ 117475 h 40"/>
              <a:gd name="T28" fmla="*/ 108527 w 55"/>
              <a:gd name="T29" fmla="*/ 99854 h 40"/>
              <a:gd name="T30" fmla="*/ 92248 w 55"/>
              <a:gd name="T31" fmla="*/ 96917 h 40"/>
              <a:gd name="T32" fmla="*/ 84109 w 55"/>
              <a:gd name="T33" fmla="*/ 70485 h 40"/>
              <a:gd name="T34" fmla="*/ 65116 w 55"/>
              <a:gd name="T35" fmla="*/ 61674 h 40"/>
              <a:gd name="T36" fmla="*/ 48837 w 55"/>
              <a:gd name="T37" fmla="*/ 73422 h 40"/>
              <a:gd name="T38" fmla="*/ 32558 w 55"/>
              <a:gd name="T39" fmla="*/ 82233 h 40"/>
              <a:gd name="T40" fmla="*/ 21705 w 55"/>
              <a:gd name="T41" fmla="*/ 67548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5" h="40">
                <a:moveTo>
                  <a:pt x="8" y="23"/>
                </a:moveTo>
                <a:cubicBezTo>
                  <a:pt x="7" y="21"/>
                  <a:pt x="2" y="16"/>
                  <a:pt x="0" y="14"/>
                </a:cubicBezTo>
                <a:cubicBezTo>
                  <a:pt x="0" y="14"/>
                  <a:pt x="3" y="9"/>
                  <a:pt x="5" y="9"/>
                </a:cubicBezTo>
                <a:cubicBezTo>
                  <a:pt x="6" y="8"/>
                  <a:pt x="9" y="9"/>
                  <a:pt x="10" y="8"/>
                </a:cubicBezTo>
                <a:cubicBezTo>
                  <a:pt x="11" y="7"/>
                  <a:pt x="9" y="1"/>
                  <a:pt x="12" y="1"/>
                </a:cubicBezTo>
                <a:cubicBezTo>
                  <a:pt x="14" y="0"/>
                  <a:pt x="26" y="1"/>
                  <a:pt x="27" y="2"/>
                </a:cubicBezTo>
                <a:cubicBezTo>
                  <a:pt x="28" y="3"/>
                  <a:pt x="30" y="7"/>
                  <a:pt x="34" y="6"/>
                </a:cubicBezTo>
                <a:cubicBezTo>
                  <a:pt x="37" y="6"/>
                  <a:pt x="42" y="2"/>
                  <a:pt x="44" y="2"/>
                </a:cubicBezTo>
                <a:cubicBezTo>
                  <a:pt x="45" y="2"/>
                  <a:pt x="47" y="7"/>
                  <a:pt x="48" y="9"/>
                </a:cubicBezTo>
                <a:cubicBezTo>
                  <a:pt x="49" y="11"/>
                  <a:pt x="53" y="18"/>
                  <a:pt x="52" y="19"/>
                </a:cubicBezTo>
                <a:cubicBezTo>
                  <a:pt x="52" y="21"/>
                  <a:pt x="52" y="28"/>
                  <a:pt x="54" y="29"/>
                </a:cubicBezTo>
                <a:cubicBezTo>
                  <a:pt x="55" y="31"/>
                  <a:pt x="53" y="36"/>
                  <a:pt x="52" y="36"/>
                </a:cubicBezTo>
                <a:cubicBezTo>
                  <a:pt x="50" y="36"/>
                  <a:pt x="49" y="39"/>
                  <a:pt x="49" y="40"/>
                </a:cubicBezTo>
                <a:cubicBezTo>
                  <a:pt x="41" y="40"/>
                  <a:pt x="41" y="40"/>
                  <a:pt x="41" y="40"/>
                </a:cubicBezTo>
                <a:cubicBezTo>
                  <a:pt x="40" y="40"/>
                  <a:pt x="40" y="35"/>
                  <a:pt x="40" y="34"/>
                </a:cubicBezTo>
                <a:cubicBezTo>
                  <a:pt x="40" y="32"/>
                  <a:pt x="35" y="33"/>
                  <a:pt x="34" y="33"/>
                </a:cubicBezTo>
                <a:cubicBezTo>
                  <a:pt x="33" y="32"/>
                  <a:pt x="31" y="25"/>
                  <a:pt x="31" y="24"/>
                </a:cubicBezTo>
                <a:cubicBezTo>
                  <a:pt x="31" y="22"/>
                  <a:pt x="30" y="21"/>
                  <a:pt x="24" y="21"/>
                </a:cubicBezTo>
                <a:cubicBezTo>
                  <a:pt x="19" y="21"/>
                  <a:pt x="19" y="24"/>
                  <a:pt x="18" y="25"/>
                </a:cubicBezTo>
                <a:cubicBezTo>
                  <a:pt x="16" y="27"/>
                  <a:pt x="12" y="28"/>
                  <a:pt x="12" y="28"/>
                </a:cubicBezTo>
                <a:cubicBezTo>
                  <a:pt x="11" y="26"/>
                  <a:pt x="9" y="23"/>
                  <a:pt x="8" y="2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49" name="Freeform 331"/>
          <p:cNvSpPr>
            <a:spLocks/>
          </p:cNvSpPr>
          <p:nvPr>
            <p:custDataLst>
              <p:tags r:id="rId245"/>
            </p:custDataLst>
          </p:nvPr>
        </p:nvSpPr>
        <p:spPr bwMode="auto">
          <a:xfrm>
            <a:off x="5462050" y="3372806"/>
            <a:ext cx="193171" cy="159805"/>
          </a:xfrm>
          <a:custGeom>
            <a:avLst/>
            <a:gdLst>
              <a:gd name="T0" fmla="*/ 43656 w 64"/>
              <a:gd name="T1" fmla="*/ 66453 h 50"/>
              <a:gd name="T2" fmla="*/ 51842 w 64"/>
              <a:gd name="T3" fmla="*/ 31782 h 50"/>
              <a:gd name="T4" fmla="*/ 70941 w 64"/>
              <a:gd name="T5" fmla="*/ 20225 h 50"/>
              <a:gd name="T6" fmla="*/ 79127 w 64"/>
              <a:gd name="T7" fmla="*/ 2889 h 50"/>
              <a:gd name="T8" fmla="*/ 174625 w 64"/>
              <a:gd name="T9" fmla="*/ 0 h 50"/>
              <a:gd name="T10" fmla="*/ 174625 w 64"/>
              <a:gd name="T11" fmla="*/ 8668 h 50"/>
              <a:gd name="T12" fmla="*/ 174625 w 64"/>
              <a:gd name="T13" fmla="*/ 37560 h 50"/>
              <a:gd name="T14" fmla="*/ 103684 w 64"/>
              <a:gd name="T15" fmla="*/ 37560 h 50"/>
              <a:gd name="T16" fmla="*/ 103684 w 64"/>
              <a:gd name="T17" fmla="*/ 95346 h 50"/>
              <a:gd name="T18" fmla="*/ 84584 w 64"/>
              <a:gd name="T19" fmla="*/ 101124 h 50"/>
              <a:gd name="T20" fmla="*/ 84584 w 64"/>
              <a:gd name="T21" fmla="*/ 144463 h 50"/>
              <a:gd name="T22" fmla="*/ 0 w 64"/>
              <a:gd name="T23" fmla="*/ 141574 h 50"/>
              <a:gd name="T24" fmla="*/ 19100 w 64"/>
              <a:gd name="T25" fmla="*/ 101124 h 50"/>
              <a:gd name="T26" fmla="*/ 43656 w 64"/>
              <a:gd name="T27" fmla="*/ 66453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4" h="50">
                <a:moveTo>
                  <a:pt x="16" y="23"/>
                </a:moveTo>
                <a:cubicBezTo>
                  <a:pt x="18" y="22"/>
                  <a:pt x="18" y="13"/>
                  <a:pt x="19" y="11"/>
                </a:cubicBezTo>
                <a:cubicBezTo>
                  <a:pt x="21" y="9"/>
                  <a:pt x="24" y="8"/>
                  <a:pt x="26" y="7"/>
                </a:cubicBezTo>
                <a:cubicBezTo>
                  <a:pt x="27" y="7"/>
                  <a:pt x="28" y="3"/>
                  <a:pt x="29" y="1"/>
                </a:cubicBezTo>
                <a:cubicBezTo>
                  <a:pt x="64" y="0"/>
                  <a:pt x="64" y="0"/>
                  <a:pt x="64" y="0"/>
                </a:cubicBezTo>
                <a:cubicBezTo>
                  <a:pt x="64" y="3"/>
                  <a:pt x="64" y="3"/>
                  <a:pt x="64" y="3"/>
                </a:cubicBezTo>
                <a:cubicBezTo>
                  <a:pt x="64" y="13"/>
                  <a:pt x="64" y="13"/>
                  <a:pt x="64" y="13"/>
                </a:cubicBezTo>
                <a:cubicBezTo>
                  <a:pt x="38" y="13"/>
                  <a:pt x="38" y="13"/>
                  <a:pt x="38" y="13"/>
                </a:cubicBezTo>
                <a:cubicBezTo>
                  <a:pt x="38" y="33"/>
                  <a:pt x="38" y="33"/>
                  <a:pt x="38" y="33"/>
                </a:cubicBezTo>
                <a:cubicBezTo>
                  <a:pt x="38" y="33"/>
                  <a:pt x="34" y="33"/>
                  <a:pt x="31" y="35"/>
                </a:cubicBezTo>
                <a:cubicBezTo>
                  <a:pt x="28" y="37"/>
                  <a:pt x="31" y="50"/>
                  <a:pt x="31" y="50"/>
                </a:cubicBezTo>
                <a:cubicBezTo>
                  <a:pt x="0" y="49"/>
                  <a:pt x="0" y="49"/>
                  <a:pt x="0" y="49"/>
                </a:cubicBezTo>
                <a:cubicBezTo>
                  <a:pt x="2" y="44"/>
                  <a:pt x="5" y="37"/>
                  <a:pt x="7" y="35"/>
                </a:cubicBezTo>
                <a:cubicBezTo>
                  <a:pt x="8" y="32"/>
                  <a:pt x="14" y="25"/>
                  <a:pt x="16" y="23"/>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0" name="Freeform 332"/>
          <p:cNvSpPr>
            <a:spLocks/>
          </p:cNvSpPr>
          <p:nvPr>
            <p:custDataLst>
              <p:tags r:id="rId246"/>
            </p:custDataLst>
          </p:nvPr>
        </p:nvSpPr>
        <p:spPr bwMode="auto">
          <a:xfrm>
            <a:off x="5470830" y="3752123"/>
            <a:ext cx="77268" cy="45659"/>
          </a:xfrm>
          <a:custGeom>
            <a:avLst/>
            <a:gdLst>
              <a:gd name="T0" fmla="*/ 11176 w 25"/>
              <a:gd name="T1" fmla="*/ 23586 h 14"/>
              <a:gd name="T2" fmla="*/ 0 w 25"/>
              <a:gd name="T3" fmla="*/ 8845 h 14"/>
              <a:gd name="T4" fmla="*/ 30734 w 25"/>
              <a:gd name="T5" fmla="*/ 0 h 14"/>
              <a:gd name="T6" fmla="*/ 69850 w 25"/>
              <a:gd name="T7" fmla="*/ 2948 h 14"/>
              <a:gd name="T8" fmla="*/ 64262 w 25"/>
              <a:gd name="T9" fmla="*/ 23586 h 14"/>
              <a:gd name="T10" fmla="*/ 50292 w 25"/>
              <a:gd name="T11" fmla="*/ 26534 h 14"/>
              <a:gd name="T12" fmla="*/ 36322 w 25"/>
              <a:gd name="T13" fmla="*/ 41275 h 14"/>
              <a:gd name="T14" fmla="*/ 33528 w 25"/>
              <a:gd name="T15" fmla="*/ 41275 h 14"/>
              <a:gd name="T16" fmla="*/ 27940 w 25"/>
              <a:gd name="T17" fmla="*/ 23586 h 14"/>
              <a:gd name="T18" fmla="*/ 11176 w 25"/>
              <a:gd name="T19" fmla="*/ 2358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14">
                <a:moveTo>
                  <a:pt x="4" y="8"/>
                </a:moveTo>
                <a:cubicBezTo>
                  <a:pt x="3" y="8"/>
                  <a:pt x="1" y="5"/>
                  <a:pt x="0" y="3"/>
                </a:cubicBezTo>
                <a:cubicBezTo>
                  <a:pt x="11" y="0"/>
                  <a:pt x="11" y="0"/>
                  <a:pt x="11" y="0"/>
                </a:cubicBezTo>
                <a:cubicBezTo>
                  <a:pt x="25" y="1"/>
                  <a:pt x="25" y="1"/>
                  <a:pt x="25" y="1"/>
                </a:cubicBezTo>
                <a:cubicBezTo>
                  <a:pt x="22" y="1"/>
                  <a:pt x="24" y="7"/>
                  <a:pt x="23" y="8"/>
                </a:cubicBezTo>
                <a:cubicBezTo>
                  <a:pt x="22" y="9"/>
                  <a:pt x="19" y="8"/>
                  <a:pt x="18" y="9"/>
                </a:cubicBezTo>
                <a:cubicBezTo>
                  <a:pt x="16" y="9"/>
                  <a:pt x="13" y="14"/>
                  <a:pt x="13" y="14"/>
                </a:cubicBezTo>
                <a:cubicBezTo>
                  <a:pt x="13" y="14"/>
                  <a:pt x="12" y="14"/>
                  <a:pt x="12" y="14"/>
                </a:cubicBezTo>
                <a:cubicBezTo>
                  <a:pt x="11" y="12"/>
                  <a:pt x="9" y="10"/>
                  <a:pt x="10" y="8"/>
                </a:cubicBezTo>
                <a:cubicBezTo>
                  <a:pt x="10" y="6"/>
                  <a:pt x="6" y="8"/>
                  <a:pt x="4" y="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1" name="Freeform 333"/>
          <p:cNvSpPr>
            <a:spLocks/>
          </p:cNvSpPr>
          <p:nvPr>
            <p:custDataLst>
              <p:tags r:id="rId247"/>
            </p:custDataLst>
          </p:nvPr>
        </p:nvSpPr>
        <p:spPr bwMode="auto">
          <a:xfrm>
            <a:off x="5453269" y="3652024"/>
            <a:ext cx="136976" cy="110634"/>
          </a:xfrm>
          <a:custGeom>
            <a:avLst/>
            <a:gdLst>
              <a:gd name="T0" fmla="*/ 37686 w 46"/>
              <a:gd name="T1" fmla="*/ 76481 h 34"/>
              <a:gd name="T2" fmla="*/ 16151 w 46"/>
              <a:gd name="T3" fmla="*/ 64714 h 34"/>
              <a:gd name="T4" fmla="*/ 8076 w 46"/>
              <a:gd name="T5" fmla="*/ 50007 h 34"/>
              <a:gd name="T6" fmla="*/ 0 w 46"/>
              <a:gd name="T7" fmla="*/ 44123 h 34"/>
              <a:gd name="T8" fmla="*/ 18843 w 46"/>
              <a:gd name="T9" fmla="*/ 11766 h 34"/>
              <a:gd name="T10" fmla="*/ 21535 w 46"/>
              <a:gd name="T11" fmla="*/ 0 h 34"/>
              <a:gd name="T12" fmla="*/ 37686 w 46"/>
              <a:gd name="T13" fmla="*/ 2942 h 34"/>
              <a:gd name="T14" fmla="*/ 61913 w 46"/>
              <a:gd name="T15" fmla="*/ 2942 h 34"/>
              <a:gd name="T16" fmla="*/ 107674 w 46"/>
              <a:gd name="T17" fmla="*/ 47065 h 34"/>
              <a:gd name="T18" fmla="*/ 118441 w 46"/>
              <a:gd name="T19" fmla="*/ 73539 h 34"/>
              <a:gd name="T20" fmla="*/ 123825 w 46"/>
              <a:gd name="T21" fmla="*/ 97071 h 34"/>
              <a:gd name="T22" fmla="*/ 83447 w 46"/>
              <a:gd name="T23" fmla="*/ 94130 h 34"/>
              <a:gd name="T24" fmla="*/ 45761 w 46"/>
              <a:gd name="T25" fmla="*/ 91188 h 34"/>
              <a:gd name="T26" fmla="*/ 16151 w 46"/>
              <a:gd name="T27" fmla="*/ 100013 h 34"/>
              <a:gd name="T28" fmla="*/ 13459 w 46"/>
              <a:gd name="T29" fmla="*/ 88247 h 34"/>
              <a:gd name="T30" fmla="*/ 37686 w 46"/>
              <a:gd name="T31" fmla="*/ 76481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34">
                <a:moveTo>
                  <a:pt x="14" y="26"/>
                </a:moveTo>
                <a:cubicBezTo>
                  <a:pt x="14" y="21"/>
                  <a:pt x="9" y="24"/>
                  <a:pt x="6" y="22"/>
                </a:cubicBezTo>
                <a:cubicBezTo>
                  <a:pt x="3" y="20"/>
                  <a:pt x="3" y="17"/>
                  <a:pt x="3" y="17"/>
                </a:cubicBezTo>
                <a:cubicBezTo>
                  <a:pt x="3" y="16"/>
                  <a:pt x="0" y="16"/>
                  <a:pt x="0" y="15"/>
                </a:cubicBezTo>
                <a:cubicBezTo>
                  <a:pt x="0" y="13"/>
                  <a:pt x="6" y="8"/>
                  <a:pt x="7" y="4"/>
                </a:cubicBezTo>
                <a:cubicBezTo>
                  <a:pt x="8" y="2"/>
                  <a:pt x="8" y="1"/>
                  <a:pt x="8" y="0"/>
                </a:cubicBezTo>
                <a:cubicBezTo>
                  <a:pt x="8" y="0"/>
                  <a:pt x="13" y="2"/>
                  <a:pt x="14" y="1"/>
                </a:cubicBezTo>
                <a:cubicBezTo>
                  <a:pt x="16" y="1"/>
                  <a:pt x="21" y="0"/>
                  <a:pt x="23" y="1"/>
                </a:cubicBezTo>
                <a:cubicBezTo>
                  <a:pt x="26" y="2"/>
                  <a:pt x="37" y="17"/>
                  <a:pt x="40" y="16"/>
                </a:cubicBezTo>
                <a:cubicBezTo>
                  <a:pt x="40" y="16"/>
                  <a:pt x="42" y="23"/>
                  <a:pt x="44" y="25"/>
                </a:cubicBezTo>
                <a:cubicBezTo>
                  <a:pt x="45" y="27"/>
                  <a:pt x="46" y="33"/>
                  <a:pt x="46" y="33"/>
                </a:cubicBezTo>
                <a:cubicBezTo>
                  <a:pt x="45" y="32"/>
                  <a:pt x="33" y="31"/>
                  <a:pt x="31" y="32"/>
                </a:cubicBezTo>
                <a:cubicBezTo>
                  <a:pt x="17" y="31"/>
                  <a:pt x="17" y="31"/>
                  <a:pt x="17" y="31"/>
                </a:cubicBezTo>
                <a:cubicBezTo>
                  <a:pt x="6" y="34"/>
                  <a:pt x="6" y="34"/>
                  <a:pt x="6" y="34"/>
                </a:cubicBezTo>
                <a:cubicBezTo>
                  <a:pt x="6" y="33"/>
                  <a:pt x="5" y="31"/>
                  <a:pt x="5" y="30"/>
                </a:cubicBezTo>
                <a:cubicBezTo>
                  <a:pt x="5" y="27"/>
                  <a:pt x="15" y="27"/>
                  <a:pt x="14" y="26"/>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2" name="Freeform 334"/>
          <p:cNvSpPr>
            <a:spLocks/>
          </p:cNvSpPr>
          <p:nvPr>
            <p:custDataLst>
              <p:tags r:id="rId248"/>
            </p:custDataLst>
          </p:nvPr>
        </p:nvSpPr>
        <p:spPr bwMode="auto">
          <a:xfrm>
            <a:off x="5460293" y="3383341"/>
            <a:ext cx="282732" cy="324878"/>
          </a:xfrm>
          <a:custGeom>
            <a:avLst/>
            <a:gdLst>
              <a:gd name="T0" fmla="*/ 13595 w 94"/>
              <a:gd name="T1" fmla="*/ 148298 h 101"/>
              <a:gd name="T2" fmla="*/ 0 w 94"/>
              <a:gd name="T3" fmla="*/ 154114 h 101"/>
              <a:gd name="T4" fmla="*/ 0 w 94"/>
              <a:gd name="T5" fmla="*/ 142482 h 101"/>
              <a:gd name="T6" fmla="*/ 2719 w 94"/>
              <a:gd name="T7" fmla="*/ 133759 h 101"/>
              <a:gd name="T8" fmla="*/ 87009 w 94"/>
              <a:gd name="T9" fmla="*/ 136667 h 101"/>
              <a:gd name="T10" fmla="*/ 87009 w 94"/>
              <a:gd name="T11" fmla="*/ 93050 h 101"/>
              <a:gd name="T12" fmla="*/ 106042 w 94"/>
              <a:gd name="T13" fmla="*/ 87234 h 101"/>
              <a:gd name="T14" fmla="*/ 106042 w 94"/>
              <a:gd name="T15" fmla="*/ 29078 h 101"/>
              <a:gd name="T16" fmla="*/ 176736 w 94"/>
              <a:gd name="T17" fmla="*/ 29078 h 101"/>
              <a:gd name="T18" fmla="*/ 176736 w 94"/>
              <a:gd name="T19" fmla="*/ 0 h 101"/>
              <a:gd name="T20" fmla="*/ 255588 w 94"/>
              <a:gd name="T21" fmla="*/ 55248 h 101"/>
              <a:gd name="T22" fmla="*/ 220241 w 94"/>
              <a:gd name="T23" fmla="*/ 58156 h 101"/>
              <a:gd name="T24" fmla="*/ 247431 w 94"/>
              <a:gd name="T25" fmla="*/ 252979 h 101"/>
              <a:gd name="T26" fmla="*/ 241993 w 94"/>
              <a:gd name="T27" fmla="*/ 273333 h 101"/>
              <a:gd name="T28" fmla="*/ 133232 w 94"/>
              <a:gd name="T29" fmla="*/ 279149 h 101"/>
              <a:gd name="T30" fmla="*/ 116918 w 94"/>
              <a:gd name="T31" fmla="*/ 270426 h 101"/>
              <a:gd name="T32" fmla="*/ 103323 w 94"/>
              <a:gd name="T33" fmla="*/ 290780 h 101"/>
              <a:gd name="T34" fmla="*/ 57099 w 94"/>
              <a:gd name="T35" fmla="*/ 247163 h 101"/>
              <a:gd name="T36" fmla="*/ 32628 w 94"/>
              <a:gd name="T37" fmla="*/ 247163 h 101"/>
              <a:gd name="T38" fmla="*/ 16314 w 94"/>
              <a:gd name="T39" fmla="*/ 244255 h 101"/>
              <a:gd name="T40" fmla="*/ 21752 w 94"/>
              <a:gd name="T41" fmla="*/ 226809 h 101"/>
              <a:gd name="T42" fmla="*/ 13595 w 94"/>
              <a:gd name="T43" fmla="*/ 186099 h 101"/>
              <a:gd name="T44" fmla="*/ 16314 w 94"/>
              <a:gd name="T45" fmla="*/ 168653 h 101"/>
              <a:gd name="T46" fmla="*/ 13595 w 94"/>
              <a:gd name="T47" fmla="*/ 148298 h 1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4" h="101">
                <a:moveTo>
                  <a:pt x="5" y="51"/>
                </a:moveTo>
                <a:cubicBezTo>
                  <a:pt x="5" y="49"/>
                  <a:pt x="0" y="54"/>
                  <a:pt x="0" y="53"/>
                </a:cubicBezTo>
                <a:cubicBezTo>
                  <a:pt x="0" y="51"/>
                  <a:pt x="0" y="51"/>
                  <a:pt x="0" y="49"/>
                </a:cubicBezTo>
                <a:cubicBezTo>
                  <a:pt x="0" y="48"/>
                  <a:pt x="1" y="47"/>
                  <a:pt x="1" y="46"/>
                </a:cubicBezTo>
                <a:cubicBezTo>
                  <a:pt x="32" y="47"/>
                  <a:pt x="32" y="47"/>
                  <a:pt x="32" y="47"/>
                </a:cubicBezTo>
                <a:cubicBezTo>
                  <a:pt x="32" y="47"/>
                  <a:pt x="29" y="34"/>
                  <a:pt x="32" y="32"/>
                </a:cubicBezTo>
                <a:cubicBezTo>
                  <a:pt x="35" y="30"/>
                  <a:pt x="39" y="30"/>
                  <a:pt x="39" y="30"/>
                </a:cubicBezTo>
                <a:cubicBezTo>
                  <a:pt x="39" y="10"/>
                  <a:pt x="39" y="10"/>
                  <a:pt x="39" y="10"/>
                </a:cubicBezTo>
                <a:cubicBezTo>
                  <a:pt x="65" y="10"/>
                  <a:pt x="65" y="10"/>
                  <a:pt x="65" y="10"/>
                </a:cubicBezTo>
                <a:cubicBezTo>
                  <a:pt x="65" y="0"/>
                  <a:pt x="65" y="0"/>
                  <a:pt x="65" y="0"/>
                </a:cubicBezTo>
                <a:cubicBezTo>
                  <a:pt x="94" y="19"/>
                  <a:pt x="94" y="19"/>
                  <a:pt x="94" y="19"/>
                </a:cubicBezTo>
                <a:cubicBezTo>
                  <a:pt x="81" y="20"/>
                  <a:pt x="81" y="20"/>
                  <a:pt x="81" y="20"/>
                </a:cubicBezTo>
                <a:cubicBezTo>
                  <a:pt x="91" y="87"/>
                  <a:pt x="91" y="87"/>
                  <a:pt x="91" y="87"/>
                </a:cubicBezTo>
                <a:cubicBezTo>
                  <a:pt x="89" y="94"/>
                  <a:pt x="89" y="94"/>
                  <a:pt x="89" y="94"/>
                </a:cubicBezTo>
                <a:cubicBezTo>
                  <a:pt x="89" y="94"/>
                  <a:pt x="50" y="96"/>
                  <a:pt x="49" y="96"/>
                </a:cubicBezTo>
                <a:cubicBezTo>
                  <a:pt x="47" y="96"/>
                  <a:pt x="46" y="93"/>
                  <a:pt x="43" y="93"/>
                </a:cubicBezTo>
                <a:cubicBezTo>
                  <a:pt x="41" y="93"/>
                  <a:pt x="41" y="99"/>
                  <a:pt x="38" y="100"/>
                </a:cubicBezTo>
                <a:cubicBezTo>
                  <a:pt x="35" y="101"/>
                  <a:pt x="24" y="86"/>
                  <a:pt x="21" y="85"/>
                </a:cubicBezTo>
                <a:cubicBezTo>
                  <a:pt x="19" y="84"/>
                  <a:pt x="14" y="85"/>
                  <a:pt x="12" y="85"/>
                </a:cubicBezTo>
                <a:cubicBezTo>
                  <a:pt x="11" y="86"/>
                  <a:pt x="6" y="84"/>
                  <a:pt x="6" y="84"/>
                </a:cubicBezTo>
                <a:cubicBezTo>
                  <a:pt x="7" y="82"/>
                  <a:pt x="7" y="80"/>
                  <a:pt x="8" y="78"/>
                </a:cubicBezTo>
                <a:cubicBezTo>
                  <a:pt x="10" y="74"/>
                  <a:pt x="5" y="67"/>
                  <a:pt x="5" y="64"/>
                </a:cubicBezTo>
                <a:cubicBezTo>
                  <a:pt x="5" y="61"/>
                  <a:pt x="3" y="61"/>
                  <a:pt x="6" y="58"/>
                </a:cubicBezTo>
                <a:cubicBezTo>
                  <a:pt x="9" y="56"/>
                  <a:pt x="5" y="53"/>
                  <a:pt x="5" y="51"/>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3" name="Freeform 335"/>
          <p:cNvSpPr>
            <a:spLocks/>
          </p:cNvSpPr>
          <p:nvPr>
            <p:custDataLst>
              <p:tags r:id="rId249"/>
            </p:custDataLst>
          </p:nvPr>
        </p:nvSpPr>
        <p:spPr bwMode="auto">
          <a:xfrm>
            <a:off x="6424390" y="3792512"/>
            <a:ext cx="252878" cy="186146"/>
          </a:xfrm>
          <a:custGeom>
            <a:avLst/>
            <a:gdLst>
              <a:gd name="T0" fmla="*/ 168275 w 144"/>
              <a:gd name="T1" fmla="*/ 34925 h 106"/>
              <a:gd name="T2" fmla="*/ 177800 w 144"/>
              <a:gd name="T3" fmla="*/ 0 h 106"/>
              <a:gd name="T4" fmla="*/ 190500 w 144"/>
              <a:gd name="T5" fmla="*/ 60325 h 106"/>
              <a:gd name="T6" fmla="*/ 171450 w 144"/>
              <a:gd name="T7" fmla="*/ 60325 h 106"/>
              <a:gd name="T8" fmla="*/ 171450 w 144"/>
              <a:gd name="T9" fmla="*/ 80963 h 106"/>
              <a:gd name="T10" fmla="*/ 192088 w 144"/>
              <a:gd name="T11" fmla="*/ 88900 h 106"/>
              <a:gd name="T12" fmla="*/ 217488 w 144"/>
              <a:gd name="T13" fmla="*/ 103188 h 106"/>
              <a:gd name="T14" fmla="*/ 225425 w 144"/>
              <a:gd name="T15" fmla="*/ 119063 h 106"/>
              <a:gd name="T16" fmla="*/ 228600 w 144"/>
              <a:gd name="T17" fmla="*/ 144463 h 106"/>
              <a:gd name="T18" fmla="*/ 228600 w 144"/>
              <a:gd name="T19" fmla="*/ 144463 h 106"/>
              <a:gd name="T20" fmla="*/ 198438 w 144"/>
              <a:gd name="T21" fmla="*/ 144463 h 106"/>
              <a:gd name="T22" fmla="*/ 192088 w 144"/>
              <a:gd name="T23" fmla="*/ 153988 h 106"/>
              <a:gd name="T24" fmla="*/ 187325 w 144"/>
              <a:gd name="T25" fmla="*/ 165100 h 106"/>
              <a:gd name="T26" fmla="*/ 160338 w 144"/>
              <a:gd name="T27" fmla="*/ 165100 h 106"/>
              <a:gd name="T28" fmla="*/ 130175 w 144"/>
              <a:gd name="T29" fmla="*/ 168275 h 106"/>
              <a:gd name="T30" fmla="*/ 111125 w 144"/>
              <a:gd name="T31" fmla="*/ 157163 h 106"/>
              <a:gd name="T32" fmla="*/ 100013 w 144"/>
              <a:gd name="T33" fmla="*/ 144463 h 106"/>
              <a:gd name="T34" fmla="*/ 84138 w 144"/>
              <a:gd name="T35" fmla="*/ 153988 h 106"/>
              <a:gd name="T36" fmla="*/ 61913 w 144"/>
              <a:gd name="T37" fmla="*/ 141288 h 106"/>
              <a:gd name="T38" fmla="*/ 50800 w 144"/>
              <a:gd name="T39" fmla="*/ 133350 h 106"/>
              <a:gd name="T40" fmla="*/ 53975 w 144"/>
              <a:gd name="T41" fmla="*/ 119063 h 106"/>
              <a:gd name="T42" fmla="*/ 34925 w 144"/>
              <a:gd name="T43" fmla="*/ 101600 h 106"/>
              <a:gd name="T44" fmla="*/ 12700 w 144"/>
              <a:gd name="T45" fmla="*/ 84138 h 106"/>
              <a:gd name="T46" fmla="*/ 0 w 144"/>
              <a:gd name="T47" fmla="*/ 66675 h 106"/>
              <a:gd name="T48" fmla="*/ 28575 w 144"/>
              <a:gd name="T49" fmla="*/ 42863 h 106"/>
              <a:gd name="T50" fmla="*/ 58738 w 144"/>
              <a:gd name="T51" fmla="*/ 57150 h 106"/>
              <a:gd name="T52" fmla="*/ 82550 w 144"/>
              <a:gd name="T53" fmla="*/ 63500 h 106"/>
              <a:gd name="T54" fmla="*/ 168275 w 144"/>
              <a:gd name="T55" fmla="*/ 34925 h 10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44" h="106">
                <a:moveTo>
                  <a:pt x="106" y="22"/>
                </a:moveTo>
                <a:cubicBezTo>
                  <a:pt x="104" y="26"/>
                  <a:pt x="113" y="0"/>
                  <a:pt x="112" y="0"/>
                </a:cubicBezTo>
                <a:cubicBezTo>
                  <a:pt x="118" y="2"/>
                  <a:pt x="121" y="32"/>
                  <a:pt x="120" y="38"/>
                </a:cubicBezTo>
                <a:cubicBezTo>
                  <a:pt x="118" y="40"/>
                  <a:pt x="109" y="34"/>
                  <a:pt x="108" y="38"/>
                </a:cubicBezTo>
                <a:cubicBezTo>
                  <a:pt x="106" y="43"/>
                  <a:pt x="104" y="51"/>
                  <a:pt x="108" y="51"/>
                </a:cubicBezTo>
                <a:cubicBezTo>
                  <a:pt x="111" y="53"/>
                  <a:pt x="118" y="51"/>
                  <a:pt x="121" y="56"/>
                </a:cubicBezTo>
                <a:cubicBezTo>
                  <a:pt x="126" y="60"/>
                  <a:pt x="137" y="62"/>
                  <a:pt x="137" y="65"/>
                </a:cubicBezTo>
                <a:cubicBezTo>
                  <a:pt x="137" y="69"/>
                  <a:pt x="138" y="75"/>
                  <a:pt x="142" y="75"/>
                </a:cubicBezTo>
                <a:cubicBezTo>
                  <a:pt x="144" y="91"/>
                  <a:pt x="144" y="91"/>
                  <a:pt x="144" y="91"/>
                </a:cubicBezTo>
                <a:cubicBezTo>
                  <a:pt x="144" y="91"/>
                  <a:pt x="144" y="91"/>
                  <a:pt x="144" y="91"/>
                </a:cubicBezTo>
                <a:cubicBezTo>
                  <a:pt x="125" y="91"/>
                  <a:pt x="125" y="91"/>
                  <a:pt x="125" y="91"/>
                </a:cubicBezTo>
                <a:cubicBezTo>
                  <a:pt x="121" y="97"/>
                  <a:pt x="121" y="97"/>
                  <a:pt x="121" y="97"/>
                </a:cubicBezTo>
                <a:cubicBezTo>
                  <a:pt x="118" y="104"/>
                  <a:pt x="118" y="104"/>
                  <a:pt x="118" y="104"/>
                </a:cubicBezTo>
                <a:cubicBezTo>
                  <a:pt x="118" y="104"/>
                  <a:pt x="106" y="104"/>
                  <a:pt x="101" y="104"/>
                </a:cubicBezTo>
                <a:cubicBezTo>
                  <a:pt x="96" y="104"/>
                  <a:pt x="84" y="104"/>
                  <a:pt x="82" y="106"/>
                </a:cubicBezTo>
                <a:cubicBezTo>
                  <a:pt x="70" y="99"/>
                  <a:pt x="70" y="99"/>
                  <a:pt x="70" y="99"/>
                </a:cubicBezTo>
                <a:cubicBezTo>
                  <a:pt x="70" y="99"/>
                  <a:pt x="67" y="93"/>
                  <a:pt x="63" y="91"/>
                </a:cubicBezTo>
                <a:cubicBezTo>
                  <a:pt x="60" y="89"/>
                  <a:pt x="61" y="97"/>
                  <a:pt x="53" y="97"/>
                </a:cubicBezTo>
                <a:cubicBezTo>
                  <a:pt x="44" y="97"/>
                  <a:pt x="43" y="93"/>
                  <a:pt x="39" y="89"/>
                </a:cubicBezTo>
                <a:cubicBezTo>
                  <a:pt x="37" y="88"/>
                  <a:pt x="36" y="86"/>
                  <a:pt x="32" y="84"/>
                </a:cubicBezTo>
                <a:cubicBezTo>
                  <a:pt x="34" y="75"/>
                  <a:pt x="34" y="75"/>
                  <a:pt x="34" y="75"/>
                </a:cubicBezTo>
                <a:cubicBezTo>
                  <a:pt x="34" y="75"/>
                  <a:pt x="24" y="65"/>
                  <a:pt x="22" y="64"/>
                </a:cubicBezTo>
                <a:cubicBezTo>
                  <a:pt x="20" y="62"/>
                  <a:pt x="12" y="54"/>
                  <a:pt x="8" y="53"/>
                </a:cubicBezTo>
                <a:cubicBezTo>
                  <a:pt x="5" y="51"/>
                  <a:pt x="1" y="45"/>
                  <a:pt x="0" y="42"/>
                </a:cubicBezTo>
                <a:cubicBezTo>
                  <a:pt x="0" y="38"/>
                  <a:pt x="18" y="27"/>
                  <a:pt x="18" y="27"/>
                </a:cubicBezTo>
                <a:cubicBezTo>
                  <a:pt x="18" y="27"/>
                  <a:pt x="37" y="42"/>
                  <a:pt x="37" y="36"/>
                </a:cubicBezTo>
                <a:cubicBezTo>
                  <a:pt x="37" y="31"/>
                  <a:pt x="53" y="44"/>
                  <a:pt x="52" y="40"/>
                </a:cubicBezTo>
                <a:cubicBezTo>
                  <a:pt x="72" y="27"/>
                  <a:pt x="90" y="33"/>
                  <a:pt x="106" y="22"/>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4" name="Freeform 336"/>
          <p:cNvSpPr>
            <a:spLocks/>
          </p:cNvSpPr>
          <p:nvPr>
            <p:custDataLst>
              <p:tags r:id="rId250"/>
            </p:custDataLst>
          </p:nvPr>
        </p:nvSpPr>
        <p:spPr bwMode="auto">
          <a:xfrm>
            <a:off x="6357659" y="3490464"/>
            <a:ext cx="388097" cy="381073"/>
          </a:xfrm>
          <a:custGeom>
            <a:avLst/>
            <a:gdLst>
              <a:gd name="T0" fmla="*/ 42771 w 607"/>
              <a:gd name="T1" fmla="*/ 79186 h 596"/>
              <a:gd name="T2" fmla="*/ 42771 w 607"/>
              <a:gd name="T3" fmla="*/ 69938 h 596"/>
              <a:gd name="T4" fmla="*/ 65313 w 607"/>
              <a:gd name="T5" fmla="*/ 69938 h 596"/>
              <a:gd name="T6" fmla="*/ 65313 w 607"/>
              <a:gd name="T7" fmla="*/ 20808 h 596"/>
              <a:gd name="T8" fmla="*/ 236397 w 607"/>
              <a:gd name="T9" fmla="*/ 20808 h 596"/>
              <a:gd name="T10" fmla="*/ 250846 w 607"/>
              <a:gd name="T11" fmla="*/ 28322 h 596"/>
              <a:gd name="T12" fmla="*/ 266452 w 607"/>
              <a:gd name="T13" fmla="*/ 17340 h 596"/>
              <a:gd name="T14" fmla="*/ 271654 w 607"/>
              <a:gd name="T15" fmla="*/ 2890 h 596"/>
              <a:gd name="T16" fmla="*/ 285525 w 607"/>
              <a:gd name="T17" fmla="*/ 0 h 596"/>
              <a:gd name="T18" fmla="*/ 288993 w 607"/>
              <a:gd name="T19" fmla="*/ 2890 h 596"/>
              <a:gd name="T20" fmla="*/ 301709 w 607"/>
              <a:gd name="T21" fmla="*/ 9248 h 596"/>
              <a:gd name="T22" fmla="*/ 312691 w 607"/>
              <a:gd name="T23" fmla="*/ 20808 h 596"/>
              <a:gd name="T24" fmla="*/ 323673 w 607"/>
              <a:gd name="T25" fmla="*/ 93636 h 596"/>
              <a:gd name="T26" fmla="*/ 347948 w 607"/>
              <a:gd name="T27" fmla="*/ 110976 h 596"/>
              <a:gd name="T28" fmla="*/ 350838 w 607"/>
              <a:gd name="T29" fmla="*/ 119068 h 596"/>
              <a:gd name="T30" fmla="*/ 336388 w 607"/>
              <a:gd name="T31" fmla="*/ 125426 h 596"/>
              <a:gd name="T32" fmla="*/ 316159 w 607"/>
              <a:gd name="T33" fmla="*/ 152592 h 596"/>
              <a:gd name="T34" fmla="*/ 304599 w 607"/>
              <a:gd name="T35" fmla="*/ 204612 h 596"/>
              <a:gd name="T36" fmla="*/ 297085 w 607"/>
              <a:gd name="T37" fmla="*/ 233512 h 596"/>
              <a:gd name="T38" fmla="*/ 278012 w 607"/>
              <a:gd name="T39" fmla="*/ 250852 h 596"/>
              <a:gd name="T40" fmla="*/ 271654 w 607"/>
              <a:gd name="T41" fmla="*/ 278018 h 596"/>
              <a:gd name="T42" fmla="*/ 260094 w 607"/>
              <a:gd name="T43" fmla="*/ 285532 h 596"/>
              <a:gd name="T44" fmla="*/ 250846 w 607"/>
              <a:gd name="T45" fmla="*/ 333506 h 596"/>
              <a:gd name="T46" fmla="*/ 241021 w 607"/>
              <a:gd name="T47" fmla="*/ 274550 h 596"/>
              <a:gd name="T48" fmla="*/ 227149 w 607"/>
              <a:gd name="T49" fmla="*/ 310964 h 596"/>
              <a:gd name="T50" fmla="*/ 142185 w 607"/>
              <a:gd name="T51" fmla="*/ 336396 h 596"/>
              <a:gd name="T52" fmla="*/ 114441 w 607"/>
              <a:gd name="T53" fmla="*/ 331772 h 596"/>
              <a:gd name="T54" fmla="*/ 89010 w 607"/>
              <a:gd name="T55" fmla="*/ 316166 h 596"/>
              <a:gd name="T56" fmla="*/ 60111 w 607"/>
              <a:gd name="T57" fmla="*/ 339864 h 596"/>
              <a:gd name="T58" fmla="*/ 34679 w 607"/>
              <a:gd name="T59" fmla="*/ 327148 h 596"/>
              <a:gd name="T60" fmla="*/ 38147 w 607"/>
              <a:gd name="T61" fmla="*/ 303450 h 596"/>
              <a:gd name="T62" fmla="*/ 21963 w 607"/>
              <a:gd name="T63" fmla="*/ 278018 h 596"/>
              <a:gd name="T64" fmla="*/ 23697 w 607"/>
              <a:gd name="T65" fmla="*/ 257210 h 596"/>
              <a:gd name="T66" fmla="*/ 10982 w 607"/>
              <a:gd name="T67" fmla="*/ 239870 h 596"/>
              <a:gd name="T68" fmla="*/ 0 w 607"/>
              <a:gd name="T69" fmla="*/ 230044 h 596"/>
              <a:gd name="T70" fmla="*/ 10982 w 607"/>
              <a:gd name="T71" fmla="*/ 208080 h 596"/>
              <a:gd name="T72" fmla="*/ 21963 w 607"/>
              <a:gd name="T73" fmla="*/ 172822 h 596"/>
              <a:gd name="T74" fmla="*/ 42771 w 607"/>
              <a:gd name="T75" fmla="*/ 166464 h 596"/>
              <a:gd name="T76" fmla="*/ 42771 w 607"/>
              <a:gd name="T77" fmla="*/ 79186 h 5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07" h="596">
                <a:moveTo>
                  <a:pt x="74" y="137"/>
                </a:moveTo>
                <a:cubicBezTo>
                  <a:pt x="74" y="121"/>
                  <a:pt x="74" y="121"/>
                  <a:pt x="74" y="121"/>
                </a:cubicBezTo>
                <a:cubicBezTo>
                  <a:pt x="113" y="121"/>
                  <a:pt x="113" y="121"/>
                  <a:pt x="113" y="121"/>
                </a:cubicBezTo>
                <a:cubicBezTo>
                  <a:pt x="113" y="36"/>
                  <a:pt x="113" y="36"/>
                  <a:pt x="113" y="36"/>
                </a:cubicBezTo>
                <a:cubicBezTo>
                  <a:pt x="409" y="36"/>
                  <a:pt x="409" y="36"/>
                  <a:pt x="409" y="36"/>
                </a:cubicBezTo>
                <a:cubicBezTo>
                  <a:pt x="417" y="41"/>
                  <a:pt x="423" y="55"/>
                  <a:pt x="434" y="49"/>
                </a:cubicBezTo>
                <a:cubicBezTo>
                  <a:pt x="442" y="47"/>
                  <a:pt x="461" y="30"/>
                  <a:pt x="461" y="30"/>
                </a:cubicBezTo>
                <a:cubicBezTo>
                  <a:pt x="461" y="30"/>
                  <a:pt x="467" y="5"/>
                  <a:pt x="470" y="5"/>
                </a:cubicBezTo>
                <a:cubicBezTo>
                  <a:pt x="481" y="5"/>
                  <a:pt x="494" y="0"/>
                  <a:pt x="494" y="0"/>
                </a:cubicBezTo>
                <a:cubicBezTo>
                  <a:pt x="494" y="0"/>
                  <a:pt x="494" y="5"/>
                  <a:pt x="500" y="5"/>
                </a:cubicBezTo>
                <a:cubicBezTo>
                  <a:pt x="516" y="16"/>
                  <a:pt x="516" y="11"/>
                  <a:pt x="522" y="16"/>
                </a:cubicBezTo>
                <a:cubicBezTo>
                  <a:pt x="527" y="16"/>
                  <a:pt x="541" y="30"/>
                  <a:pt x="541" y="36"/>
                </a:cubicBezTo>
                <a:cubicBezTo>
                  <a:pt x="547" y="41"/>
                  <a:pt x="549" y="151"/>
                  <a:pt x="560" y="162"/>
                </a:cubicBezTo>
                <a:cubicBezTo>
                  <a:pt x="569" y="173"/>
                  <a:pt x="599" y="181"/>
                  <a:pt x="602" y="192"/>
                </a:cubicBezTo>
                <a:cubicBezTo>
                  <a:pt x="602" y="198"/>
                  <a:pt x="602" y="203"/>
                  <a:pt x="607" y="206"/>
                </a:cubicBezTo>
                <a:cubicBezTo>
                  <a:pt x="607" y="206"/>
                  <a:pt x="599" y="211"/>
                  <a:pt x="582" y="217"/>
                </a:cubicBezTo>
                <a:cubicBezTo>
                  <a:pt x="574" y="222"/>
                  <a:pt x="549" y="228"/>
                  <a:pt x="547" y="264"/>
                </a:cubicBezTo>
                <a:cubicBezTo>
                  <a:pt x="536" y="299"/>
                  <a:pt x="533" y="338"/>
                  <a:pt x="527" y="354"/>
                </a:cubicBezTo>
                <a:cubicBezTo>
                  <a:pt x="522" y="365"/>
                  <a:pt x="516" y="404"/>
                  <a:pt x="514" y="404"/>
                </a:cubicBezTo>
                <a:cubicBezTo>
                  <a:pt x="508" y="409"/>
                  <a:pt x="489" y="415"/>
                  <a:pt x="481" y="434"/>
                </a:cubicBezTo>
                <a:cubicBezTo>
                  <a:pt x="475" y="450"/>
                  <a:pt x="470" y="481"/>
                  <a:pt x="470" y="481"/>
                </a:cubicBezTo>
                <a:cubicBezTo>
                  <a:pt x="470" y="481"/>
                  <a:pt x="450" y="475"/>
                  <a:pt x="450" y="494"/>
                </a:cubicBezTo>
                <a:cubicBezTo>
                  <a:pt x="450" y="511"/>
                  <a:pt x="442" y="566"/>
                  <a:pt x="434" y="577"/>
                </a:cubicBezTo>
                <a:cubicBezTo>
                  <a:pt x="428" y="574"/>
                  <a:pt x="423" y="481"/>
                  <a:pt x="417" y="475"/>
                </a:cubicBezTo>
                <a:cubicBezTo>
                  <a:pt x="400" y="502"/>
                  <a:pt x="403" y="511"/>
                  <a:pt x="393" y="538"/>
                </a:cubicBezTo>
                <a:cubicBezTo>
                  <a:pt x="231" y="573"/>
                  <a:pt x="278" y="576"/>
                  <a:pt x="246" y="582"/>
                </a:cubicBezTo>
                <a:cubicBezTo>
                  <a:pt x="246" y="582"/>
                  <a:pt x="202" y="552"/>
                  <a:pt x="198" y="574"/>
                </a:cubicBezTo>
                <a:cubicBezTo>
                  <a:pt x="193" y="569"/>
                  <a:pt x="165" y="550"/>
                  <a:pt x="154" y="547"/>
                </a:cubicBezTo>
                <a:cubicBezTo>
                  <a:pt x="146" y="542"/>
                  <a:pt x="107" y="596"/>
                  <a:pt x="104" y="588"/>
                </a:cubicBezTo>
                <a:cubicBezTo>
                  <a:pt x="104" y="577"/>
                  <a:pt x="60" y="566"/>
                  <a:pt x="60" y="566"/>
                </a:cubicBezTo>
                <a:cubicBezTo>
                  <a:pt x="60" y="566"/>
                  <a:pt x="66" y="541"/>
                  <a:pt x="66" y="525"/>
                </a:cubicBezTo>
                <a:cubicBezTo>
                  <a:pt x="66" y="511"/>
                  <a:pt x="41" y="492"/>
                  <a:pt x="38" y="481"/>
                </a:cubicBezTo>
                <a:cubicBezTo>
                  <a:pt x="41" y="445"/>
                  <a:pt x="41" y="445"/>
                  <a:pt x="41" y="445"/>
                </a:cubicBezTo>
                <a:cubicBezTo>
                  <a:pt x="33" y="434"/>
                  <a:pt x="19" y="426"/>
                  <a:pt x="19" y="415"/>
                </a:cubicBezTo>
                <a:cubicBezTo>
                  <a:pt x="19" y="409"/>
                  <a:pt x="0" y="420"/>
                  <a:pt x="0" y="398"/>
                </a:cubicBezTo>
                <a:cubicBezTo>
                  <a:pt x="5" y="385"/>
                  <a:pt x="19" y="374"/>
                  <a:pt x="19" y="360"/>
                </a:cubicBezTo>
                <a:cubicBezTo>
                  <a:pt x="25" y="343"/>
                  <a:pt x="27" y="308"/>
                  <a:pt x="38" y="299"/>
                </a:cubicBezTo>
                <a:cubicBezTo>
                  <a:pt x="41" y="294"/>
                  <a:pt x="74" y="288"/>
                  <a:pt x="74" y="288"/>
                </a:cubicBezTo>
                <a:lnTo>
                  <a:pt x="74" y="137"/>
                </a:ln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5" name="Freeform 337"/>
          <p:cNvSpPr>
            <a:spLocks/>
          </p:cNvSpPr>
          <p:nvPr>
            <p:custDataLst>
              <p:tags r:id="rId251"/>
            </p:custDataLst>
          </p:nvPr>
        </p:nvSpPr>
        <p:spPr bwMode="auto">
          <a:xfrm>
            <a:off x="6080195" y="4006757"/>
            <a:ext cx="31610" cy="24585"/>
          </a:xfrm>
          <a:custGeom>
            <a:avLst/>
            <a:gdLst>
              <a:gd name="T0" fmla="*/ 27091 w 77"/>
              <a:gd name="T1" fmla="*/ 9794 h 59"/>
              <a:gd name="T2" fmla="*/ 28575 w 77"/>
              <a:gd name="T3" fmla="*/ 2637 h 59"/>
              <a:gd name="T4" fmla="*/ 9649 w 77"/>
              <a:gd name="T5" fmla="*/ 2637 h 59"/>
              <a:gd name="T6" fmla="*/ 6680 w 77"/>
              <a:gd name="T7" fmla="*/ 0 h 59"/>
              <a:gd name="T8" fmla="*/ 5938 w 77"/>
              <a:gd name="T9" fmla="*/ 1883 h 59"/>
              <a:gd name="T10" fmla="*/ 5938 w 77"/>
              <a:gd name="T11" fmla="*/ 9041 h 59"/>
              <a:gd name="T12" fmla="*/ 3340 w 77"/>
              <a:gd name="T13" fmla="*/ 10547 h 59"/>
              <a:gd name="T14" fmla="*/ 2598 w 77"/>
              <a:gd name="T15" fmla="*/ 13184 h 59"/>
              <a:gd name="T16" fmla="*/ 742 w 77"/>
              <a:gd name="T17" fmla="*/ 15068 h 59"/>
              <a:gd name="T18" fmla="*/ 0 w 77"/>
              <a:gd name="T19" fmla="*/ 16951 h 59"/>
              <a:gd name="T20" fmla="*/ 0 w 77"/>
              <a:gd name="T21" fmla="*/ 18835 h 59"/>
              <a:gd name="T22" fmla="*/ 742 w 77"/>
              <a:gd name="T23" fmla="*/ 19588 h 59"/>
              <a:gd name="T24" fmla="*/ 3340 w 77"/>
              <a:gd name="T25" fmla="*/ 20342 h 59"/>
              <a:gd name="T26" fmla="*/ 6680 w 77"/>
              <a:gd name="T27" fmla="*/ 20342 h 59"/>
              <a:gd name="T28" fmla="*/ 6680 w 77"/>
              <a:gd name="T29" fmla="*/ 22225 h 59"/>
              <a:gd name="T30" fmla="*/ 27091 w 77"/>
              <a:gd name="T31" fmla="*/ 22225 h 59"/>
              <a:gd name="T32" fmla="*/ 27091 w 77"/>
              <a:gd name="T33" fmla="*/ 20342 h 59"/>
              <a:gd name="T34" fmla="*/ 28575 w 77"/>
              <a:gd name="T35" fmla="*/ 16951 h 59"/>
              <a:gd name="T36" fmla="*/ 28575 w 77"/>
              <a:gd name="T37" fmla="*/ 10547 h 59"/>
              <a:gd name="T38" fmla="*/ 27091 w 77"/>
              <a:gd name="T39" fmla="*/ 9794 h 59"/>
              <a:gd name="T40" fmla="*/ 27091 w 77"/>
              <a:gd name="T41" fmla="*/ 9794 h 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59">
                <a:moveTo>
                  <a:pt x="73" y="26"/>
                </a:moveTo>
                <a:lnTo>
                  <a:pt x="77" y="7"/>
                </a:lnTo>
                <a:lnTo>
                  <a:pt x="26" y="7"/>
                </a:lnTo>
                <a:lnTo>
                  <a:pt x="18" y="0"/>
                </a:lnTo>
                <a:lnTo>
                  <a:pt x="16" y="5"/>
                </a:lnTo>
                <a:lnTo>
                  <a:pt x="16" y="24"/>
                </a:lnTo>
                <a:lnTo>
                  <a:pt x="9" y="28"/>
                </a:lnTo>
                <a:lnTo>
                  <a:pt x="7" y="35"/>
                </a:lnTo>
                <a:lnTo>
                  <a:pt x="2" y="40"/>
                </a:lnTo>
                <a:lnTo>
                  <a:pt x="0" y="45"/>
                </a:lnTo>
                <a:lnTo>
                  <a:pt x="0" y="50"/>
                </a:lnTo>
                <a:lnTo>
                  <a:pt x="2" y="52"/>
                </a:lnTo>
                <a:lnTo>
                  <a:pt x="9" y="54"/>
                </a:lnTo>
                <a:lnTo>
                  <a:pt x="18" y="54"/>
                </a:lnTo>
                <a:lnTo>
                  <a:pt x="18" y="59"/>
                </a:lnTo>
                <a:lnTo>
                  <a:pt x="73" y="59"/>
                </a:lnTo>
                <a:lnTo>
                  <a:pt x="73" y="54"/>
                </a:lnTo>
                <a:lnTo>
                  <a:pt x="77" y="45"/>
                </a:lnTo>
                <a:lnTo>
                  <a:pt x="77" y="28"/>
                </a:lnTo>
                <a:lnTo>
                  <a:pt x="73" y="26"/>
                </a:lnTo>
                <a:close/>
              </a:path>
            </a:pathLst>
          </a:custGeom>
          <a:solidFill>
            <a:schemeClr val="bg1">
              <a:lumMod val="85000"/>
            </a:schemeClr>
          </a:solidFill>
          <a:ln w="9525" cap="rnd" cmpd="sng">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6" name="Freeform 338"/>
          <p:cNvSpPr>
            <a:spLocks/>
          </p:cNvSpPr>
          <p:nvPr>
            <p:custDataLst>
              <p:tags r:id="rId252"/>
            </p:custDataLst>
          </p:nvPr>
        </p:nvSpPr>
        <p:spPr bwMode="auto">
          <a:xfrm>
            <a:off x="6810731" y="3750367"/>
            <a:ext cx="40390" cy="47415"/>
          </a:xfrm>
          <a:custGeom>
            <a:avLst/>
            <a:gdLst>
              <a:gd name="T0" fmla="*/ 22898 w 59"/>
              <a:gd name="T1" fmla="*/ 7244 h 71"/>
              <a:gd name="T2" fmla="*/ 14234 w 59"/>
              <a:gd name="T3" fmla="*/ 4226 h 71"/>
              <a:gd name="T4" fmla="*/ 5570 w 59"/>
              <a:gd name="T5" fmla="*/ 21733 h 71"/>
              <a:gd name="T6" fmla="*/ 0 w 59"/>
              <a:gd name="T7" fmla="*/ 25959 h 71"/>
              <a:gd name="T8" fmla="*/ 0 w 59"/>
              <a:gd name="T9" fmla="*/ 30185 h 71"/>
              <a:gd name="T10" fmla="*/ 1238 w 59"/>
              <a:gd name="T11" fmla="*/ 35619 h 71"/>
              <a:gd name="T12" fmla="*/ 1238 w 59"/>
              <a:gd name="T13" fmla="*/ 39844 h 71"/>
              <a:gd name="T14" fmla="*/ 5570 w 59"/>
              <a:gd name="T15" fmla="*/ 42863 h 71"/>
              <a:gd name="T16" fmla="*/ 12996 w 59"/>
              <a:gd name="T17" fmla="*/ 42863 h 71"/>
              <a:gd name="T18" fmla="*/ 14234 w 59"/>
              <a:gd name="T19" fmla="*/ 41656 h 71"/>
              <a:gd name="T20" fmla="*/ 17328 w 59"/>
              <a:gd name="T21" fmla="*/ 41656 h 71"/>
              <a:gd name="T22" fmla="*/ 18566 w 59"/>
              <a:gd name="T23" fmla="*/ 39844 h 71"/>
              <a:gd name="T24" fmla="*/ 22898 w 59"/>
              <a:gd name="T25" fmla="*/ 39844 h 71"/>
              <a:gd name="T26" fmla="*/ 25992 w 59"/>
              <a:gd name="T27" fmla="*/ 41656 h 71"/>
              <a:gd name="T28" fmla="*/ 29087 w 59"/>
              <a:gd name="T29" fmla="*/ 42863 h 71"/>
              <a:gd name="T30" fmla="*/ 29087 w 59"/>
              <a:gd name="T31" fmla="*/ 41656 h 71"/>
              <a:gd name="T32" fmla="*/ 36513 w 59"/>
              <a:gd name="T33" fmla="*/ 34411 h 71"/>
              <a:gd name="T34" fmla="*/ 36513 w 59"/>
              <a:gd name="T35" fmla="*/ 31393 h 71"/>
              <a:gd name="T36" fmla="*/ 33419 w 59"/>
              <a:gd name="T37" fmla="*/ 28978 h 71"/>
              <a:gd name="T38" fmla="*/ 21660 w 59"/>
              <a:gd name="T39" fmla="*/ 28978 h 71"/>
              <a:gd name="T40" fmla="*/ 24755 w 59"/>
              <a:gd name="T41" fmla="*/ 25959 h 71"/>
              <a:gd name="T42" fmla="*/ 25992 w 59"/>
              <a:gd name="T43" fmla="*/ 22941 h 71"/>
              <a:gd name="T44" fmla="*/ 30324 w 59"/>
              <a:gd name="T45" fmla="*/ 21733 h 71"/>
              <a:gd name="T46" fmla="*/ 33419 w 59"/>
              <a:gd name="T47" fmla="*/ 17507 h 71"/>
              <a:gd name="T48" fmla="*/ 36513 w 59"/>
              <a:gd name="T49" fmla="*/ 13281 h 71"/>
              <a:gd name="T50" fmla="*/ 36513 w 59"/>
              <a:gd name="T51" fmla="*/ 7244 h 71"/>
              <a:gd name="T52" fmla="*/ 34656 w 59"/>
              <a:gd name="T53" fmla="*/ 4226 h 71"/>
              <a:gd name="T54" fmla="*/ 30324 w 59"/>
              <a:gd name="T55" fmla="*/ 0 h 71"/>
              <a:gd name="T56" fmla="*/ 25992 w 59"/>
              <a:gd name="T57" fmla="*/ 1811 h 71"/>
              <a:gd name="T58" fmla="*/ 22898 w 59"/>
              <a:gd name="T59" fmla="*/ 7244 h 71"/>
              <a:gd name="T60" fmla="*/ 22898 w 59"/>
              <a:gd name="T61" fmla="*/ 7244 h 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9" h="71">
                <a:moveTo>
                  <a:pt x="37" y="12"/>
                </a:moveTo>
                <a:lnTo>
                  <a:pt x="23" y="7"/>
                </a:lnTo>
                <a:lnTo>
                  <a:pt x="9" y="36"/>
                </a:lnTo>
                <a:lnTo>
                  <a:pt x="0" y="43"/>
                </a:lnTo>
                <a:lnTo>
                  <a:pt x="0" y="50"/>
                </a:lnTo>
                <a:lnTo>
                  <a:pt x="2" y="59"/>
                </a:lnTo>
                <a:lnTo>
                  <a:pt x="2" y="66"/>
                </a:lnTo>
                <a:lnTo>
                  <a:pt x="9" y="71"/>
                </a:lnTo>
                <a:lnTo>
                  <a:pt x="21" y="71"/>
                </a:lnTo>
                <a:lnTo>
                  <a:pt x="23" y="69"/>
                </a:lnTo>
                <a:lnTo>
                  <a:pt x="28" y="69"/>
                </a:lnTo>
                <a:lnTo>
                  <a:pt x="30" y="66"/>
                </a:lnTo>
                <a:lnTo>
                  <a:pt x="37" y="66"/>
                </a:lnTo>
                <a:lnTo>
                  <a:pt x="42" y="69"/>
                </a:lnTo>
                <a:lnTo>
                  <a:pt x="47" y="71"/>
                </a:lnTo>
                <a:lnTo>
                  <a:pt x="47" y="69"/>
                </a:lnTo>
                <a:lnTo>
                  <a:pt x="59" y="57"/>
                </a:lnTo>
                <a:lnTo>
                  <a:pt x="59" y="52"/>
                </a:lnTo>
                <a:lnTo>
                  <a:pt x="54" y="48"/>
                </a:lnTo>
                <a:lnTo>
                  <a:pt x="35" y="48"/>
                </a:lnTo>
                <a:lnTo>
                  <a:pt x="40" y="43"/>
                </a:lnTo>
                <a:lnTo>
                  <a:pt x="42" y="38"/>
                </a:lnTo>
                <a:lnTo>
                  <a:pt x="49" y="36"/>
                </a:lnTo>
                <a:lnTo>
                  <a:pt x="54" y="29"/>
                </a:lnTo>
                <a:lnTo>
                  <a:pt x="59" y="22"/>
                </a:lnTo>
                <a:lnTo>
                  <a:pt x="59" y="12"/>
                </a:lnTo>
                <a:lnTo>
                  <a:pt x="56" y="7"/>
                </a:lnTo>
                <a:lnTo>
                  <a:pt x="49" y="0"/>
                </a:lnTo>
                <a:lnTo>
                  <a:pt x="42" y="3"/>
                </a:lnTo>
                <a:lnTo>
                  <a:pt x="37" y="12"/>
                </a:lnTo>
                <a:close/>
              </a:path>
            </a:pathLst>
          </a:custGeom>
          <a:solidFill>
            <a:schemeClr val="bg1">
              <a:lumMod val="85000"/>
            </a:schemeClr>
          </a:solidFill>
          <a:ln w="9525" cap="rnd" cmpd="sng">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7" name="Freeform 105"/>
          <p:cNvSpPr>
            <a:spLocks/>
          </p:cNvSpPr>
          <p:nvPr>
            <p:custDataLst>
              <p:tags r:id="rId253"/>
            </p:custDataLst>
          </p:nvPr>
        </p:nvSpPr>
        <p:spPr bwMode="auto">
          <a:xfrm>
            <a:off x="1988491" y="2584317"/>
            <a:ext cx="49171" cy="31610"/>
          </a:xfrm>
          <a:custGeom>
            <a:avLst/>
            <a:gdLst>
              <a:gd name="T0" fmla="*/ 19447 w 16"/>
              <a:gd name="T1" fmla="*/ 0 h 10"/>
              <a:gd name="T2" fmla="*/ 27781 w 16"/>
              <a:gd name="T3" fmla="*/ 2858 h 10"/>
              <a:gd name="T4" fmla="*/ 38894 w 16"/>
              <a:gd name="T5" fmla="*/ 2858 h 10"/>
              <a:gd name="T6" fmla="*/ 44450 w 16"/>
              <a:gd name="T7" fmla="*/ 11430 h 10"/>
              <a:gd name="T8" fmla="*/ 30559 w 16"/>
              <a:gd name="T9" fmla="*/ 20003 h 10"/>
              <a:gd name="T10" fmla="*/ 11113 w 16"/>
              <a:gd name="T11" fmla="*/ 28575 h 10"/>
              <a:gd name="T12" fmla="*/ 2778 w 16"/>
              <a:gd name="T13" fmla="*/ 22860 h 10"/>
              <a:gd name="T14" fmla="*/ 13891 w 16"/>
              <a:gd name="T15" fmla="*/ 14288 h 10"/>
              <a:gd name="T16" fmla="*/ 19447 w 16"/>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0">
                <a:moveTo>
                  <a:pt x="7" y="0"/>
                </a:moveTo>
                <a:cubicBezTo>
                  <a:pt x="8" y="0"/>
                  <a:pt x="9" y="1"/>
                  <a:pt x="10" y="1"/>
                </a:cubicBezTo>
                <a:cubicBezTo>
                  <a:pt x="11" y="1"/>
                  <a:pt x="14" y="1"/>
                  <a:pt x="14" y="1"/>
                </a:cubicBezTo>
                <a:cubicBezTo>
                  <a:pt x="16" y="2"/>
                  <a:pt x="16" y="4"/>
                  <a:pt x="16" y="4"/>
                </a:cubicBezTo>
                <a:cubicBezTo>
                  <a:pt x="16" y="4"/>
                  <a:pt x="12" y="7"/>
                  <a:pt x="11" y="7"/>
                </a:cubicBezTo>
                <a:cubicBezTo>
                  <a:pt x="9" y="8"/>
                  <a:pt x="5" y="10"/>
                  <a:pt x="4" y="10"/>
                </a:cubicBezTo>
                <a:cubicBezTo>
                  <a:pt x="3" y="10"/>
                  <a:pt x="0" y="9"/>
                  <a:pt x="1" y="8"/>
                </a:cubicBezTo>
                <a:cubicBezTo>
                  <a:pt x="2" y="7"/>
                  <a:pt x="5" y="6"/>
                  <a:pt x="5" y="5"/>
                </a:cubicBezTo>
                <a:cubicBezTo>
                  <a:pt x="5" y="4"/>
                  <a:pt x="5" y="0"/>
                  <a:pt x="7" y="0"/>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8" name="Freeform 102"/>
          <p:cNvSpPr>
            <a:spLocks/>
          </p:cNvSpPr>
          <p:nvPr>
            <p:custDataLst>
              <p:tags r:id="rId254"/>
            </p:custDataLst>
          </p:nvPr>
        </p:nvSpPr>
        <p:spPr bwMode="auto">
          <a:xfrm>
            <a:off x="2290538" y="2433293"/>
            <a:ext cx="73756" cy="73756"/>
          </a:xfrm>
          <a:custGeom>
            <a:avLst/>
            <a:gdLst>
              <a:gd name="T0" fmla="*/ 8334 w 24"/>
              <a:gd name="T1" fmla="*/ 60877 h 23"/>
              <a:gd name="T2" fmla="*/ 8334 w 24"/>
              <a:gd name="T3" fmla="*/ 49282 h 23"/>
              <a:gd name="T4" fmla="*/ 2778 w 24"/>
              <a:gd name="T5" fmla="*/ 37686 h 23"/>
              <a:gd name="T6" fmla="*/ 33338 w 24"/>
              <a:gd name="T7" fmla="*/ 14495 h 23"/>
              <a:gd name="T8" fmla="*/ 52784 w 24"/>
              <a:gd name="T9" fmla="*/ 0 h 23"/>
              <a:gd name="T10" fmla="*/ 63897 w 24"/>
              <a:gd name="T11" fmla="*/ 8697 h 23"/>
              <a:gd name="T12" fmla="*/ 52784 w 24"/>
              <a:gd name="T13" fmla="*/ 17393 h 23"/>
              <a:gd name="T14" fmla="*/ 55563 w 24"/>
              <a:gd name="T15" fmla="*/ 34787 h 23"/>
              <a:gd name="T16" fmla="*/ 27781 w 24"/>
              <a:gd name="T17" fmla="*/ 49282 h 23"/>
              <a:gd name="T18" fmla="*/ 8334 w 24"/>
              <a:gd name="T19" fmla="*/ 6087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23">
                <a:moveTo>
                  <a:pt x="3" y="21"/>
                </a:moveTo>
                <a:cubicBezTo>
                  <a:pt x="1" y="20"/>
                  <a:pt x="3" y="17"/>
                  <a:pt x="3" y="17"/>
                </a:cubicBezTo>
                <a:cubicBezTo>
                  <a:pt x="3" y="17"/>
                  <a:pt x="0" y="14"/>
                  <a:pt x="1" y="13"/>
                </a:cubicBezTo>
                <a:cubicBezTo>
                  <a:pt x="3" y="12"/>
                  <a:pt x="10" y="8"/>
                  <a:pt x="12" y="5"/>
                </a:cubicBezTo>
                <a:cubicBezTo>
                  <a:pt x="14" y="3"/>
                  <a:pt x="19" y="0"/>
                  <a:pt x="19" y="0"/>
                </a:cubicBezTo>
                <a:cubicBezTo>
                  <a:pt x="19" y="0"/>
                  <a:pt x="23" y="1"/>
                  <a:pt x="23" y="3"/>
                </a:cubicBezTo>
                <a:cubicBezTo>
                  <a:pt x="24" y="6"/>
                  <a:pt x="19" y="3"/>
                  <a:pt x="19" y="6"/>
                </a:cubicBezTo>
                <a:cubicBezTo>
                  <a:pt x="19" y="9"/>
                  <a:pt x="22" y="11"/>
                  <a:pt x="20" y="12"/>
                </a:cubicBezTo>
                <a:cubicBezTo>
                  <a:pt x="18" y="13"/>
                  <a:pt x="13" y="15"/>
                  <a:pt x="10" y="17"/>
                </a:cubicBezTo>
                <a:cubicBezTo>
                  <a:pt x="7" y="19"/>
                  <a:pt x="5" y="23"/>
                  <a:pt x="3" y="21"/>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59" name="Freeform 104"/>
          <p:cNvSpPr>
            <a:spLocks/>
          </p:cNvSpPr>
          <p:nvPr>
            <p:custDataLst>
              <p:tags r:id="rId255"/>
            </p:custDataLst>
          </p:nvPr>
        </p:nvSpPr>
        <p:spPr bwMode="auto">
          <a:xfrm>
            <a:off x="1983221" y="1913488"/>
            <a:ext cx="762146" cy="677854"/>
          </a:xfrm>
          <a:custGeom>
            <a:avLst/>
            <a:gdLst>
              <a:gd name="T0" fmla="*/ 95313 w 253"/>
              <a:gd name="T1" fmla="*/ 192586 h 210"/>
              <a:gd name="T2" fmla="*/ 133438 w 253"/>
              <a:gd name="T3" fmla="*/ 189668 h 210"/>
              <a:gd name="T4" fmla="*/ 87143 w 253"/>
              <a:gd name="T5" fmla="*/ 157571 h 210"/>
              <a:gd name="T6" fmla="*/ 43572 w 253"/>
              <a:gd name="T7" fmla="*/ 102129 h 210"/>
              <a:gd name="T8" fmla="*/ 122545 w 253"/>
              <a:gd name="T9" fmla="*/ 46688 h 210"/>
              <a:gd name="T10" fmla="*/ 204242 w 253"/>
              <a:gd name="T11" fmla="*/ 26262 h 210"/>
              <a:gd name="T12" fmla="*/ 296831 w 253"/>
              <a:gd name="T13" fmla="*/ 17508 h 210"/>
              <a:gd name="T14" fmla="*/ 345849 w 253"/>
              <a:gd name="T15" fmla="*/ 40852 h 210"/>
              <a:gd name="T16" fmla="*/ 517412 w 253"/>
              <a:gd name="T17" fmla="*/ 52524 h 210"/>
              <a:gd name="T18" fmla="*/ 585493 w 253"/>
              <a:gd name="T19" fmla="*/ 399763 h 210"/>
              <a:gd name="T20" fmla="*/ 631787 w 253"/>
              <a:gd name="T21" fmla="*/ 437696 h 210"/>
              <a:gd name="T22" fmla="*/ 680805 w 253"/>
              <a:gd name="T23" fmla="*/ 423107 h 210"/>
              <a:gd name="T24" fmla="*/ 683529 w 253"/>
              <a:gd name="T25" fmla="*/ 475630 h 210"/>
              <a:gd name="T26" fmla="*/ 650850 w 253"/>
              <a:gd name="T27" fmla="*/ 478548 h 210"/>
              <a:gd name="T28" fmla="*/ 596385 w 253"/>
              <a:gd name="T29" fmla="*/ 440614 h 210"/>
              <a:gd name="T30" fmla="*/ 550091 w 253"/>
              <a:gd name="T31" fmla="*/ 426025 h 210"/>
              <a:gd name="T32" fmla="*/ 468394 w 253"/>
              <a:gd name="T33" fmla="*/ 414353 h 210"/>
              <a:gd name="T34" fmla="*/ 454778 w 253"/>
              <a:gd name="T35" fmla="*/ 399763 h 210"/>
              <a:gd name="T36" fmla="*/ 422099 w 253"/>
              <a:gd name="T37" fmla="*/ 414353 h 210"/>
              <a:gd name="T38" fmla="*/ 351296 w 253"/>
              <a:gd name="T39" fmla="*/ 452286 h 210"/>
              <a:gd name="T40" fmla="*/ 343126 w 253"/>
              <a:gd name="T41" fmla="*/ 431860 h 210"/>
              <a:gd name="T42" fmla="*/ 378528 w 253"/>
              <a:gd name="T43" fmla="*/ 393927 h 210"/>
              <a:gd name="T44" fmla="*/ 354019 w 253"/>
              <a:gd name="T45" fmla="*/ 382255 h 210"/>
              <a:gd name="T46" fmla="*/ 302278 w 253"/>
              <a:gd name="T47" fmla="*/ 434778 h 210"/>
              <a:gd name="T48" fmla="*/ 269599 w 253"/>
              <a:gd name="T49" fmla="*/ 496056 h 210"/>
              <a:gd name="T50" fmla="*/ 231474 w 253"/>
              <a:gd name="T51" fmla="*/ 525236 h 210"/>
              <a:gd name="T52" fmla="*/ 193349 w 253"/>
              <a:gd name="T53" fmla="*/ 557333 h 210"/>
              <a:gd name="T54" fmla="*/ 119822 w 253"/>
              <a:gd name="T55" fmla="*/ 583595 h 210"/>
              <a:gd name="T56" fmla="*/ 81697 w 253"/>
              <a:gd name="T57" fmla="*/ 609857 h 210"/>
              <a:gd name="T58" fmla="*/ 84420 w 253"/>
              <a:gd name="T59" fmla="*/ 583595 h 210"/>
              <a:gd name="T60" fmla="*/ 133438 w 253"/>
              <a:gd name="T61" fmla="*/ 554415 h 210"/>
              <a:gd name="T62" fmla="*/ 196072 w 253"/>
              <a:gd name="T63" fmla="*/ 522318 h 210"/>
              <a:gd name="T64" fmla="*/ 228751 w 253"/>
              <a:gd name="T65" fmla="*/ 458122 h 210"/>
              <a:gd name="T66" fmla="*/ 198795 w 253"/>
              <a:gd name="T67" fmla="*/ 458122 h 210"/>
              <a:gd name="T68" fmla="*/ 160670 w 253"/>
              <a:gd name="T69" fmla="*/ 458122 h 210"/>
              <a:gd name="T70" fmla="*/ 133438 w 253"/>
              <a:gd name="T71" fmla="*/ 437696 h 210"/>
              <a:gd name="T72" fmla="*/ 70804 w 253"/>
              <a:gd name="T73" fmla="*/ 414353 h 210"/>
              <a:gd name="T74" fmla="*/ 65357 w 253"/>
              <a:gd name="T75" fmla="*/ 332649 h 210"/>
              <a:gd name="T76" fmla="*/ 117099 w 253"/>
              <a:gd name="T77" fmla="*/ 300552 h 210"/>
              <a:gd name="T78" fmla="*/ 141608 w 253"/>
              <a:gd name="T79" fmla="*/ 274290 h 210"/>
              <a:gd name="T80" fmla="*/ 111652 w 253"/>
              <a:gd name="T81" fmla="*/ 271372 h 210"/>
              <a:gd name="T82" fmla="*/ 38125 w 253"/>
              <a:gd name="T83" fmla="*/ 262618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3" h="210">
                <a:moveTo>
                  <a:pt x="0" y="77"/>
                </a:moveTo>
                <a:cubicBezTo>
                  <a:pt x="0" y="75"/>
                  <a:pt x="22" y="67"/>
                  <a:pt x="25" y="66"/>
                </a:cubicBezTo>
                <a:cubicBezTo>
                  <a:pt x="27" y="65"/>
                  <a:pt x="36" y="65"/>
                  <a:pt x="35" y="66"/>
                </a:cubicBezTo>
                <a:cubicBezTo>
                  <a:pt x="34" y="67"/>
                  <a:pt x="33" y="71"/>
                  <a:pt x="34" y="71"/>
                </a:cubicBezTo>
                <a:cubicBezTo>
                  <a:pt x="36" y="72"/>
                  <a:pt x="48" y="72"/>
                  <a:pt x="49" y="71"/>
                </a:cubicBezTo>
                <a:cubicBezTo>
                  <a:pt x="50" y="71"/>
                  <a:pt x="50" y="66"/>
                  <a:pt x="49" y="65"/>
                </a:cubicBezTo>
                <a:cubicBezTo>
                  <a:pt x="48" y="64"/>
                  <a:pt x="49" y="61"/>
                  <a:pt x="47" y="61"/>
                </a:cubicBezTo>
                <a:cubicBezTo>
                  <a:pt x="45" y="61"/>
                  <a:pt x="34" y="60"/>
                  <a:pt x="34" y="59"/>
                </a:cubicBezTo>
                <a:cubicBezTo>
                  <a:pt x="34" y="58"/>
                  <a:pt x="32" y="55"/>
                  <a:pt x="32" y="54"/>
                </a:cubicBezTo>
                <a:cubicBezTo>
                  <a:pt x="31" y="52"/>
                  <a:pt x="24" y="49"/>
                  <a:pt x="22" y="47"/>
                </a:cubicBezTo>
                <a:cubicBezTo>
                  <a:pt x="19" y="45"/>
                  <a:pt x="11" y="44"/>
                  <a:pt x="12" y="42"/>
                </a:cubicBezTo>
                <a:cubicBezTo>
                  <a:pt x="13" y="40"/>
                  <a:pt x="14" y="34"/>
                  <a:pt x="16" y="35"/>
                </a:cubicBezTo>
                <a:cubicBezTo>
                  <a:pt x="17" y="36"/>
                  <a:pt x="32" y="35"/>
                  <a:pt x="35" y="33"/>
                </a:cubicBezTo>
                <a:cubicBezTo>
                  <a:pt x="38" y="31"/>
                  <a:pt x="38" y="25"/>
                  <a:pt x="39" y="23"/>
                </a:cubicBezTo>
                <a:cubicBezTo>
                  <a:pt x="39" y="21"/>
                  <a:pt x="43" y="17"/>
                  <a:pt x="45" y="16"/>
                </a:cubicBezTo>
                <a:cubicBezTo>
                  <a:pt x="47" y="15"/>
                  <a:pt x="55" y="15"/>
                  <a:pt x="57" y="15"/>
                </a:cubicBezTo>
                <a:cubicBezTo>
                  <a:pt x="60" y="14"/>
                  <a:pt x="65" y="8"/>
                  <a:pt x="68" y="8"/>
                </a:cubicBezTo>
                <a:cubicBezTo>
                  <a:pt x="71" y="7"/>
                  <a:pt x="68" y="9"/>
                  <a:pt x="75" y="9"/>
                </a:cubicBezTo>
                <a:cubicBezTo>
                  <a:pt x="82" y="9"/>
                  <a:pt x="86" y="0"/>
                  <a:pt x="88" y="1"/>
                </a:cubicBezTo>
                <a:cubicBezTo>
                  <a:pt x="90" y="1"/>
                  <a:pt x="92" y="2"/>
                  <a:pt x="94" y="3"/>
                </a:cubicBezTo>
                <a:cubicBezTo>
                  <a:pt x="97" y="3"/>
                  <a:pt x="105" y="6"/>
                  <a:pt x="109" y="6"/>
                </a:cubicBezTo>
                <a:cubicBezTo>
                  <a:pt x="112" y="6"/>
                  <a:pt x="117" y="6"/>
                  <a:pt x="120" y="7"/>
                </a:cubicBezTo>
                <a:cubicBezTo>
                  <a:pt x="123" y="7"/>
                  <a:pt x="119" y="10"/>
                  <a:pt x="120" y="12"/>
                </a:cubicBezTo>
                <a:cubicBezTo>
                  <a:pt x="122" y="13"/>
                  <a:pt x="122" y="12"/>
                  <a:pt x="127" y="14"/>
                </a:cubicBezTo>
                <a:cubicBezTo>
                  <a:pt x="132" y="15"/>
                  <a:pt x="141" y="13"/>
                  <a:pt x="144" y="13"/>
                </a:cubicBezTo>
                <a:cubicBezTo>
                  <a:pt x="148" y="13"/>
                  <a:pt x="155" y="16"/>
                  <a:pt x="165" y="17"/>
                </a:cubicBezTo>
                <a:cubicBezTo>
                  <a:pt x="175" y="19"/>
                  <a:pt x="186" y="18"/>
                  <a:pt x="190" y="18"/>
                </a:cubicBezTo>
                <a:cubicBezTo>
                  <a:pt x="192" y="18"/>
                  <a:pt x="201" y="21"/>
                  <a:pt x="207" y="23"/>
                </a:cubicBezTo>
                <a:cubicBezTo>
                  <a:pt x="208" y="135"/>
                  <a:pt x="208" y="135"/>
                  <a:pt x="208" y="135"/>
                </a:cubicBezTo>
                <a:cubicBezTo>
                  <a:pt x="208" y="135"/>
                  <a:pt x="214" y="137"/>
                  <a:pt x="215" y="137"/>
                </a:cubicBezTo>
                <a:cubicBezTo>
                  <a:pt x="216" y="138"/>
                  <a:pt x="223" y="136"/>
                  <a:pt x="225" y="137"/>
                </a:cubicBezTo>
                <a:cubicBezTo>
                  <a:pt x="226" y="138"/>
                  <a:pt x="224" y="142"/>
                  <a:pt x="224" y="143"/>
                </a:cubicBezTo>
                <a:cubicBezTo>
                  <a:pt x="224" y="143"/>
                  <a:pt x="231" y="149"/>
                  <a:pt x="232" y="150"/>
                </a:cubicBezTo>
                <a:cubicBezTo>
                  <a:pt x="233" y="150"/>
                  <a:pt x="236" y="153"/>
                  <a:pt x="236" y="154"/>
                </a:cubicBezTo>
                <a:cubicBezTo>
                  <a:pt x="236" y="154"/>
                  <a:pt x="243" y="146"/>
                  <a:pt x="244" y="146"/>
                </a:cubicBezTo>
                <a:cubicBezTo>
                  <a:pt x="245" y="146"/>
                  <a:pt x="248" y="144"/>
                  <a:pt x="250" y="145"/>
                </a:cubicBezTo>
                <a:cubicBezTo>
                  <a:pt x="252" y="145"/>
                  <a:pt x="252" y="152"/>
                  <a:pt x="252" y="152"/>
                </a:cubicBezTo>
                <a:cubicBezTo>
                  <a:pt x="251" y="151"/>
                  <a:pt x="251" y="151"/>
                  <a:pt x="250" y="152"/>
                </a:cubicBezTo>
                <a:cubicBezTo>
                  <a:pt x="249" y="153"/>
                  <a:pt x="253" y="163"/>
                  <a:pt x="251" y="163"/>
                </a:cubicBezTo>
                <a:cubicBezTo>
                  <a:pt x="250" y="164"/>
                  <a:pt x="245" y="156"/>
                  <a:pt x="243" y="157"/>
                </a:cubicBezTo>
                <a:cubicBezTo>
                  <a:pt x="239" y="158"/>
                  <a:pt x="245" y="163"/>
                  <a:pt x="245" y="164"/>
                </a:cubicBezTo>
                <a:cubicBezTo>
                  <a:pt x="245" y="165"/>
                  <a:pt x="241" y="164"/>
                  <a:pt x="239" y="164"/>
                </a:cubicBezTo>
                <a:cubicBezTo>
                  <a:pt x="238" y="164"/>
                  <a:pt x="237" y="163"/>
                  <a:pt x="235" y="161"/>
                </a:cubicBezTo>
                <a:cubicBezTo>
                  <a:pt x="234" y="160"/>
                  <a:pt x="229" y="157"/>
                  <a:pt x="227" y="155"/>
                </a:cubicBezTo>
                <a:cubicBezTo>
                  <a:pt x="225" y="153"/>
                  <a:pt x="221" y="152"/>
                  <a:pt x="219" y="151"/>
                </a:cubicBezTo>
                <a:cubicBezTo>
                  <a:pt x="217" y="150"/>
                  <a:pt x="221" y="147"/>
                  <a:pt x="219" y="146"/>
                </a:cubicBezTo>
                <a:cubicBezTo>
                  <a:pt x="217" y="144"/>
                  <a:pt x="213" y="148"/>
                  <a:pt x="212" y="148"/>
                </a:cubicBezTo>
                <a:cubicBezTo>
                  <a:pt x="211" y="148"/>
                  <a:pt x="207" y="148"/>
                  <a:pt x="202" y="146"/>
                </a:cubicBezTo>
                <a:cubicBezTo>
                  <a:pt x="197" y="143"/>
                  <a:pt x="189" y="145"/>
                  <a:pt x="187" y="145"/>
                </a:cubicBezTo>
                <a:cubicBezTo>
                  <a:pt x="184" y="145"/>
                  <a:pt x="182" y="144"/>
                  <a:pt x="180" y="143"/>
                </a:cubicBezTo>
                <a:cubicBezTo>
                  <a:pt x="179" y="142"/>
                  <a:pt x="174" y="142"/>
                  <a:pt x="172" y="142"/>
                </a:cubicBezTo>
                <a:cubicBezTo>
                  <a:pt x="170" y="142"/>
                  <a:pt x="167" y="144"/>
                  <a:pt x="166" y="144"/>
                </a:cubicBezTo>
                <a:cubicBezTo>
                  <a:pt x="166" y="144"/>
                  <a:pt x="165" y="144"/>
                  <a:pt x="164" y="142"/>
                </a:cubicBezTo>
                <a:cubicBezTo>
                  <a:pt x="163" y="140"/>
                  <a:pt x="168" y="138"/>
                  <a:pt x="167" y="137"/>
                </a:cubicBezTo>
                <a:cubicBezTo>
                  <a:pt x="167" y="135"/>
                  <a:pt x="163" y="134"/>
                  <a:pt x="162" y="134"/>
                </a:cubicBezTo>
                <a:cubicBezTo>
                  <a:pt x="161" y="133"/>
                  <a:pt x="155" y="134"/>
                  <a:pt x="153" y="135"/>
                </a:cubicBezTo>
                <a:cubicBezTo>
                  <a:pt x="152" y="136"/>
                  <a:pt x="155" y="140"/>
                  <a:pt x="155" y="142"/>
                </a:cubicBezTo>
                <a:cubicBezTo>
                  <a:pt x="155" y="145"/>
                  <a:pt x="151" y="146"/>
                  <a:pt x="148" y="146"/>
                </a:cubicBezTo>
                <a:cubicBezTo>
                  <a:pt x="146" y="146"/>
                  <a:pt x="141" y="148"/>
                  <a:pt x="139" y="149"/>
                </a:cubicBezTo>
                <a:cubicBezTo>
                  <a:pt x="137" y="149"/>
                  <a:pt x="131" y="154"/>
                  <a:pt x="129" y="155"/>
                </a:cubicBezTo>
                <a:cubicBezTo>
                  <a:pt x="126" y="155"/>
                  <a:pt x="125" y="156"/>
                  <a:pt x="124" y="155"/>
                </a:cubicBezTo>
                <a:cubicBezTo>
                  <a:pt x="122" y="155"/>
                  <a:pt x="127" y="151"/>
                  <a:pt x="127" y="150"/>
                </a:cubicBezTo>
                <a:cubicBezTo>
                  <a:pt x="127" y="150"/>
                  <a:pt x="126" y="149"/>
                  <a:pt x="126" y="148"/>
                </a:cubicBezTo>
                <a:cubicBezTo>
                  <a:pt x="125" y="147"/>
                  <a:pt x="128" y="139"/>
                  <a:pt x="130" y="138"/>
                </a:cubicBezTo>
                <a:cubicBezTo>
                  <a:pt x="131" y="138"/>
                  <a:pt x="132" y="137"/>
                  <a:pt x="134" y="136"/>
                </a:cubicBezTo>
                <a:cubicBezTo>
                  <a:pt x="135" y="135"/>
                  <a:pt x="138" y="135"/>
                  <a:pt x="139" y="135"/>
                </a:cubicBezTo>
                <a:cubicBezTo>
                  <a:pt x="140" y="135"/>
                  <a:pt x="142" y="134"/>
                  <a:pt x="141" y="133"/>
                </a:cubicBezTo>
                <a:cubicBezTo>
                  <a:pt x="140" y="132"/>
                  <a:pt x="139" y="129"/>
                  <a:pt x="137" y="129"/>
                </a:cubicBezTo>
                <a:cubicBezTo>
                  <a:pt x="135" y="129"/>
                  <a:pt x="132" y="130"/>
                  <a:pt x="130" y="131"/>
                </a:cubicBezTo>
                <a:cubicBezTo>
                  <a:pt x="128" y="132"/>
                  <a:pt x="124" y="136"/>
                  <a:pt x="123" y="137"/>
                </a:cubicBezTo>
                <a:cubicBezTo>
                  <a:pt x="122" y="138"/>
                  <a:pt x="119" y="145"/>
                  <a:pt x="117" y="146"/>
                </a:cubicBezTo>
                <a:cubicBezTo>
                  <a:pt x="116" y="147"/>
                  <a:pt x="113" y="148"/>
                  <a:pt x="111" y="149"/>
                </a:cubicBezTo>
                <a:cubicBezTo>
                  <a:pt x="108" y="150"/>
                  <a:pt x="107" y="154"/>
                  <a:pt x="106" y="155"/>
                </a:cubicBezTo>
                <a:cubicBezTo>
                  <a:pt x="106" y="156"/>
                  <a:pt x="115" y="154"/>
                  <a:pt x="114" y="159"/>
                </a:cubicBezTo>
                <a:cubicBezTo>
                  <a:pt x="113" y="160"/>
                  <a:pt x="101" y="170"/>
                  <a:pt x="99" y="170"/>
                </a:cubicBezTo>
                <a:cubicBezTo>
                  <a:pt x="97" y="171"/>
                  <a:pt x="94" y="172"/>
                  <a:pt x="92" y="172"/>
                </a:cubicBezTo>
                <a:cubicBezTo>
                  <a:pt x="90" y="173"/>
                  <a:pt x="92" y="175"/>
                  <a:pt x="91" y="176"/>
                </a:cubicBezTo>
                <a:cubicBezTo>
                  <a:pt x="90" y="177"/>
                  <a:pt x="87" y="180"/>
                  <a:pt x="85" y="180"/>
                </a:cubicBezTo>
                <a:cubicBezTo>
                  <a:pt x="84" y="181"/>
                  <a:pt x="78" y="183"/>
                  <a:pt x="77" y="183"/>
                </a:cubicBezTo>
                <a:cubicBezTo>
                  <a:pt x="75" y="184"/>
                  <a:pt x="78" y="187"/>
                  <a:pt x="77" y="188"/>
                </a:cubicBezTo>
                <a:cubicBezTo>
                  <a:pt x="76" y="189"/>
                  <a:pt x="72" y="191"/>
                  <a:pt x="71" y="191"/>
                </a:cubicBezTo>
                <a:cubicBezTo>
                  <a:pt x="69" y="191"/>
                  <a:pt x="63" y="194"/>
                  <a:pt x="62" y="195"/>
                </a:cubicBezTo>
                <a:cubicBezTo>
                  <a:pt x="60" y="196"/>
                  <a:pt x="54" y="197"/>
                  <a:pt x="52" y="197"/>
                </a:cubicBezTo>
                <a:cubicBezTo>
                  <a:pt x="50" y="197"/>
                  <a:pt x="45" y="200"/>
                  <a:pt x="44" y="200"/>
                </a:cubicBezTo>
                <a:cubicBezTo>
                  <a:pt x="43" y="200"/>
                  <a:pt x="40" y="203"/>
                  <a:pt x="39" y="204"/>
                </a:cubicBezTo>
                <a:cubicBezTo>
                  <a:pt x="37" y="205"/>
                  <a:pt x="33" y="205"/>
                  <a:pt x="32" y="205"/>
                </a:cubicBezTo>
                <a:cubicBezTo>
                  <a:pt x="31" y="205"/>
                  <a:pt x="31" y="208"/>
                  <a:pt x="30" y="209"/>
                </a:cubicBezTo>
                <a:cubicBezTo>
                  <a:pt x="28" y="210"/>
                  <a:pt x="25" y="208"/>
                  <a:pt x="23" y="208"/>
                </a:cubicBezTo>
                <a:cubicBezTo>
                  <a:pt x="22" y="207"/>
                  <a:pt x="23" y="204"/>
                  <a:pt x="25" y="203"/>
                </a:cubicBezTo>
                <a:cubicBezTo>
                  <a:pt x="26" y="203"/>
                  <a:pt x="29" y="200"/>
                  <a:pt x="31" y="200"/>
                </a:cubicBezTo>
                <a:cubicBezTo>
                  <a:pt x="32" y="200"/>
                  <a:pt x="35" y="199"/>
                  <a:pt x="36" y="199"/>
                </a:cubicBezTo>
                <a:cubicBezTo>
                  <a:pt x="37" y="199"/>
                  <a:pt x="39" y="197"/>
                  <a:pt x="41" y="196"/>
                </a:cubicBezTo>
                <a:cubicBezTo>
                  <a:pt x="43" y="195"/>
                  <a:pt x="45" y="192"/>
                  <a:pt x="49" y="190"/>
                </a:cubicBezTo>
                <a:cubicBezTo>
                  <a:pt x="52" y="188"/>
                  <a:pt x="56" y="190"/>
                  <a:pt x="58" y="190"/>
                </a:cubicBezTo>
                <a:cubicBezTo>
                  <a:pt x="60" y="190"/>
                  <a:pt x="60" y="186"/>
                  <a:pt x="61" y="185"/>
                </a:cubicBezTo>
                <a:cubicBezTo>
                  <a:pt x="61" y="184"/>
                  <a:pt x="70" y="180"/>
                  <a:pt x="72" y="179"/>
                </a:cubicBezTo>
                <a:cubicBezTo>
                  <a:pt x="73" y="179"/>
                  <a:pt x="78" y="174"/>
                  <a:pt x="79" y="172"/>
                </a:cubicBezTo>
                <a:cubicBezTo>
                  <a:pt x="81" y="170"/>
                  <a:pt x="81" y="167"/>
                  <a:pt x="82" y="165"/>
                </a:cubicBezTo>
                <a:cubicBezTo>
                  <a:pt x="82" y="163"/>
                  <a:pt x="86" y="158"/>
                  <a:pt x="84" y="157"/>
                </a:cubicBezTo>
                <a:cubicBezTo>
                  <a:pt x="83" y="157"/>
                  <a:pt x="79" y="160"/>
                  <a:pt x="78" y="160"/>
                </a:cubicBezTo>
                <a:cubicBezTo>
                  <a:pt x="77" y="161"/>
                  <a:pt x="76" y="159"/>
                  <a:pt x="76" y="158"/>
                </a:cubicBezTo>
                <a:cubicBezTo>
                  <a:pt x="76" y="157"/>
                  <a:pt x="74" y="157"/>
                  <a:pt x="73" y="157"/>
                </a:cubicBezTo>
                <a:cubicBezTo>
                  <a:pt x="71" y="158"/>
                  <a:pt x="72" y="163"/>
                  <a:pt x="71" y="164"/>
                </a:cubicBezTo>
                <a:cubicBezTo>
                  <a:pt x="69" y="164"/>
                  <a:pt x="66" y="159"/>
                  <a:pt x="65" y="158"/>
                </a:cubicBezTo>
                <a:cubicBezTo>
                  <a:pt x="64" y="157"/>
                  <a:pt x="60" y="156"/>
                  <a:pt x="59" y="157"/>
                </a:cubicBezTo>
                <a:cubicBezTo>
                  <a:pt x="57" y="157"/>
                  <a:pt x="49" y="162"/>
                  <a:pt x="48" y="160"/>
                </a:cubicBezTo>
                <a:cubicBezTo>
                  <a:pt x="48" y="158"/>
                  <a:pt x="47" y="156"/>
                  <a:pt x="47" y="155"/>
                </a:cubicBezTo>
                <a:cubicBezTo>
                  <a:pt x="46" y="154"/>
                  <a:pt x="50" y="151"/>
                  <a:pt x="49" y="150"/>
                </a:cubicBezTo>
                <a:cubicBezTo>
                  <a:pt x="48" y="149"/>
                  <a:pt x="46" y="145"/>
                  <a:pt x="44" y="145"/>
                </a:cubicBezTo>
                <a:cubicBezTo>
                  <a:pt x="43" y="145"/>
                  <a:pt x="35" y="148"/>
                  <a:pt x="33" y="148"/>
                </a:cubicBezTo>
                <a:cubicBezTo>
                  <a:pt x="30" y="148"/>
                  <a:pt x="28" y="145"/>
                  <a:pt x="26" y="142"/>
                </a:cubicBezTo>
                <a:cubicBezTo>
                  <a:pt x="23" y="140"/>
                  <a:pt x="23" y="138"/>
                  <a:pt x="23" y="136"/>
                </a:cubicBezTo>
                <a:cubicBezTo>
                  <a:pt x="23" y="133"/>
                  <a:pt x="16" y="128"/>
                  <a:pt x="16" y="125"/>
                </a:cubicBezTo>
                <a:cubicBezTo>
                  <a:pt x="16" y="121"/>
                  <a:pt x="23" y="115"/>
                  <a:pt x="24" y="114"/>
                </a:cubicBezTo>
                <a:cubicBezTo>
                  <a:pt x="26" y="113"/>
                  <a:pt x="23" y="109"/>
                  <a:pt x="28" y="107"/>
                </a:cubicBezTo>
                <a:cubicBezTo>
                  <a:pt x="34" y="105"/>
                  <a:pt x="35" y="110"/>
                  <a:pt x="37" y="110"/>
                </a:cubicBezTo>
                <a:cubicBezTo>
                  <a:pt x="40" y="111"/>
                  <a:pt x="42" y="103"/>
                  <a:pt x="43" y="103"/>
                </a:cubicBezTo>
                <a:cubicBezTo>
                  <a:pt x="44" y="103"/>
                  <a:pt x="46" y="103"/>
                  <a:pt x="49" y="104"/>
                </a:cubicBezTo>
                <a:cubicBezTo>
                  <a:pt x="51" y="105"/>
                  <a:pt x="56" y="101"/>
                  <a:pt x="57" y="99"/>
                </a:cubicBezTo>
                <a:cubicBezTo>
                  <a:pt x="58" y="97"/>
                  <a:pt x="50" y="94"/>
                  <a:pt x="52" y="94"/>
                </a:cubicBezTo>
                <a:cubicBezTo>
                  <a:pt x="54" y="93"/>
                  <a:pt x="56" y="88"/>
                  <a:pt x="55" y="87"/>
                </a:cubicBezTo>
                <a:cubicBezTo>
                  <a:pt x="55" y="86"/>
                  <a:pt x="49" y="87"/>
                  <a:pt x="47" y="88"/>
                </a:cubicBezTo>
                <a:cubicBezTo>
                  <a:pt x="46" y="88"/>
                  <a:pt x="43" y="93"/>
                  <a:pt x="41" y="93"/>
                </a:cubicBezTo>
                <a:cubicBezTo>
                  <a:pt x="39" y="93"/>
                  <a:pt x="39" y="92"/>
                  <a:pt x="38" y="91"/>
                </a:cubicBezTo>
                <a:cubicBezTo>
                  <a:pt x="36" y="89"/>
                  <a:pt x="30" y="92"/>
                  <a:pt x="27" y="92"/>
                </a:cubicBezTo>
                <a:cubicBezTo>
                  <a:pt x="23" y="93"/>
                  <a:pt x="17" y="91"/>
                  <a:pt x="14" y="90"/>
                </a:cubicBezTo>
                <a:cubicBezTo>
                  <a:pt x="12" y="89"/>
                  <a:pt x="12" y="84"/>
                  <a:pt x="10" y="82"/>
                </a:cubicBezTo>
                <a:cubicBezTo>
                  <a:pt x="8" y="81"/>
                  <a:pt x="0" y="79"/>
                  <a:pt x="0" y="77"/>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60" name="Freeform 106"/>
          <p:cNvSpPr>
            <a:spLocks/>
          </p:cNvSpPr>
          <p:nvPr>
            <p:custDataLst>
              <p:tags r:id="rId256"/>
            </p:custDataLst>
          </p:nvPr>
        </p:nvSpPr>
        <p:spPr bwMode="auto">
          <a:xfrm>
            <a:off x="1956881" y="2612416"/>
            <a:ext cx="26341" cy="24585"/>
          </a:xfrm>
          <a:custGeom>
            <a:avLst/>
            <a:gdLst>
              <a:gd name="T0" fmla="*/ 23813 w 9"/>
              <a:gd name="T1" fmla="*/ 6350 h 7"/>
              <a:gd name="T2" fmla="*/ 10584 w 9"/>
              <a:gd name="T3" fmla="*/ 19050 h 7"/>
              <a:gd name="T4" fmla="*/ 0 w 9"/>
              <a:gd name="T5" fmla="*/ 22225 h 7"/>
              <a:gd name="T6" fmla="*/ 0 w 9"/>
              <a:gd name="T7" fmla="*/ 15875 h 7"/>
              <a:gd name="T8" fmla="*/ 15875 w 9"/>
              <a:gd name="T9" fmla="*/ 0 h 7"/>
              <a:gd name="T10" fmla="*/ 23813 w 9"/>
              <a:gd name="T11" fmla="*/ 635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7">
                <a:moveTo>
                  <a:pt x="9" y="2"/>
                </a:moveTo>
                <a:cubicBezTo>
                  <a:pt x="8" y="4"/>
                  <a:pt x="6" y="6"/>
                  <a:pt x="4" y="6"/>
                </a:cubicBezTo>
                <a:cubicBezTo>
                  <a:pt x="2" y="7"/>
                  <a:pt x="2" y="7"/>
                  <a:pt x="0" y="7"/>
                </a:cubicBezTo>
                <a:cubicBezTo>
                  <a:pt x="0" y="7"/>
                  <a:pt x="0" y="7"/>
                  <a:pt x="0" y="5"/>
                </a:cubicBezTo>
                <a:cubicBezTo>
                  <a:pt x="2" y="2"/>
                  <a:pt x="6" y="0"/>
                  <a:pt x="6" y="0"/>
                </a:cubicBezTo>
                <a:cubicBezTo>
                  <a:pt x="7" y="0"/>
                  <a:pt x="9" y="1"/>
                  <a:pt x="9" y="2"/>
                </a:cubicBezTo>
                <a:close/>
              </a:path>
            </a:pathLst>
          </a:custGeom>
          <a:solidFill>
            <a:schemeClr val="tx2"/>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61" name="Freeform 376"/>
          <p:cNvSpPr>
            <a:spLocks/>
          </p:cNvSpPr>
          <p:nvPr>
            <p:custDataLst>
              <p:tags r:id="rId257"/>
            </p:custDataLst>
          </p:nvPr>
        </p:nvSpPr>
        <p:spPr bwMode="auto">
          <a:xfrm>
            <a:off x="2980684" y="2733586"/>
            <a:ext cx="1334634" cy="704195"/>
          </a:xfrm>
          <a:custGeom>
            <a:avLst/>
            <a:gdLst>
              <a:gd name="T0" fmla="*/ 38129 w 443"/>
              <a:gd name="T1" fmla="*/ 73003 h 218"/>
              <a:gd name="T2" fmla="*/ 49023 w 443"/>
              <a:gd name="T3" fmla="*/ 17521 h 218"/>
              <a:gd name="T4" fmla="*/ 631847 w 443"/>
              <a:gd name="T5" fmla="*/ 5840 h 218"/>
              <a:gd name="T6" fmla="*/ 713551 w 443"/>
              <a:gd name="T7" fmla="*/ 37962 h 218"/>
              <a:gd name="T8" fmla="*/ 702657 w 443"/>
              <a:gd name="T9" fmla="*/ 58403 h 218"/>
              <a:gd name="T10" fmla="*/ 713551 w 443"/>
              <a:gd name="T11" fmla="*/ 87604 h 218"/>
              <a:gd name="T12" fmla="*/ 770744 w 443"/>
              <a:gd name="T13" fmla="*/ 81764 h 218"/>
              <a:gd name="T14" fmla="*/ 838831 w 443"/>
              <a:gd name="T15" fmla="*/ 87604 h 218"/>
              <a:gd name="T16" fmla="*/ 803426 w 443"/>
              <a:gd name="T17" fmla="*/ 105125 h 218"/>
              <a:gd name="T18" fmla="*/ 776191 w 443"/>
              <a:gd name="T19" fmla="*/ 148927 h 218"/>
              <a:gd name="T20" fmla="*/ 792532 w 443"/>
              <a:gd name="T21" fmla="*/ 219010 h 218"/>
              <a:gd name="T22" fmla="*/ 808872 w 443"/>
              <a:gd name="T23" fmla="*/ 137246 h 218"/>
              <a:gd name="T24" fmla="*/ 857895 w 443"/>
              <a:gd name="T25" fmla="*/ 125566 h 218"/>
              <a:gd name="T26" fmla="*/ 876959 w 443"/>
              <a:gd name="T27" fmla="*/ 157687 h 218"/>
              <a:gd name="T28" fmla="*/ 866065 w 443"/>
              <a:gd name="T29" fmla="*/ 213169 h 218"/>
              <a:gd name="T30" fmla="*/ 947770 w 443"/>
              <a:gd name="T31" fmla="*/ 198569 h 218"/>
              <a:gd name="T32" fmla="*/ 958664 w 443"/>
              <a:gd name="T33" fmla="*/ 172288 h 218"/>
              <a:gd name="T34" fmla="*/ 1010410 w 443"/>
              <a:gd name="T35" fmla="*/ 157687 h 218"/>
              <a:gd name="T36" fmla="*/ 1111178 w 443"/>
              <a:gd name="T37" fmla="*/ 125566 h 218"/>
              <a:gd name="T38" fmla="*/ 1187436 w 443"/>
              <a:gd name="T39" fmla="*/ 67163 h 218"/>
              <a:gd name="T40" fmla="*/ 1179265 w 443"/>
              <a:gd name="T41" fmla="*/ 148927 h 218"/>
              <a:gd name="T42" fmla="*/ 1127519 w 443"/>
              <a:gd name="T43" fmla="*/ 210249 h 218"/>
              <a:gd name="T44" fmla="*/ 1141137 w 443"/>
              <a:gd name="T45" fmla="*/ 224850 h 218"/>
              <a:gd name="T46" fmla="*/ 1064879 w 443"/>
              <a:gd name="T47" fmla="*/ 248211 h 218"/>
              <a:gd name="T48" fmla="*/ 1040368 w 443"/>
              <a:gd name="T49" fmla="*/ 306613 h 218"/>
              <a:gd name="T50" fmla="*/ 1021304 w 443"/>
              <a:gd name="T51" fmla="*/ 324134 h 218"/>
              <a:gd name="T52" fmla="*/ 1018580 w 443"/>
              <a:gd name="T53" fmla="*/ 277412 h 218"/>
              <a:gd name="T54" fmla="*/ 1004963 w 443"/>
              <a:gd name="T55" fmla="*/ 332895 h 218"/>
              <a:gd name="T56" fmla="*/ 1004963 w 443"/>
              <a:gd name="T57" fmla="*/ 397137 h 218"/>
              <a:gd name="T58" fmla="*/ 955940 w 443"/>
              <a:gd name="T59" fmla="*/ 423419 h 218"/>
              <a:gd name="T60" fmla="*/ 909641 w 443"/>
              <a:gd name="T61" fmla="*/ 478901 h 218"/>
              <a:gd name="T62" fmla="*/ 920535 w 443"/>
              <a:gd name="T63" fmla="*/ 563585 h 218"/>
              <a:gd name="T64" fmla="*/ 917812 w 443"/>
              <a:gd name="T65" fmla="*/ 636588 h 218"/>
              <a:gd name="T66" fmla="*/ 890577 w 443"/>
              <a:gd name="T67" fmla="*/ 604467 h 218"/>
              <a:gd name="T68" fmla="*/ 849725 w 443"/>
              <a:gd name="T69" fmla="*/ 516863 h 218"/>
              <a:gd name="T70" fmla="*/ 797979 w 443"/>
              <a:gd name="T71" fmla="*/ 508102 h 218"/>
              <a:gd name="T72" fmla="*/ 740786 w 443"/>
              <a:gd name="T73" fmla="*/ 537304 h 218"/>
              <a:gd name="T74" fmla="*/ 675422 w 443"/>
              <a:gd name="T75" fmla="*/ 531463 h 218"/>
              <a:gd name="T76" fmla="*/ 599165 w 443"/>
              <a:gd name="T77" fmla="*/ 551904 h 218"/>
              <a:gd name="T78" fmla="*/ 577377 w 443"/>
              <a:gd name="T79" fmla="*/ 613227 h 218"/>
              <a:gd name="T80" fmla="*/ 492949 w 443"/>
              <a:gd name="T81" fmla="*/ 525623 h 218"/>
              <a:gd name="T82" fmla="*/ 419415 w 443"/>
              <a:gd name="T83" fmla="*/ 516863 h 218"/>
              <a:gd name="T84" fmla="*/ 345881 w 443"/>
              <a:gd name="T85" fmla="*/ 473061 h 218"/>
              <a:gd name="T86" fmla="*/ 209708 w 443"/>
              <a:gd name="T87" fmla="*/ 452620 h 218"/>
              <a:gd name="T88" fmla="*/ 160685 w 443"/>
              <a:gd name="T89" fmla="*/ 452620 h 218"/>
              <a:gd name="T90" fmla="*/ 89875 w 443"/>
              <a:gd name="T91" fmla="*/ 408818 h 218"/>
              <a:gd name="T92" fmla="*/ 40852 w 443"/>
              <a:gd name="T93" fmla="*/ 306613 h 218"/>
              <a:gd name="T94" fmla="*/ 16341 w 443"/>
              <a:gd name="T95" fmla="*/ 224850 h 218"/>
              <a:gd name="T96" fmla="*/ 10894 w 443"/>
              <a:gd name="T97" fmla="*/ 67163 h 2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43" h="218">
                <a:moveTo>
                  <a:pt x="7" y="19"/>
                </a:moveTo>
                <a:cubicBezTo>
                  <a:pt x="8" y="19"/>
                  <a:pt x="11" y="17"/>
                  <a:pt x="13" y="18"/>
                </a:cubicBezTo>
                <a:cubicBezTo>
                  <a:pt x="16" y="19"/>
                  <a:pt x="13" y="24"/>
                  <a:pt x="14" y="25"/>
                </a:cubicBezTo>
                <a:cubicBezTo>
                  <a:pt x="16" y="26"/>
                  <a:pt x="18" y="25"/>
                  <a:pt x="20" y="23"/>
                </a:cubicBezTo>
                <a:cubicBezTo>
                  <a:pt x="20" y="22"/>
                  <a:pt x="18" y="16"/>
                  <a:pt x="19" y="13"/>
                </a:cubicBezTo>
                <a:cubicBezTo>
                  <a:pt x="19" y="10"/>
                  <a:pt x="19" y="8"/>
                  <a:pt x="18" y="6"/>
                </a:cubicBezTo>
                <a:cubicBezTo>
                  <a:pt x="224" y="6"/>
                  <a:pt x="224" y="6"/>
                  <a:pt x="224" y="6"/>
                </a:cubicBezTo>
                <a:cubicBezTo>
                  <a:pt x="226" y="6"/>
                  <a:pt x="226" y="0"/>
                  <a:pt x="226" y="0"/>
                </a:cubicBezTo>
                <a:cubicBezTo>
                  <a:pt x="226" y="0"/>
                  <a:pt x="232" y="1"/>
                  <a:pt x="232" y="2"/>
                </a:cubicBezTo>
                <a:cubicBezTo>
                  <a:pt x="232" y="3"/>
                  <a:pt x="236" y="11"/>
                  <a:pt x="237" y="11"/>
                </a:cubicBezTo>
                <a:cubicBezTo>
                  <a:pt x="238" y="11"/>
                  <a:pt x="249" y="12"/>
                  <a:pt x="252" y="13"/>
                </a:cubicBezTo>
                <a:cubicBezTo>
                  <a:pt x="256" y="14"/>
                  <a:pt x="261" y="13"/>
                  <a:pt x="262" y="13"/>
                </a:cubicBezTo>
                <a:cubicBezTo>
                  <a:pt x="264" y="12"/>
                  <a:pt x="268" y="16"/>
                  <a:pt x="268" y="16"/>
                </a:cubicBezTo>
                <a:cubicBezTo>
                  <a:pt x="268" y="16"/>
                  <a:pt x="268" y="16"/>
                  <a:pt x="268" y="16"/>
                </a:cubicBezTo>
                <a:cubicBezTo>
                  <a:pt x="265" y="18"/>
                  <a:pt x="259" y="19"/>
                  <a:pt x="258" y="20"/>
                </a:cubicBezTo>
                <a:cubicBezTo>
                  <a:pt x="257" y="22"/>
                  <a:pt x="249" y="26"/>
                  <a:pt x="250" y="28"/>
                </a:cubicBezTo>
                <a:cubicBezTo>
                  <a:pt x="250" y="30"/>
                  <a:pt x="254" y="30"/>
                  <a:pt x="255" y="28"/>
                </a:cubicBezTo>
                <a:cubicBezTo>
                  <a:pt x="257" y="27"/>
                  <a:pt x="260" y="28"/>
                  <a:pt x="262" y="30"/>
                </a:cubicBezTo>
                <a:cubicBezTo>
                  <a:pt x="263" y="32"/>
                  <a:pt x="269" y="28"/>
                  <a:pt x="273" y="26"/>
                </a:cubicBezTo>
                <a:cubicBezTo>
                  <a:pt x="273" y="26"/>
                  <a:pt x="282" y="19"/>
                  <a:pt x="283" y="22"/>
                </a:cubicBezTo>
                <a:cubicBezTo>
                  <a:pt x="284" y="24"/>
                  <a:pt x="282" y="26"/>
                  <a:pt x="283" y="28"/>
                </a:cubicBezTo>
                <a:cubicBezTo>
                  <a:pt x="285" y="30"/>
                  <a:pt x="288" y="31"/>
                  <a:pt x="291" y="32"/>
                </a:cubicBezTo>
                <a:cubicBezTo>
                  <a:pt x="294" y="32"/>
                  <a:pt x="298" y="29"/>
                  <a:pt x="301" y="29"/>
                </a:cubicBezTo>
                <a:cubicBezTo>
                  <a:pt x="303" y="28"/>
                  <a:pt x="305" y="30"/>
                  <a:pt x="308" y="30"/>
                </a:cubicBezTo>
                <a:cubicBezTo>
                  <a:pt x="316" y="37"/>
                  <a:pt x="316" y="37"/>
                  <a:pt x="316" y="37"/>
                </a:cubicBezTo>
                <a:cubicBezTo>
                  <a:pt x="313" y="37"/>
                  <a:pt x="306" y="37"/>
                  <a:pt x="304" y="35"/>
                </a:cubicBezTo>
                <a:cubicBezTo>
                  <a:pt x="303" y="34"/>
                  <a:pt x="299" y="35"/>
                  <a:pt x="295" y="36"/>
                </a:cubicBezTo>
                <a:cubicBezTo>
                  <a:pt x="292" y="36"/>
                  <a:pt x="289" y="38"/>
                  <a:pt x="287" y="39"/>
                </a:cubicBezTo>
                <a:cubicBezTo>
                  <a:pt x="285" y="41"/>
                  <a:pt x="284" y="44"/>
                  <a:pt x="286" y="45"/>
                </a:cubicBezTo>
                <a:cubicBezTo>
                  <a:pt x="287" y="46"/>
                  <a:pt x="286" y="49"/>
                  <a:pt x="285" y="51"/>
                </a:cubicBezTo>
                <a:cubicBezTo>
                  <a:pt x="284" y="54"/>
                  <a:pt x="283" y="64"/>
                  <a:pt x="283" y="68"/>
                </a:cubicBezTo>
                <a:cubicBezTo>
                  <a:pt x="283" y="72"/>
                  <a:pt x="285" y="76"/>
                  <a:pt x="287" y="76"/>
                </a:cubicBezTo>
                <a:cubicBezTo>
                  <a:pt x="289" y="77"/>
                  <a:pt x="290" y="76"/>
                  <a:pt x="291" y="75"/>
                </a:cubicBezTo>
                <a:cubicBezTo>
                  <a:pt x="293" y="74"/>
                  <a:pt x="294" y="70"/>
                  <a:pt x="295" y="68"/>
                </a:cubicBezTo>
                <a:cubicBezTo>
                  <a:pt x="297" y="66"/>
                  <a:pt x="293" y="58"/>
                  <a:pt x="293" y="55"/>
                </a:cubicBezTo>
                <a:cubicBezTo>
                  <a:pt x="293" y="52"/>
                  <a:pt x="294" y="48"/>
                  <a:pt x="297" y="47"/>
                </a:cubicBezTo>
                <a:cubicBezTo>
                  <a:pt x="301" y="45"/>
                  <a:pt x="303" y="46"/>
                  <a:pt x="303" y="45"/>
                </a:cubicBezTo>
                <a:cubicBezTo>
                  <a:pt x="303" y="43"/>
                  <a:pt x="305" y="41"/>
                  <a:pt x="307" y="41"/>
                </a:cubicBezTo>
                <a:cubicBezTo>
                  <a:pt x="309" y="41"/>
                  <a:pt x="313" y="42"/>
                  <a:pt x="315" y="43"/>
                </a:cubicBezTo>
                <a:cubicBezTo>
                  <a:pt x="317" y="44"/>
                  <a:pt x="316" y="46"/>
                  <a:pt x="316" y="49"/>
                </a:cubicBezTo>
                <a:cubicBezTo>
                  <a:pt x="316" y="52"/>
                  <a:pt x="311" y="55"/>
                  <a:pt x="313" y="57"/>
                </a:cubicBezTo>
                <a:cubicBezTo>
                  <a:pt x="315" y="60"/>
                  <a:pt x="320" y="55"/>
                  <a:pt x="322" y="54"/>
                </a:cubicBezTo>
                <a:cubicBezTo>
                  <a:pt x="323" y="54"/>
                  <a:pt x="322" y="61"/>
                  <a:pt x="324" y="63"/>
                </a:cubicBezTo>
                <a:cubicBezTo>
                  <a:pt x="320" y="72"/>
                  <a:pt x="320" y="72"/>
                  <a:pt x="320" y="72"/>
                </a:cubicBezTo>
                <a:cubicBezTo>
                  <a:pt x="319" y="72"/>
                  <a:pt x="318" y="72"/>
                  <a:pt x="318" y="73"/>
                </a:cubicBezTo>
                <a:cubicBezTo>
                  <a:pt x="316" y="74"/>
                  <a:pt x="319" y="77"/>
                  <a:pt x="320" y="77"/>
                </a:cubicBezTo>
                <a:cubicBezTo>
                  <a:pt x="322" y="78"/>
                  <a:pt x="327" y="78"/>
                  <a:pt x="330" y="77"/>
                </a:cubicBezTo>
                <a:cubicBezTo>
                  <a:pt x="333" y="75"/>
                  <a:pt x="346" y="69"/>
                  <a:pt x="348" y="68"/>
                </a:cubicBezTo>
                <a:cubicBezTo>
                  <a:pt x="350" y="68"/>
                  <a:pt x="352" y="66"/>
                  <a:pt x="351" y="65"/>
                </a:cubicBezTo>
                <a:cubicBezTo>
                  <a:pt x="351" y="64"/>
                  <a:pt x="350" y="64"/>
                  <a:pt x="348" y="64"/>
                </a:cubicBezTo>
                <a:cubicBezTo>
                  <a:pt x="352" y="59"/>
                  <a:pt x="352" y="59"/>
                  <a:pt x="352" y="59"/>
                </a:cubicBezTo>
                <a:cubicBezTo>
                  <a:pt x="355" y="59"/>
                  <a:pt x="364" y="60"/>
                  <a:pt x="366" y="60"/>
                </a:cubicBezTo>
                <a:cubicBezTo>
                  <a:pt x="369" y="60"/>
                  <a:pt x="371" y="59"/>
                  <a:pt x="372" y="57"/>
                </a:cubicBezTo>
                <a:cubicBezTo>
                  <a:pt x="372" y="56"/>
                  <a:pt x="372" y="54"/>
                  <a:pt x="371" y="54"/>
                </a:cubicBezTo>
                <a:cubicBezTo>
                  <a:pt x="371" y="54"/>
                  <a:pt x="371" y="54"/>
                  <a:pt x="371" y="54"/>
                </a:cubicBezTo>
                <a:cubicBezTo>
                  <a:pt x="382" y="44"/>
                  <a:pt x="382" y="44"/>
                  <a:pt x="382" y="44"/>
                </a:cubicBezTo>
                <a:cubicBezTo>
                  <a:pt x="408" y="43"/>
                  <a:pt x="408" y="43"/>
                  <a:pt x="408" y="43"/>
                </a:cubicBezTo>
                <a:cubicBezTo>
                  <a:pt x="408" y="43"/>
                  <a:pt x="415" y="42"/>
                  <a:pt x="416" y="38"/>
                </a:cubicBezTo>
                <a:cubicBezTo>
                  <a:pt x="417" y="35"/>
                  <a:pt x="424" y="20"/>
                  <a:pt x="426" y="21"/>
                </a:cubicBezTo>
                <a:cubicBezTo>
                  <a:pt x="429" y="23"/>
                  <a:pt x="435" y="20"/>
                  <a:pt x="436" y="23"/>
                </a:cubicBezTo>
                <a:cubicBezTo>
                  <a:pt x="437" y="26"/>
                  <a:pt x="437" y="34"/>
                  <a:pt x="437" y="36"/>
                </a:cubicBezTo>
                <a:cubicBezTo>
                  <a:pt x="443" y="45"/>
                  <a:pt x="443" y="45"/>
                  <a:pt x="443" y="45"/>
                </a:cubicBezTo>
                <a:cubicBezTo>
                  <a:pt x="443" y="46"/>
                  <a:pt x="437" y="50"/>
                  <a:pt x="433" y="51"/>
                </a:cubicBezTo>
                <a:cubicBezTo>
                  <a:pt x="430" y="53"/>
                  <a:pt x="424" y="54"/>
                  <a:pt x="422" y="56"/>
                </a:cubicBezTo>
                <a:cubicBezTo>
                  <a:pt x="419" y="57"/>
                  <a:pt x="416" y="60"/>
                  <a:pt x="413" y="64"/>
                </a:cubicBezTo>
                <a:cubicBezTo>
                  <a:pt x="410" y="68"/>
                  <a:pt x="413" y="71"/>
                  <a:pt x="414" y="72"/>
                </a:cubicBezTo>
                <a:cubicBezTo>
                  <a:pt x="415" y="73"/>
                  <a:pt x="418" y="70"/>
                  <a:pt x="418" y="70"/>
                </a:cubicBezTo>
                <a:cubicBezTo>
                  <a:pt x="419" y="70"/>
                  <a:pt x="419" y="71"/>
                  <a:pt x="420" y="73"/>
                </a:cubicBezTo>
                <a:cubicBezTo>
                  <a:pt x="420" y="74"/>
                  <a:pt x="420" y="77"/>
                  <a:pt x="419" y="77"/>
                </a:cubicBezTo>
                <a:cubicBezTo>
                  <a:pt x="418" y="77"/>
                  <a:pt x="416" y="77"/>
                  <a:pt x="413" y="77"/>
                </a:cubicBezTo>
                <a:cubicBezTo>
                  <a:pt x="411" y="77"/>
                  <a:pt x="406" y="80"/>
                  <a:pt x="401" y="80"/>
                </a:cubicBezTo>
                <a:cubicBezTo>
                  <a:pt x="396" y="80"/>
                  <a:pt x="392" y="84"/>
                  <a:pt x="391" y="85"/>
                </a:cubicBezTo>
                <a:cubicBezTo>
                  <a:pt x="390" y="87"/>
                  <a:pt x="389" y="90"/>
                  <a:pt x="389" y="92"/>
                </a:cubicBezTo>
                <a:cubicBezTo>
                  <a:pt x="389" y="94"/>
                  <a:pt x="385" y="96"/>
                  <a:pt x="384" y="98"/>
                </a:cubicBezTo>
                <a:cubicBezTo>
                  <a:pt x="382" y="99"/>
                  <a:pt x="382" y="102"/>
                  <a:pt x="382" y="105"/>
                </a:cubicBezTo>
                <a:cubicBezTo>
                  <a:pt x="382" y="107"/>
                  <a:pt x="379" y="112"/>
                  <a:pt x="379" y="113"/>
                </a:cubicBezTo>
                <a:cubicBezTo>
                  <a:pt x="378" y="114"/>
                  <a:pt x="378" y="115"/>
                  <a:pt x="377" y="115"/>
                </a:cubicBezTo>
                <a:cubicBezTo>
                  <a:pt x="376" y="115"/>
                  <a:pt x="375" y="113"/>
                  <a:pt x="375" y="111"/>
                </a:cubicBezTo>
                <a:cubicBezTo>
                  <a:pt x="375" y="110"/>
                  <a:pt x="374" y="107"/>
                  <a:pt x="374" y="105"/>
                </a:cubicBezTo>
                <a:cubicBezTo>
                  <a:pt x="374" y="103"/>
                  <a:pt x="374" y="103"/>
                  <a:pt x="374" y="101"/>
                </a:cubicBezTo>
                <a:cubicBezTo>
                  <a:pt x="373" y="98"/>
                  <a:pt x="374" y="96"/>
                  <a:pt x="374" y="95"/>
                </a:cubicBezTo>
                <a:cubicBezTo>
                  <a:pt x="374" y="94"/>
                  <a:pt x="372" y="95"/>
                  <a:pt x="370" y="96"/>
                </a:cubicBezTo>
                <a:cubicBezTo>
                  <a:pt x="368" y="97"/>
                  <a:pt x="368" y="102"/>
                  <a:pt x="369" y="105"/>
                </a:cubicBezTo>
                <a:cubicBezTo>
                  <a:pt x="370" y="108"/>
                  <a:pt x="369" y="111"/>
                  <a:pt x="369" y="114"/>
                </a:cubicBezTo>
                <a:cubicBezTo>
                  <a:pt x="369" y="116"/>
                  <a:pt x="373" y="118"/>
                  <a:pt x="373" y="119"/>
                </a:cubicBezTo>
                <a:cubicBezTo>
                  <a:pt x="373" y="120"/>
                  <a:pt x="378" y="131"/>
                  <a:pt x="378" y="132"/>
                </a:cubicBezTo>
                <a:cubicBezTo>
                  <a:pt x="377" y="134"/>
                  <a:pt x="371" y="136"/>
                  <a:pt x="369" y="136"/>
                </a:cubicBezTo>
                <a:cubicBezTo>
                  <a:pt x="367" y="136"/>
                  <a:pt x="363" y="138"/>
                  <a:pt x="361" y="139"/>
                </a:cubicBezTo>
                <a:cubicBezTo>
                  <a:pt x="360" y="140"/>
                  <a:pt x="360" y="144"/>
                  <a:pt x="358" y="145"/>
                </a:cubicBezTo>
                <a:cubicBezTo>
                  <a:pt x="357" y="146"/>
                  <a:pt x="354" y="143"/>
                  <a:pt x="351" y="145"/>
                </a:cubicBezTo>
                <a:cubicBezTo>
                  <a:pt x="348" y="146"/>
                  <a:pt x="349" y="151"/>
                  <a:pt x="349" y="151"/>
                </a:cubicBezTo>
                <a:cubicBezTo>
                  <a:pt x="348" y="152"/>
                  <a:pt x="347" y="153"/>
                  <a:pt x="345" y="154"/>
                </a:cubicBezTo>
                <a:cubicBezTo>
                  <a:pt x="343" y="156"/>
                  <a:pt x="338" y="157"/>
                  <a:pt x="334" y="164"/>
                </a:cubicBezTo>
                <a:cubicBezTo>
                  <a:pt x="330" y="170"/>
                  <a:pt x="334" y="179"/>
                  <a:pt x="335" y="183"/>
                </a:cubicBezTo>
                <a:cubicBezTo>
                  <a:pt x="335" y="186"/>
                  <a:pt x="339" y="187"/>
                  <a:pt x="340" y="188"/>
                </a:cubicBezTo>
                <a:cubicBezTo>
                  <a:pt x="340" y="190"/>
                  <a:pt x="338" y="192"/>
                  <a:pt x="338" y="193"/>
                </a:cubicBezTo>
                <a:cubicBezTo>
                  <a:pt x="338" y="195"/>
                  <a:pt x="339" y="195"/>
                  <a:pt x="342" y="199"/>
                </a:cubicBezTo>
                <a:cubicBezTo>
                  <a:pt x="344" y="204"/>
                  <a:pt x="343" y="210"/>
                  <a:pt x="343" y="213"/>
                </a:cubicBezTo>
                <a:cubicBezTo>
                  <a:pt x="342" y="216"/>
                  <a:pt x="340" y="218"/>
                  <a:pt x="337" y="218"/>
                </a:cubicBezTo>
                <a:cubicBezTo>
                  <a:pt x="336" y="218"/>
                  <a:pt x="336" y="217"/>
                  <a:pt x="336" y="217"/>
                </a:cubicBezTo>
                <a:cubicBezTo>
                  <a:pt x="333" y="217"/>
                  <a:pt x="333" y="216"/>
                  <a:pt x="332" y="213"/>
                </a:cubicBezTo>
                <a:cubicBezTo>
                  <a:pt x="330" y="211"/>
                  <a:pt x="329" y="210"/>
                  <a:pt x="327" y="207"/>
                </a:cubicBezTo>
                <a:cubicBezTo>
                  <a:pt x="325" y="205"/>
                  <a:pt x="321" y="197"/>
                  <a:pt x="321" y="193"/>
                </a:cubicBezTo>
                <a:cubicBezTo>
                  <a:pt x="321" y="190"/>
                  <a:pt x="321" y="186"/>
                  <a:pt x="319" y="184"/>
                </a:cubicBezTo>
                <a:cubicBezTo>
                  <a:pt x="318" y="182"/>
                  <a:pt x="315" y="178"/>
                  <a:pt x="312" y="177"/>
                </a:cubicBezTo>
                <a:cubicBezTo>
                  <a:pt x="309" y="176"/>
                  <a:pt x="308" y="180"/>
                  <a:pt x="306" y="181"/>
                </a:cubicBezTo>
                <a:cubicBezTo>
                  <a:pt x="304" y="182"/>
                  <a:pt x="302" y="181"/>
                  <a:pt x="301" y="179"/>
                </a:cubicBezTo>
                <a:cubicBezTo>
                  <a:pt x="300" y="177"/>
                  <a:pt x="296" y="174"/>
                  <a:pt x="293" y="174"/>
                </a:cubicBezTo>
                <a:cubicBezTo>
                  <a:pt x="291" y="174"/>
                  <a:pt x="285" y="176"/>
                  <a:pt x="279" y="176"/>
                </a:cubicBezTo>
                <a:cubicBezTo>
                  <a:pt x="273" y="176"/>
                  <a:pt x="274" y="177"/>
                  <a:pt x="272" y="178"/>
                </a:cubicBezTo>
                <a:cubicBezTo>
                  <a:pt x="271" y="179"/>
                  <a:pt x="273" y="183"/>
                  <a:pt x="272" y="184"/>
                </a:cubicBezTo>
                <a:cubicBezTo>
                  <a:pt x="270" y="185"/>
                  <a:pt x="267" y="186"/>
                  <a:pt x="264" y="186"/>
                </a:cubicBezTo>
                <a:cubicBezTo>
                  <a:pt x="261" y="186"/>
                  <a:pt x="258" y="182"/>
                  <a:pt x="255" y="181"/>
                </a:cubicBezTo>
                <a:cubicBezTo>
                  <a:pt x="253" y="180"/>
                  <a:pt x="249" y="182"/>
                  <a:pt x="248" y="182"/>
                </a:cubicBezTo>
                <a:cubicBezTo>
                  <a:pt x="247" y="181"/>
                  <a:pt x="246" y="181"/>
                  <a:pt x="242" y="180"/>
                </a:cubicBezTo>
                <a:cubicBezTo>
                  <a:pt x="239" y="178"/>
                  <a:pt x="234" y="181"/>
                  <a:pt x="232" y="182"/>
                </a:cubicBezTo>
                <a:cubicBezTo>
                  <a:pt x="229" y="183"/>
                  <a:pt x="223" y="188"/>
                  <a:pt x="220" y="189"/>
                </a:cubicBezTo>
                <a:cubicBezTo>
                  <a:pt x="218" y="190"/>
                  <a:pt x="209" y="198"/>
                  <a:pt x="209" y="200"/>
                </a:cubicBezTo>
                <a:cubicBezTo>
                  <a:pt x="209" y="202"/>
                  <a:pt x="212" y="207"/>
                  <a:pt x="213" y="210"/>
                </a:cubicBezTo>
                <a:cubicBezTo>
                  <a:pt x="212" y="210"/>
                  <a:pt x="212" y="210"/>
                  <a:pt x="212" y="210"/>
                </a:cubicBezTo>
                <a:cubicBezTo>
                  <a:pt x="207" y="212"/>
                  <a:pt x="207" y="212"/>
                  <a:pt x="207" y="212"/>
                </a:cubicBezTo>
                <a:cubicBezTo>
                  <a:pt x="207" y="212"/>
                  <a:pt x="198" y="208"/>
                  <a:pt x="197" y="207"/>
                </a:cubicBezTo>
                <a:cubicBezTo>
                  <a:pt x="196" y="206"/>
                  <a:pt x="185" y="182"/>
                  <a:pt x="181" y="180"/>
                </a:cubicBezTo>
                <a:cubicBezTo>
                  <a:pt x="176" y="178"/>
                  <a:pt x="173" y="178"/>
                  <a:pt x="171" y="178"/>
                </a:cubicBezTo>
                <a:cubicBezTo>
                  <a:pt x="169" y="179"/>
                  <a:pt x="169" y="186"/>
                  <a:pt x="165" y="185"/>
                </a:cubicBezTo>
                <a:cubicBezTo>
                  <a:pt x="161" y="183"/>
                  <a:pt x="155" y="181"/>
                  <a:pt x="154" y="177"/>
                </a:cubicBezTo>
                <a:cubicBezTo>
                  <a:pt x="153" y="173"/>
                  <a:pt x="152" y="171"/>
                  <a:pt x="149" y="170"/>
                </a:cubicBezTo>
                <a:cubicBezTo>
                  <a:pt x="147" y="168"/>
                  <a:pt x="141" y="162"/>
                  <a:pt x="141" y="162"/>
                </a:cubicBezTo>
                <a:cubicBezTo>
                  <a:pt x="127" y="162"/>
                  <a:pt x="127" y="162"/>
                  <a:pt x="127" y="162"/>
                </a:cubicBezTo>
                <a:cubicBezTo>
                  <a:pt x="127" y="167"/>
                  <a:pt x="127" y="167"/>
                  <a:pt x="127" y="167"/>
                </a:cubicBezTo>
                <a:cubicBezTo>
                  <a:pt x="105" y="166"/>
                  <a:pt x="105" y="166"/>
                  <a:pt x="105" y="166"/>
                </a:cubicBezTo>
                <a:cubicBezTo>
                  <a:pt x="77" y="155"/>
                  <a:pt x="77" y="155"/>
                  <a:pt x="77" y="155"/>
                </a:cubicBezTo>
                <a:cubicBezTo>
                  <a:pt x="77" y="152"/>
                  <a:pt x="77" y="152"/>
                  <a:pt x="77" y="152"/>
                </a:cubicBezTo>
                <a:cubicBezTo>
                  <a:pt x="66" y="154"/>
                  <a:pt x="66" y="154"/>
                  <a:pt x="66" y="154"/>
                </a:cubicBezTo>
                <a:cubicBezTo>
                  <a:pt x="59" y="155"/>
                  <a:pt x="59" y="155"/>
                  <a:pt x="59" y="155"/>
                </a:cubicBezTo>
                <a:cubicBezTo>
                  <a:pt x="58" y="154"/>
                  <a:pt x="58" y="152"/>
                  <a:pt x="58" y="151"/>
                </a:cubicBezTo>
                <a:cubicBezTo>
                  <a:pt x="57" y="148"/>
                  <a:pt x="43" y="141"/>
                  <a:pt x="40" y="140"/>
                </a:cubicBezTo>
                <a:cubicBezTo>
                  <a:pt x="38" y="138"/>
                  <a:pt x="34" y="142"/>
                  <a:pt x="33" y="140"/>
                </a:cubicBezTo>
                <a:cubicBezTo>
                  <a:pt x="32" y="138"/>
                  <a:pt x="30" y="131"/>
                  <a:pt x="30" y="130"/>
                </a:cubicBezTo>
                <a:cubicBezTo>
                  <a:pt x="29" y="129"/>
                  <a:pt x="25" y="125"/>
                  <a:pt x="22" y="122"/>
                </a:cubicBezTo>
                <a:cubicBezTo>
                  <a:pt x="20" y="119"/>
                  <a:pt x="17" y="108"/>
                  <a:pt x="15" y="105"/>
                </a:cubicBezTo>
                <a:cubicBezTo>
                  <a:pt x="12" y="102"/>
                  <a:pt x="9" y="97"/>
                  <a:pt x="9" y="95"/>
                </a:cubicBezTo>
                <a:cubicBezTo>
                  <a:pt x="9" y="93"/>
                  <a:pt x="3" y="89"/>
                  <a:pt x="3" y="87"/>
                </a:cubicBezTo>
                <a:cubicBezTo>
                  <a:pt x="3" y="85"/>
                  <a:pt x="6" y="79"/>
                  <a:pt x="6" y="77"/>
                </a:cubicBezTo>
                <a:cubicBezTo>
                  <a:pt x="6" y="74"/>
                  <a:pt x="2" y="67"/>
                  <a:pt x="2" y="65"/>
                </a:cubicBezTo>
                <a:cubicBezTo>
                  <a:pt x="2" y="62"/>
                  <a:pt x="7" y="43"/>
                  <a:pt x="7" y="38"/>
                </a:cubicBezTo>
                <a:cubicBezTo>
                  <a:pt x="7" y="34"/>
                  <a:pt x="5" y="26"/>
                  <a:pt x="4" y="23"/>
                </a:cubicBezTo>
                <a:cubicBezTo>
                  <a:pt x="3" y="21"/>
                  <a:pt x="0" y="17"/>
                  <a:pt x="1" y="17"/>
                </a:cubicBezTo>
                <a:cubicBezTo>
                  <a:pt x="2" y="18"/>
                  <a:pt x="6" y="19"/>
                  <a:pt x="7" y="19"/>
                </a:cubicBezTo>
                <a:close/>
              </a:path>
            </a:pathLst>
          </a:custGeom>
          <a:solidFill>
            <a:schemeClr val="tx2"/>
          </a:solidFill>
          <a:ln w="952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62" name="Freeform 505"/>
          <p:cNvSpPr>
            <a:spLocks/>
          </p:cNvSpPr>
          <p:nvPr>
            <p:custDataLst>
              <p:tags r:id="rId258"/>
            </p:custDataLst>
          </p:nvPr>
        </p:nvSpPr>
        <p:spPr bwMode="auto">
          <a:xfrm>
            <a:off x="4083513" y="3427245"/>
            <a:ext cx="38634" cy="47415"/>
          </a:xfrm>
          <a:custGeom>
            <a:avLst/>
            <a:gdLst>
              <a:gd name="T0" fmla="*/ 5373 w 13"/>
              <a:gd name="T1" fmla="*/ 22860 h 15"/>
              <a:gd name="T2" fmla="*/ 8060 w 13"/>
              <a:gd name="T3" fmla="*/ 2858 h 15"/>
              <a:gd name="T4" fmla="*/ 16119 w 13"/>
              <a:gd name="T5" fmla="*/ 2858 h 15"/>
              <a:gd name="T6" fmla="*/ 21492 w 13"/>
              <a:gd name="T7" fmla="*/ 20003 h 15"/>
              <a:gd name="T8" fmla="*/ 32238 w 13"/>
              <a:gd name="T9" fmla="*/ 28575 h 15"/>
              <a:gd name="T10" fmla="*/ 24179 w 13"/>
              <a:gd name="T11" fmla="*/ 42863 h 15"/>
              <a:gd name="T12" fmla="*/ 5373 w 13"/>
              <a:gd name="T13" fmla="*/ 2286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5">
                <a:moveTo>
                  <a:pt x="2" y="8"/>
                </a:moveTo>
                <a:cubicBezTo>
                  <a:pt x="0" y="6"/>
                  <a:pt x="0" y="2"/>
                  <a:pt x="3" y="1"/>
                </a:cubicBezTo>
                <a:cubicBezTo>
                  <a:pt x="3" y="1"/>
                  <a:pt x="5" y="0"/>
                  <a:pt x="6" y="1"/>
                </a:cubicBezTo>
                <a:cubicBezTo>
                  <a:pt x="7" y="2"/>
                  <a:pt x="6" y="6"/>
                  <a:pt x="8" y="7"/>
                </a:cubicBezTo>
                <a:cubicBezTo>
                  <a:pt x="9" y="8"/>
                  <a:pt x="11" y="8"/>
                  <a:pt x="12" y="10"/>
                </a:cubicBezTo>
                <a:cubicBezTo>
                  <a:pt x="13" y="12"/>
                  <a:pt x="10" y="15"/>
                  <a:pt x="9" y="15"/>
                </a:cubicBezTo>
                <a:cubicBezTo>
                  <a:pt x="8" y="15"/>
                  <a:pt x="4" y="10"/>
                  <a:pt x="2" y="8"/>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63" name="Freeform 506"/>
          <p:cNvSpPr>
            <a:spLocks/>
          </p:cNvSpPr>
          <p:nvPr>
            <p:custDataLst>
              <p:tags r:id="rId259"/>
            </p:custDataLst>
          </p:nvPr>
        </p:nvSpPr>
        <p:spPr bwMode="auto">
          <a:xfrm>
            <a:off x="4048391" y="3388610"/>
            <a:ext cx="35122" cy="29854"/>
          </a:xfrm>
          <a:custGeom>
            <a:avLst/>
            <a:gdLst>
              <a:gd name="T0" fmla="*/ 15875 w 12"/>
              <a:gd name="T1" fmla="*/ 20991 h 9"/>
              <a:gd name="T2" fmla="*/ 5292 w 12"/>
              <a:gd name="T3" fmla="*/ 8996 h 9"/>
              <a:gd name="T4" fmla="*/ 15875 w 12"/>
              <a:gd name="T5" fmla="*/ 0 h 9"/>
              <a:gd name="T6" fmla="*/ 26458 w 12"/>
              <a:gd name="T7" fmla="*/ 2999 h 9"/>
              <a:gd name="T8" fmla="*/ 26458 w 12"/>
              <a:gd name="T9" fmla="*/ 23989 h 9"/>
              <a:gd name="T10" fmla="*/ 15875 w 12"/>
              <a:gd name="T11" fmla="*/ 20991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6" y="7"/>
                </a:moveTo>
                <a:cubicBezTo>
                  <a:pt x="5" y="7"/>
                  <a:pt x="2" y="4"/>
                  <a:pt x="2" y="3"/>
                </a:cubicBezTo>
                <a:cubicBezTo>
                  <a:pt x="0" y="1"/>
                  <a:pt x="4" y="0"/>
                  <a:pt x="6" y="0"/>
                </a:cubicBezTo>
                <a:cubicBezTo>
                  <a:pt x="6" y="0"/>
                  <a:pt x="8" y="0"/>
                  <a:pt x="10" y="1"/>
                </a:cubicBezTo>
                <a:cubicBezTo>
                  <a:pt x="12" y="2"/>
                  <a:pt x="11" y="7"/>
                  <a:pt x="10" y="8"/>
                </a:cubicBezTo>
                <a:cubicBezTo>
                  <a:pt x="10" y="9"/>
                  <a:pt x="7" y="8"/>
                  <a:pt x="6" y="7"/>
                </a:cubicBezTo>
                <a:close/>
              </a:path>
            </a:pathLst>
          </a:custGeom>
          <a:solidFill>
            <a:schemeClr val="bg1">
              <a:lumMod val="85000"/>
            </a:schemeClr>
          </a:solidFill>
          <a:ln w="9525" cap="flat" cmpd="sng">
            <a:solidFill>
              <a:schemeClr val="bg1"/>
            </a:solidFill>
            <a:prstDash val="solid"/>
            <a:miter lim="800000"/>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grpSp>
        <p:nvGrpSpPr>
          <p:cNvPr id="264" name="Group 263"/>
          <p:cNvGrpSpPr/>
          <p:nvPr/>
        </p:nvGrpSpPr>
        <p:grpSpPr>
          <a:xfrm>
            <a:off x="2107599" y="4581128"/>
            <a:ext cx="1166809" cy="826570"/>
            <a:chOff x="583598" y="4938380"/>
            <a:chExt cx="1166809" cy="826570"/>
          </a:xfrm>
        </p:grpSpPr>
        <p:grpSp>
          <p:nvGrpSpPr>
            <p:cNvPr id="4" name="Group 3"/>
            <p:cNvGrpSpPr/>
            <p:nvPr/>
          </p:nvGrpSpPr>
          <p:grpSpPr>
            <a:xfrm>
              <a:off x="583601" y="5386802"/>
              <a:ext cx="1108079" cy="153988"/>
              <a:chOff x="583601" y="5378118"/>
              <a:chExt cx="1108079" cy="153988"/>
            </a:xfrm>
          </p:grpSpPr>
          <p:sp>
            <p:nvSpPr>
              <p:cNvPr id="267" name="Rectangle 3"/>
              <p:cNvSpPr>
                <a:spLocks noChangeArrowheads="1"/>
              </p:cNvSpPr>
              <p:nvPr/>
            </p:nvSpPr>
            <p:spPr bwMode="auto">
              <a:xfrm>
                <a:off x="796327" y="5378118"/>
                <a:ext cx="895353"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762000" rtl="0" eaLnBrk="0" fontAlgn="base" latinLnBrk="0" hangingPunct="0">
                  <a:lnSpc>
                    <a:spcPct val="100000"/>
                  </a:lnSpc>
                  <a:spcBef>
                    <a:spcPct val="0"/>
                  </a:spcBef>
                  <a:spcAft>
                    <a:spcPct val="0"/>
                  </a:spcAft>
                  <a:buClrTx/>
                  <a:buSzTx/>
                  <a:buFontTx/>
                  <a:buNone/>
                  <a:tabLst/>
                  <a:defRPr/>
                </a:pPr>
                <a:r>
                  <a:rPr kumimoji="0" lang="de-CH" sz="1000" b="0" i="0" u="none" strike="noStrike" kern="1200" cap="none" spc="0" normalizeH="0" baseline="0" noProof="0">
                    <a:ln>
                      <a:noFill/>
                    </a:ln>
                    <a:solidFill>
                      <a:srgbClr val="000000"/>
                    </a:solidFill>
                    <a:effectLst/>
                    <a:uLnTx/>
                    <a:uFillTx/>
                    <a:latin typeface="Arial Narrow" pitchFamily="34" charset="0"/>
                    <a:ea typeface="+mn-ea"/>
                    <a:cs typeface="Arial" charset="0"/>
                  </a:rPr>
                  <a:t>Distribution Partner</a:t>
                </a:r>
                <a:endPar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268" name="Rectangle 4"/>
              <p:cNvSpPr>
                <a:spLocks noChangeArrowheads="1"/>
              </p:cNvSpPr>
              <p:nvPr/>
            </p:nvSpPr>
            <p:spPr bwMode="auto">
              <a:xfrm>
                <a:off x="583601" y="5381293"/>
                <a:ext cx="141288" cy="146050"/>
              </a:xfrm>
              <a:prstGeom prst="rect">
                <a:avLst/>
              </a:prstGeom>
              <a:solidFill>
                <a:schemeClr val="tx2">
                  <a:lumMod val="50000"/>
                </a:schemeClr>
              </a:solidFill>
              <a:ln>
                <a:noFill/>
              </a:ln>
              <a:effectLst>
                <a:outerShdw dist="35921" dir="27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grpSp>
        <p:grpSp>
          <p:nvGrpSpPr>
            <p:cNvPr id="270" name="Group 6"/>
            <p:cNvGrpSpPr>
              <a:grpSpLocks/>
            </p:cNvGrpSpPr>
            <p:nvPr/>
          </p:nvGrpSpPr>
          <p:grpSpPr bwMode="auto">
            <a:xfrm>
              <a:off x="583598" y="5162591"/>
              <a:ext cx="1166809" cy="153988"/>
              <a:chOff x="303" y="3837"/>
              <a:chExt cx="735" cy="97"/>
            </a:xfrm>
          </p:grpSpPr>
          <p:sp>
            <p:nvSpPr>
              <p:cNvPr id="271" name="Rectangle 7"/>
              <p:cNvSpPr>
                <a:spLocks noChangeArrowheads="1"/>
              </p:cNvSpPr>
              <p:nvPr/>
            </p:nvSpPr>
            <p:spPr bwMode="auto">
              <a:xfrm>
                <a:off x="437" y="3837"/>
                <a:ext cx="60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7620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rPr>
                  <a:t>Area Sales Manager</a:t>
                </a:r>
              </a:p>
            </p:txBody>
          </p:sp>
          <p:sp>
            <p:nvSpPr>
              <p:cNvPr id="272" name="Rectangle 8"/>
              <p:cNvSpPr>
                <a:spLocks noChangeArrowheads="1"/>
              </p:cNvSpPr>
              <p:nvPr/>
            </p:nvSpPr>
            <p:spPr bwMode="auto">
              <a:xfrm>
                <a:off x="303" y="3839"/>
                <a:ext cx="89" cy="92"/>
              </a:xfrm>
              <a:prstGeom prst="rect">
                <a:avLst/>
              </a:prstGeom>
              <a:solidFill>
                <a:schemeClr val="tx2">
                  <a:lumMod val="40000"/>
                  <a:lumOff val="60000"/>
                </a:schemeClr>
              </a:solidFill>
              <a:ln>
                <a:noFill/>
              </a:ln>
              <a:effectLst>
                <a:outerShdw dist="35921" dir="2700000" algn="ctr" rotWithShape="0">
                  <a:srgbClr val="808080"/>
                </a:outerShdw>
              </a:effectLst>
              <a:extLst>
                <a:ext uri="{91240B29-F687-4F45-9708-019B960494DF}">
                  <a14:hiddenLine xmlns:a14="http://schemas.microsoft.com/office/drawing/2010/main" w="9525">
                    <a:solidFill>
                      <a:schemeClr val="tx1"/>
                    </a:solidFill>
                    <a:miter lim="800000"/>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grpSp>
        <p:grpSp>
          <p:nvGrpSpPr>
            <p:cNvPr id="273" name="Group 9"/>
            <p:cNvGrpSpPr>
              <a:grpSpLocks/>
            </p:cNvGrpSpPr>
            <p:nvPr/>
          </p:nvGrpSpPr>
          <p:grpSpPr bwMode="auto">
            <a:xfrm>
              <a:off x="583600" y="4938380"/>
              <a:ext cx="985841" cy="153988"/>
              <a:chOff x="303" y="3699"/>
              <a:chExt cx="621" cy="97"/>
            </a:xfrm>
          </p:grpSpPr>
          <p:sp>
            <p:nvSpPr>
              <p:cNvPr id="274" name="Rectangle 10"/>
              <p:cNvSpPr>
                <a:spLocks noChangeArrowheads="1"/>
              </p:cNvSpPr>
              <p:nvPr/>
            </p:nvSpPr>
            <p:spPr bwMode="auto">
              <a:xfrm>
                <a:off x="437" y="3699"/>
                <a:ext cx="487"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7620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rPr>
                  <a:t>HQ and affiliates</a:t>
                </a:r>
              </a:p>
            </p:txBody>
          </p:sp>
          <p:sp>
            <p:nvSpPr>
              <p:cNvPr id="275" name="Rectangle 11"/>
              <p:cNvSpPr>
                <a:spLocks noChangeArrowheads="1"/>
              </p:cNvSpPr>
              <p:nvPr/>
            </p:nvSpPr>
            <p:spPr bwMode="auto">
              <a:xfrm>
                <a:off x="303" y="3701"/>
                <a:ext cx="89" cy="92"/>
              </a:xfrm>
              <a:prstGeom prst="rect">
                <a:avLst/>
              </a:prstGeom>
              <a:solidFill>
                <a:schemeClr val="tx2"/>
              </a:solidFill>
              <a:ln>
                <a:noFill/>
              </a:ln>
              <a:effectLst>
                <a:outerShdw dist="35921" dir="27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grpSp>
        <p:grpSp>
          <p:nvGrpSpPr>
            <p:cNvPr id="277" name="Group 276"/>
            <p:cNvGrpSpPr/>
            <p:nvPr/>
          </p:nvGrpSpPr>
          <p:grpSpPr>
            <a:xfrm>
              <a:off x="583601" y="5611062"/>
              <a:ext cx="994991" cy="153888"/>
              <a:chOff x="583601" y="5378168"/>
              <a:chExt cx="994991" cy="153888"/>
            </a:xfrm>
          </p:grpSpPr>
          <p:sp>
            <p:nvSpPr>
              <p:cNvPr id="278" name="Rectangle 3"/>
              <p:cNvSpPr>
                <a:spLocks noChangeArrowheads="1"/>
              </p:cNvSpPr>
              <p:nvPr/>
            </p:nvSpPr>
            <p:spPr bwMode="auto">
              <a:xfrm>
                <a:off x="796327" y="5378168"/>
                <a:ext cx="78226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7620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rPr>
                  <a:t>Rest of the world</a:t>
                </a:r>
              </a:p>
            </p:txBody>
          </p:sp>
          <p:sp>
            <p:nvSpPr>
              <p:cNvPr id="279" name="Rectangle 4"/>
              <p:cNvSpPr>
                <a:spLocks noChangeArrowheads="1"/>
              </p:cNvSpPr>
              <p:nvPr/>
            </p:nvSpPr>
            <p:spPr bwMode="auto">
              <a:xfrm>
                <a:off x="583601" y="5381293"/>
                <a:ext cx="141288" cy="146050"/>
              </a:xfrm>
              <a:prstGeom prst="rect">
                <a:avLst/>
              </a:prstGeom>
              <a:solidFill>
                <a:schemeClr val="accent1"/>
              </a:solidFill>
              <a:ln>
                <a:noFill/>
              </a:ln>
              <a:effectLst>
                <a:outerShdw dist="35921" dir="27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grpSp>
      </p:grpSp>
      <p:sp>
        <p:nvSpPr>
          <p:cNvPr id="3" name="Oval 2"/>
          <p:cNvSpPr>
            <a:spLocks noChangeAspect="1"/>
          </p:cNvSpPr>
          <p:nvPr/>
        </p:nvSpPr>
        <p:spPr>
          <a:xfrm>
            <a:off x="9051844" y="3126220"/>
            <a:ext cx="27432" cy="27432"/>
          </a:xfrm>
          <a:prstGeom prst="ellipse">
            <a:avLst/>
          </a:prstGeom>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280" name="Oval 279"/>
          <p:cNvSpPr>
            <a:spLocks noChangeAspect="1"/>
          </p:cNvSpPr>
          <p:nvPr/>
        </p:nvSpPr>
        <p:spPr>
          <a:xfrm>
            <a:off x="8767688" y="3119381"/>
            <a:ext cx="27432" cy="27432"/>
          </a:xfrm>
          <a:prstGeom prst="ellipse">
            <a:avLst/>
          </a:prstGeom>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281" name="TextBox 280"/>
          <p:cNvSpPr txBox="1"/>
          <p:nvPr/>
        </p:nvSpPr>
        <p:spPr>
          <a:xfrm>
            <a:off x="8753006" y="2852937"/>
            <a:ext cx="1231427"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rPr>
              <a:t>Sensirion Korea</a:t>
            </a:r>
            <a:endParaRPr kumimoji="0" lang="en-US"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endParaRPr>
          </a:p>
        </p:txBody>
      </p:sp>
      <p:grpSp>
        <p:nvGrpSpPr>
          <p:cNvPr id="265" name="Gruppieren 264"/>
          <p:cNvGrpSpPr/>
          <p:nvPr/>
        </p:nvGrpSpPr>
        <p:grpSpPr>
          <a:xfrm>
            <a:off x="1997951" y="2738360"/>
            <a:ext cx="1138360" cy="523220"/>
            <a:chOff x="473951" y="2738360"/>
            <a:chExt cx="1138360" cy="523220"/>
          </a:xfrm>
        </p:grpSpPr>
        <p:sp>
          <p:nvSpPr>
            <p:cNvPr id="286" name="Oval 285"/>
            <p:cNvSpPr>
              <a:spLocks noChangeAspect="1"/>
            </p:cNvSpPr>
            <p:nvPr/>
          </p:nvSpPr>
          <p:spPr>
            <a:xfrm>
              <a:off x="1584879" y="3139936"/>
              <a:ext cx="27432" cy="27432"/>
            </a:xfrm>
            <a:prstGeom prst="ellipse">
              <a:avLst/>
            </a:prstGeom>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287" name="TextBox 286"/>
            <p:cNvSpPr txBox="1"/>
            <p:nvPr/>
          </p:nvSpPr>
          <p:spPr>
            <a:xfrm>
              <a:off x="473951" y="2738360"/>
              <a:ext cx="1119153" cy="523220"/>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rPr>
                <a:t>Sensirion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rPr>
                <a:t>North America</a:t>
              </a:r>
            </a:p>
          </p:txBody>
        </p:sp>
      </p:grpSp>
      <p:grpSp>
        <p:nvGrpSpPr>
          <p:cNvPr id="269" name="Gruppieren 268"/>
          <p:cNvGrpSpPr/>
          <p:nvPr/>
        </p:nvGrpSpPr>
        <p:grpSpPr>
          <a:xfrm>
            <a:off x="4799857" y="2689176"/>
            <a:ext cx="1261497" cy="307777"/>
            <a:chOff x="3275856" y="2689175"/>
            <a:chExt cx="1261497" cy="307777"/>
          </a:xfrm>
        </p:grpSpPr>
        <p:sp>
          <p:nvSpPr>
            <p:cNvPr id="284" name="Oval 283"/>
            <p:cNvSpPr>
              <a:spLocks noChangeAspect="1"/>
            </p:cNvSpPr>
            <p:nvPr/>
          </p:nvSpPr>
          <p:spPr>
            <a:xfrm>
              <a:off x="4509921" y="2810853"/>
              <a:ext cx="27432" cy="27432"/>
            </a:xfrm>
            <a:prstGeom prst="ellipse">
              <a:avLst/>
            </a:prstGeom>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285" name="TextBox 284"/>
            <p:cNvSpPr txBox="1"/>
            <p:nvPr/>
          </p:nvSpPr>
          <p:spPr>
            <a:xfrm>
              <a:off x="3275856" y="2689175"/>
              <a:ext cx="1058303"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rPr>
                <a:t>Sensirion HQ</a:t>
              </a:r>
              <a:endParaRPr kumimoji="0" lang="en-US"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endParaRPr>
            </a:p>
          </p:txBody>
        </p:sp>
      </p:grpSp>
      <p:grpSp>
        <p:nvGrpSpPr>
          <p:cNvPr id="276" name="Gruppieren 275"/>
          <p:cNvGrpSpPr/>
          <p:nvPr/>
        </p:nvGrpSpPr>
        <p:grpSpPr>
          <a:xfrm>
            <a:off x="8400257" y="3429001"/>
            <a:ext cx="1221809" cy="307777"/>
            <a:chOff x="6876256" y="3429000"/>
            <a:chExt cx="1221809" cy="307777"/>
          </a:xfrm>
        </p:grpSpPr>
        <p:sp>
          <p:nvSpPr>
            <p:cNvPr id="282" name="Oval 281"/>
            <p:cNvSpPr>
              <a:spLocks noChangeAspect="1"/>
            </p:cNvSpPr>
            <p:nvPr/>
          </p:nvSpPr>
          <p:spPr>
            <a:xfrm>
              <a:off x="6963804" y="3462366"/>
              <a:ext cx="27432" cy="27432"/>
            </a:xfrm>
            <a:prstGeom prst="ellipse">
              <a:avLst/>
            </a:prstGeom>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283" name="TextBox 282"/>
            <p:cNvSpPr txBox="1"/>
            <p:nvPr/>
          </p:nvSpPr>
          <p:spPr>
            <a:xfrm>
              <a:off x="6876256" y="3429000"/>
              <a:ext cx="1221809"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rPr>
                <a:t>Sensirion China</a:t>
              </a:r>
              <a:endParaRPr kumimoji="0" lang="en-US" sz="1400" b="0" i="0" u="none" strike="noStrike" kern="1200" cap="none" spc="0" normalizeH="0" baseline="0" noProof="0">
                <a:ln>
                  <a:noFill/>
                </a:ln>
                <a:solidFill>
                  <a:srgbClr val="93CB78">
                    <a:lumMod val="50000"/>
                  </a:srgbClr>
                </a:solidFill>
                <a:effectLst/>
                <a:uLnTx/>
                <a:uFillTx/>
                <a:latin typeface="Arial Narrow" pitchFamily="34" charset="0"/>
                <a:ea typeface="+mn-ea"/>
                <a:cs typeface="Arial" charset="0"/>
              </a:endParaRPr>
            </a:p>
          </p:txBody>
        </p:sp>
      </p:grpSp>
    </p:spTree>
    <p:extLst>
      <p:ext uri="{BB962C8B-B14F-4D97-AF65-F5344CB8AC3E}">
        <p14:creationId xmlns:p14="http://schemas.microsoft.com/office/powerpoint/2010/main" val="360554055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Sensirion Registration Program</a:t>
            </a:r>
          </a:p>
        </p:txBody>
      </p:sp>
      <p:sp>
        <p:nvSpPr>
          <p:cNvPr id="3" name="Inhaltsplatzhalter 2"/>
          <p:cNvSpPr>
            <a:spLocks noGrp="1"/>
          </p:cNvSpPr>
          <p:nvPr>
            <p:ph idx="1"/>
          </p:nvPr>
        </p:nvSpPr>
        <p:spPr>
          <a:xfrm>
            <a:off x="2029620" y="1270000"/>
            <a:ext cx="3994944" cy="4318000"/>
          </a:xfrm>
        </p:spPr>
        <p:txBody>
          <a:bodyPr vert="horz" lIns="0" tIns="0" rIns="91440" bIns="0" rtlCol="0" anchor="t">
            <a:noAutofit/>
          </a:bodyPr>
          <a:lstStyle/>
          <a:p>
            <a:pPr>
              <a:spcBef>
                <a:spcPts val="1100"/>
              </a:spcBef>
              <a:spcAft>
                <a:spcPct val="0"/>
              </a:spcAft>
              <a:buClr>
                <a:srgbClr val="7B7373"/>
              </a:buClr>
              <a:buFont typeface="Arial" panose="020B0604020202020204" pitchFamily="34" charset="0"/>
              <a:buChar char="•"/>
            </a:pPr>
            <a:r>
              <a:rPr lang="en-US">
                <a:solidFill>
                  <a:srgbClr val="000000"/>
                </a:solidFill>
                <a:latin typeface="Arial Narrow"/>
                <a:cs typeface="Arial"/>
              </a:rPr>
              <a:t>All products on distribution price list are registerable</a:t>
            </a:r>
          </a:p>
          <a:p>
            <a:pPr marL="719455" lvl="2" indent="-215900">
              <a:buFont typeface="Arial" panose="020B0604020202020204" pitchFamily="34" charset="0"/>
              <a:buChar char="•"/>
            </a:pPr>
            <a:r>
              <a:rPr lang="en-US" sz="1800">
                <a:solidFill>
                  <a:schemeClr val="bg1">
                    <a:lumMod val="65000"/>
                  </a:schemeClr>
                </a:solidFill>
                <a:latin typeface="Arial Narrow"/>
                <a:cs typeface="Arial"/>
              </a:rPr>
              <a:t>excluding Evaluation Kits and Filter Caps and accessories</a:t>
            </a:r>
          </a:p>
          <a:p>
            <a:pPr>
              <a:spcBef>
                <a:spcPts val="1100"/>
              </a:spcBef>
              <a:spcAft>
                <a:spcPct val="0"/>
              </a:spcAft>
              <a:buClr>
                <a:srgbClr val="7B7373"/>
              </a:buClr>
              <a:buFont typeface="Arial" panose="020B0604020202020204" pitchFamily="34" charset="0"/>
              <a:buChar char="•"/>
            </a:pPr>
            <a:r>
              <a:rPr lang="en-US">
                <a:solidFill>
                  <a:srgbClr val="000000"/>
                </a:solidFill>
                <a:latin typeface="Arial Narrow"/>
                <a:cs typeface="Arial"/>
              </a:rPr>
              <a:t>Special Project Pricing provided on </a:t>
            </a:r>
            <a:r>
              <a:rPr lang="en-US" kern="1200">
                <a:solidFill>
                  <a:srgbClr val="000000"/>
                </a:solidFill>
                <a:latin typeface="Arial Narrow"/>
                <a:cs typeface="Arial"/>
              </a:rPr>
              <a:t>Distribution</a:t>
            </a:r>
            <a:r>
              <a:rPr lang="en-US">
                <a:solidFill>
                  <a:srgbClr val="000000"/>
                </a:solidFill>
                <a:latin typeface="Arial Narrow"/>
                <a:cs typeface="Arial"/>
              </a:rPr>
              <a:t> Price list</a:t>
            </a:r>
          </a:p>
          <a:p>
            <a:pPr marL="719455" lvl="2" indent="-215900">
              <a:buFont typeface="Arial" panose="020B0604020202020204" pitchFamily="34" charset="0"/>
              <a:buChar char="•"/>
              <a:tabLst/>
            </a:pPr>
            <a:r>
              <a:rPr lang="en-US" sz="1800">
                <a:solidFill>
                  <a:schemeClr val="bg1">
                    <a:lumMod val="65000"/>
                  </a:schemeClr>
                </a:solidFill>
                <a:latin typeface="Arial Narrow"/>
                <a:cs typeface="Arial"/>
              </a:rPr>
              <a:t>to be used once registration is approved</a:t>
            </a:r>
          </a:p>
          <a:p>
            <a:pPr>
              <a:spcBef>
                <a:spcPts val="1100"/>
              </a:spcBef>
              <a:spcAft>
                <a:spcPct val="0"/>
              </a:spcAft>
              <a:buClr>
                <a:srgbClr val="7B7373"/>
              </a:buClr>
              <a:buFont typeface="Arial" panose="020B0604020202020204" pitchFamily="34" charset="0"/>
              <a:buChar char="•"/>
            </a:pPr>
            <a:r>
              <a:rPr lang="en-US">
                <a:solidFill>
                  <a:srgbClr val="000000"/>
                </a:solidFill>
                <a:latin typeface="Arial Narrow"/>
                <a:cs typeface="Arial"/>
              </a:rPr>
              <a:t>Global Protection </a:t>
            </a:r>
            <a:endParaRPr lang="en-US">
              <a:solidFill>
                <a:srgbClr val="000000"/>
              </a:solidFill>
              <a:latin typeface="Arial Narrow" pitchFamily="34" charset="0"/>
              <a:cs typeface="Arial" charset="0"/>
            </a:endParaRPr>
          </a:p>
          <a:p>
            <a:pPr marL="596900" lvl="2" indent="-285750">
              <a:buFont typeface="Arial" panose="020B0604020202020204" pitchFamily="34" charset="0"/>
              <a:buChar char="•"/>
            </a:pPr>
            <a:r>
              <a:rPr lang="en-US" sz="1800">
                <a:solidFill>
                  <a:schemeClr val="bg1">
                    <a:lumMod val="65000"/>
                  </a:schemeClr>
                </a:solidFill>
                <a:latin typeface="Arial Narrow"/>
                <a:cs typeface="Arial"/>
              </a:rPr>
              <a:t>design location protected for out of territory purchases</a:t>
            </a:r>
          </a:p>
          <a:p>
            <a:pPr>
              <a:spcBef>
                <a:spcPts val="1100"/>
              </a:spcBef>
              <a:spcAft>
                <a:spcPct val="0"/>
              </a:spcAft>
              <a:buClr>
                <a:srgbClr val="7B7373"/>
              </a:buClr>
              <a:buFont typeface="Arial" panose="020B0604020202020204" pitchFamily="34" charset="0"/>
              <a:buChar char="•"/>
            </a:pPr>
            <a:r>
              <a:rPr lang="en-US">
                <a:solidFill>
                  <a:srgbClr val="000000"/>
                </a:solidFill>
                <a:latin typeface="Arial Narrow"/>
                <a:cs typeface="Arial"/>
              </a:rPr>
              <a:t>*$5k-$20k minimum value</a:t>
            </a:r>
          </a:p>
          <a:p>
            <a:r>
              <a:rPr lang="en-US" b="0">
                <a:latin typeface="Arial Narrow"/>
              </a:rPr>
              <a:t>*</a:t>
            </a:r>
            <a:r>
              <a:rPr lang="en-US">
                <a:latin typeface="Arial Narrow"/>
              </a:rPr>
              <a:t> </a:t>
            </a:r>
            <a:r>
              <a:rPr lang="en-US" sz="800" b="0">
                <a:latin typeface="Arial Narrow"/>
              </a:rPr>
              <a:t>May vary on modules and high volume runners</a:t>
            </a:r>
          </a:p>
        </p:txBody>
      </p:sp>
      <p:pic>
        <p:nvPicPr>
          <p:cNvPr id="7" name="Picture 7" descr="America Globe Free Stock Photo - Public Domain Pictures">
            <a:extLst>
              <a:ext uri="{FF2B5EF4-FFF2-40B4-BE49-F238E27FC236}">
                <a16:creationId xmlns:a16="http://schemas.microsoft.com/office/drawing/2014/main" id="{B1044ACE-6D0D-4C7D-AEAF-70D4D8AE85A0}"/>
              </a:ext>
            </a:extLst>
          </p:cNvPr>
          <p:cNvPicPr>
            <a:picLocks noChangeAspect="1"/>
          </p:cNvPicPr>
          <p:nvPr/>
        </p:nvPicPr>
        <p:blipFill>
          <a:blip r:embed="rId3"/>
          <a:stretch>
            <a:fillRect/>
          </a:stretch>
        </p:blipFill>
        <p:spPr>
          <a:xfrm>
            <a:off x="9029700" y="3584312"/>
            <a:ext cx="2285999" cy="2254776"/>
          </a:xfrm>
          <a:prstGeom prst="rect">
            <a:avLst/>
          </a:prstGeom>
        </p:spPr>
      </p:pic>
      <p:pic>
        <p:nvPicPr>
          <p:cNvPr id="8" name="Picture 8" descr="Logo&#10;&#10;Description automatically generated">
            <a:extLst>
              <a:ext uri="{FF2B5EF4-FFF2-40B4-BE49-F238E27FC236}">
                <a16:creationId xmlns:a16="http://schemas.microsoft.com/office/drawing/2014/main" id="{46ACFD86-5C74-4240-9E64-C2A5F43E4EC1}"/>
              </a:ext>
            </a:extLst>
          </p:cNvPr>
          <p:cNvPicPr>
            <a:picLocks noChangeAspect="1"/>
          </p:cNvPicPr>
          <p:nvPr/>
        </p:nvPicPr>
        <p:blipFill>
          <a:blip r:embed="rId4"/>
          <a:stretch>
            <a:fillRect/>
          </a:stretch>
        </p:blipFill>
        <p:spPr>
          <a:xfrm>
            <a:off x="8915400" y="1089025"/>
            <a:ext cx="2400300" cy="1746250"/>
          </a:xfrm>
          <a:prstGeom prst="rect">
            <a:avLst/>
          </a:prstGeom>
        </p:spPr>
      </p:pic>
    </p:spTree>
    <p:extLst>
      <p:ext uri="{BB962C8B-B14F-4D97-AF65-F5344CB8AC3E}">
        <p14:creationId xmlns:p14="http://schemas.microsoft.com/office/powerpoint/2010/main" val="2251697104"/>
      </p:ext>
    </p:extLst>
  </p:cSld>
  <p:clrMapOvr>
    <a:masterClrMapping/>
  </p:clrMapOvr>
  <mc:AlternateContent xmlns:mc="http://schemas.openxmlformats.org/markup-compatibility/2006">
    <mc:Choice xmlns:p14="http://schemas.microsoft.com/office/powerpoint/2010/main" Requires="p14">
      <p:transition spd="slow" p14:dur="2000" advTm="60052"/>
    </mc:Choice>
    <mc:Fallback>
      <p:transition spd="slow" advTm="60052"/>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y point of Contacts</a:t>
            </a:r>
          </a:p>
        </p:txBody>
      </p:sp>
      <p:sp>
        <p:nvSpPr>
          <p:cNvPr id="3" name="Content Placeholder 2"/>
          <p:cNvSpPr>
            <a:spLocks noGrp="1"/>
          </p:cNvSpPr>
          <p:nvPr>
            <p:ph idx="1"/>
          </p:nvPr>
        </p:nvSpPr>
        <p:spPr/>
        <p:txBody>
          <a:bodyPr vert="horz" lIns="0" tIns="0" rIns="91440" bIns="0" rtlCol="0" anchor="t">
            <a:noAutofit/>
          </a:bodyPr>
          <a:lstStyle/>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r>
              <a:rPr lang="en-US"/>
              <a:t>For any product support request, our primary point of contact is our helpline</a:t>
            </a:r>
          </a:p>
          <a:p>
            <a:pPr marL="1062355" lvl="2" indent="-342900"/>
            <a:r>
              <a:rPr lang="en-US">
                <a:latin typeface="Arial Narrow"/>
              </a:rPr>
              <a:t>Easily accessible through our webpage, or through email </a:t>
            </a:r>
            <a:r>
              <a:rPr lang="en-US">
                <a:latin typeface="Arial Narrow"/>
                <a:hlinkClick r:id="rId2"/>
              </a:rPr>
              <a:t>info.us@sensirion.com</a:t>
            </a:r>
            <a:r>
              <a:rPr lang="en-US">
                <a:latin typeface="Arial Narrow"/>
              </a:rPr>
              <a:t> </a:t>
            </a:r>
            <a:endParaRPr lang="en-US"/>
          </a:p>
          <a:p>
            <a:pPr marL="1062355" lvl="2" indent="-342900"/>
            <a:r>
              <a:rPr lang="en-US"/>
              <a:t>This inbox is handled by our FAE team, inquiries are reviewed daily</a:t>
            </a:r>
          </a:p>
          <a:p>
            <a:endParaRPr lang="en-US" b="1"/>
          </a:p>
          <a:p>
            <a:r>
              <a:rPr lang="en-US" b="1">
                <a:latin typeface="Arial Narrow"/>
              </a:rPr>
              <a:t>Please reach out if customers have any issues you can’t solve right away – we’re happy to help!</a:t>
            </a:r>
          </a:p>
        </p:txBody>
      </p:sp>
      <p:pic>
        <p:nvPicPr>
          <p:cNvPr id="4" name="Picture 4" descr="Graphical user interface, text&#10;&#10;Description automatically generated">
            <a:extLst>
              <a:ext uri="{FF2B5EF4-FFF2-40B4-BE49-F238E27FC236}">
                <a16:creationId xmlns:a16="http://schemas.microsoft.com/office/drawing/2014/main" id="{5F0ADC7F-EAB4-4924-9D73-9F31A7C574F2}"/>
              </a:ext>
            </a:extLst>
          </p:cNvPr>
          <p:cNvPicPr>
            <a:picLocks noChangeAspect="1"/>
          </p:cNvPicPr>
          <p:nvPr/>
        </p:nvPicPr>
        <p:blipFill>
          <a:blip r:embed="rId3"/>
          <a:stretch>
            <a:fillRect/>
          </a:stretch>
        </p:blipFill>
        <p:spPr>
          <a:xfrm>
            <a:off x="842514" y="1173013"/>
            <a:ext cx="6193765" cy="2836533"/>
          </a:xfrm>
          <a:prstGeom prst="rect">
            <a:avLst/>
          </a:prstGeom>
        </p:spPr>
      </p:pic>
    </p:spTree>
    <p:extLst>
      <p:ext uri="{BB962C8B-B14F-4D97-AF65-F5344CB8AC3E}">
        <p14:creationId xmlns:p14="http://schemas.microsoft.com/office/powerpoint/2010/main" val="167295576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717173" y="979390"/>
            <a:ext cx="2774451" cy="1415772"/>
          </a:xfrm>
          <a:prstGeom prst="rect">
            <a:avLst/>
          </a:prstGeom>
          <a:noFill/>
        </p:spPr>
        <p:txBody>
          <a:bodyPr wrap="square" rtlCol="0">
            <a:spAutoFit/>
          </a:bodyPr>
          <a:lstStyle/>
          <a:p>
            <a:r>
              <a:rPr lang="en-US" sz="1400" b="1" dirty="0"/>
              <a:t>MEL FOSTER </a:t>
            </a:r>
          </a:p>
          <a:p>
            <a:r>
              <a:rPr lang="en-US" sz="1200" b="1" dirty="0"/>
              <a:t>RSM: Gary McNelly</a:t>
            </a:r>
          </a:p>
          <a:p>
            <a:r>
              <a:rPr lang="en-US" sz="1200" dirty="0"/>
              <a:t>Primary Rep Contact: Kristine Hall </a:t>
            </a:r>
          </a:p>
          <a:p>
            <a:endParaRPr lang="en-US" sz="1200" dirty="0"/>
          </a:p>
          <a:p>
            <a:r>
              <a:rPr lang="en-US" sz="1200" dirty="0"/>
              <a:t>Territory: IA, IL (612xx), MN, ND, NE, SD, W. WI (</a:t>
            </a:r>
            <a:r>
              <a:rPr lang="de-DE" sz="1200" dirty="0" err="1"/>
              <a:t>zip</a:t>
            </a:r>
            <a:r>
              <a:rPr lang="de-DE" sz="1200" dirty="0"/>
              <a:t> </a:t>
            </a:r>
            <a:r>
              <a:rPr lang="de-DE" sz="1200" dirty="0" err="1"/>
              <a:t>codes</a:t>
            </a:r>
            <a:r>
              <a:rPr lang="de-DE" sz="1200" dirty="0"/>
              <a:t> 540XX, 546XX, 547XX, 548XX)</a:t>
            </a:r>
            <a:endParaRPr lang="en-US" sz="1200" dirty="0"/>
          </a:p>
          <a:p>
            <a:endParaRPr lang="de-CH" sz="1200" dirty="0"/>
          </a:p>
        </p:txBody>
      </p:sp>
      <p:pic>
        <p:nvPicPr>
          <p:cNvPr id="70" name="Content Placeholder 69"/>
          <p:cNvPicPr>
            <a:picLocks noGrp="1" noChangeAspect="1"/>
          </p:cNvPicPr>
          <p:nvPr>
            <p:ph sz="quarter" idx="4294967295"/>
          </p:nvPr>
        </p:nvPicPr>
        <p:blipFill>
          <a:blip r:embed="rId61">
            <a:clrChange>
              <a:clrFrom>
                <a:srgbClr val="FFFFFF"/>
              </a:clrFrom>
              <a:clrTo>
                <a:srgbClr val="FFFFFF">
                  <a:alpha val="0"/>
                </a:srgbClr>
              </a:clrTo>
            </a:clrChange>
          </a:blip>
          <a:stretch>
            <a:fillRect/>
          </a:stretch>
        </p:blipFill>
        <p:spPr>
          <a:xfrm>
            <a:off x="4934827" y="603004"/>
            <a:ext cx="1349375" cy="577850"/>
          </a:xfrm>
          <a:prstGeom prst="rect">
            <a:avLst/>
          </a:prstGeom>
        </p:spPr>
      </p:pic>
      <p:sp>
        <p:nvSpPr>
          <p:cNvPr id="2" name="Title 1"/>
          <p:cNvSpPr>
            <a:spLocks noGrp="1"/>
          </p:cNvSpPr>
          <p:nvPr>
            <p:ph type="title" idx="4294967295"/>
          </p:nvPr>
        </p:nvSpPr>
        <p:spPr>
          <a:xfrm>
            <a:off x="258032" y="-21223"/>
            <a:ext cx="10844212" cy="647700"/>
          </a:xfrm>
        </p:spPr>
        <p:txBody>
          <a:bodyPr/>
          <a:lstStyle/>
          <a:p>
            <a:r>
              <a:rPr lang="en-US" dirty="0"/>
              <a:t>Sensirion US Rep Map</a:t>
            </a:r>
          </a:p>
        </p:txBody>
      </p:sp>
      <p:sp>
        <p:nvSpPr>
          <p:cNvPr id="77" name="TextBox 76"/>
          <p:cNvSpPr txBox="1"/>
          <p:nvPr/>
        </p:nvSpPr>
        <p:spPr>
          <a:xfrm>
            <a:off x="74960" y="793272"/>
            <a:ext cx="3114557" cy="4001095"/>
          </a:xfrm>
          <a:prstGeom prst="rect">
            <a:avLst/>
          </a:prstGeom>
          <a:noFill/>
        </p:spPr>
        <p:txBody>
          <a:bodyPr wrap="square" rtlCol="0">
            <a:spAutoFit/>
          </a:bodyPr>
          <a:lstStyle/>
          <a:p>
            <a:r>
              <a:rPr lang="en-US" sz="1400" b="1" dirty="0"/>
              <a:t>Primary Luscombe Contact: Mike Schunk</a:t>
            </a:r>
          </a:p>
          <a:p>
            <a:r>
              <a:rPr lang="en-US" sz="1400" b="1" dirty="0"/>
              <a:t>RSM: Frank D’Aliesio</a:t>
            </a:r>
          </a:p>
          <a:p>
            <a:endParaRPr lang="en-US" sz="1400" b="1" dirty="0"/>
          </a:p>
          <a:p>
            <a:r>
              <a:rPr lang="en-US" sz="1400" b="1" dirty="0"/>
              <a:t>LUSCOMBE PNW</a:t>
            </a:r>
          </a:p>
          <a:p>
            <a:r>
              <a:rPr lang="en-US" sz="1200" dirty="0"/>
              <a:t>Primary Rep Contact: Tom Herbst</a:t>
            </a:r>
          </a:p>
          <a:p>
            <a:r>
              <a:rPr lang="en-US" sz="1200" dirty="0"/>
              <a:t>Territory: OR, WA, MT, ID, BC Canada </a:t>
            </a:r>
          </a:p>
          <a:p>
            <a:endParaRPr lang="en-US" sz="1200" dirty="0"/>
          </a:p>
          <a:p>
            <a:r>
              <a:rPr lang="en-US" sz="1400" b="1" dirty="0"/>
              <a:t>LUSCOMBE ENGINEERING</a:t>
            </a:r>
          </a:p>
          <a:p>
            <a:r>
              <a:rPr lang="en-US" sz="1200" dirty="0"/>
              <a:t>Primary Rep Contact: Michael McCaig</a:t>
            </a:r>
          </a:p>
          <a:p>
            <a:r>
              <a:rPr lang="en-US" sz="1200" dirty="0"/>
              <a:t>Territory:  S. CA (zip codes: 90000 – 93599) </a:t>
            </a:r>
          </a:p>
          <a:p>
            <a:endParaRPr lang="en-US" sz="1200" dirty="0"/>
          </a:p>
          <a:p>
            <a:r>
              <a:rPr lang="en-US" sz="1400" b="1" dirty="0"/>
              <a:t>L2</a:t>
            </a:r>
          </a:p>
          <a:p>
            <a:r>
              <a:rPr lang="en-US" sz="1200" dirty="0"/>
              <a:t>Primary Rep Contact: Dave Henderson</a:t>
            </a:r>
          </a:p>
          <a:p>
            <a:r>
              <a:rPr lang="en-US" sz="1200" dirty="0"/>
              <a:t>Territory:  N. CA (zip codes: 93600 – 96162), </a:t>
            </a:r>
          </a:p>
          <a:p>
            <a:r>
              <a:rPr lang="en-US" sz="1200" dirty="0"/>
              <a:t>NV (89400 – 89883) </a:t>
            </a:r>
          </a:p>
          <a:p>
            <a:endParaRPr lang="en-US" sz="1200" dirty="0"/>
          </a:p>
          <a:p>
            <a:r>
              <a:rPr lang="en-US" sz="1400" b="1" dirty="0"/>
              <a:t>Spectrum</a:t>
            </a:r>
          </a:p>
          <a:p>
            <a:r>
              <a:rPr lang="en-US" sz="1200" dirty="0"/>
              <a:t>Primary Rep Contact: Josh Fontes</a:t>
            </a:r>
          </a:p>
          <a:p>
            <a:r>
              <a:rPr lang="en-US" sz="1200" dirty="0"/>
              <a:t>Territory: AZ, NM, S. NV (zip codes: 890xx-891xx), CO (zip codes: 79901-79999)</a:t>
            </a:r>
            <a:endParaRPr lang="de-CH" sz="1200" dirty="0"/>
          </a:p>
        </p:txBody>
      </p:sp>
      <p:grpSp>
        <p:nvGrpSpPr>
          <p:cNvPr id="141" name="Gruppieren 4"/>
          <p:cNvGrpSpPr>
            <a:grpSpLocks noChangeAspect="1"/>
          </p:cNvGrpSpPr>
          <p:nvPr/>
        </p:nvGrpSpPr>
        <p:grpSpPr>
          <a:xfrm>
            <a:off x="2750689" y="2089928"/>
            <a:ext cx="6186107" cy="3947592"/>
            <a:chOff x="665481" y="1969321"/>
            <a:chExt cx="4152038" cy="2649574"/>
          </a:xfrm>
          <a:solidFill>
            <a:srgbClr val="66CC33"/>
          </a:solidFill>
        </p:grpSpPr>
        <p:sp>
          <p:nvSpPr>
            <p:cNvPr id="142" name="Freeform 392"/>
            <p:cNvSpPr>
              <a:spLocks/>
            </p:cNvSpPr>
            <p:nvPr>
              <p:custDataLst>
                <p:tags r:id="rId1"/>
              </p:custDataLst>
            </p:nvPr>
          </p:nvSpPr>
          <p:spPr bwMode="auto">
            <a:xfrm>
              <a:off x="4532001" y="2140089"/>
              <a:ext cx="285518" cy="464276"/>
            </a:xfrm>
            <a:custGeom>
              <a:avLst/>
              <a:gdLst>
                <a:gd name="T0" fmla="*/ 2147483647 w 143"/>
                <a:gd name="T1" fmla="*/ 2147483647 h 232"/>
                <a:gd name="T2" fmla="*/ 2147483647 w 143"/>
                <a:gd name="T3" fmla="*/ 2147483647 h 232"/>
                <a:gd name="T4" fmla="*/ 2147483647 w 143"/>
                <a:gd name="T5" fmla="*/ 2147483647 h 232"/>
                <a:gd name="T6" fmla="*/ 2147483647 w 143"/>
                <a:gd name="T7" fmla="*/ 2147483647 h 232"/>
                <a:gd name="T8" fmla="*/ 2147483647 w 143"/>
                <a:gd name="T9" fmla="*/ 2147483647 h 232"/>
                <a:gd name="T10" fmla="*/ 2147483647 w 143"/>
                <a:gd name="T11" fmla="*/ 2147483647 h 232"/>
                <a:gd name="T12" fmla="*/ 2147483647 w 143"/>
                <a:gd name="T13" fmla="*/ 2147483647 h 232"/>
                <a:gd name="T14" fmla="*/ 2147483647 w 143"/>
                <a:gd name="T15" fmla="*/ 2147483647 h 232"/>
                <a:gd name="T16" fmla="*/ 2147483647 w 143"/>
                <a:gd name="T17" fmla="*/ 2147483647 h 232"/>
                <a:gd name="T18" fmla="*/ 2147483647 w 143"/>
                <a:gd name="T19" fmla="*/ 2147483647 h 232"/>
                <a:gd name="T20" fmla="*/ 2147483647 w 143"/>
                <a:gd name="T21" fmla="*/ 2147483647 h 232"/>
                <a:gd name="T22" fmla="*/ 2147483647 w 143"/>
                <a:gd name="T23" fmla="*/ 2147483647 h 232"/>
                <a:gd name="T24" fmla="*/ 1676242166 w 143"/>
                <a:gd name="T25" fmla="*/ 2147483647 h 232"/>
                <a:gd name="T26" fmla="*/ 0 w 143"/>
                <a:gd name="T27" fmla="*/ 2147483647 h 232"/>
                <a:gd name="T28" fmla="*/ 1676242166 w 143"/>
                <a:gd name="T29" fmla="*/ 2147483647 h 232"/>
                <a:gd name="T30" fmla="*/ 2147483647 w 143"/>
                <a:gd name="T31" fmla="*/ 2147483647 h 232"/>
                <a:gd name="T32" fmla="*/ 2147483647 w 143"/>
                <a:gd name="T33" fmla="*/ 2147483647 h 232"/>
                <a:gd name="T34" fmla="*/ 2147483647 w 143"/>
                <a:gd name="T35" fmla="*/ 2147483647 h 232"/>
                <a:gd name="T36" fmla="*/ 2147483647 w 143"/>
                <a:gd name="T37" fmla="*/ 2147483647 h 232"/>
                <a:gd name="T38" fmla="*/ 2147483647 w 143"/>
                <a:gd name="T39" fmla="*/ 2147483647 h 232"/>
                <a:gd name="T40" fmla="*/ 2147483647 w 143"/>
                <a:gd name="T41" fmla="*/ 2147483647 h 232"/>
                <a:gd name="T42" fmla="*/ 2147483647 w 143"/>
                <a:gd name="T43" fmla="*/ 2147483647 h 232"/>
                <a:gd name="T44" fmla="*/ 2147483647 w 143"/>
                <a:gd name="T45" fmla="*/ 2147483647 h 232"/>
                <a:gd name="T46" fmla="*/ 2147483647 w 143"/>
                <a:gd name="T47" fmla="*/ 2147483647 h 232"/>
                <a:gd name="T48" fmla="*/ 2147483647 w 143"/>
                <a:gd name="T49" fmla="*/ 2147483647 h 2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232"/>
                <a:gd name="T77" fmla="*/ 143 w 143"/>
                <a:gd name="T78" fmla="*/ 232 h 2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232">
                  <a:moveTo>
                    <a:pt x="120" y="96"/>
                  </a:moveTo>
                  <a:cubicBezTo>
                    <a:pt x="123" y="97"/>
                    <a:pt x="143" y="109"/>
                    <a:pt x="143" y="114"/>
                  </a:cubicBezTo>
                  <a:cubicBezTo>
                    <a:pt x="142" y="121"/>
                    <a:pt x="116" y="142"/>
                    <a:pt x="110" y="149"/>
                  </a:cubicBezTo>
                  <a:cubicBezTo>
                    <a:pt x="104" y="155"/>
                    <a:pt x="102" y="160"/>
                    <a:pt x="96" y="161"/>
                  </a:cubicBezTo>
                  <a:cubicBezTo>
                    <a:pt x="91" y="163"/>
                    <a:pt x="89" y="149"/>
                    <a:pt x="87" y="147"/>
                  </a:cubicBezTo>
                  <a:cubicBezTo>
                    <a:pt x="85" y="146"/>
                    <a:pt x="84" y="149"/>
                    <a:pt x="81" y="152"/>
                  </a:cubicBezTo>
                  <a:cubicBezTo>
                    <a:pt x="78" y="155"/>
                    <a:pt x="84" y="170"/>
                    <a:pt x="84" y="174"/>
                  </a:cubicBezTo>
                  <a:cubicBezTo>
                    <a:pt x="84" y="179"/>
                    <a:pt x="66" y="192"/>
                    <a:pt x="64" y="196"/>
                  </a:cubicBezTo>
                  <a:cubicBezTo>
                    <a:pt x="61" y="200"/>
                    <a:pt x="56" y="192"/>
                    <a:pt x="50" y="196"/>
                  </a:cubicBezTo>
                  <a:cubicBezTo>
                    <a:pt x="47" y="199"/>
                    <a:pt x="44" y="218"/>
                    <a:pt x="43" y="232"/>
                  </a:cubicBezTo>
                  <a:cubicBezTo>
                    <a:pt x="32" y="228"/>
                    <a:pt x="32" y="228"/>
                    <a:pt x="32" y="228"/>
                  </a:cubicBezTo>
                  <a:cubicBezTo>
                    <a:pt x="30" y="226"/>
                    <a:pt x="28" y="226"/>
                    <a:pt x="27" y="221"/>
                  </a:cubicBezTo>
                  <a:cubicBezTo>
                    <a:pt x="26" y="217"/>
                    <a:pt x="2" y="140"/>
                    <a:pt x="2" y="140"/>
                  </a:cubicBezTo>
                  <a:cubicBezTo>
                    <a:pt x="0" y="131"/>
                    <a:pt x="0" y="131"/>
                    <a:pt x="0" y="131"/>
                  </a:cubicBezTo>
                  <a:cubicBezTo>
                    <a:pt x="4" y="131"/>
                    <a:pt x="7" y="130"/>
                    <a:pt x="7" y="125"/>
                  </a:cubicBezTo>
                  <a:cubicBezTo>
                    <a:pt x="7" y="118"/>
                    <a:pt x="14" y="107"/>
                    <a:pt x="13" y="90"/>
                  </a:cubicBezTo>
                  <a:cubicBezTo>
                    <a:pt x="12" y="74"/>
                    <a:pt x="10" y="62"/>
                    <a:pt x="12" y="55"/>
                  </a:cubicBezTo>
                  <a:cubicBezTo>
                    <a:pt x="15" y="49"/>
                    <a:pt x="20" y="7"/>
                    <a:pt x="27" y="7"/>
                  </a:cubicBezTo>
                  <a:cubicBezTo>
                    <a:pt x="35" y="7"/>
                    <a:pt x="40" y="6"/>
                    <a:pt x="40" y="9"/>
                  </a:cubicBezTo>
                  <a:cubicBezTo>
                    <a:pt x="40" y="12"/>
                    <a:pt x="43" y="17"/>
                    <a:pt x="50" y="13"/>
                  </a:cubicBezTo>
                  <a:cubicBezTo>
                    <a:pt x="56" y="10"/>
                    <a:pt x="59" y="0"/>
                    <a:pt x="65" y="5"/>
                  </a:cubicBezTo>
                  <a:cubicBezTo>
                    <a:pt x="72" y="10"/>
                    <a:pt x="84" y="35"/>
                    <a:pt x="87" y="41"/>
                  </a:cubicBezTo>
                  <a:cubicBezTo>
                    <a:pt x="90" y="46"/>
                    <a:pt x="94" y="75"/>
                    <a:pt x="99" y="76"/>
                  </a:cubicBezTo>
                  <a:cubicBezTo>
                    <a:pt x="104" y="77"/>
                    <a:pt x="115" y="75"/>
                    <a:pt x="115" y="82"/>
                  </a:cubicBezTo>
                  <a:cubicBezTo>
                    <a:pt x="115" y="89"/>
                    <a:pt x="116" y="94"/>
                    <a:pt x="120" y="96"/>
                  </a:cubicBezTo>
                  <a:close/>
                </a:path>
              </a:pathLst>
            </a:custGeom>
            <a:solidFill>
              <a:srgbClr val="FF99CC"/>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99CC"/>
                </a:solidFill>
                <a:effectLst/>
                <a:uLnTx/>
                <a:uFillTx/>
              </a:endParaRPr>
            </a:p>
          </p:txBody>
        </p:sp>
        <p:sp>
          <p:nvSpPr>
            <p:cNvPr id="143" name="Freeform 393"/>
            <p:cNvSpPr>
              <a:spLocks/>
            </p:cNvSpPr>
            <p:nvPr>
              <p:custDataLst>
                <p:tags r:id="rId2"/>
              </p:custDataLst>
            </p:nvPr>
          </p:nvSpPr>
          <p:spPr bwMode="auto">
            <a:xfrm>
              <a:off x="4443942" y="2633717"/>
              <a:ext cx="272177" cy="152089"/>
            </a:xfrm>
            <a:custGeom>
              <a:avLst/>
              <a:gdLst>
                <a:gd name="T0" fmla="*/ 2147483647 w 136"/>
                <a:gd name="T1" fmla="*/ 2147483647 h 77"/>
                <a:gd name="T2" fmla="*/ 2147483647 w 136"/>
                <a:gd name="T3" fmla="*/ 2147483647 h 77"/>
                <a:gd name="T4" fmla="*/ 2147483647 w 136"/>
                <a:gd name="T5" fmla="*/ 2147483647 h 77"/>
                <a:gd name="T6" fmla="*/ 2147483647 w 136"/>
                <a:gd name="T7" fmla="*/ 2147483647 h 77"/>
                <a:gd name="T8" fmla="*/ 2147483647 w 136"/>
                <a:gd name="T9" fmla="*/ 2147483647 h 77"/>
                <a:gd name="T10" fmla="*/ 2147483647 w 136"/>
                <a:gd name="T11" fmla="*/ 2147483647 h 77"/>
                <a:gd name="T12" fmla="*/ 2147483647 w 136"/>
                <a:gd name="T13" fmla="*/ 2147483647 h 77"/>
                <a:gd name="T14" fmla="*/ 2147483647 w 136"/>
                <a:gd name="T15" fmla="*/ 2147483647 h 77"/>
                <a:gd name="T16" fmla="*/ 2147483647 w 136"/>
                <a:gd name="T17" fmla="*/ 2147483647 h 77"/>
                <a:gd name="T18" fmla="*/ 2147483647 w 136"/>
                <a:gd name="T19" fmla="*/ 2147483647 h 77"/>
                <a:gd name="T20" fmla="*/ 2147483647 w 136"/>
                <a:gd name="T21" fmla="*/ 2147483647 h 77"/>
                <a:gd name="T22" fmla="*/ 0 w 136"/>
                <a:gd name="T23" fmla="*/ 2147483647 h 77"/>
                <a:gd name="T24" fmla="*/ 0 w 136"/>
                <a:gd name="T25" fmla="*/ 2147483647 h 77"/>
                <a:gd name="T26" fmla="*/ 0 w 136"/>
                <a:gd name="T27" fmla="*/ 2147483647 h 77"/>
                <a:gd name="T28" fmla="*/ 2147483647 w 136"/>
                <a:gd name="T29" fmla="*/ 2147483647 h 77"/>
                <a:gd name="T30" fmla="*/ 2147483647 w 136"/>
                <a:gd name="T31" fmla="*/ 2147483647 h 77"/>
                <a:gd name="T32" fmla="*/ 2147483647 w 136"/>
                <a:gd name="T33" fmla="*/ 1622664591 h 77"/>
                <a:gd name="T34" fmla="*/ 2147483647 w 136"/>
                <a:gd name="T35" fmla="*/ 0 h 77"/>
                <a:gd name="T36" fmla="*/ 2147483647 w 136"/>
                <a:gd name="T37" fmla="*/ 1622664591 h 77"/>
                <a:gd name="T38" fmla="*/ 2147483647 w 136"/>
                <a:gd name="T39" fmla="*/ 2147483647 h 77"/>
                <a:gd name="T40" fmla="*/ 2147483647 w 136"/>
                <a:gd name="T41" fmla="*/ 2147483647 h 77"/>
                <a:gd name="T42" fmla="*/ 2147483647 w 136"/>
                <a:gd name="T43" fmla="*/ 2147483647 h 77"/>
                <a:gd name="T44" fmla="*/ 2147483647 w 136"/>
                <a:gd name="T45" fmla="*/ 2147483647 h 77"/>
                <a:gd name="T46" fmla="*/ 2147483647 w 136"/>
                <a:gd name="T47" fmla="*/ 2147483647 h 77"/>
                <a:gd name="T48" fmla="*/ 2147483647 w 136"/>
                <a:gd name="T49" fmla="*/ 2147483647 h 77"/>
                <a:gd name="T50" fmla="*/ 2147483647 w 136"/>
                <a:gd name="T51" fmla="*/ 2147483647 h 77"/>
                <a:gd name="T52" fmla="*/ 2147483647 w 136"/>
                <a:gd name="T53" fmla="*/ 2147483647 h 7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6"/>
                <a:gd name="T82" fmla="*/ 0 h 77"/>
                <a:gd name="T83" fmla="*/ 136 w 136"/>
                <a:gd name="T84" fmla="*/ 77 h 7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6" h="77">
                  <a:moveTo>
                    <a:pt x="131" y="39"/>
                  </a:moveTo>
                  <a:cubicBezTo>
                    <a:pt x="134" y="46"/>
                    <a:pt x="136" y="54"/>
                    <a:pt x="134" y="54"/>
                  </a:cubicBezTo>
                  <a:cubicBezTo>
                    <a:pt x="131" y="54"/>
                    <a:pt x="128" y="54"/>
                    <a:pt x="122" y="56"/>
                  </a:cubicBezTo>
                  <a:cubicBezTo>
                    <a:pt x="117" y="58"/>
                    <a:pt x="108" y="71"/>
                    <a:pt x="106" y="74"/>
                  </a:cubicBezTo>
                  <a:cubicBezTo>
                    <a:pt x="104" y="77"/>
                    <a:pt x="102" y="75"/>
                    <a:pt x="100" y="72"/>
                  </a:cubicBezTo>
                  <a:cubicBezTo>
                    <a:pt x="98" y="70"/>
                    <a:pt x="108" y="61"/>
                    <a:pt x="108" y="58"/>
                  </a:cubicBezTo>
                  <a:cubicBezTo>
                    <a:pt x="108" y="55"/>
                    <a:pt x="104" y="51"/>
                    <a:pt x="102" y="52"/>
                  </a:cubicBezTo>
                  <a:cubicBezTo>
                    <a:pt x="101" y="52"/>
                    <a:pt x="99" y="57"/>
                    <a:pt x="97" y="62"/>
                  </a:cubicBezTo>
                  <a:cubicBezTo>
                    <a:pt x="94" y="58"/>
                    <a:pt x="94" y="58"/>
                    <a:pt x="94" y="58"/>
                  </a:cubicBezTo>
                  <a:cubicBezTo>
                    <a:pt x="83" y="45"/>
                    <a:pt x="83" y="45"/>
                    <a:pt x="83" y="45"/>
                  </a:cubicBezTo>
                  <a:cubicBezTo>
                    <a:pt x="62" y="50"/>
                    <a:pt x="62" y="50"/>
                    <a:pt x="62" y="50"/>
                  </a:cubicBezTo>
                  <a:cubicBezTo>
                    <a:pt x="0" y="65"/>
                    <a:pt x="0" y="65"/>
                    <a:pt x="0" y="65"/>
                  </a:cubicBezTo>
                  <a:cubicBezTo>
                    <a:pt x="0" y="63"/>
                    <a:pt x="0" y="63"/>
                    <a:pt x="0" y="63"/>
                  </a:cubicBezTo>
                  <a:cubicBezTo>
                    <a:pt x="0" y="28"/>
                    <a:pt x="0" y="28"/>
                    <a:pt x="0" y="28"/>
                  </a:cubicBezTo>
                  <a:cubicBezTo>
                    <a:pt x="28" y="22"/>
                    <a:pt x="28" y="22"/>
                    <a:pt x="28" y="22"/>
                  </a:cubicBezTo>
                  <a:cubicBezTo>
                    <a:pt x="68" y="13"/>
                    <a:pt x="68" y="13"/>
                    <a:pt x="68" y="13"/>
                  </a:cubicBezTo>
                  <a:cubicBezTo>
                    <a:pt x="74" y="9"/>
                    <a:pt x="74" y="9"/>
                    <a:pt x="74" y="9"/>
                  </a:cubicBezTo>
                  <a:cubicBezTo>
                    <a:pt x="86" y="0"/>
                    <a:pt x="86" y="0"/>
                    <a:pt x="86" y="0"/>
                  </a:cubicBezTo>
                  <a:cubicBezTo>
                    <a:pt x="88" y="8"/>
                    <a:pt x="98" y="6"/>
                    <a:pt x="98" y="10"/>
                  </a:cubicBezTo>
                  <a:cubicBezTo>
                    <a:pt x="98" y="14"/>
                    <a:pt x="90" y="14"/>
                    <a:pt x="86" y="19"/>
                  </a:cubicBezTo>
                  <a:cubicBezTo>
                    <a:pt x="82" y="23"/>
                    <a:pt x="84" y="28"/>
                    <a:pt x="88" y="29"/>
                  </a:cubicBezTo>
                  <a:cubicBezTo>
                    <a:pt x="92" y="29"/>
                    <a:pt x="97" y="30"/>
                    <a:pt x="101" y="35"/>
                  </a:cubicBezTo>
                  <a:cubicBezTo>
                    <a:pt x="105" y="40"/>
                    <a:pt x="111" y="46"/>
                    <a:pt x="115" y="48"/>
                  </a:cubicBezTo>
                  <a:cubicBezTo>
                    <a:pt x="119" y="49"/>
                    <a:pt x="122" y="45"/>
                    <a:pt x="124" y="43"/>
                  </a:cubicBezTo>
                  <a:cubicBezTo>
                    <a:pt x="126" y="41"/>
                    <a:pt x="120" y="38"/>
                    <a:pt x="116" y="36"/>
                  </a:cubicBezTo>
                  <a:cubicBezTo>
                    <a:pt x="112" y="33"/>
                    <a:pt x="116" y="30"/>
                    <a:pt x="120" y="30"/>
                  </a:cubicBezTo>
                  <a:cubicBezTo>
                    <a:pt x="123" y="29"/>
                    <a:pt x="128" y="33"/>
                    <a:pt x="131" y="39"/>
                  </a:cubicBezTo>
                  <a:close/>
                </a:path>
              </a:pathLst>
            </a:custGeom>
            <a:solidFill>
              <a:srgbClr val="FF99CC"/>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99CC"/>
                </a:solidFill>
                <a:effectLst/>
                <a:uLnTx/>
                <a:uFillTx/>
              </a:endParaRPr>
            </a:p>
          </p:txBody>
        </p:sp>
        <p:sp>
          <p:nvSpPr>
            <p:cNvPr id="144" name="Freeform 394"/>
            <p:cNvSpPr>
              <a:spLocks/>
            </p:cNvSpPr>
            <p:nvPr/>
          </p:nvSpPr>
          <p:spPr bwMode="auto">
            <a:xfrm>
              <a:off x="4566689" y="2721768"/>
              <a:ext cx="72048" cy="77380"/>
            </a:xfrm>
            <a:custGeom>
              <a:avLst/>
              <a:gdLst>
                <a:gd name="T0" fmla="*/ 2147483647 w 35"/>
                <a:gd name="T1" fmla="*/ 2147483647 h 38"/>
                <a:gd name="T2" fmla="*/ 2147483647 w 35"/>
                <a:gd name="T3" fmla="*/ 2147483647 h 38"/>
                <a:gd name="T4" fmla="*/ 2147483647 w 35"/>
                <a:gd name="T5" fmla="*/ 2147483647 h 38"/>
                <a:gd name="T6" fmla="*/ 2147483647 w 35"/>
                <a:gd name="T7" fmla="*/ 2147483647 h 38"/>
                <a:gd name="T8" fmla="*/ 2147483647 w 35"/>
                <a:gd name="T9" fmla="*/ 2147483647 h 38"/>
                <a:gd name="T10" fmla="*/ 2147483647 w 35"/>
                <a:gd name="T11" fmla="*/ 2147483647 h 38"/>
                <a:gd name="T12" fmla="*/ 2147483647 w 35"/>
                <a:gd name="T13" fmla="*/ 2147483647 h 38"/>
                <a:gd name="T14" fmla="*/ 2147483647 w 35"/>
                <a:gd name="T15" fmla="*/ 2147483647 h 38"/>
                <a:gd name="T16" fmla="*/ 0 w 35"/>
                <a:gd name="T17" fmla="*/ 2147483647 h 38"/>
                <a:gd name="T18" fmla="*/ 2147483647 w 35"/>
                <a:gd name="T19" fmla="*/ 0 h 38"/>
                <a:gd name="T20" fmla="*/ 2147483647 w 35"/>
                <a:gd name="T21" fmla="*/ 2147483647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38"/>
                <a:gd name="T35" fmla="*/ 35 w 35"/>
                <a:gd name="T36" fmla="*/ 38 h 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38">
                  <a:moveTo>
                    <a:pt x="32" y="13"/>
                  </a:moveTo>
                  <a:cubicBezTo>
                    <a:pt x="35" y="17"/>
                    <a:pt x="35" y="17"/>
                    <a:pt x="35" y="17"/>
                  </a:cubicBezTo>
                  <a:cubicBezTo>
                    <a:pt x="32" y="21"/>
                    <a:pt x="30" y="26"/>
                    <a:pt x="28" y="27"/>
                  </a:cubicBezTo>
                  <a:cubicBezTo>
                    <a:pt x="26" y="28"/>
                    <a:pt x="28" y="14"/>
                    <a:pt x="24" y="13"/>
                  </a:cubicBezTo>
                  <a:cubicBezTo>
                    <a:pt x="22" y="12"/>
                    <a:pt x="20" y="12"/>
                    <a:pt x="16" y="14"/>
                  </a:cubicBezTo>
                  <a:cubicBezTo>
                    <a:pt x="14" y="15"/>
                    <a:pt x="19" y="30"/>
                    <a:pt x="16" y="34"/>
                  </a:cubicBezTo>
                  <a:cubicBezTo>
                    <a:pt x="14" y="37"/>
                    <a:pt x="13" y="36"/>
                    <a:pt x="6" y="38"/>
                  </a:cubicBezTo>
                  <a:cubicBezTo>
                    <a:pt x="4" y="27"/>
                    <a:pt x="4" y="27"/>
                    <a:pt x="4" y="27"/>
                  </a:cubicBezTo>
                  <a:cubicBezTo>
                    <a:pt x="0" y="5"/>
                    <a:pt x="0" y="5"/>
                    <a:pt x="0" y="5"/>
                  </a:cubicBezTo>
                  <a:cubicBezTo>
                    <a:pt x="21" y="0"/>
                    <a:pt x="21" y="0"/>
                    <a:pt x="21" y="0"/>
                  </a:cubicBezTo>
                  <a:lnTo>
                    <a:pt x="32" y="13"/>
                  </a:lnTo>
                  <a:close/>
                </a:path>
              </a:pathLst>
            </a:custGeom>
            <a:solidFill>
              <a:srgbClr val="FF99CC"/>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99CC"/>
                </a:solidFill>
                <a:effectLst/>
                <a:uLnTx/>
                <a:uFillTx/>
              </a:endParaRPr>
            </a:p>
          </p:txBody>
        </p:sp>
        <p:sp>
          <p:nvSpPr>
            <p:cNvPr id="145" name="Freeform 395"/>
            <p:cNvSpPr>
              <a:spLocks/>
            </p:cNvSpPr>
            <p:nvPr>
              <p:custDataLst>
                <p:tags r:id="rId3"/>
              </p:custDataLst>
            </p:nvPr>
          </p:nvSpPr>
          <p:spPr bwMode="auto">
            <a:xfrm>
              <a:off x="4489306" y="2401578"/>
              <a:ext cx="128083" cy="274831"/>
            </a:xfrm>
            <a:custGeom>
              <a:avLst/>
              <a:gdLst>
                <a:gd name="T0" fmla="*/ 2147483647 w 65"/>
                <a:gd name="T1" fmla="*/ 2147483647 h 137"/>
                <a:gd name="T2" fmla="*/ 2147483647 w 65"/>
                <a:gd name="T3" fmla="*/ 2147483647 h 137"/>
                <a:gd name="T4" fmla="*/ 2147483647 w 65"/>
                <a:gd name="T5" fmla="*/ 2147483647 h 137"/>
                <a:gd name="T6" fmla="*/ 2147483647 w 65"/>
                <a:gd name="T7" fmla="*/ 2147483647 h 137"/>
                <a:gd name="T8" fmla="*/ 2147483647 w 65"/>
                <a:gd name="T9" fmla="*/ 2147483647 h 137"/>
                <a:gd name="T10" fmla="*/ 2147483647 w 65"/>
                <a:gd name="T11" fmla="*/ 2147483647 h 137"/>
                <a:gd name="T12" fmla="*/ 1610686292 w 65"/>
                <a:gd name="T13" fmla="*/ 2147483647 h 137"/>
                <a:gd name="T14" fmla="*/ 1610686292 w 65"/>
                <a:gd name="T15" fmla="*/ 2147483647 h 137"/>
                <a:gd name="T16" fmla="*/ 0 w 65"/>
                <a:gd name="T17" fmla="*/ 2147483647 h 137"/>
                <a:gd name="T18" fmla="*/ 1610686292 w 65"/>
                <a:gd name="T19" fmla="*/ 2147483647 h 137"/>
                <a:gd name="T20" fmla="*/ 0 w 65"/>
                <a:gd name="T21" fmla="*/ 2147483647 h 137"/>
                <a:gd name="T22" fmla="*/ 2147483647 w 65"/>
                <a:gd name="T23" fmla="*/ 2147483647 h 137"/>
                <a:gd name="T24" fmla="*/ 1610686292 w 65"/>
                <a:gd name="T25" fmla="*/ 2147483647 h 137"/>
                <a:gd name="T26" fmla="*/ 1610686292 w 65"/>
                <a:gd name="T27" fmla="*/ 2147483647 h 137"/>
                <a:gd name="T28" fmla="*/ 1610686292 w 65"/>
                <a:gd name="T29" fmla="*/ 2147483647 h 137"/>
                <a:gd name="T30" fmla="*/ 2147483647 w 65"/>
                <a:gd name="T31" fmla="*/ 2147483647 h 137"/>
                <a:gd name="T32" fmla="*/ 2147483647 w 65"/>
                <a:gd name="T33" fmla="*/ 0 h 137"/>
                <a:gd name="T34" fmla="*/ 2147483647 w 65"/>
                <a:gd name="T35" fmla="*/ 2147483647 h 137"/>
                <a:gd name="T36" fmla="*/ 2147483647 w 65"/>
                <a:gd name="T37" fmla="*/ 2147483647 h 137"/>
                <a:gd name="T38" fmla="*/ 2147483647 w 65"/>
                <a:gd name="T39" fmla="*/ 2147483647 h 1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5"/>
                <a:gd name="T61" fmla="*/ 0 h 137"/>
                <a:gd name="T62" fmla="*/ 65 w 65"/>
                <a:gd name="T63" fmla="*/ 137 h 1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5" h="137">
                  <a:moveTo>
                    <a:pt x="54" y="97"/>
                  </a:moveTo>
                  <a:cubicBezTo>
                    <a:pt x="65" y="101"/>
                    <a:pt x="65" y="101"/>
                    <a:pt x="65" y="101"/>
                  </a:cubicBezTo>
                  <a:cubicBezTo>
                    <a:pt x="64" y="106"/>
                    <a:pt x="64" y="111"/>
                    <a:pt x="64" y="113"/>
                  </a:cubicBezTo>
                  <a:cubicBezTo>
                    <a:pt x="64" y="114"/>
                    <a:pt x="64" y="115"/>
                    <a:pt x="64" y="115"/>
                  </a:cubicBezTo>
                  <a:cubicBezTo>
                    <a:pt x="52" y="124"/>
                    <a:pt x="52" y="124"/>
                    <a:pt x="52" y="124"/>
                  </a:cubicBezTo>
                  <a:cubicBezTo>
                    <a:pt x="46" y="128"/>
                    <a:pt x="46" y="128"/>
                    <a:pt x="46" y="128"/>
                  </a:cubicBezTo>
                  <a:cubicBezTo>
                    <a:pt x="6" y="137"/>
                    <a:pt x="6" y="137"/>
                    <a:pt x="6" y="137"/>
                  </a:cubicBezTo>
                  <a:cubicBezTo>
                    <a:pt x="3" y="126"/>
                    <a:pt x="3" y="126"/>
                    <a:pt x="3" y="126"/>
                  </a:cubicBezTo>
                  <a:cubicBezTo>
                    <a:pt x="3" y="126"/>
                    <a:pt x="1" y="112"/>
                    <a:pt x="0" y="102"/>
                  </a:cubicBezTo>
                  <a:cubicBezTo>
                    <a:pt x="0" y="93"/>
                    <a:pt x="2" y="84"/>
                    <a:pt x="3" y="76"/>
                  </a:cubicBezTo>
                  <a:cubicBezTo>
                    <a:pt x="4" y="69"/>
                    <a:pt x="1" y="63"/>
                    <a:pt x="0" y="57"/>
                  </a:cubicBezTo>
                  <a:cubicBezTo>
                    <a:pt x="0" y="51"/>
                    <a:pt x="10" y="46"/>
                    <a:pt x="12" y="40"/>
                  </a:cubicBezTo>
                  <a:cubicBezTo>
                    <a:pt x="14" y="34"/>
                    <a:pt x="7" y="31"/>
                    <a:pt x="7" y="27"/>
                  </a:cubicBezTo>
                  <a:cubicBezTo>
                    <a:pt x="4" y="18"/>
                    <a:pt x="4" y="18"/>
                    <a:pt x="4" y="18"/>
                  </a:cubicBezTo>
                  <a:cubicBezTo>
                    <a:pt x="5" y="18"/>
                    <a:pt x="6" y="18"/>
                    <a:pt x="6" y="17"/>
                  </a:cubicBezTo>
                  <a:cubicBezTo>
                    <a:pt x="12" y="16"/>
                    <a:pt x="5" y="4"/>
                    <a:pt x="14" y="2"/>
                  </a:cubicBezTo>
                  <a:cubicBezTo>
                    <a:pt x="17" y="1"/>
                    <a:pt x="20" y="1"/>
                    <a:pt x="22" y="0"/>
                  </a:cubicBezTo>
                  <a:cubicBezTo>
                    <a:pt x="24" y="9"/>
                    <a:pt x="24" y="9"/>
                    <a:pt x="24" y="9"/>
                  </a:cubicBezTo>
                  <a:cubicBezTo>
                    <a:pt x="24" y="9"/>
                    <a:pt x="48" y="86"/>
                    <a:pt x="49" y="90"/>
                  </a:cubicBezTo>
                  <a:cubicBezTo>
                    <a:pt x="50" y="95"/>
                    <a:pt x="52" y="95"/>
                    <a:pt x="54" y="97"/>
                  </a:cubicBezTo>
                  <a:close/>
                </a:path>
              </a:pathLst>
            </a:custGeom>
            <a:solidFill>
              <a:srgbClr val="FF99CC"/>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99CC"/>
                </a:solidFill>
                <a:effectLst/>
                <a:uLnTx/>
                <a:uFillTx/>
              </a:endParaRPr>
            </a:p>
          </p:txBody>
        </p:sp>
        <p:sp>
          <p:nvSpPr>
            <p:cNvPr id="146" name="Freeform 396"/>
            <p:cNvSpPr>
              <a:spLocks/>
            </p:cNvSpPr>
            <p:nvPr>
              <p:custDataLst>
                <p:tags r:id="rId4"/>
              </p:custDataLst>
            </p:nvPr>
          </p:nvSpPr>
          <p:spPr bwMode="auto">
            <a:xfrm>
              <a:off x="4449279" y="2823162"/>
              <a:ext cx="144094" cy="90721"/>
            </a:xfrm>
            <a:custGeom>
              <a:avLst/>
              <a:gdLst>
                <a:gd name="T0" fmla="*/ 2147483647 w 72"/>
                <a:gd name="T1" fmla="*/ 2147483647 h 45"/>
                <a:gd name="T2" fmla="*/ 2147483647 w 72"/>
                <a:gd name="T3" fmla="*/ 2147483647 h 45"/>
                <a:gd name="T4" fmla="*/ 2147483647 w 72"/>
                <a:gd name="T5" fmla="*/ 2147483647 h 45"/>
                <a:gd name="T6" fmla="*/ 1688346731 w 72"/>
                <a:gd name="T7" fmla="*/ 2147483647 h 45"/>
                <a:gd name="T8" fmla="*/ 2147483647 w 72"/>
                <a:gd name="T9" fmla="*/ 2147483647 h 45"/>
                <a:gd name="T10" fmla="*/ 2147483647 w 72"/>
                <a:gd name="T11" fmla="*/ 2147483647 h 45"/>
                <a:gd name="T12" fmla="*/ 2147483647 w 72"/>
                <a:gd name="T13" fmla="*/ 1724961837 h 45"/>
                <a:gd name="T14" fmla="*/ 2147483647 w 72"/>
                <a:gd name="T15" fmla="*/ 2147483647 h 45"/>
                <a:gd name="T16" fmla="*/ 2147483647 w 72"/>
                <a:gd name="T17" fmla="*/ 2147483647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2"/>
                <a:gd name="T28" fmla="*/ 0 h 45"/>
                <a:gd name="T29" fmla="*/ 72 w 72"/>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2" h="45">
                  <a:moveTo>
                    <a:pt x="72" y="5"/>
                  </a:moveTo>
                  <a:cubicBezTo>
                    <a:pt x="72" y="8"/>
                    <a:pt x="36" y="30"/>
                    <a:pt x="31" y="33"/>
                  </a:cubicBezTo>
                  <a:cubicBezTo>
                    <a:pt x="26" y="35"/>
                    <a:pt x="12" y="44"/>
                    <a:pt x="4" y="44"/>
                  </a:cubicBezTo>
                  <a:cubicBezTo>
                    <a:pt x="1" y="45"/>
                    <a:pt x="0" y="43"/>
                    <a:pt x="1" y="39"/>
                  </a:cubicBezTo>
                  <a:cubicBezTo>
                    <a:pt x="3" y="35"/>
                    <a:pt x="4" y="32"/>
                    <a:pt x="6" y="31"/>
                  </a:cubicBezTo>
                  <a:cubicBezTo>
                    <a:pt x="14" y="25"/>
                    <a:pt x="31" y="15"/>
                    <a:pt x="36" y="14"/>
                  </a:cubicBezTo>
                  <a:cubicBezTo>
                    <a:pt x="43" y="14"/>
                    <a:pt x="50" y="2"/>
                    <a:pt x="52" y="1"/>
                  </a:cubicBezTo>
                  <a:cubicBezTo>
                    <a:pt x="54" y="0"/>
                    <a:pt x="56" y="4"/>
                    <a:pt x="60" y="4"/>
                  </a:cubicBezTo>
                  <a:cubicBezTo>
                    <a:pt x="64" y="4"/>
                    <a:pt x="72" y="1"/>
                    <a:pt x="72" y="5"/>
                  </a:cubicBezTo>
                  <a:close/>
                </a:path>
              </a:pathLst>
            </a:custGeom>
            <a:solidFill>
              <a:srgbClr val="FFFFFF">
                <a:lumMod val="8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7" name="Freeform 397"/>
            <p:cNvSpPr>
              <a:spLocks/>
            </p:cNvSpPr>
            <p:nvPr>
              <p:custDataLst>
                <p:tags r:id="rId5"/>
              </p:custDataLst>
            </p:nvPr>
          </p:nvSpPr>
          <p:spPr bwMode="auto">
            <a:xfrm>
              <a:off x="4443942" y="2732441"/>
              <a:ext cx="136089" cy="122740"/>
            </a:xfrm>
            <a:custGeom>
              <a:avLst/>
              <a:gdLst>
                <a:gd name="T0" fmla="*/ 2147483647 w 68"/>
                <a:gd name="T1" fmla="*/ 2147483647 h 62"/>
                <a:gd name="T2" fmla="*/ 2147483647 w 68"/>
                <a:gd name="T3" fmla="*/ 2147483647 h 62"/>
                <a:gd name="T4" fmla="*/ 2147483647 w 68"/>
                <a:gd name="T5" fmla="*/ 2147483647 h 62"/>
                <a:gd name="T6" fmla="*/ 2147483647 w 68"/>
                <a:gd name="T7" fmla="*/ 2147483647 h 62"/>
                <a:gd name="T8" fmla="*/ 2147483647 w 68"/>
                <a:gd name="T9" fmla="*/ 2147483647 h 62"/>
                <a:gd name="T10" fmla="*/ 2147483647 w 68"/>
                <a:gd name="T11" fmla="*/ 2147483647 h 62"/>
                <a:gd name="T12" fmla="*/ 2147483647 w 68"/>
                <a:gd name="T13" fmla="*/ 2147483647 h 62"/>
                <a:gd name="T14" fmla="*/ 0 w 68"/>
                <a:gd name="T15" fmla="*/ 2147483647 h 62"/>
                <a:gd name="T16" fmla="*/ 2147483647 w 68"/>
                <a:gd name="T17" fmla="*/ 0 h 62"/>
                <a:gd name="T18" fmla="*/ 2147483647 w 68"/>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62"/>
                <a:gd name="T32" fmla="*/ 68 w 68"/>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62">
                  <a:moveTo>
                    <a:pt x="66" y="22"/>
                  </a:moveTo>
                  <a:cubicBezTo>
                    <a:pt x="68" y="33"/>
                    <a:pt x="68" y="33"/>
                    <a:pt x="68" y="33"/>
                  </a:cubicBezTo>
                  <a:cubicBezTo>
                    <a:pt x="68" y="33"/>
                    <a:pt x="67" y="33"/>
                    <a:pt x="66" y="33"/>
                  </a:cubicBezTo>
                  <a:cubicBezTo>
                    <a:pt x="58" y="36"/>
                    <a:pt x="32" y="42"/>
                    <a:pt x="29" y="43"/>
                  </a:cubicBezTo>
                  <a:cubicBezTo>
                    <a:pt x="26" y="44"/>
                    <a:pt x="16" y="56"/>
                    <a:pt x="11" y="61"/>
                  </a:cubicBezTo>
                  <a:cubicBezTo>
                    <a:pt x="11" y="61"/>
                    <a:pt x="10" y="61"/>
                    <a:pt x="10" y="62"/>
                  </a:cubicBezTo>
                  <a:cubicBezTo>
                    <a:pt x="7" y="49"/>
                    <a:pt x="7" y="49"/>
                    <a:pt x="7" y="49"/>
                  </a:cubicBezTo>
                  <a:cubicBezTo>
                    <a:pt x="0" y="15"/>
                    <a:pt x="0" y="15"/>
                    <a:pt x="0" y="15"/>
                  </a:cubicBezTo>
                  <a:cubicBezTo>
                    <a:pt x="62" y="0"/>
                    <a:pt x="62" y="0"/>
                    <a:pt x="62" y="0"/>
                  </a:cubicBezTo>
                  <a:lnTo>
                    <a:pt x="66" y="22"/>
                  </a:lnTo>
                  <a:close/>
                </a:path>
              </a:pathLst>
            </a:custGeom>
            <a:solidFill>
              <a:srgbClr val="FF99CC"/>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99CC"/>
                </a:solidFill>
                <a:effectLst/>
                <a:uLnTx/>
                <a:uFillTx/>
              </a:endParaRPr>
            </a:p>
          </p:txBody>
        </p:sp>
        <p:sp>
          <p:nvSpPr>
            <p:cNvPr id="148" name="Freeform 398"/>
            <p:cNvSpPr>
              <a:spLocks/>
            </p:cNvSpPr>
            <p:nvPr>
              <p:custDataLst>
                <p:tags r:id="rId6"/>
              </p:custDataLst>
            </p:nvPr>
          </p:nvSpPr>
          <p:spPr bwMode="auto">
            <a:xfrm>
              <a:off x="4379901" y="2438934"/>
              <a:ext cx="136089" cy="248148"/>
            </a:xfrm>
            <a:custGeom>
              <a:avLst/>
              <a:gdLst>
                <a:gd name="T0" fmla="*/ 2147483647 w 68"/>
                <a:gd name="T1" fmla="*/ 1647503072 h 125"/>
                <a:gd name="T2" fmla="*/ 2147483647 w 68"/>
                <a:gd name="T3" fmla="*/ 2147483647 h 125"/>
                <a:gd name="T4" fmla="*/ 2147483647 w 68"/>
                <a:gd name="T5" fmla="*/ 2147483647 h 125"/>
                <a:gd name="T6" fmla="*/ 2147483647 w 68"/>
                <a:gd name="T7" fmla="*/ 2147483647 h 125"/>
                <a:gd name="T8" fmla="*/ 2147483647 w 68"/>
                <a:gd name="T9" fmla="*/ 2147483647 h 125"/>
                <a:gd name="T10" fmla="*/ 2147483647 w 68"/>
                <a:gd name="T11" fmla="*/ 2147483647 h 125"/>
                <a:gd name="T12" fmla="*/ 2147483647 w 68"/>
                <a:gd name="T13" fmla="*/ 2147483647 h 125"/>
                <a:gd name="T14" fmla="*/ 2147483647 w 68"/>
                <a:gd name="T15" fmla="*/ 2147483647 h 125"/>
                <a:gd name="T16" fmla="*/ 2147483647 w 68"/>
                <a:gd name="T17" fmla="*/ 2147483647 h 125"/>
                <a:gd name="T18" fmla="*/ 2147483647 w 68"/>
                <a:gd name="T19" fmla="*/ 2147483647 h 125"/>
                <a:gd name="T20" fmla="*/ 2147483647 w 68"/>
                <a:gd name="T21" fmla="*/ 2147483647 h 125"/>
                <a:gd name="T22" fmla="*/ 2147483647 w 68"/>
                <a:gd name="T23" fmla="*/ 2147483647 h 125"/>
                <a:gd name="T24" fmla="*/ 2147483647 w 68"/>
                <a:gd name="T25" fmla="*/ 2147483647 h 125"/>
                <a:gd name="T26" fmla="*/ 0 w 68"/>
                <a:gd name="T27" fmla="*/ 2147483647 h 125"/>
                <a:gd name="T28" fmla="*/ 2147483647 w 68"/>
                <a:gd name="T29" fmla="*/ 0 h 125"/>
                <a:gd name="T30" fmla="*/ 2147483647 w 68"/>
                <a:gd name="T31" fmla="*/ 1647503072 h 1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8"/>
                <a:gd name="T49" fmla="*/ 0 h 125"/>
                <a:gd name="T50" fmla="*/ 68 w 68"/>
                <a:gd name="T51" fmla="*/ 125 h 1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8" h="125">
                  <a:moveTo>
                    <a:pt x="61" y="9"/>
                  </a:moveTo>
                  <a:cubicBezTo>
                    <a:pt x="61" y="13"/>
                    <a:pt x="68" y="16"/>
                    <a:pt x="66" y="22"/>
                  </a:cubicBezTo>
                  <a:cubicBezTo>
                    <a:pt x="64" y="28"/>
                    <a:pt x="54" y="33"/>
                    <a:pt x="54" y="39"/>
                  </a:cubicBezTo>
                  <a:cubicBezTo>
                    <a:pt x="55" y="45"/>
                    <a:pt x="58" y="51"/>
                    <a:pt x="57" y="58"/>
                  </a:cubicBezTo>
                  <a:cubicBezTo>
                    <a:pt x="56" y="66"/>
                    <a:pt x="54" y="75"/>
                    <a:pt x="54" y="84"/>
                  </a:cubicBezTo>
                  <a:cubicBezTo>
                    <a:pt x="55" y="94"/>
                    <a:pt x="57" y="108"/>
                    <a:pt x="57" y="108"/>
                  </a:cubicBezTo>
                  <a:cubicBezTo>
                    <a:pt x="60" y="119"/>
                    <a:pt x="60" y="119"/>
                    <a:pt x="60" y="119"/>
                  </a:cubicBezTo>
                  <a:cubicBezTo>
                    <a:pt x="32" y="125"/>
                    <a:pt x="32" y="125"/>
                    <a:pt x="32" y="125"/>
                  </a:cubicBezTo>
                  <a:cubicBezTo>
                    <a:pt x="32" y="125"/>
                    <a:pt x="22" y="98"/>
                    <a:pt x="22" y="91"/>
                  </a:cubicBezTo>
                  <a:cubicBezTo>
                    <a:pt x="22" y="84"/>
                    <a:pt x="16" y="84"/>
                    <a:pt x="14" y="83"/>
                  </a:cubicBezTo>
                  <a:cubicBezTo>
                    <a:pt x="12" y="82"/>
                    <a:pt x="10" y="68"/>
                    <a:pt x="10" y="62"/>
                  </a:cubicBezTo>
                  <a:cubicBezTo>
                    <a:pt x="10" y="55"/>
                    <a:pt x="10" y="46"/>
                    <a:pt x="10" y="42"/>
                  </a:cubicBezTo>
                  <a:cubicBezTo>
                    <a:pt x="10" y="37"/>
                    <a:pt x="2" y="32"/>
                    <a:pt x="2" y="26"/>
                  </a:cubicBezTo>
                  <a:cubicBezTo>
                    <a:pt x="0" y="15"/>
                    <a:pt x="0" y="15"/>
                    <a:pt x="0" y="15"/>
                  </a:cubicBezTo>
                  <a:cubicBezTo>
                    <a:pt x="25" y="9"/>
                    <a:pt x="50" y="2"/>
                    <a:pt x="58" y="0"/>
                  </a:cubicBezTo>
                  <a:lnTo>
                    <a:pt x="61" y="9"/>
                  </a:lnTo>
                  <a:close/>
                </a:path>
              </a:pathLst>
            </a:custGeom>
            <a:solidFill>
              <a:srgbClr val="FF99CC"/>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99CC"/>
                </a:solidFill>
                <a:effectLst/>
                <a:uLnTx/>
                <a:uFillTx/>
              </a:endParaRPr>
            </a:p>
          </p:txBody>
        </p:sp>
        <p:sp>
          <p:nvSpPr>
            <p:cNvPr id="149" name="Freeform 399"/>
            <p:cNvSpPr>
              <a:spLocks/>
            </p:cNvSpPr>
            <p:nvPr>
              <p:custDataLst>
                <p:tags r:id="rId7"/>
              </p:custDataLst>
            </p:nvPr>
          </p:nvSpPr>
          <p:spPr bwMode="auto">
            <a:xfrm>
              <a:off x="3990314" y="2468285"/>
              <a:ext cx="474976" cy="476283"/>
            </a:xfrm>
            <a:custGeom>
              <a:avLst/>
              <a:gdLst>
                <a:gd name="T0" fmla="*/ 2147483647 w 238"/>
                <a:gd name="T1" fmla="*/ 2147483647 h 226"/>
                <a:gd name="T2" fmla="*/ 2147483647 w 238"/>
                <a:gd name="T3" fmla="*/ 2147483647 h 226"/>
                <a:gd name="T4" fmla="*/ 2147483647 w 238"/>
                <a:gd name="T5" fmla="*/ 2147483647 h 226"/>
                <a:gd name="T6" fmla="*/ 2147483647 w 238"/>
                <a:gd name="T7" fmla="*/ 2147483647 h 226"/>
                <a:gd name="T8" fmla="*/ 2147483647 w 238"/>
                <a:gd name="T9" fmla="*/ 2147483647 h 226"/>
                <a:gd name="T10" fmla="*/ 2147483647 w 238"/>
                <a:gd name="T11" fmla="*/ 2147483647 h 226"/>
                <a:gd name="T12" fmla="*/ 2147483647 w 238"/>
                <a:gd name="T13" fmla="*/ 2147483647 h 226"/>
                <a:gd name="T14" fmla="*/ 2147483647 w 238"/>
                <a:gd name="T15" fmla="*/ 2147483647 h 226"/>
                <a:gd name="T16" fmla="*/ 2147483647 w 238"/>
                <a:gd name="T17" fmla="*/ 2147483647 h 226"/>
                <a:gd name="T18" fmla="*/ 2147483647 w 238"/>
                <a:gd name="T19" fmla="*/ 2147483647 h 226"/>
                <a:gd name="T20" fmla="*/ 2147483647 w 238"/>
                <a:gd name="T21" fmla="*/ 2147483647 h 226"/>
                <a:gd name="T22" fmla="*/ 2147483647 w 238"/>
                <a:gd name="T23" fmla="*/ 2147483647 h 226"/>
                <a:gd name="T24" fmla="*/ 2147483647 w 238"/>
                <a:gd name="T25" fmla="*/ 2147483647 h 226"/>
                <a:gd name="T26" fmla="*/ 1673263113 w 238"/>
                <a:gd name="T27" fmla="*/ 2147483647 h 226"/>
                <a:gd name="T28" fmla="*/ 0 w 238"/>
                <a:gd name="T29" fmla="*/ 2147483647 h 226"/>
                <a:gd name="T30" fmla="*/ 1673263113 w 238"/>
                <a:gd name="T31" fmla="*/ 2147483647 h 226"/>
                <a:gd name="T32" fmla="*/ 2147483647 w 238"/>
                <a:gd name="T33" fmla="*/ 2147483647 h 226"/>
                <a:gd name="T34" fmla="*/ 2147483647 w 238"/>
                <a:gd name="T35" fmla="*/ 2147483647 h 226"/>
                <a:gd name="T36" fmla="*/ 2147483647 w 238"/>
                <a:gd name="T37" fmla="*/ 2147483647 h 226"/>
                <a:gd name="T38" fmla="*/ 1673263113 w 238"/>
                <a:gd name="T39" fmla="*/ 2147483647 h 226"/>
                <a:gd name="T40" fmla="*/ 2147483647 w 238"/>
                <a:gd name="T41" fmla="*/ 2147483647 h 226"/>
                <a:gd name="T42" fmla="*/ 2147483647 w 238"/>
                <a:gd name="T43" fmla="*/ 2147483647 h 226"/>
                <a:gd name="T44" fmla="*/ 2147483647 w 238"/>
                <a:gd name="T45" fmla="*/ 2147483647 h 226"/>
                <a:gd name="T46" fmla="*/ 2147483647 w 238"/>
                <a:gd name="T47" fmla="*/ 2147483647 h 226"/>
                <a:gd name="T48" fmla="*/ 2147483647 w 238"/>
                <a:gd name="T49" fmla="*/ 2147483647 h 226"/>
                <a:gd name="T50" fmla="*/ 2147483647 w 238"/>
                <a:gd name="T51" fmla="*/ 2147483647 h 226"/>
                <a:gd name="T52" fmla="*/ 2147483647 w 238"/>
                <a:gd name="T53" fmla="*/ 2147483647 h 226"/>
                <a:gd name="T54" fmla="*/ 2147483647 w 238"/>
                <a:gd name="T55" fmla="*/ 2147483647 h 226"/>
                <a:gd name="T56" fmla="*/ 2147483647 w 238"/>
                <a:gd name="T57" fmla="*/ 0 h 226"/>
                <a:gd name="T58" fmla="*/ 2147483647 w 238"/>
                <a:gd name="T59" fmla="*/ 1672758761 h 226"/>
                <a:gd name="T60" fmla="*/ 2147483647 w 238"/>
                <a:gd name="T61" fmla="*/ 2147483647 h 226"/>
                <a:gd name="T62" fmla="*/ 2147483647 w 238"/>
                <a:gd name="T63" fmla="*/ 2147483647 h 226"/>
                <a:gd name="T64" fmla="*/ 2147483647 w 238"/>
                <a:gd name="T65" fmla="*/ 2147483647 h 226"/>
                <a:gd name="T66" fmla="*/ 2147483647 w 238"/>
                <a:gd name="T67" fmla="*/ 2147483647 h 226"/>
                <a:gd name="T68" fmla="*/ 2147483647 w 238"/>
                <a:gd name="T69" fmla="*/ 2147483647 h 226"/>
                <a:gd name="T70" fmla="*/ 2147483647 w 238"/>
                <a:gd name="T71" fmla="*/ 2147483647 h 226"/>
                <a:gd name="T72" fmla="*/ 2147483647 w 238"/>
                <a:gd name="T73" fmla="*/ 2147483647 h 226"/>
                <a:gd name="T74" fmla="*/ 2147483647 w 238"/>
                <a:gd name="T75" fmla="*/ 2147483647 h 2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8"/>
                <a:gd name="T115" fmla="*/ 0 h 226"/>
                <a:gd name="T116" fmla="*/ 238 w 238"/>
                <a:gd name="T117" fmla="*/ 226 h 2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8" h="226">
                  <a:moveTo>
                    <a:pt x="235" y="181"/>
                  </a:moveTo>
                  <a:cubicBezTo>
                    <a:pt x="238" y="194"/>
                    <a:pt x="238" y="194"/>
                    <a:pt x="238" y="194"/>
                  </a:cubicBezTo>
                  <a:cubicBezTo>
                    <a:pt x="235" y="197"/>
                    <a:pt x="231" y="202"/>
                    <a:pt x="230" y="206"/>
                  </a:cubicBezTo>
                  <a:cubicBezTo>
                    <a:pt x="230" y="206"/>
                    <a:pt x="224" y="218"/>
                    <a:pt x="221" y="226"/>
                  </a:cubicBezTo>
                  <a:cubicBezTo>
                    <a:pt x="218" y="218"/>
                    <a:pt x="218" y="218"/>
                    <a:pt x="218" y="218"/>
                  </a:cubicBezTo>
                  <a:cubicBezTo>
                    <a:pt x="219" y="200"/>
                    <a:pt x="219" y="200"/>
                    <a:pt x="219" y="200"/>
                  </a:cubicBezTo>
                  <a:cubicBezTo>
                    <a:pt x="204" y="196"/>
                    <a:pt x="204" y="196"/>
                    <a:pt x="204" y="196"/>
                  </a:cubicBezTo>
                  <a:cubicBezTo>
                    <a:pt x="193" y="192"/>
                    <a:pt x="193" y="192"/>
                    <a:pt x="193" y="192"/>
                  </a:cubicBezTo>
                  <a:cubicBezTo>
                    <a:pt x="193" y="191"/>
                    <a:pt x="193" y="190"/>
                    <a:pt x="192" y="189"/>
                  </a:cubicBezTo>
                  <a:cubicBezTo>
                    <a:pt x="190" y="183"/>
                    <a:pt x="181" y="186"/>
                    <a:pt x="178" y="181"/>
                  </a:cubicBezTo>
                  <a:cubicBezTo>
                    <a:pt x="175" y="177"/>
                    <a:pt x="177" y="171"/>
                    <a:pt x="172" y="168"/>
                  </a:cubicBezTo>
                  <a:cubicBezTo>
                    <a:pt x="168" y="166"/>
                    <a:pt x="164" y="163"/>
                    <a:pt x="162" y="163"/>
                  </a:cubicBezTo>
                  <a:cubicBezTo>
                    <a:pt x="160" y="163"/>
                    <a:pt x="154" y="164"/>
                    <a:pt x="154" y="164"/>
                  </a:cubicBezTo>
                  <a:cubicBezTo>
                    <a:pt x="2" y="192"/>
                    <a:pt x="2" y="192"/>
                    <a:pt x="2" y="192"/>
                  </a:cubicBezTo>
                  <a:cubicBezTo>
                    <a:pt x="0" y="178"/>
                    <a:pt x="0" y="178"/>
                    <a:pt x="0" y="178"/>
                  </a:cubicBezTo>
                  <a:cubicBezTo>
                    <a:pt x="1" y="178"/>
                    <a:pt x="2" y="177"/>
                    <a:pt x="2" y="177"/>
                  </a:cubicBezTo>
                  <a:cubicBezTo>
                    <a:pt x="8" y="172"/>
                    <a:pt x="29" y="155"/>
                    <a:pt x="27" y="149"/>
                  </a:cubicBezTo>
                  <a:cubicBezTo>
                    <a:pt x="27" y="148"/>
                    <a:pt x="25" y="147"/>
                    <a:pt x="23" y="146"/>
                  </a:cubicBezTo>
                  <a:cubicBezTo>
                    <a:pt x="24" y="145"/>
                    <a:pt x="24" y="144"/>
                    <a:pt x="24" y="144"/>
                  </a:cubicBezTo>
                  <a:cubicBezTo>
                    <a:pt x="24" y="138"/>
                    <a:pt x="13" y="129"/>
                    <a:pt x="11" y="122"/>
                  </a:cubicBezTo>
                  <a:cubicBezTo>
                    <a:pt x="17" y="119"/>
                    <a:pt x="24" y="116"/>
                    <a:pt x="27" y="115"/>
                  </a:cubicBezTo>
                  <a:cubicBezTo>
                    <a:pt x="34" y="113"/>
                    <a:pt x="54" y="112"/>
                    <a:pt x="68" y="112"/>
                  </a:cubicBezTo>
                  <a:cubicBezTo>
                    <a:pt x="82" y="112"/>
                    <a:pt x="89" y="109"/>
                    <a:pt x="94" y="106"/>
                  </a:cubicBezTo>
                  <a:cubicBezTo>
                    <a:pt x="99" y="103"/>
                    <a:pt x="107" y="94"/>
                    <a:pt x="110" y="90"/>
                  </a:cubicBezTo>
                  <a:cubicBezTo>
                    <a:pt x="113" y="86"/>
                    <a:pt x="111" y="75"/>
                    <a:pt x="106" y="75"/>
                  </a:cubicBezTo>
                  <a:cubicBezTo>
                    <a:pt x="104" y="75"/>
                    <a:pt x="101" y="75"/>
                    <a:pt x="96" y="75"/>
                  </a:cubicBezTo>
                  <a:cubicBezTo>
                    <a:pt x="98" y="69"/>
                    <a:pt x="99" y="63"/>
                    <a:pt x="102" y="61"/>
                  </a:cubicBezTo>
                  <a:cubicBezTo>
                    <a:pt x="108" y="57"/>
                    <a:pt x="135" y="15"/>
                    <a:pt x="145" y="13"/>
                  </a:cubicBezTo>
                  <a:cubicBezTo>
                    <a:pt x="150" y="11"/>
                    <a:pt x="172" y="6"/>
                    <a:pt x="196" y="0"/>
                  </a:cubicBezTo>
                  <a:cubicBezTo>
                    <a:pt x="198" y="11"/>
                    <a:pt x="198" y="11"/>
                    <a:pt x="198" y="11"/>
                  </a:cubicBezTo>
                  <a:cubicBezTo>
                    <a:pt x="198" y="17"/>
                    <a:pt x="206" y="22"/>
                    <a:pt x="206" y="27"/>
                  </a:cubicBezTo>
                  <a:cubicBezTo>
                    <a:pt x="206" y="31"/>
                    <a:pt x="206" y="40"/>
                    <a:pt x="206" y="47"/>
                  </a:cubicBezTo>
                  <a:cubicBezTo>
                    <a:pt x="206" y="53"/>
                    <a:pt x="208" y="67"/>
                    <a:pt x="210" y="68"/>
                  </a:cubicBezTo>
                  <a:cubicBezTo>
                    <a:pt x="212" y="69"/>
                    <a:pt x="218" y="69"/>
                    <a:pt x="218" y="76"/>
                  </a:cubicBezTo>
                  <a:cubicBezTo>
                    <a:pt x="218" y="83"/>
                    <a:pt x="228" y="110"/>
                    <a:pt x="228" y="110"/>
                  </a:cubicBezTo>
                  <a:cubicBezTo>
                    <a:pt x="228" y="145"/>
                    <a:pt x="228" y="145"/>
                    <a:pt x="228" y="145"/>
                  </a:cubicBezTo>
                  <a:cubicBezTo>
                    <a:pt x="228" y="147"/>
                    <a:pt x="228" y="147"/>
                    <a:pt x="228" y="147"/>
                  </a:cubicBezTo>
                  <a:lnTo>
                    <a:pt x="235" y="181"/>
                  </a:lnTo>
                  <a:close/>
                </a:path>
              </a:pathLst>
            </a:custGeom>
            <a:gradFill flip="none" rotWithShape="1">
              <a:gsLst>
                <a:gs pos="77000">
                  <a:srgbClr val="E0F5D6">
                    <a:lumMod val="100000"/>
                  </a:srgbClr>
                </a:gs>
                <a:gs pos="79000">
                  <a:srgbClr val="D9D9D9"/>
                </a:gs>
              </a:gsLst>
              <a:lin ang="2700000" scaled="1"/>
              <a:tileRect/>
            </a:gra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0" name="Freeform 400"/>
            <p:cNvSpPr>
              <a:spLocks/>
            </p:cNvSpPr>
            <p:nvPr>
              <p:custDataLst>
                <p:tags r:id="rId8"/>
              </p:custDataLst>
            </p:nvPr>
          </p:nvSpPr>
          <p:spPr bwMode="auto">
            <a:xfrm>
              <a:off x="4329202" y="2852513"/>
              <a:ext cx="128083" cy="293508"/>
            </a:xfrm>
            <a:custGeom>
              <a:avLst/>
              <a:gdLst>
                <a:gd name="T0" fmla="*/ 2147483647 w 63"/>
                <a:gd name="T1" fmla="*/ 2147483647 h 148"/>
                <a:gd name="T2" fmla="*/ 2147483647 w 63"/>
                <a:gd name="T3" fmla="*/ 2147483647 h 148"/>
                <a:gd name="T4" fmla="*/ 2147483647 w 63"/>
                <a:gd name="T5" fmla="*/ 2147483647 h 148"/>
                <a:gd name="T6" fmla="*/ 2147483647 w 63"/>
                <a:gd name="T7" fmla="*/ 2147483647 h 148"/>
                <a:gd name="T8" fmla="*/ 2147483647 w 63"/>
                <a:gd name="T9" fmla="*/ 2147483647 h 148"/>
                <a:gd name="T10" fmla="*/ 2147483647 w 63"/>
                <a:gd name="T11" fmla="*/ 2147483647 h 148"/>
                <a:gd name="T12" fmla="*/ 2147483647 w 63"/>
                <a:gd name="T13" fmla="*/ 2147483647 h 148"/>
                <a:gd name="T14" fmla="*/ 2147483647 w 63"/>
                <a:gd name="T15" fmla="*/ 2147483647 h 148"/>
                <a:gd name="T16" fmla="*/ 2147483647 w 63"/>
                <a:gd name="T17" fmla="*/ 2147483647 h 148"/>
                <a:gd name="T18" fmla="*/ 2147483647 w 63"/>
                <a:gd name="T19" fmla="*/ 2147483647 h 148"/>
                <a:gd name="T20" fmla="*/ 2147483647 w 63"/>
                <a:gd name="T21" fmla="*/ 2147483647 h 148"/>
                <a:gd name="T22" fmla="*/ 2147483647 w 63"/>
                <a:gd name="T23" fmla="*/ 2147483647 h 148"/>
                <a:gd name="T24" fmla="*/ 2147483647 w 63"/>
                <a:gd name="T25" fmla="*/ 2147483647 h 148"/>
                <a:gd name="T26" fmla="*/ 2147483647 w 63"/>
                <a:gd name="T27" fmla="*/ 2147483647 h 148"/>
                <a:gd name="T28" fmla="*/ 2147483647 w 63"/>
                <a:gd name="T29" fmla="*/ 2147483647 h 148"/>
                <a:gd name="T30" fmla="*/ 2147483647 w 63"/>
                <a:gd name="T31" fmla="*/ 2147483647 h 148"/>
                <a:gd name="T32" fmla="*/ 0 w 63"/>
                <a:gd name="T33" fmla="*/ 2147483647 h 148"/>
                <a:gd name="T34" fmla="*/ 2147483647 w 63"/>
                <a:gd name="T35" fmla="*/ 2147483647 h 148"/>
                <a:gd name="T36" fmla="*/ 2147483647 w 63"/>
                <a:gd name="T37" fmla="*/ 2147483647 h 148"/>
                <a:gd name="T38" fmla="*/ 2147483647 w 63"/>
                <a:gd name="T39" fmla="*/ 2147483647 h 148"/>
                <a:gd name="T40" fmla="*/ 2147483647 w 63"/>
                <a:gd name="T41" fmla="*/ 2147483647 h 148"/>
                <a:gd name="T42" fmla="*/ 2147483647 w 63"/>
                <a:gd name="T43" fmla="*/ 2147483647 h 148"/>
                <a:gd name="T44" fmla="*/ 2147483647 w 63"/>
                <a:gd name="T45" fmla="*/ 2147483647 h 148"/>
                <a:gd name="T46" fmla="*/ 2147483647 w 63"/>
                <a:gd name="T47" fmla="*/ 0 h 148"/>
                <a:gd name="T48" fmla="*/ 2147483647 w 63"/>
                <a:gd name="T49" fmla="*/ 1642749291 h 148"/>
                <a:gd name="T50" fmla="*/ 2147483647 w 63"/>
                <a:gd name="T51" fmla="*/ 1642749291 h 148"/>
                <a:gd name="T52" fmla="*/ 2147483647 w 63"/>
                <a:gd name="T53" fmla="*/ 2147483647 h 148"/>
                <a:gd name="T54" fmla="*/ 2147483647 w 63"/>
                <a:gd name="T55" fmla="*/ 2147483647 h 148"/>
                <a:gd name="T56" fmla="*/ 2147483647 w 63"/>
                <a:gd name="T57" fmla="*/ 2147483647 h 148"/>
                <a:gd name="T58" fmla="*/ 2147483647 w 63"/>
                <a:gd name="T59" fmla="*/ 2147483647 h 1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3"/>
                <a:gd name="T91" fmla="*/ 0 h 148"/>
                <a:gd name="T92" fmla="*/ 63 w 63"/>
                <a:gd name="T93" fmla="*/ 148 h 1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3" h="148">
                  <a:moveTo>
                    <a:pt x="61" y="42"/>
                  </a:moveTo>
                  <a:cubicBezTo>
                    <a:pt x="63" y="45"/>
                    <a:pt x="62" y="55"/>
                    <a:pt x="62" y="66"/>
                  </a:cubicBezTo>
                  <a:cubicBezTo>
                    <a:pt x="62" y="74"/>
                    <a:pt x="59" y="84"/>
                    <a:pt x="56" y="90"/>
                  </a:cubicBezTo>
                  <a:cubicBezTo>
                    <a:pt x="54" y="96"/>
                    <a:pt x="48" y="108"/>
                    <a:pt x="47" y="112"/>
                  </a:cubicBezTo>
                  <a:cubicBezTo>
                    <a:pt x="46" y="116"/>
                    <a:pt x="43" y="121"/>
                    <a:pt x="38" y="120"/>
                  </a:cubicBezTo>
                  <a:cubicBezTo>
                    <a:pt x="34" y="118"/>
                    <a:pt x="37" y="109"/>
                    <a:pt x="37" y="106"/>
                  </a:cubicBezTo>
                  <a:cubicBezTo>
                    <a:pt x="37" y="104"/>
                    <a:pt x="32" y="105"/>
                    <a:pt x="29" y="105"/>
                  </a:cubicBezTo>
                  <a:cubicBezTo>
                    <a:pt x="25" y="105"/>
                    <a:pt x="17" y="98"/>
                    <a:pt x="16" y="96"/>
                  </a:cubicBezTo>
                  <a:cubicBezTo>
                    <a:pt x="15" y="94"/>
                    <a:pt x="13" y="88"/>
                    <a:pt x="12" y="87"/>
                  </a:cubicBezTo>
                  <a:cubicBezTo>
                    <a:pt x="10" y="87"/>
                    <a:pt x="9" y="85"/>
                    <a:pt x="8" y="92"/>
                  </a:cubicBezTo>
                  <a:cubicBezTo>
                    <a:pt x="7" y="99"/>
                    <a:pt x="13" y="104"/>
                    <a:pt x="17" y="109"/>
                  </a:cubicBezTo>
                  <a:cubicBezTo>
                    <a:pt x="22" y="114"/>
                    <a:pt x="25" y="122"/>
                    <a:pt x="28" y="126"/>
                  </a:cubicBezTo>
                  <a:cubicBezTo>
                    <a:pt x="32" y="130"/>
                    <a:pt x="35" y="126"/>
                    <a:pt x="36" y="127"/>
                  </a:cubicBezTo>
                  <a:cubicBezTo>
                    <a:pt x="37" y="128"/>
                    <a:pt x="38" y="132"/>
                    <a:pt x="40" y="142"/>
                  </a:cubicBezTo>
                  <a:cubicBezTo>
                    <a:pt x="40" y="142"/>
                    <a:pt x="41" y="143"/>
                    <a:pt x="41" y="143"/>
                  </a:cubicBezTo>
                  <a:cubicBezTo>
                    <a:pt x="17" y="148"/>
                    <a:pt x="17" y="148"/>
                    <a:pt x="17" y="148"/>
                  </a:cubicBezTo>
                  <a:cubicBezTo>
                    <a:pt x="0" y="87"/>
                    <a:pt x="0" y="87"/>
                    <a:pt x="0" y="87"/>
                  </a:cubicBezTo>
                  <a:cubicBezTo>
                    <a:pt x="9" y="77"/>
                    <a:pt x="9" y="77"/>
                    <a:pt x="9" y="77"/>
                  </a:cubicBezTo>
                  <a:cubicBezTo>
                    <a:pt x="11" y="74"/>
                    <a:pt x="15" y="77"/>
                    <a:pt x="19" y="74"/>
                  </a:cubicBezTo>
                  <a:cubicBezTo>
                    <a:pt x="23" y="72"/>
                    <a:pt x="33" y="58"/>
                    <a:pt x="33" y="58"/>
                  </a:cubicBezTo>
                  <a:cubicBezTo>
                    <a:pt x="16" y="42"/>
                    <a:pt x="16" y="42"/>
                    <a:pt x="16" y="42"/>
                  </a:cubicBezTo>
                  <a:cubicBezTo>
                    <a:pt x="16" y="42"/>
                    <a:pt x="11" y="34"/>
                    <a:pt x="11" y="29"/>
                  </a:cubicBezTo>
                  <a:cubicBezTo>
                    <a:pt x="11" y="24"/>
                    <a:pt x="12" y="19"/>
                    <a:pt x="14" y="15"/>
                  </a:cubicBezTo>
                  <a:cubicBezTo>
                    <a:pt x="16" y="12"/>
                    <a:pt x="22" y="6"/>
                    <a:pt x="22" y="0"/>
                  </a:cubicBezTo>
                  <a:cubicBezTo>
                    <a:pt x="33" y="4"/>
                    <a:pt x="33" y="4"/>
                    <a:pt x="33" y="4"/>
                  </a:cubicBezTo>
                  <a:cubicBezTo>
                    <a:pt x="48" y="8"/>
                    <a:pt x="48" y="8"/>
                    <a:pt x="48" y="8"/>
                  </a:cubicBezTo>
                  <a:cubicBezTo>
                    <a:pt x="47" y="26"/>
                    <a:pt x="47" y="26"/>
                    <a:pt x="47" y="26"/>
                  </a:cubicBezTo>
                  <a:cubicBezTo>
                    <a:pt x="50" y="34"/>
                    <a:pt x="50" y="34"/>
                    <a:pt x="50" y="34"/>
                  </a:cubicBezTo>
                  <a:cubicBezTo>
                    <a:pt x="48" y="36"/>
                    <a:pt x="48" y="38"/>
                    <a:pt x="47" y="38"/>
                  </a:cubicBezTo>
                  <a:cubicBezTo>
                    <a:pt x="46" y="43"/>
                    <a:pt x="58" y="40"/>
                    <a:pt x="61" y="42"/>
                  </a:cubicBezTo>
                  <a:close/>
                </a:path>
              </a:pathLst>
            </a:custGeom>
            <a:solidFill>
              <a:srgbClr val="FFFFFF">
                <a:lumMod val="8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1" name="Freeform 401"/>
            <p:cNvSpPr>
              <a:spLocks/>
            </p:cNvSpPr>
            <p:nvPr>
              <p:custDataLst>
                <p:tags r:id="rId9"/>
              </p:custDataLst>
            </p:nvPr>
          </p:nvSpPr>
          <p:spPr bwMode="auto">
            <a:xfrm>
              <a:off x="3934278" y="2793812"/>
              <a:ext cx="461633" cy="293508"/>
            </a:xfrm>
            <a:custGeom>
              <a:avLst/>
              <a:gdLst>
                <a:gd name="T0" fmla="*/ 2147483647 w 231"/>
                <a:gd name="T1" fmla="*/ 2147483647 h 147"/>
                <a:gd name="T2" fmla="*/ 2147483647 w 231"/>
                <a:gd name="T3" fmla="*/ 2147483647 h 147"/>
                <a:gd name="T4" fmla="*/ 2147483647 w 231"/>
                <a:gd name="T5" fmla="*/ 2147483647 h 147"/>
                <a:gd name="T6" fmla="*/ 2147483647 w 231"/>
                <a:gd name="T7" fmla="*/ 2147483647 h 147"/>
                <a:gd name="T8" fmla="*/ 2147483647 w 231"/>
                <a:gd name="T9" fmla="*/ 2147483647 h 147"/>
                <a:gd name="T10" fmla="*/ 2147483647 w 231"/>
                <a:gd name="T11" fmla="*/ 2147483647 h 147"/>
                <a:gd name="T12" fmla="*/ 2147483647 w 231"/>
                <a:gd name="T13" fmla="*/ 2147483647 h 147"/>
                <a:gd name="T14" fmla="*/ 2147483647 w 231"/>
                <a:gd name="T15" fmla="*/ 2147483647 h 147"/>
                <a:gd name="T16" fmla="*/ 0 w 231"/>
                <a:gd name="T17" fmla="*/ 2147483647 h 147"/>
                <a:gd name="T18" fmla="*/ 2147483647 w 231"/>
                <a:gd name="T19" fmla="*/ 2147483647 h 147"/>
                <a:gd name="T20" fmla="*/ 2147483647 w 231"/>
                <a:gd name="T21" fmla="*/ 2147483647 h 147"/>
                <a:gd name="T22" fmla="*/ 2147483647 w 231"/>
                <a:gd name="T23" fmla="*/ 1676465336 h 147"/>
                <a:gd name="T24" fmla="*/ 2147483647 w 231"/>
                <a:gd name="T25" fmla="*/ 0 h 147"/>
                <a:gd name="T26" fmla="*/ 2147483647 w 231"/>
                <a:gd name="T27" fmla="*/ 1676465336 h 147"/>
                <a:gd name="T28" fmla="*/ 2147483647 w 231"/>
                <a:gd name="T29" fmla="*/ 2147483647 h 147"/>
                <a:gd name="T30" fmla="*/ 2147483647 w 231"/>
                <a:gd name="T31" fmla="*/ 2147483647 h 147"/>
                <a:gd name="T32" fmla="*/ 2147483647 w 231"/>
                <a:gd name="T33" fmla="*/ 2147483647 h 147"/>
                <a:gd name="T34" fmla="*/ 2147483647 w 231"/>
                <a:gd name="T35" fmla="*/ 2147483647 h 147"/>
                <a:gd name="T36" fmla="*/ 2147483647 w 231"/>
                <a:gd name="T37" fmla="*/ 2147483647 h 147"/>
                <a:gd name="T38" fmla="*/ 2147483647 w 231"/>
                <a:gd name="T39" fmla="*/ 2147483647 h 14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1"/>
                <a:gd name="T61" fmla="*/ 0 h 147"/>
                <a:gd name="T62" fmla="*/ 231 w 231"/>
                <a:gd name="T63" fmla="*/ 147 h 14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1" h="147">
                  <a:moveTo>
                    <a:pt x="214" y="71"/>
                  </a:moveTo>
                  <a:cubicBezTo>
                    <a:pt x="231" y="87"/>
                    <a:pt x="231" y="87"/>
                    <a:pt x="231" y="87"/>
                  </a:cubicBezTo>
                  <a:cubicBezTo>
                    <a:pt x="231" y="87"/>
                    <a:pt x="221" y="101"/>
                    <a:pt x="217" y="103"/>
                  </a:cubicBezTo>
                  <a:cubicBezTo>
                    <a:pt x="213" y="106"/>
                    <a:pt x="209" y="103"/>
                    <a:pt x="207" y="106"/>
                  </a:cubicBezTo>
                  <a:cubicBezTo>
                    <a:pt x="198" y="116"/>
                    <a:pt x="198" y="116"/>
                    <a:pt x="198" y="116"/>
                  </a:cubicBezTo>
                  <a:cubicBezTo>
                    <a:pt x="59" y="140"/>
                    <a:pt x="59" y="140"/>
                    <a:pt x="59" y="140"/>
                  </a:cubicBezTo>
                  <a:cubicBezTo>
                    <a:pt x="19" y="147"/>
                    <a:pt x="19" y="147"/>
                    <a:pt x="19" y="147"/>
                  </a:cubicBezTo>
                  <a:cubicBezTo>
                    <a:pt x="12" y="102"/>
                    <a:pt x="12" y="102"/>
                    <a:pt x="12" y="102"/>
                  </a:cubicBezTo>
                  <a:cubicBezTo>
                    <a:pt x="0" y="32"/>
                    <a:pt x="0" y="32"/>
                    <a:pt x="0" y="32"/>
                  </a:cubicBezTo>
                  <a:cubicBezTo>
                    <a:pt x="11" y="25"/>
                    <a:pt x="22" y="18"/>
                    <a:pt x="27" y="15"/>
                  </a:cubicBezTo>
                  <a:cubicBezTo>
                    <a:pt x="29" y="29"/>
                    <a:pt x="29" y="29"/>
                    <a:pt x="29" y="29"/>
                  </a:cubicBezTo>
                  <a:cubicBezTo>
                    <a:pt x="181" y="1"/>
                    <a:pt x="181" y="1"/>
                    <a:pt x="181" y="1"/>
                  </a:cubicBezTo>
                  <a:cubicBezTo>
                    <a:pt x="181" y="1"/>
                    <a:pt x="187" y="0"/>
                    <a:pt x="189" y="0"/>
                  </a:cubicBezTo>
                  <a:cubicBezTo>
                    <a:pt x="191" y="0"/>
                    <a:pt x="195" y="3"/>
                    <a:pt x="199" y="5"/>
                  </a:cubicBezTo>
                  <a:cubicBezTo>
                    <a:pt x="204" y="8"/>
                    <a:pt x="202" y="14"/>
                    <a:pt x="205" y="18"/>
                  </a:cubicBezTo>
                  <a:cubicBezTo>
                    <a:pt x="208" y="23"/>
                    <a:pt x="217" y="20"/>
                    <a:pt x="219" y="26"/>
                  </a:cubicBezTo>
                  <a:cubicBezTo>
                    <a:pt x="220" y="27"/>
                    <a:pt x="220" y="28"/>
                    <a:pt x="220" y="29"/>
                  </a:cubicBezTo>
                  <a:cubicBezTo>
                    <a:pt x="220" y="35"/>
                    <a:pt x="214" y="41"/>
                    <a:pt x="212" y="44"/>
                  </a:cubicBezTo>
                  <a:cubicBezTo>
                    <a:pt x="210" y="48"/>
                    <a:pt x="209" y="53"/>
                    <a:pt x="209" y="58"/>
                  </a:cubicBezTo>
                  <a:cubicBezTo>
                    <a:pt x="209" y="63"/>
                    <a:pt x="214" y="71"/>
                    <a:pt x="214" y="71"/>
                  </a:cubicBezTo>
                  <a:close/>
                </a:path>
              </a:pathLst>
            </a:custGeom>
            <a:gradFill flip="none" rotWithShape="1">
              <a:gsLst>
                <a:gs pos="60000">
                  <a:srgbClr val="E0F5D6">
                    <a:lumMod val="100000"/>
                  </a:srgbClr>
                </a:gs>
                <a:gs pos="65000">
                  <a:srgbClr val="D9D9D9"/>
                </a:gs>
              </a:gsLst>
              <a:lin ang="0" scaled="0"/>
              <a:tileRect/>
            </a:gra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2" name="Freeform 402"/>
            <p:cNvSpPr>
              <a:spLocks/>
            </p:cNvSpPr>
            <p:nvPr>
              <p:custDataLst>
                <p:tags r:id="rId10"/>
              </p:custDataLst>
            </p:nvPr>
          </p:nvSpPr>
          <p:spPr bwMode="auto">
            <a:xfrm>
              <a:off x="3814199" y="3092656"/>
              <a:ext cx="589718" cy="328194"/>
            </a:xfrm>
            <a:custGeom>
              <a:avLst/>
              <a:gdLst>
                <a:gd name="T0" fmla="*/ 2147483647 w 296"/>
                <a:gd name="T1" fmla="*/ 2147483647 h 165"/>
                <a:gd name="T2" fmla="*/ 2147483647 w 296"/>
                <a:gd name="T3" fmla="*/ 2147483647 h 165"/>
                <a:gd name="T4" fmla="*/ 2147483647 w 296"/>
                <a:gd name="T5" fmla="*/ 2147483647 h 165"/>
                <a:gd name="T6" fmla="*/ 2147483647 w 296"/>
                <a:gd name="T7" fmla="*/ 2147483647 h 165"/>
                <a:gd name="T8" fmla="*/ 2147483647 w 296"/>
                <a:gd name="T9" fmla="*/ 2147483647 h 165"/>
                <a:gd name="T10" fmla="*/ 0 w 296"/>
                <a:gd name="T11" fmla="*/ 2147483647 h 165"/>
                <a:gd name="T12" fmla="*/ 1664746459 w 296"/>
                <a:gd name="T13" fmla="*/ 2147483647 h 165"/>
                <a:gd name="T14" fmla="*/ 2147483647 w 296"/>
                <a:gd name="T15" fmla="*/ 2147483647 h 165"/>
                <a:gd name="T16" fmla="*/ 2147483647 w 296"/>
                <a:gd name="T17" fmla="*/ 2147483647 h 165"/>
                <a:gd name="T18" fmla="*/ 2147483647 w 296"/>
                <a:gd name="T19" fmla="*/ 2147483647 h 165"/>
                <a:gd name="T20" fmla="*/ 2147483647 w 296"/>
                <a:gd name="T21" fmla="*/ 2147483647 h 165"/>
                <a:gd name="T22" fmla="*/ 2147483647 w 296"/>
                <a:gd name="T23" fmla="*/ 2147483647 h 165"/>
                <a:gd name="T24" fmla="*/ 2147483647 w 296"/>
                <a:gd name="T25" fmla="*/ 2147483647 h 165"/>
                <a:gd name="T26" fmla="*/ 2147483647 w 296"/>
                <a:gd name="T27" fmla="*/ 2147483647 h 165"/>
                <a:gd name="T28" fmla="*/ 2147483647 w 296"/>
                <a:gd name="T29" fmla="*/ 2147483647 h 165"/>
                <a:gd name="T30" fmla="*/ 2147483647 w 296"/>
                <a:gd name="T31" fmla="*/ 2147483647 h 165"/>
                <a:gd name="T32" fmla="*/ 2147483647 w 296"/>
                <a:gd name="T33" fmla="*/ 2147483647 h 165"/>
                <a:gd name="T34" fmla="*/ 2147483647 w 296"/>
                <a:gd name="T35" fmla="*/ 1656731799 h 165"/>
                <a:gd name="T36" fmla="*/ 2147483647 w 296"/>
                <a:gd name="T37" fmla="*/ 1656731799 h 165"/>
                <a:gd name="T38" fmla="*/ 2147483647 w 296"/>
                <a:gd name="T39" fmla="*/ 1656731799 h 165"/>
                <a:gd name="T40" fmla="*/ 2147483647 w 296"/>
                <a:gd name="T41" fmla="*/ 1656731799 h 165"/>
                <a:gd name="T42" fmla="*/ 2147483647 w 296"/>
                <a:gd name="T43" fmla="*/ 2147483647 h 165"/>
                <a:gd name="T44" fmla="*/ 2147483647 w 296"/>
                <a:gd name="T45" fmla="*/ 2147483647 h 165"/>
                <a:gd name="T46" fmla="*/ 2147483647 w 296"/>
                <a:gd name="T47" fmla="*/ 2147483647 h 165"/>
                <a:gd name="T48" fmla="*/ 2147483647 w 296"/>
                <a:gd name="T49" fmla="*/ 2147483647 h 165"/>
                <a:gd name="T50" fmla="*/ 2147483647 w 296"/>
                <a:gd name="T51" fmla="*/ 2147483647 h 165"/>
                <a:gd name="T52" fmla="*/ 2147483647 w 296"/>
                <a:gd name="T53" fmla="*/ 2147483647 h 165"/>
                <a:gd name="T54" fmla="*/ 2147483647 w 296"/>
                <a:gd name="T55" fmla="*/ 2147483647 h 165"/>
                <a:gd name="T56" fmla="*/ 2147483647 w 296"/>
                <a:gd name="T57" fmla="*/ 2147483647 h 165"/>
                <a:gd name="T58" fmla="*/ 2147483647 w 296"/>
                <a:gd name="T59" fmla="*/ 2147483647 h 165"/>
                <a:gd name="T60" fmla="*/ 2147483647 w 296"/>
                <a:gd name="T61" fmla="*/ 2147483647 h 165"/>
                <a:gd name="T62" fmla="*/ 2147483647 w 296"/>
                <a:gd name="T63" fmla="*/ 2147483647 h 165"/>
                <a:gd name="T64" fmla="*/ 2147483647 w 296"/>
                <a:gd name="T65" fmla="*/ 2147483647 h 165"/>
                <a:gd name="T66" fmla="*/ 2147483647 w 296"/>
                <a:gd name="T67" fmla="*/ 2147483647 h 165"/>
                <a:gd name="T68" fmla="*/ 2147483647 w 296"/>
                <a:gd name="T69" fmla="*/ 2147483647 h 165"/>
                <a:gd name="T70" fmla="*/ 2147483647 w 296"/>
                <a:gd name="T71" fmla="*/ 2147483647 h 165"/>
                <a:gd name="T72" fmla="*/ 2147483647 w 296"/>
                <a:gd name="T73" fmla="*/ 2147483647 h 16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6"/>
                <a:gd name="T112" fmla="*/ 0 h 165"/>
                <a:gd name="T113" fmla="*/ 296 w 296"/>
                <a:gd name="T114" fmla="*/ 165 h 16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6" h="165">
                  <a:moveTo>
                    <a:pt x="296" y="122"/>
                  </a:moveTo>
                  <a:cubicBezTo>
                    <a:pt x="294" y="122"/>
                    <a:pt x="292" y="123"/>
                    <a:pt x="289" y="123"/>
                  </a:cubicBezTo>
                  <a:cubicBezTo>
                    <a:pt x="287" y="119"/>
                    <a:pt x="285" y="116"/>
                    <a:pt x="284" y="116"/>
                  </a:cubicBezTo>
                  <a:cubicBezTo>
                    <a:pt x="283" y="117"/>
                    <a:pt x="283" y="121"/>
                    <a:pt x="282" y="124"/>
                  </a:cubicBezTo>
                  <a:cubicBezTo>
                    <a:pt x="236" y="133"/>
                    <a:pt x="118" y="154"/>
                    <a:pt x="61" y="160"/>
                  </a:cubicBezTo>
                  <a:cubicBezTo>
                    <a:pt x="45" y="161"/>
                    <a:pt x="24" y="163"/>
                    <a:pt x="0" y="165"/>
                  </a:cubicBezTo>
                  <a:cubicBezTo>
                    <a:pt x="0" y="165"/>
                    <a:pt x="7" y="153"/>
                    <a:pt x="7" y="150"/>
                  </a:cubicBezTo>
                  <a:cubicBezTo>
                    <a:pt x="7" y="146"/>
                    <a:pt x="37" y="115"/>
                    <a:pt x="37" y="115"/>
                  </a:cubicBezTo>
                  <a:cubicBezTo>
                    <a:pt x="42" y="118"/>
                    <a:pt x="52" y="128"/>
                    <a:pt x="56" y="129"/>
                  </a:cubicBezTo>
                  <a:cubicBezTo>
                    <a:pt x="60" y="129"/>
                    <a:pt x="79" y="121"/>
                    <a:pt x="82" y="118"/>
                  </a:cubicBezTo>
                  <a:cubicBezTo>
                    <a:pt x="84" y="116"/>
                    <a:pt x="96" y="111"/>
                    <a:pt x="102" y="111"/>
                  </a:cubicBezTo>
                  <a:cubicBezTo>
                    <a:pt x="108" y="110"/>
                    <a:pt x="106" y="100"/>
                    <a:pt x="106" y="98"/>
                  </a:cubicBezTo>
                  <a:cubicBezTo>
                    <a:pt x="105" y="95"/>
                    <a:pt x="112" y="85"/>
                    <a:pt x="113" y="82"/>
                  </a:cubicBezTo>
                  <a:cubicBezTo>
                    <a:pt x="114" y="80"/>
                    <a:pt x="120" y="54"/>
                    <a:pt x="124" y="51"/>
                  </a:cubicBezTo>
                  <a:cubicBezTo>
                    <a:pt x="127" y="47"/>
                    <a:pt x="135" y="59"/>
                    <a:pt x="141" y="53"/>
                  </a:cubicBezTo>
                  <a:cubicBezTo>
                    <a:pt x="144" y="50"/>
                    <a:pt x="144" y="38"/>
                    <a:pt x="152" y="35"/>
                  </a:cubicBezTo>
                  <a:cubicBezTo>
                    <a:pt x="157" y="33"/>
                    <a:pt x="166" y="19"/>
                    <a:pt x="165" y="16"/>
                  </a:cubicBezTo>
                  <a:cubicBezTo>
                    <a:pt x="164" y="5"/>
                    <a:pt x="164" y="5"/>
                    <a:pt x="164" y="5"/>
                  </a:cubicBezTo>
                  <a:cubicBezTo>
                    <a:pt x="167" y="4"/>
                    <a:pt x="172" y="1"/>
                    <a:pt x="174" y="1"/>
                  </a:cubicBezTo>
                  <a:cubicBezTo>
                    <a:pt x="182" y="0"/>
                    <a:pt x="182" y="9"/>
                    <a:pt x="188" y="11"/>
                  </a:cubicBezTo>
                  <a:cubicBezTo>
                    <a:pt x="195" y="12"/>
                    <a:pt x="206" y="6"/>
                    <a:pt x="208" y="9"/>
                  </a:cubicBezTo>
                  <a:cubicBezTo>
                    <a:pt x="211" y="12"/>
                    <a:pt x="221" y="16"/>
                    <a:pt x="221" y="19"/>
                  </a:cubicBezTo>
                  <a:cubicBezTo>
                    <a:pt x="221" y="21"/>
                    <a:pt x="212" y="32"/>
                    <a:pt x="212" y="37"/>
                  </a:cubicBezTo>
                  <a:cubicBezTo>
                    <a:pt x="212" y="42"/>
                    <a:pt x="216" y="44"/>
                    <a:pt x="216" y="44"/>
                  </a:cubicBezTo>
                  <a:cubicBezTo>
                    <a:pt x="222" y="44"/>
                    <a:pt x="222" y="44"/>
                    <a:pt x="222" y="44"/>
                  </a:cubicBezTo>
                  <a:cubicBezTo>
                    <a:pt x="223" y="45"/>
                    <a:pt x="224" y="47"/>
                    <a:pt x="225" y="50"/>
                  </a:cubicBezTo>
                  <a:cubicBezTo>
                    <a:pt x="228" y="54"/>
                    <a:pt x="235" y="56"/>
                    <a:pt x="239" y="55"/>
                  </a:cubicBezTo>
                  <a:cubicBezTo>
                    <a:pt x="244" y="54"/>
                    <a:pt x="256" y="60"/>
                    <a:pt x="259" y="62"/>
                  </a:cubicBezTo>
                  <a:cubicBezTo>
                    <a:pt x="262" y="64"/>
                    <a:pt x="258" y="72"/>
                    <a:pt x="261" y="78"/>
                  </a:cubicBezTo>
                  <a:cubicBezTo>
                    <a:pt x="264" y="84"/>
                    <a:pt x="263" y="92"/>
                    <a:pt x="263" y="97"/>
                  </a:cubicBezTo>
                  <a:cubicBezTo>
                    <a:pt x="262" y="100"/>
                    <a:pt x="261" y="103"/>
                    <a:pt x="259" y="103"/>
                  </a:cubicBezTo>
                  <a:cubicBezTo>
                    <a:pt x="258" y="102"/>
                    <a:pt x="237" y="92"/>
                    <a:pt x="235" y="99"/>
                  </a:cubicBezTo>
                  <a:cubicBezTo>
                    <a:pt x="233" y="103"/>
                    <a:pt x="236" y="103"/>
                    <a:pt x="239" y="103"/>
                  </a:cubicBezTo>
                  <a:cubicBezTo>
                    <a:pt x="242" y="103"/>
                    <a:pt x="261" y="111"/>
                    <a:pt x="263" y="112"/>
                  </a:cubicBezTo>
                  <a:cubicBezTo>
                    <a:pt x="265" y="113"/>
                    <a:pt x="269" y="105"/>
                    <a:pt x="272" y="106"/>
                  </a:cubicBezTo>
                  <a:cubicBezTo>
                    <a:pt x="276" y="107"/>
                    <a:pt x="284" y="102"/>
                    <a:pt x="286" y="104"/>
                  </a:cubicBezTo>
                  <a:cubicBezTo>
                    <a:pt x="287" y="104"/>
                    <a:pt x="291" y="113"/>
                    <a:pt x="296" y="122"/>
                  </a:cubicBezTo>
                  <a:close/>
                </a:path>
              </a:pathLst>
            </a:custGeom>
            <a:solidFill>
              <a:srgbClr val="D9D9D9"/>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3" name="Freeform 403"/>
            <p:cNvSpPr>
              <a:spLocks/>
            </p:cNvSpPr>
            <p:nvPr/>
          </p:nvSpPr>
          <p:spPr bwMode="auto">
            <a:xfrm>
              <a:off x="4377233" y="3322125"/>
              <a:ext cx="13341" cy="16010"/>
            </a:xfrm>
            <a:custGeom>
              <a:avLst/>
              <a:gdLst>
                <a:gd name="T0" fmla="*/ 1457906711 w 7"/>
                <a:gd name="T1" fmla="*/ 0 h 8"/>
                <a:gd name="T2" fmla="*/ 1457906711 w 7"/>
                <a:gd name="T3" fmla="*/ 2147483647 h 8"/>
                <a:gd name="T4" fmla="*/ 0 w 7"/>
                <a:gd name="T5" fmla="*/ 2147483647 h 8"/>
                <a:gd name="T6" fmla="*/ 1457906711 w 7"/>
                <a:gd name="T7" fmla="*/ 0 h 8"/>
                <a:gd name="T8" fmla="*/ 0 60000 65536"/>
                <a:gd name="T9" fmla="*/ 0 60000 65536"/>
                <a:gd name="T10" fmla="*/ 0 60000 65536"/>
                <a:gd name="T11" fmla="*/ 0 60000 65536"/>
                <a:gd name="T12" fmla="*/ 0 w 7"/>
                <a:gd name="T13" fmla="*/ 0 h 8"/>
                <a:gd name="T14" fmla="*/ 7 w 7"/>
                <a:gd name="T15" fmla="*/ 8 h 8"/>
              </a:gdLst>
              <a:ahLst/>
              <a:cxnLst>
                <a:cxn ang="T8">
                  <a:pos x="T0" y="T1"/>
                </a:cxn>
                <a:cxn ang="T9">
                  <a:pos x="T2" y="T3"/>
                </a:cxn>
                <a:cxn ang="T10">
                  <a:pos x="T4" y="T5"/>
                </a:cxn>
                <a:cxn ang="T11">
                  <a:pos x="T6" y="T7"/>
                </a:cxn>
              </a:cxnLst>
              <a:rect l="T12" t="T13" r="T14" b="T15"/>
              <a:pathLst>
                <a:path w="7" h="8">
                  <a:moveTo>
                    <a:pt x="2" y="0"/>
                  </a:moveTo>
                  <a:cubicBezTo>
                    <a:pt x="3" y="0"/>
                    <a:pt x="5" y="3"/>
                    <a:pt x="7" y="7"/>
                  </a:cubicBezTo>
                  <a:cubicBezTo>
                    <a:pt x="5" y="8"/>
                    <a:pt x="3" y="8"/>
                    <a:pt x="0" y="8"/>
                  </a:cubicBezTo>
                  <a:cubicBezTo>
                    <a:pt x="1" y="5"/>
                    <a:pt x="1" y="1"/>
                    <a:pt x="2" y="0"/>
                  </a:cubicBezTo>
                  <a:close/>
                </a:path>
              </a:pathLst>
            </a:custGeom>
            <a:grp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4" name="Freeform 405"/>
            <p:cNvSpPr>
              <a:spLocks/>
            </p:cNvSpPr>
            <p:nvPr>
              <p:custDataLst>
                <p:tags r:id="rId11"/>
              </p:custDataLst>
            </p:nvPr>
          </p:nvSpPr>
          <p:spPr bwMode="auto">
            <a:xfrm>
              <a:off x="4390574" y="3335466"/>
              <a:ext cx="40027" cy="64038"/>
            </a:xfrm>
            <a:custGeom>
              <a:avLst/>
              <a:gdLst>
                <a:gd name="T0" fmla="*/ 2147483647 w 21"/>
                <a:gd name="T1" fmla="*/ 2147483647 h 32"/>
                <a:gd name="T2" fmla="*/ 2147483647 w 21"/>
                <a:gd name="T3" fmla="*/ 2147483647 h 32"/>
                <a:gd name="T4" fmla="*/ 2147483647 w 21"/>
                <a:gd name="T5" fmla="*/ 2147483647 h 32"/>
                <a:gd name="T6" fmla="*/ 2147483647 w 21"/>
                <a:gd name="T7" fmla="*/ 2147483647 h 32"/>
                <a:gd name="T8" fmla="*/ 2147483647 w 21"/>
                <a:gd name="T9" fmla="*/ 2147483647 h 32"/>
                <a:gd name="T10" fmla="*/ 0 w 21"/>
                <a:gd name="T11" fmla="*/ 2147483647 h 32"/>
                <a:gd name="T12" fmla="*/ 2147483647 w 21"/>
                <a:gd name="T13" fmla="*/ 0 h 32"/>
                <a:gd name="T14" fmla="*/ 2147483647 w 21"/>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2"/>
                <a:gd name="T26" fmla="*/ 21 w 21"/>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2">
                  <a:moveTo>
                    <a:pt x="19" y="25"/>
                  </a:moveTo>
                  <a:cubicBezTo>
                    <a:pt x="20" y="25"/>
                    <a:pt x="20" y="26"/>
                    <a:pt x="21" y="27"/>
                  </a:cubicBezTo>
                  <a:cubicBezTo>
                    <a:pt x="21" y="27"/>
                    <a:pt x="20" y="30"/>
                    <a:pt x="19" y="30"/>
                  </a:cubicBezTo>
                  <a:cubicBezTo>
                    <a:pt x="18" y="31"/>
                    <a:pt x="17" y="32"/>
                    <a:pt x="15" y="30"/>
                  </a:cubicBezTo>
                  <a:cubicBezTo>
                    <a:pt x="14" y="27"/>
                    <a:pt x="13" y="27"/>
                    <a:pt x="13" y="26"/>
                  </a:cubicBezTo>
                  <a:cubicBezTo>
                    <a:pt x="11" y="25"/>
                    <a:pt x="5" y="10"/>
                    <a:pt x="0" y="1"/>
                  </a:cubicBezTo>
                  <a:cubicBezTo>
                    <a:pt x="3" y="1"/>
                    <a:pt x="5" y="0"/>
                    <a:pt x="7" y="0"/>
                  </a:cubicBezTo>
                  <a:cubicBezTo>
                    <a:pt x="12" y="11"/>
                    <a:pt x="18" y="22"/>
                    <a:pt x="19" y="25"/>
                  </a:cubicBezTo>
                  <a:close/>
                </a:path>
              </a:pathLst>
            </a:custGeom>
            <a:grp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5" name="Freeform 406"/>
            <p:cNvSpPr>
              <a:spLocks/>
            </p:cNvSpPr>
            <p:nvPr>
              <p:custDataLst>
                <p:tags r:id="rId12"/>
              </p:custDataLst>
            </p:nvPr>
          </p:nvSpPr>
          <p:spPr bwMode="auto">
            <a:xfrm>
              <a:off x="4401248" y="3404840"/>
              <a:ext cx="50701" cy="88053"/>
            </a:xfrm>
            <a:custGeom>
              <a:avLst/>
              <a:gdLst>
                <a:gd name="T0" fmla="*/ 2147483647 w 25"/>
                <a:gd name="T1" fmla="*/ 2147483647 h 45"/>
                <a:gd name="T2" fmla="*/ 2147483647 w 25"/>
                <a:gd name="T3" fmla="*/ 2147483647 h 45"/>
                <a:gd name="T4" fmla="*/ 2147483647 w 25"/>
                <a:gd name="T5" fmla="*/ 2147483647 h 45"/>
                <a:gd name="T6" fmla="*/ 2147483647 w 25"/>
                <a:gd name="T7" fmla="*/ 2147483647 h 45"/>
                <a:gd name="T8" fmla="*/ 2147483647 w 25"/>
                <a:gd name="T9" fmla="*/ 2147483647 h 45"/>
                <a:gd name="T10" fmla="*/ 2147483647 w 25"/>
                <a:gd name="T11" fmla="*/ 2147483647 h 45"/>
                <a:gd name="T12" fmla="*/ 2147483647 w 25"/>
                <a:gd name="T13" fmla="*/ 2147483647 h 45"/>
                <a:gd name="T14" fmla="*/ 2147483647 w 25"/>
                <a:gd name="T15" fmla="*/ 0 h 45"/>
                <a:gd name="T16" fmla="*/ 2147483647 w 25"/>
                <a:gd name="T17" fmla="*/ 2147483647 h 45"/>
                <a:gd name="T18" fmla="*/ 2147483647 w 25"/>
                <a:gd name="T19" fmla="*/ 2147483647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45"/>
                <a:gd name="T32" fmla="*/ 25 w 25"/>
                <a:gd name="T33" fmla="*/ 45 h 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45">
                  <a:moveTo>
                    <a:pt x="22" y="9"/>
                  </a:moveTo>
                  <a:cubicBezTo>
                    <a:pt x="23" y="14"/>
                    <a:pt x="25" y="26"/>
                    <a:pt x="23" y="30"/>
                  </a:cubicBezTo>
                  <a:cubicBezTo>
                    <a:pt x="22" y="33"/>
                    <a:pt x="8" y="39"/>
                    <a:pt x="1" y="44"/>
                  </a:cubicBezTo>
                  <a:cubicBezTo>
                    <a:pt x="0" y="45"/>
                    <a:pt x="0" y="41"/>
                    <a:pt x="1" y="39"/>
                  </a:cubicBezTo>
                  <a:cubicBezTo>
                    <a:pt x="2" y="38"/>
                    <a:pt x="14" y="26"/>
                    <a:pt x="15" y="25"/>
                  </a:cubicBezTo>
                  <a:cubicBezTo>
                    <a:pt x="17" y="23"/>
                    <a:pt x="16" y="12"/>
                    <a:pt x="16" y="9"/>
                  </a:cubicBezTo>
                  <a:cubicBezTo>
                    <a:pt x="16" y="8"/>
                    <a:pt x="14" y="6"/>
                    <a:pt x="14" y="3"/>
                  </a:cubicBezTo>
                  <a:cubicBezTo>
                    <a:pt x="13" y="1"/>
                    <a:pt x="14" y="0"/>
                    <a:pt x="16" y="0"/>
                  </a:cubicBezTo>
                  <a:cubicBezTo>
                    <a:pt x="18" y="0"/>
                    <a:pt x="19" y="1"/>
                    <a:pt x="19" y="1"/>
                  </a:cubicBezTo>
                  <a:cubicBezTo>
                    <a:pt x="20" y="4"/>
                    <a:pt x="22" y="7"/>
                    <a:pt x="22" y="9"/>
                  </a:cubicBezTo>
                  <a:close/>
                </a:path>
              </a:pathLst>
            </a:custGeom>
            <a:grp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6" name="Freeform 407"/>
            <p:cNvSpPr>
              <a:spLocks/>
            </p:cNvSpPr>
            <p:nvPr>
              <p:custDataLst>
                <p:tags r:id="rId13"/>
              </p:custDataLst>
            </p:nvPr>
          </p:nvSpPr>
          <p:spPr bwMode="auto">
            <a:xfrm>
              <a:off x="3731479" y="3338135"/>
              <a:ext cx="683112" cy="309517"/>
            </a:xfrm>
            <a:custGeom>
              <a:avLst/>
              <a:gdLst>
                <a:gd name="T0" fmla="*/ 2147483647 w 341"/>
                <a:gd name="T1" fmla="*/ 2147483647 h 155"/>
                <a:gd name="T2" fmla="*/ 2147483647 w 341"/>
                <a:gd name="T3" fmla="*/ 2147483647 h 155"/>
                <a:gd name="T4" fmla="*/ 2147483647 w 341"/>
                <a:gd name="T5" fmla="*/ 2147483647 h 155"/>
                <a:gd name="T6" fmla="*/ 2147483647 w 341"/>
                <a:gd name="T7" fmla="*/ 2147483647 h 155"/>
                <a:gd name="T8" fmla="*/ 2147483647 w 341"/>
                <a:gd name="T9" fmla="*/ 2147483647 h 155"/>
                <a:gd name="T10" fmla="*/ 2147483647 w 341"/>
                <a:gd name="T11" fmla="*/ 2147483647 h 155"/>
                <a:gd name="T12" fmla="*/ 2147483647 w 341"/>
                <a:gd name="T13" fmla="*/ 2147483647 h 155"/>
                <a:gd name="T14" fmla="*/ 2147483647 w 341"/>
                <a:gd name="T15" fmla="*/ 2147483647 h 155"/>
                <a:gd name="T16" fmla="*/ 2147483647 w 341"/>
                <a:gd name="T17" fmla="*/ 2147483647 h 155"/>
                <a:gd name="T18" fmla="*/ 2147483647 w 341"/>
                <a:gd name="T19" fmla="*/ 2147483647 h 155"/>
                <a:gd name="T20" fmla="*/ 2147483647 w 341"/>
                <a:gd name="T21" fmla="*/ 2147483647 h 155"/>
                <a:gd name="T22" fmla="*/ 2147483647 w 341"/>
                <a:gd name="T23" fmla="*/ 2147483647 h 155"/>
                <a:gd name="T24" fmla="*/ 2147483647 w 341"/>
                <a:gd name="T25" fmla="*/ 2147483647 h 155"/>
                <a:gd name="T26" fmla="*/ 2147483647 w 341"/>
                <a:gd name="T27" fmla="*/ 2147483647 h 155"/>
                <a:gd name="T28" fmla="*/ 2147483647 w 341"/>
                <a:gd name="T29" fmla="*/ 2147483647 h 155"/>
                <a:gd name="T30" fmla="*/ 2147483647 w 341"/>
                <a:gd name="T31" fmla="*/ 2147483647 h 155"/>
                <a:gd name="T32" fmla="*/ 2147483647 w 341"/>
                <a:gd name="T33" fmla="*/ 2147483647 h 155"/>
                <a:gd name="T34" fmla="*/ 2147483647 w 341"/>
                <a:gd name="T35" fmla="*/ 2147483647 h 155"/>
                <a:gd name="T36" fmla="*/ 2147483647 w 341"/>
                <a:gd name="T37" fmla="*/ 2147483647 h 155"/>
                <a:gd name="T38" fmla="*/ 2147483647 w 341"/>
                <a:gd name="T39" fmla="*/ 2147483647 h 155"/>
                <a:gd name="T40" fmla="*/ 2147483647 w 341"/>
                <a:gd name="T41" fmla="*/ 2147483647 h 155"/>
                <a:gd name="T42" fmla="*/ 2147483647 w 341"/>
                <a:gd name="T43" fmla="*/ 2147483647 h 155"/>
                <a:gd name="T44" fmla="*/ 2147483647 w 341"/>
                <a:gd name="T45" fmla="*/ 2147483647 h 155"/>
                <a:gd name="T46" fmla="*/ 2147483647 w 341"/>
                <a:gd name="T47" fmla="*/ 2147483647 h 155"/>
                <a:gd name="T48" fmla="*/ 2147483647 w 341"/>
                <a:gd name="T49" fmla="*/ 2147483647 h 155"/>
                <a:gd name="T50" fmla="*/ 2147483647 w 341"/>
                <a:gd name="T51" fmla="*/ 2147483647 h 155"/>
                <a:gd name="T52" fmla="*/ 2147483647 w 341"/>
                <a:gd name="T53" fmla="*/ 2147483647 h 155"/>
                <a:gd name="T54" fmla="*/ 2147483647 w 341"/>
                <a:gd name="T55" fmla="*/ 2147483647 h 155"/>
                <a:gd name="T56" fmla="*/ 2147483647 w 341"/>
                <a:gd name="T57" fmla="*/ 2147483647 h 155"/>
                <a:gd name="T58" fmla="*/ 2147483647 w 341"/>
                <a:gd name="T59" fmla="*/ 2147483647 h 155"/>
                <a:gd name="T60" fmla="*/ 2147483647 w 341"/>
                <a:gd name="T61" fmla="*/ 2147483647 h 155"/>
                <a:gd name="T62" fmla="*/ 2147483647 w 341"/>
                <a:gd name="T63" fmla="*/ 2147483647 h 155"/>
                <a:gd name="T64" fmla="*/ 2147483647 w 341"/>
                <a:gd name="T65" fmla="*/ 2147483647 h 155"/>
                <a:gd name="T66" fmla="*/ 2147483647 w 341"/>
                <a:gd name="T67" fmla="*/ 2147483647 h 155"/>
                <a:gd name="T68" fmla="*/ 2147483647 w 341"/>
                <a:gd name="T69" fmla="*/ 2147483647 h 155"/>
                <a:gd name="T70" fmla="*/ 2147483647 w 341"/>
                <a:gd name="T71" fmla="*/ 2147483647 h 155"/>
                <a:gd name="T72" fmla="*/ 2147483647 w 341"/>
                <a:gd name="T73" fmla="*/ 2147483647 h 155"/>
                <a:gd name="T74" fmla="*/ 2147483647 w 341"/>
                <a:gd name="T75" fmla="*/ 2147483647 h 155"/>
                <a:gd name="T76" fmla="*/ 2147483647 w 341"/>
                <a:gd name="T77" fmla="*/ 2147483647 h 155"/>
                <a:gd name="T78" fmla="*/ 2147483647 w 341"/>
                <a:gd name="T79" fmla="*/ 2147483647 h 155"/>
                <a:gd name="T80" fmla="*/ 2147483647 w 341"/>
                <a:gd name="T81" fmla="*/ 2147483647 h 155"/>
                <a:gd name="T82" fmla="*/ 2147483647 w 341"/>
                <a:gd name="T83" fmla="*/ 2147483647 h 155"/>
                <a:gd name="T84" fmla="*/ 2147483647 w 341"/>
                <a:gd name="T85" fmla="*/ 2147483647 h 155"/>
                <a:gd name="T86" fmla="*/ 2147483647 w 341"/>
                <a:gd name="T87" fmla="*/ 2147483647 h 155"/>
                <a:gd name="T88" fmla="*/ 2147483647 w 341"/>
                <a:gd name="T89" fmla="*/ 2147483647 h 155"/>
                <a:gd name="T90" fmla="*/ 2147483647 w 341"/>
                <a:gd name="T91" fmla="*/ 2147483647 h 155"/>
                <a:gd name="T92" fmla="*/ 2147483647 w 341"/>
                <a:gd name="T93" fmla="*/ 2147483647 h 155"/>
                <a:gd name="T94" fmla="*/ 2147483647 w 341"/>
                <a:gd name="T95" fmla="*/ 0 h 155"/>
                <a:gd name="T96" fmla="*/ 2147483647 w 341"/>
                <a:gd name="T97" fmla="*/ 2147483647 h 1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1"/>
                <a:gd name="T148" fmla="*/ 0 h 155"/>
                <a:gd name="T149" fmla="*/ 341 w 341"/>
                <a:gd name="T150" fmla="*/ 155 h 1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1" h="155">
                  <a:moveTo>
                    <a:pt x="322" y="4"/>
                  </a:moveTo>
                  <a:cubicBezTo>
                    <a:pt x="320" y="6"/>
                    <a:pt x="334" y="21"/>
                    <a:pt x="332" y="22"/>
                  </a:cubicBezTo>
                  <a:cubicBezTo>
                    <a:pt x="330" y="23"/>
                    <a:pt x="327" y="19"/>
                    <a:pt x="325" y="20"/>
                  </a:cubicBezTo>
                  <a:cubicBezTo>
                    <a:pt x="322" y="22"/>
                    <a:pt x="313" y="26"/>
                    <a:pt x="309" y="27"/>
                  </a:cubicBezTo>
                  <a:cubicBezTo>
                    <a:pt x="305" y="29"/>
                    <a:pt x="303" y="30"/>
                    <a:pt x="300" y="30"/>
                  </a:cubicBezTo>
                  <a:cubicBezTo>
                    <a:pt x="297" y="30"/>
                    <a:pt x="299" y="39"/>
                    <a:pt x="302" y="39"/>
                  </a:cubicBezTo>
                  <a:cubicBezTo>
                    <a:pt x="304" y="39"/>
                    <a:pt x="315" y="32"/>
                    <a:pt x="321" y="31"/>
                  </a:cubicBezTo>
                  <a:cubicBezTo>
                    <a:pt x="327" y="29"/>
                    <a:pt x="323" y="45"/>
                    <a:pt x="330" y="45"/>
                  </a:cubicBezTo>
                  <a:cubicBezTo>
                    <a:pt x="333" y="45"/>
                    <a:pt x="328" y="29"/>
                    <a:pt x="335" y="31"/>
                  </a:cubicBezTo>
                  <a:cubicBezTo>
                    <a:pt x="338" y="31"/>
                    <a:pt x="341" y="39"/>
                    <a:pt x="341" y="43"/>
                  </a:cubicBezTo>
                  <a:cubicBezTo>
                    <a:pt x="341" y="48"/>
                    <a:pt x="331" y="61"/>
                    <a:pt x="329" y="62"/>
                  </a:cubicBezTo>
                  <a:cubicBezTo>
                    <a:pt x="327" y="63"/>
                    <a:pt x="313" y="59"/>
                    <a:pt x="310" y="59"/>
                  </a:cubicBezTo>
                  <a:cubicBezTo>
                    <a:pt x="307" y="59"/>
                    <a:pt x="302" y="60"/>
                    <a:pt x="298" y="60"/>
                  </a:cubicBezTo>
                  <a:cubicBezTo>
                    <a:pt x="294" y="60"/>
                    <a:pt x="293" y="63"/>
                    <a:pt x="296" y="65"/>
                  </a:cubicBezTo>
                  <a:cubicBezTo>
                    <a:pt x="300" y="67"/>
                    <a:pt x="313" y="67"/>
                    <a:pt x="315" y="68"/>
                  </a:cubicBezTo>
                  <a:cubicBezTo>
                    <a:pt x="317" y="70"/>
                    <a:pt x="315" y="72"/>
                    <a:pt x="315" y="74"/>
                  </a:cubicBezTo>
                  <a:cubicBezTo>
                    <a:pt x="315" y="76"/>
                    <a:pt x="311" y="79"/>
                    <a:pt x="310" y="80"/>
                  </a:cubicBezTo>
                  <a:cubicBezTo>
                    <a:pt x="308" y="82"/>
                    <a:pt x="301" y="81"/>
                    <a:pt x="298" y="82"/>
                  </a:cubicBezTo>
                  <a:cubicBezTo>
                    <a:pt x="295" y="82"/>
                    <a:pt x="296" y="86"/>
                    <a:pt x="298" y="88"/>
                  </a:cubicBezTo>
                  <a:cubicBezTo>
                    <a:pt x="299" y="90"/>
                    <a:pt x="304" y="89"/>
                    <a:pt x="307" y="89"/>
                  </a:cubicBezTo>
                  <a:cubicBezTo>
                    <a:pt x="310" y="89"/>
                    <a:pt x="317" y="82"/>
                    <a:pt x="319" y="81"/>
                  </a:cubicBezTo>
                  <a:cubicBezTo>
                    <a:pt x="321" y="80"/>
                    <a:pt x="327" y="79"/>
                    <a:pt x="329" y="80"/>
                  </a:cubicBezTo>
                  <a:cubicBezTo>
                    <a:pt x="332" y="81"/>
                    <a:pt x="331" y="85"/>
                    <a:pt x="328" y="88"/>
                  </a:cubicBezTo>
                  <a:cubicBezTo>
                    <a:pt x="325" y="91"/>
                    <a:pt x="324" y="106"/>
                    <a:pt x="319" y="106"/>
                  </a:cubicBezTo>
                  <a:cubicBezTo>
                    <a:pt x="316" y="105"/>
                    <a:pt x="315" y="100"/>
                    <a:pt x="313" y="99"/>
                  </a:cubicBezTo>
                  <a:cubicBezTo>
                    <a:pt x="311" y="98"/>
                    <a:pt x="308" y="99"/>
                    <a:pt x="305" y="100"/>
                  </a:cubicBezTo>
                  <a:cubicBezTo>
                    <a:pt x="301" y="101"/>
                    <a:pt x="284" y="117"/>
                    <a:pt x="279" y="122"/>
                  </a:cubicBezTo>
                  <a:cubicBezTo>
                    <a:pt x="275" y="126"/>
                    <a:pt x="273" y="130"/>
                    <a:pt x="272" y="138"/>
                  </a:cubicBezTo>
                  <a:cubicBezTo>
                    <a:pt x="272" y="146"/>
                    <a:pt x="273" y="151"/>
                    <a:pt x="268" y="153"/>
                  </a:cubicBezTo>
                  <a:cubicBezTo>
                    <a:pt x="264" y="155"/>
                    <a:pt x="262" y="147"/>
                    <a:pt x="249" y="151"/>
                  </a:cubicBezTo>
                  <a:cubicBezTo>
                    <a:pt x="248" y="151"/>
                    <a:pt x="246" y="152"/>
                    <a:pt x="245" y="154"/>
                  </a:cubicBezTo>
                  <a:cubicBezTo>
                    <a:pt x="227" y="140"/>
                    <a:pt x="192" y="114"/>
                    <a:pt x="191" y="114"/>
                  </a:cubicBezTo>
                  <a:cubicBezTo>
                    <a:pt x="189" y="114"/>
                    <a:pt x="153" y="120"/>
                    <a:pt x="148" y="120"/>
                  </a:cubicBezTo>
                  <a:cubicBezTo>
                    <a:pt x="143" y="120"/>
                    <a:pt x="148" y="105"/>
                    <a:pt x="135" y="105"/>
                  </a:cubicBezTo>
                  <a:cubicBezTo>
                    <a:pt x="131" y="105"/>
                    <a:pt x="85" y="109"/>
                    <a:pt x="81" y="110"/>
                  </a:cubicBezTo>
                  <a:cubicBezTo>
                    <a:pt x="77" y="110"/>
                    <a:pt x="53" y="124"/>
                    <a:pt x="51" y="124"/>
                  </a:cubicBezTo>
                  <a:cubicBezTo>
                    <a:pt x="51" y="124"/>
                    <a:pt x="50" y="124"/>
                    <a:pt x="48" y="125"/>
                  </a:cubicBezTo>
                  <a:cubicBezTo>
                    <a:pt x="40" y="126"/>
                    <a:pt x="21" y="127"/>
                    <a:pt x="2" y="129"/>
                  </a:cubicBezTo>
                  <a:cubicBezTo>
                    <a:pt x="2" y="129"/>
                    <a:pt x="0" y="121"/>
                    <a:pt x="4" y="116"/>
                  </a:cubicBezTo>
                  <a:cubicBezTo>
                    <a:pt x="8" y="110"/>
                    <a:pt x="11" y="100"/>
                    <a:pt x="19" y="98"/>
                  </a:cubicBezTo>
                  <a:cubicBezTo>
                    <a:pt x="27" y="97"/>
                    <a:pt x="31" y="100"/>
                    <a:pt x="36" y="97"/>
                  </a:cubicBezTo>
                  <a:cubicBezTo>
                    <a:pt x="41" y="94"/>
                    <a:pt x="48" y="78"/>
                    <a:pt x="53" y="74"/>
                  </a:cubicBezTo>
                  <a:cubicBezTo>
                    <a:pt x="57" y="71"/>
                    <a:pt x="61" y="66"/>
                    <a:pt x="65" y="66"/>
                  </a:cubicBezTo>
                  <a:cubicBezTo>
                    <a:pt x="69" y="66"/>
                    <a:pt x="75" y="68"/>
                    <a:pt x="81" y="65"/>
                  </a:cubicBezTo>
                  <a:cubicBezTo>
                    <a:pt x="86" y="62"/>
                    <a:pt x="95" y="52"/>
                    <a:pt x="95" y="52"/>
                  </a:cubicBezTo>
                  <a:cubicBezTo>
                    <a:pt x="99" y="47"/>
                    <a:pt x="99" y="47"/>
                    <a:pt x="99" y="47"/>
                  </a:cubicBezTo>
                  <a:cubicBezTo>
                    <a:pt x="102" y="44"/>
                    <a:pt x="101" y="36"/>
                    <a:pt x="101" y="36"/>
                  </a:cubicBezTo>
                  <a:cubicBezTo>
                    <a:pt x="158" y="30"/>
                    <a:pt x="276" y="9"/>
                    <a:pt x="322" y="0"/>
                  </a:cubicBezTo>
                  <a:cubicBezTo>
                    <a:pt x="322" y="2"/>
                    <a:pt x="322" y="3"/>
                    <a:pt x="322" y="4"/>
                  </a:cubicBezTo>
                  <a:close/>
                </a:path>
              </a:pathLst>
            </a:custGeom>
            <a:solidFill>
              <a:srgbClr val="575F9F"/>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7" name="Freeform 408"/>
            <p:cNvSpPr>
              <a:spLocks/>
            </p:cNvSpPr>
            <p:nvPr>
              <p:custDataLst>
                <p:tags r:id="rId14"/>
              </p:custDataLst>
            </p:nvPr>
          </p:nvSpPr>
          <p:spPr bwMode="auto">
            <a:xfrm>
              <a:off x="4051688" y="3025949"/>
              <a:ext cx="365571" cy="248148"/>
            </a:xfrm>
            <a:custGeom>
              <a:avLst/>
              <a:gdLst>
                <a:gd name="T0" fmla="*/ 2147483647 w 182"/>
                <a:gd name="T1" fmla="*/ 2147483647 h 125"/>
                <a:gd name="T2" fmla="*/ 2147483647 w 182"/>
                <a:gd name="T3" fmla="*/ 2147483647 h 125"/>
                <a:gd name="T4" fmla="*/ 2147483647 w 182"/>
                <a:gd name="T5" fmla="*/ 2147483647 h 125"/>
                <a:gd name="T6" fmla="*/ 2147483647 w 182"/>
                <a:gd name="T7" fmla="*/ 2147483647 h 125"/>
                <a:gd name="T8" fmla="*/ 1706442436 w 182"/>
                <a:gd name="T9" fmla="*/ 2147483647 h 125"/>
                <a:gd name="T10" fmla="*/ 0 w 182"/>
                <a:gd name="T11" fmla="*/ 2147483647 h 125"/>
                <a:gd name="T12" fmla="*/ 2147483647 w 182"/>
                <a:gd name="T13" fmla="*/ 0 h 125"/>
                <a:gd name="T14" fmla="*/ 2147483647 w 182"/>
                <a:gd name="T15" fmla="*/ 2147483647 h 125"/>
                <a:gd name="T16" fmla="*/ 2147483647 w 182"/>
                <a:gd name="T17" fmla="*/ 2147483647 h 125"/>
                <a:gd name="T18" fmla="*/ 2147483647 w 182"/>
                <a:gd name="T19" fmla="*/ 2147483647 h 125"/>
                <a:gd name="T20" fmla="*/ 2147483647 w 182"/>
                <a:gd name="T21" fmla="*/ 2147483647 h 125"/>
                <a:gd name="T22" fmla="*/ 2147483647 w 182"/>
                <a:gd name="T23" fmla="*/ 2147483647 h 125"/>
                <a:gd name="T24" fmla="*/ 2147483647 w 182"/>
                <a:gd name="T25" fmla="*/ 2147483647 h 125"/>
                <a:gd name="T26" fmla="*/ 2147483647 w 182"/>
                <a:gd name="T27" fmla="*/ 2147483647 h 125"/>
                <a:gd name="T28" fmla="*/ 2147483647 w 182"/>
                <a:gd name="T29" fmla="*/ 2147483647 h 125"/>
                <a:gd name="T30" fmla="*/ 2147483647 w 182"/>
                <a:gd name="T31" fmla="*/ 2147483647 h 125"/>
                <a:gd name="T32" fmla="*/ 2147483647 w 182"/>
                <a:gd name="T33" fmla="*/ 2147483647 h 125"/>
                <a:gd name="T34" fmla="*/ 2147483647 w 182"/>
                <a:gd name="T35" fmla="*/ 2147483647 h 125"/>
                <a:gd name="T36" fmla="*/ 2147483647 w 182"/>
                <a:gd name="T37" fmla="*/ 2147483647 h 125"/>
                <a:gd name="T38" fmla="*/ 2147483647 w 182"/>
                <a:gd name="T39" fmla="*/ 2147483647 h 125"/>
                <a:gd name="T40" fmla="*/ 2147483647 w 182"/>
                <a:gd name="T41" fmla="*/ 2147483647 h 125"/>
                <a:gd name="T42" fmla="*/ 2147483647 w 182"/>
                <a:gd name="T43" fmla="*/ 2147483647 h 125"/>
                <a:gd name="T44" fmla="*/ 2147483647 w 182"/>
                <a:gd name="T45" fmla="*/ 2147483647 h 125"/>
                <a:gd name="T46" fmla="*/ 2147483647 w 182"/>
                <a:gd name="T47" fmla="*/ 2147483647 h 125"/>
                <a:gd name="T48" fmla="*/ 2147483647 w 182"/>
                <a:gd name="T49" fmla="*/ 2147483647 h 125"/>
                <a:gd name="T50" fmla="*/ 2147483647 w 182"/>
                <a:gd name="T51" fmla="*/ 2147483647 h 125"/>
                <a:gd name="T52" fmla="*/ 2147483647 w 182"/>
                <a:gd name="T53" fmla="*/ 2147483647 h 125"/>
                <a:gd name="T54" fmla="*/ 2147483647 w 182"/>
                <a:gd name="T55" fmla="*/ 2147483647 h 125"/>
                <a:gd name="T56" fmla="*/ 2147483647 w 182"/>
                <a:gd name="T57" fmla="*/ 2147483647 h 125"/>
                <a:gd name="T58" fmla="*/ 2147483647 w 182"/>
                <a:gd name="T59" fmla="*/ 2147483647 h 125"/>
                <a:gd name="T60" fmla="*/ 2147483647 w 182"/>
                <a:gd name="T61" fmla="*/ 2147483647 h 125"/>
                <a:gd name="T62" fmla="*/ 2147483647 w 182"/>
                <a:gd name="T63" fmla="*/ 2147483647 h 125"/>
                <a:gd name="T64" fmla="*/ 2147483647 w 182"/>
                <a:gd name="T65" fmla="*/ 2147483647 h 125"/>
                <a:gd name="T66" fmla="*/ 2147483647 w 182"/>
                <a:gd name="T67" fmla="*/ 2147483647 h 125"/>
                <a:gd name="T68" fmla="*/ 2147483647 w 182"/>
                <a:gd name="T69" fmla="*/ 2147483647 h 125"/>
                <a:gd name="T70" fmla="*/ 2147483647 w 182"/>
                <a:gd name="T71" fmla="*/ 2147483647 h 125"/>
                <a:gd name="T72" fmla="*/ 2147483647 w 182"/>
                <a:gd name="T73" fmla="*/ 2147483647 h 125"/>
                <a:gd name="T74" fmla="*/ 2147483647 w 182"/>
                <a:gd name="T75" fmla="*/ 2147483647 h 125"/>
                <a:gd name="T76" fmla="*/ 2147483647 w 182"/>
                <a:gd name="T77" fmla="*/ 2147483647 h 125"/>
                <a:gd name="T78" fmla="*/ 2147483647 w 182"/>
                <a:gd name="T79" fmla="*/ 2147483647 h 125"/>
                <a:gd name="T80" fmla="*/ 2147483647 w 182"/>
                <a:gd name="T81" fmla="*/ 2147483647 h 125"/>
                <a:gd name="T82" fmla="*/ 2147483647 w 182"/>
                <a:gd name="T83" fmla="*/ 2147483647 h 125"/>
                <a:gd name="T84" fmla="*/ 2147483647 w 182"/>
                <a:gd name="T85" fmla="*/ 2147483647 h 125"/>
                <a:gd name="T86" fmla="*/ 2147483647 w 182"/>
                <a:gd name="T87" fmla="*/ 2147483647 h 125"/>
                <a:gd name="T88" fmla="*/ 2147483647 w 182"/>
                <a:gd name="T89" fmla="*/ 2147483647 h 125"/>
                <a:gd name="T90" fmla="*/ 2147483647 w 182"/>
                <a:gd name="T91" fmla="*/ 2147483647 h 12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82"/>
                <a:gd name="T139" fmla="*/ 0 h 125"/>
                <a:gd name="T140" fmla="*/ 182 w 182"/>
                <a:gd name="T141" fmla="*/ 125 h 12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82" h="125">
                  <a:moveTo>
                    <a:pt x="44" y="38"/>
                  </a:moveTo>
                  <a:cubicBezTo>
                    <a:pt x="42" y="39"/>
                    <a:pt x="40" y="40"/>
                    <a:pt x="39" y="39"/>
                  </a:cubicBezTo>
                  <a:cubicBezTo>
                    <a:pt x="36" y="39"/>
                    <a:pt x="26" y="34"/>
                    <a:pt x="24" y="35"/>
                  </a:cubicBezTo>
                  <a:cubicBezTo>
                    <a:pt x="23" y="36"/>
                    <a:pt x="5" y="58"/>
                    <a:pt x="4" y="55"/>
                  </a:cubicBezTo>
                  <a:cubicBezTo>
                    <a:pt x="4" y="51"/>
                    <a:pt x="1" y="36"/>
                    <a:pt x="1" y="33"/>
                  </a:cubicBezTo>
                  <a:cubicBezTo>
                    <a:pt x="0" y="24"/>
                    <a:pt x="0" y="24"/>
                    <a:pt x="0" y="24"/>
                  </a:cubicBezTo>
                  <a:cubicBezTo>
                    <a:pt x="139" y="0"/>
                    <a:pt x="139" y="0"/>
                    <a:pt x="139" y="0"/>
                  </a:cubicBezTo>
                  <a:cubicBezTo>
                    <a:pt x="156" y="61"/>
                    <a:pt x="156" y="61"/>
                    <a:pt x="156" y="61"/>
                  </a:cubicBezTo>
                  <a:cubicBezTo>
                    <a:pt x="180" y="56"/>
                    <a:pt x="180" y="56"/>
                    <a:pt x="180" y="56"/>
                  </a:cubicBezTo>
                  <a:cubicBezTo>
                    <a:pt x="182" y="66"/>
                    <a:pt x="177" y="81"/>
                    <a:pt x="173" y="87"/>
                  </a:cubicBezTo>
                  <a:cubicBezTo>
                    <a:pt x="169" y="93"/>
                    <a:pt x="166" y="106"/>
                    <a:pt x="164" y="115"/>
                  </a:cubicBezTo>
                  <a:cubicBezTo>
                    <a:pt x="163" y="124"/>
                    <a:pt x="161" y="125"/>
                    <a:pt x="159" y="125"/>
                  </a:cubicBezTo>
                  <a:cubicBezTo>
                    <a:pt x="157" y="125"/>
                    <a:pt x="157" y="120"/>
                    <a:pt x="155" y="118"/>
                  </a:cubicBezTo>
                  <a:cubicBezTo>
                    <a:pt x="154" y="116"/>
                    <a:pt x="154" y="114"/>
                    <a:pt x="155" y="109"/>
                  </a:cubicBezTo>
                  <a:cubicBezTo>
                    <a:pt x="156" y="105"/>
                    <a:pt x="158" y="100"/>
                    <a:pt x="159" y="97"/>
                  </a:cubicBezTo>
                  <a:cubicBezTo>
                    <a:pt x="160" y="93"/>
                    <a:pt x="164" y="89"/>
                    <a:pt x="159" y="86"/>
                  </a:cubicBezTo>
                  <a:cubicBezTo>
                    <a:pt x="158" y="85"/>
                    <a:pt x="152" y="93"/>
                    <a:pt x="151" y="90"/>
                  </a:cubicBezTo>
                  <a:cubicBezTo>
                    <a:pt x="149" y="88"/>
                    <a:pt x="151" y="85"/>
                    <a:pt x="153" y="81"/>
                  </a:cubicBezTo>
                  <a:cubicBezTo>
                    <a:pt x="154" y="78"/>
                    <a:pt x="149" y="70"/>
                    <a:pt x="147" y="70"/>
                  </a:cubicBezTo>
                  <a:cubicBezTo>
                    <a:pt x="144" y="69"/>
                    <a:pt x="145" y="74"/>
                    <a:pt x="142" y="75"/>
                  </a:cubicBezTo>
                  <a:cubicBezTo>
                    <a:pt x="139" y="75"/>
                    <a:pt x="138" y="71"/>
                    <a:pt x="137" y="68"/>
                  </a:cubicBezTo>
                  <a:cubicBezTo>
                    <a:pt x="135" y="66"/>
                    <a:pt x="136" y="62"/>
                    <a:pt x="136" y="59"/>
                  </a:cubicBezTo>
                  <a:cubicBezTo>
                    <a:pt x="136" y="56"/>
                    <a:pt x="131" y="57"/>
                    <a:pt x="130" y="54"/>
                  </a:cubicBezTo>
                  <a:cubicBezTo>
                    <a:pt x="128" y="51"/>
                    <a:pt x="133" y="48"/>
                    <a:pt x="133" y="45"/>
                  </a:cubicBezTo>
                  <a:cubicBezTo>
                    <a:pt x="133" y="41"/>
                    <a:pt x="126" y="45"/>
                    <a:pt x="126" y="42"/>
                  </a:cubicBezTo>
                  <a:cubicBezTo>
                    <a:pt x="126" y="40"/>
                    <a:pt x="127" y="35"/>
                    <a:pt x="128" y="30"/>
                  </a:cubicBezTo>
                  <a:cubicBezTo>
                    <a:pt x="128" y="25"/>
                    <a:pt x="134" y="18"/>
                    <a:pt x="135" y="17"/>
                  </a:cubicBezTo>
                  <a:cubicBezTo>
                    <a:pt x="136" y="16"/>
                    <a:pt x="136" y="13"/>
                    <a:pt x="135" y="12"/>
                  </a:cubicBezTo>
                  <a:cubicBezTo>
                    <a:pt x="134" y="11"/>
                    <a:pt x="133" y="10"/>
                    <a:pt x="131" y="13"/>
                  </a:cubicBezTo>
                  <a:cubicBezTo>
                    <a:pt x="128" y="15"/>
                    <a:pt x="117" y="25"/>
                    <a:pt x="114" y="29"/>
                  </a:cubicBezTo>
                  <a:cubicBezTo>
                    <a:pt x="112" y="33"/>
                    <a:pt x="117" y="35"/>
                    <a:pt x="119" y="39"/>
                  </a:cubicBezTo>
                  <a:cubicBezTo>
                    <a:pt x="121" y="42"/>
                    <a:pt x="119" y="50"/>
                    <a:pt x="119" y="56"/>
                  </a:cubicBezTo>
                  <a:cubicBezTo>
                    <a:pt x="119" y="63"/>
                    <a:pt x="127" y="67"/>
                    <a:pt x="129" y="70"/>
                  </a:cubicBezTo>
                  <a:cubicBezTo>
                    <a:pt x="131" y="72"/>
                    <a:pt x="136" y="85"/>
                    <a:pt x="135" y="85"/>
                  </a:cubicBezTo>
                  <a:cubicBezTo>
                    <a:pt x="134" y="85"/>
                    <a:pt x="127" y="81"/>
                    <a:pt x="124" y="80"/>
                  </a:cubicBezTo>
                  <a:cubicBezTo>
                    <a:pt x="122" y="79"/>
                    <a:pt x="117" y="80"/>
                    <a:pt x="113" y="78"/>
                  </a:cubicBezTo>
                  <a:cubicBezTo>
                    <a:pt x="108" y="76"/>
                    <a:pt x="106" y="71"/>
                    <a:pt x="102" y="71"/>
                  </a:cubicBezTo>
                  <a:cubicBezTo>
                    <a:pt x="98" y="70"/>
                    <a:pt x="98" y="76"/>
                    <a:pt x="100" y="76"/>
                  </a:cubicBezTo>
                  <a:cubicBezTo>
                    <a:pt x="101" y="76"/>
                    <a:pt x="101" y="76"/>
                    <a:pt x="102" y="77"/>
                  </a:cubicBezTo>
                  <a:cubicBezTo>
                    <a:pt x="96" y="77"/>
                    <a:pt x="96" y="77"/>
                    <a:pt x="96" y="77"/>
                  </a:cubicBezTo>
                  <a:cubicBezTo>
                    <a:pt x="96" y="77"/>
                    <a:pt x="92" y="75"/>
                    <a:pt x="92" y="70"/>
                  </a:cubicBezTo>
                  <a:cubicBezTo>
                    <a:pt x="92" y="65"/>
                    <a:pt x="101" y="54"/>
                    <a:pt x="101" y="52"/>
                  </a:cubicBezTo>
                  <a:cubicBezTo>
                    <a:pt x="101" y="49"/>
                    <a:pt x="91" y="45"/>
                    <a:pt x="88" y="42"/>
                  </a:cubicBezTo>
                  <a:cubicBezTo>
                    <a:pt x="86" y="39"/>
                    <a:pt x="75" y="45"/>
                    <a:pt x="68" y="44"/>
                  </a:cubicBezTo>
                  <a:cubicBezTo>
                    <a:pt x="62" y="42"/>
                    <a:pt x="62" y="33"/>
                    <a:pt x="54" y="34"/>
                  </a:cubicBezTo>
                  <a:cubicBezTo>
                    <a:pt x="52" y="34"/>
                    <a:pt x="47" y="37"/>
                    <a:pt x="44" y="38"/>
                  </a:cubicBezTo>
                  <a:close/>
                </a:path>
              </a:pathLst>
            </a:custGeom>
            <a:solidFill>
              <a:srgbClr val="D9D9D9"/>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8" name="Freeform 409"/>
            <p:cNvSpPr>
              <a:spLocks/>
            </p:cNvSpPr>
            <p:nvPr>
              <p:custDataLst>
                <p:tags r:id="rId15"/>
              </p:custDataLst>
            </p:nvPr>
          </p:nvSpPr>
          <p:spPr bwMode="auto">
            <a:xfrm>
              <a:off x="3816868" y="3548926"/>
              <a:ext cx="405598" cy="312186"/>
            </a:xfrm>
            <a:custGeom>
              <a:avLst/>
              <a:gdLst>
                <a:gd name="T0" fmla="*/ 2147483647 w 203"/>
                <a:gd name="T1" fmla="*/ 2147483647 h 156"/>
                <a:gd name="T2" fmla="*/ 2147483647 w 203"/>
                <a:gd name="T3" fmla="*/ 2147483647 h 156"/>
                <a:gd name="T4" fmla="*/ 2147483647 w 203"/>
                <a:gd name="T5" fmla="*/ 2147483647 h 156"/>
                <a:gd name="T6" fmla="*/ 2147483647 w 203"/>
                <a:gd name="T7" fmla="*/ 2147483647 h 156"/>
                <a:gd name="T8" fmla="*/ 2147483647 w 203"/>
                <a:gd name="T9" fmla="*/ 2147483647 h 156"/>
                <a:gd name="T10" fmla="*/ 2147483647 w 203"/>
                <a:gd name="T11" fmla="*/ 2147483647 h 156"/>
                <a:gd name="T12" fmla="*/ 2147483647 w 203"/>
                <a:gd name="T13" fmla="*/ 2147483647 h 156"/>
                <a:gd name="T14" fmla="*/ 2147483647 w 203"/>
                <a:gd name="T15" fmla="*/ 2147483647 h 156"/>
                <a:gd name="T16" fmla="*/ 2147483647 w 203"/>
                <a:gd name="T17" fmla="*/ 2147483647 h 156"/>
                <a:gd name="T18" fmla="*/ 2147483647 w 203"/>
                <a:gd name="T19" fmla="*/ 2147483647 h 156"/>
                <a:gd name="T20" fmla="*/ 2147483647 w 203"/>
                <a:gd name="T21" fmla="*/ 2147483647 h 156"/>
                <a:gd name="T22" fmla="*/ 2147483647 w 203"/>
                <a:gd name="T23" fmla="*/ 2147483647 h 156"/>
                <a:gd name="T24" fmla="*/ 2147483647 w 203"/>
                <a:gd name="T25" fmla="*/ 2147483647 h 156"/>
                <a:gd name="T26" fmla="*/ 2147483647 w 203"/>
                <a:gd name="T27" fmla="*/ 2147483647 h 156"/>
                <a:gd name="T28" fmla="*/ 2147483647 w 203"/>
                <a:gd name="T29" fmla="*/ 2147483647 h 156"/>
                <a:gd name="T30" fmla="*/ 2147483647 w 203"/>
                <a:gd name="T31" fmla="*/ 2147483647 h 156"/>
                <a:gd name="T32" fmla="*/ 2147483647 w 203"/>
                <a:gd name="T33" fmla="*/ 2147483647 h 156"/>
                <a:gd name="T34" fmla="*/ 2147483647 w 203"/>
                <a:gd name="T35" fmla="*/ 2147483647 h 156"/>
                <a:gd name="T36" fmla="*/ 2147483647 w 203"/>
                <a:gd name="T37" fmla="*/ 2147483647 h 156"/>
                <a:gd name="T38" fmla="*/ 1679981713 w 203"/>
                <a:gd name="T39" fmla="*/ 2147483647 h 156"/>
                <a:gd name="T40" fmla="*/ 1679981713 w 203"/>
                <a:gd name="T41" fmla="*/ 2147483647 h 156"/>
                <a:gd name="T42" fmla="*/ 1679981713 w 203"/>
                <a:gd name="T43" fmla="*/ 2147483647 h 156"/>
                <a:gd name="T44" fmla="*/ 2147483647 w 203"/>
                <a:gd name="T45" fmla="*/ 2147483647 h 156"/>
                <a:gd name="T46" fmla="*/ 2147483647 w 203"/>
                <a:gd name="T47" fmla="*/ 0 h 156"/>
                <a:gd name="T48" fmla="*/ 2147483647 w 203"/>
                <a:gd name="T49" fmla="*/ 2147483647 h 156"/>
                <a:gd name="T50" fmla="*/ 2147483647 w 203"/>
                <a:gd name="T51" fmla="*/ 2147483647 h 156"/>
                <a:gd name="T52" fmla="*/ 2147483647 w 203"/>
                <a:gd name="T53" fmla="*/ 2147483647 h 1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3"/>
                <a:gd name="T82" fmla="*/ 0 h 156"/>
                <a:gd name="T83" fmla="*/ 203 w 203"/>
                <a:gd name="T84" fmla="*/ 156 h 15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3" h="156">
                  <a:moveTo>
                    <a:pt x="203" y="49"/>
                  </a:moveTo>
                  <a:cubicBezTo>
                    <a:pt x="198" y="52"/>
                    <a:pt x="193" y="57"/>
                    <a:pt x="189" y="62"/>
                  </a:cubicBezTo>
                  <a:cubicBezTo>
                    <a:pt x="183" y="69"/>
                    <a:pt x="185" y="84"/>
                    <a:pt x="184" y="88"/>
                  </a:cubicBezTo>
                  <a:cubicBezTo>
                    <a:pt x="183" y="92"/>
                    <a:pt x="180" y="96"/>
                    <a:pt x="177" y="98"/>
                  </a:cubicBezTo>
                  <a:cubicBezTo>
                    <a:pt x="175" y="101"/>
                    <a:pt x="169" y="99"/>
                    <a:pt x="166" y="101"/>
                  </a:cubicBezTo>
                  <a:cubicBezTo>
                    <a:pt x="163" y="102"/>
                    <a:pt x="156" y="116"/>
                    <a:pt x="155" y="119"/>
                  </a:cubicBezTo>
                  <a:cubicBezTo>
                    <a:pt x="154" y="122"/>
                    <a:pt x="147" y="126"/>
                    <a:pt x="142" y="127"/>
                  </a:cubicBezTo>
                  <a:cubicBezTo>
                    <a:pt x="137" y="128"/>
                    <a:pt x="134" y="124"/>
                    <a:pt x="132" y="127"/>
                  </a:cubicBezTo>
                  <a:cubicBezTo>
                    <a:pt x="130" y="129"/>
                    <a:pt x="137" y="135"/>
                    <a:pt x="134" y="139"/>
                  </a:cubicBezTo>
                  <a:cubicBezTo>
                    <a:pt x="131" y="142"/>
                    <a:pt x="118" y="129"/>
                    <a:pt x="116" y="132"/>
                  </a:cubicBezTo>
                  <a:cubicBezTo>
                    <a:pt x="114" y="134"/>
                    <a:pt x="124" y="144"/>
                    <a:pt x="124" y="147"/>
                  </a:cubicBezTo>
                  <a:cubicBezTo>
                    <a:pt x="125" y="150"/>
                    <a:pt x="123" y="152"/>
                    <a:pt x="119" y="156"/>
                  </a:cubicBezTo>
                  <a:cubicBezTo>
                    <a:pt x="113" y="153"/>
                    <a:pt x="107" y="149"/>
                    <a:pt x="107" y="147"/>
                  </a:cubicBezTo>
                  <a:cubicBezTo>
                    <a:pt x="107" y="143"/>
                    <a:pt x="106" y="136"/>
                    <a:pt x="100" y="131"/>
                  </a:cubicBezTo>
                  <a:cubicBezTo>
                    <a:pt x="94" y="125"/>
                    <a:pt x="87" y="117"/>
                    <a:pt x="87" y="111"/>
                  </a:cubicBezTo>
                  <a:cubicBezTo>
                    <a:pt x="87" y="106"/>
                    <a:pt x="76" y="105"/>
                    <a:pt x="69" y="100"/>
                  </a:cubicBezTo>
                  <a:cubicBezTo>
                    <a:pt x="61" y="95"/>
                    <a:pt x="66" y="84"/>
                    <a:pt x="61" y="81"/>
                  </a:cubicBezTo>
                  <a:cubicBezTo>
                    <a:pt x="57" y="79"/>
                    <a:pt x="47" y="75"/>
                    <a:pt x="41" y="70"/>
                  </a:cubicBezTo>
                  <a:cubicBezTo>
                    <a:pt x="36" y="65"/>
                    <a:pt x="26" y="51"/>
                    <a:pt x="23" y="47"/>
                  </a:cubicBezTo>
                  <a:cubicBezTo>
                    <a:pt x="19" y="44"/>
                    <a:pt x="6" y="43"/>
                    <a:pt x="3" y="38"/>
                  </a:cubicBezTo>
                  <a:cubicBezTo>
                    <a:pt x="3" y="38"/>
                    <a:pt x="0" y="26"/>
                    <a:pt x="6" y="20"/>
                  </a:cubicBezTo>
                  <a:cubicBezTo>
                    <a:pt x="8" y="19"/>
                    <a:pt x="9" y="19"/>
                    <a:pt x="9" y="19"/>
                  </a:cubicBezTo>
                  <a:cubicBezTo>
                    <a:pt x="11" y="19"/>
                    <a:pt x="35" y="5"/>
                    <a:pt x="39" y="5"/>
                  </a:cubicBezTo>
                  <a:cubicBezTo>
                    <a:pt x="43" y="4"/>
                    <a:pt x="89" y="0"/>
                    <a:pt x="93" y="0"/>
                  </a:cubicBezTo>
                  <a:cubicBezTo>
                    <a:pt x="106" y="0"/>
                    <a:pt x="101" y="15"/>
                    <a:pt x="106" y="15"/>
                  </a:cubicBezTo>
                  <a:cubicBezTo>
                    <a:pt x="111" y="15"/>
                    <a:pt x="147" y="9"/>
                    <a:pt x="149" y="9"/>
                  </a:cubicBezTo>
                  <a:cubicBezTo>
                    <a:pt x="150" y="9"/>
                    <a:pt x="185" y="35"/>
                    <a:pt x="203" y="49"/>
                  </a:cubicBezTo>
                  <a:close/>
                </a:path>
              </a:pathLst>
            </a:custGeom>
            <a:solidFill>
              <a:srgbClr val="575F9F"/>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9" name="Freeform 410"/>
            <p:cNvSpPr>
              <a:spLocks/>
            </p:cNvSpPr>
            <p:nvPr>
              <p:custDataLst>
                <p:tags r:id="rId16"/>
              </p:custDataLst>
            </p:nvPr>
          </p:nvSpPr>
          <p:spPr bwMode="auto">
            <a:xfrm>
              <a:off x="3835546" y="2996599"/>
              <a:ext cx="309535" cy="352209"/>
            </a:xfrm>
            <a:custGeom>
              <a:avLst/>
              <a:gdLst>
                <a:gd name="T0" fmla="*/ 2147483647 w 155"/>
                <a:gd name="T1" fmla="*/ 2147483647 h 177"/>
                <a:gd name="T2" fmla="*/ 2147483647 w 155"/>
                <a:gd name="T3" fmla="*/ 2147483647 h 177"/>
                <a:gd name="T4" fmla="*/ 2147483647 w 155"/>
                <a:gd name="T5" fmla="*/ 2147483647 h 177"/>
                <a:gd name="T6" fmla="*/ 2147483647 w 155"/>
                <a:gd name="T7" fmla="*/ 2147483647 h 177"/>
                <a:gd name="T8" fmla="*/ 2147483647 w 155"/>
                <a:gd name="T9" fmla="*/ 2147483647 h 177"/>
                <a:gd name="T10" fmla="*/ 2147483647 w 155"/>
                <a:gd name="T11" fmla="*/ 2147483647 h 177"/>
                <a:gd name="T12" fmla="*/ 2147483647 w 155"/>
                <a:gd name="T13" fmla="*/ 2147483647 h 177"/>
                <a:gd name="T14" fmla="*/ 2147483647 w 155"/>
                <a:gd name="T15" fmla="*/ 2147483647 h 177"/>
                <a:gd name="T16" fmla="*/ 2147483647 w 155"/>
                <a:gd name="T17" fmla="*/ 2147483647 h 177"/>
                <a:gd name="T18" fmla="*/ 2147483647 w 155"/>
                <a:gd name="T19" fmla="*/ 2147483647 h 177"/>
                <a:gd name="T20" fmla="*/ 1676859207 w 155"/>
                <a:gd name="T21" fmla="*/ 2147483647 h 177"/>
                <a:gd name="T22" fmla="*/ 0 w 155"/>
                <a:gd name="T23" fmla="*/ 2147483647 h 177"/>
                <a:gd name="T24" fmla="*/ 1676859207 w 155"/>
                <a:gd name="T25" fmla="*/ 2147483647 h 177"/>
                <a:gd name="T26" fmla="*/ 2147483647 w 155"/>
                <a:gd name="T27" fmla="*/ 2147483647 h 177"/>
                <a:gd name="T28" fmla="*/ 2147483647 w 155"/>
                <a:gd name="T29" fmla="*/ 2147483647 h 177"/>
                <a:gd name="T30" fmla="*/ 2147483647 w 155"/>
                <a:gd name="T31" fmla="*/ 2147483647 h 177"/>
                <a:gd name="T32" fmla="*/ 2147483647 w 155"/>
                <a:gd name="T33" fmla="*/ 2147483647 h 177"/>
                <a:gd name="T34" fmla="*/ 2147483647 w 155"/>
                <a:gd name="T35" fmla="*/ 1659512875 h 177"/>
                <a:gd name="T36" fmla="*/ 2147483647 w 155"/>
                <a:gd name="T37" fmla="*/ 1659512875 h 177"/>
                <a:gd name="T38" fmla="*/ 2147483647 w 155"/>
                <a:gd name="T39" fmla="*/ 2147483647 h 177"/>
                <a:gd name="T40" fmla="*/ 2147483647 w 155"/>
                <a:gd name="T41" fmla="*/ 2147483647 h 177"/>
                <a:gd name="T42" fmla="*/ 2147483647 w 155"/>
                <a:gd name="T43" fmla="*/ 2147483647 h 177"/>
                <a:gd name="T44" fmla="*/ 2147483647 w 155"/>
                <a:gd name="T45" fmla="*/ 2147483647 h 177"/>
                <a:gd name="T46" fmla="*/ 2147483647 w 155"/>
                <a:gd name="T47" fmla="*/ 2147483647 h 177"/>
                <a:gd name="T48" fmla="*/ 2147483647 w 155"/>
                <a:gd name="T49" fmla="*/ 2147483647 h 177"/>
                <a:gd name="T50" fmla="*/ 2147483647 w 155"/>
                <a:gd name="T51" fmla="*/ 2147483647 h 177"/>
                <a:gd name="T52" fmla="*/ 2147483647 w 155"/>
                <a:gd name="T53" fmla="*/ 2147483647 h 17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5"/>
                <a:gd name="T82" fmla="*/ 0 h 177"/>
                <a:gd name="T83" fmla="*/ 155 w 155"/>
                <a:gd name="T84" fmla="*/ 177 h 17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5" h="177">
                  <a:moveTo>
                    <a:pt x="154" y="64"/>
                  </a:moveTo>
                  <a:cubicBezTo>
                    <a:pt x="155" y="67"/>
                    <a:pt x="146" y="81"/>
                    <a:pt x="141" y="83"/>
                  </a:cubicBezTo>
                  <a:cubicBezTo>
                    <a:pt x="133" y="86"/>
                    <a:pt x="133" y="98"/>
                    <a:pt x="130" y="101"/>
                  </a:cubicBezTo>
                  <a:cubicBezTo>
                    <a:pt x="124" y="107"/>
                    <a:pt x="116" y="95"/>
                    <a:pt x="113" y="99"/>
                  </a:cubicBezTo>
                  <a:cubicBezTo>
                    <a:pt x="109" y="102"/>
                    <a:pt x="103" y="128"/>
                    <a:pt x="102" y="130"/>
                  </a:cubicBezTo>
                  <a:cubicBezTo>
                    <a:pt x="101" y="133"/>
                    <a:pt x="94" y="143"/>
                    <a:pt x="95" y="146"/>
                  </a:cubicBezTo>
                  <a:cubicBezTo>
                    <a:pt x="95" y="148"/>
                    <a:pt x="97" y="158"/>
                    <a:pt x="91" y="159"/>
                  </a:cubicBezTo>
                  <a:cubicBezTo>
                    <a:pt x="85" y="159"/>
                    <a:pt x="73" y="164"/>
                    <a:pt x="71" y="166"/>
                  </a:cubicBezTo>
                  <a:cubicBezTo>
                    <a:pt x="68" y="169"/>
                    <a:pt x="49" y="177"/>
                    <a:pt x="45" y="177"/>
                  </a:cubicBezTo>
                  <a:cubicBezTo>
                    <a:pt x="41" y="176"/>
                    <a:pt x="31" y="166"/>
                    <a:pt x="26" y="163"/>
                  </a:cubicBezTo>
                  <a:cubicBezTo>
                    <a:pt x="21" y="160"/>
                    <a:pt x="5" y="145"/>
                    <a:pt x="3" y="142"/>
                  </a:cubicBezTo>
                  <a:cubicBezTo>
                    <a:pt x="1" y="139"/>
                    <a:pt x="0" y="133"/>
                    <a:pt x="0" y="133"/>
                  </a:cubicBezTo>
                  <a:cubicBezTo>
                    <a:pt x="2" y="123"/>
                    <a:pt x="2" y="123"/>
                    <a:pt x="2" y="123"/>
                  </a:cubicBezTo>
                  <a:cubicBezTo>
                    <a:pt x="9" y="120"/>
                    <a:pt x="13" y="114"/>
                    <a:pt x="13" y="108"/>
                  </a:cubicBezTo>
                  <a:cubicBezTo>
                    <a:pt x="13" y="102"/>
                    <a:pt x="12" y="90"/>
                    <a:pt x="20" y="87"/>
                  </a:cubicBezTo>
                  <a:cubicBezTo>
                    <a:pt x="28" y="84"/>
                    <a:pt x="30" y="68"/>
                    <a:pt x="37" y="68"/>
                  </a:cubicBezTo>
                  <a:cubicBezTo>
                    <a:pt x="44" y="68"/>
                    <a:pt x="51" y="62"/>
                    <a:pt x="51" y="53"/>
                  </a:cubicBezTo>
                  <a:cubicBezTo>
                    <a:pt x="51" y="44"/>
                    <a:pt x="43" y="12"/>
                    <a:pt x="47" y="6"/>
                  </a:cubicBezTo>
                  <a:cubicBezTo>
                    <a:pt x="51" y="0"/>
                    <a:pt x="62" y="1"/>
                    <a:pt x="62" y="1"/>
                  </a:cubicBezTo>
                  <a:cubicBezTo>
                    <a:pt x="69" y="46"/>
                    <a:pt x="69" y="46"/>
                    <a:pt x="69" y="46"/>
                  </a:cubicBezTo>
                  <a:cubicBezTo>
                    <a:pt x="109" y="39"/>
                    <a:pt x="109" y="39"/>
                    <a:pt x="109" y="39"/>
                  </a:cubicBezTo>
                  <a:cubicBezTo>
                    <a:pt x="110" y="48"/>
                    <a:pt x="110" y="48"/>
                    <a:pt x="110" y="48"/>
                  </a:cubicBezTo>
                  <a:cubicBezTo>
                    <a:pt x="110" y="51"/>
                    <a:pt x="113" y="66"/>
                    <a:pt x="113" y="70"/>
                  </a:cubicBezTo>
                  <a:cubicBezTo>
                    <a:pt x="114" y="73"/>
                    <a:pt x="132" y="51"/>
                    <a:pt x="133" y="50"/>
                  </a:cubicBezTo>
                  <a:cubicBezTo>
                    <a:pt x="135" y="49"/>
                    <a:pt x="145" y="54"/>
                    <a:pt x="148" y="54"/>
                  </a:cubicBezTo>
                  <a:cubicBezTo>
                    <a:pt x="149" y="55"/>
                    <a:pt x="151" y="54"/>
                    <a:pt x="153" y="53"/>
                  </a:cubicBezTo>
                  <a:lnTo>
                    <a:pt x="154" y="64"/>
                  </a:lnTo>
                  <a:close/>
                </a:path>
              </a:pathLst>
            </a:custGeom>
            <a:solidFill>
              <a:srgbClr val="66CC33">
                <a:lumMod val="20000"/>
                <a:lumOff val="8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0" name="Freeform 411"/>
            <p:cNvSpPr>
              <a:spLocks/>
            </p:cNvSpPr>
            <p:nvPr>
              <p:custDataLst>
                <p:tags r:id="rId17"/>
              </p:custDataLst>
            </p:nvPr>
          </p:nvSpPr>
          <p:spPr bwMode="auto">
            <a:xfrm>
              <a:off x="3635417" y="3588950"/>
              <a:ext cx="418939" cy="450933"/>
            </a:xfrm>
            <a:custGeom>
              <a:avLst/>
              <a:gdLst>
                <a:gd name="T0" fmla="*/ 2147483647 w 210"/>
                <a:gd name="T1" fmla="*/ 1672758761 h 226"/>
                <a:gd name="T2" fmla="*/ 2147483647 w 210"/>
                <a:gd name="T3" fmla="*/ 0 h 226"/>
                <a:gd name="T4" fmla="*/ 2147483647 w 210"/>
                <a:gd name="T5" fmla="*/ 2147483647 h 226"/>
                <a:gd name="T6" fmla="*/ 2147483647 w 210"/>
                <a:gd name="T7" fmla="*/ 2147483647 h 226"/>
                <a:gd name="T8" fmla="*/ 2147483647 w 210"/>
                <a:gd name="T9" fmla="*/ 2147483647 h 226"/>
                <a:gd name="T10" fmla="*/ 2147483647 w 210"/>
                <a:gd name="T11" fmla="*/ 2147483647 h 226"/>
                <a:gd name="T12" fmla="*/ 2147483647 w 210"/>
                <a:gd name="T13" fmla="*/ 2147483647 h 226"/>
                <a:gd name="T14" fmla="*/ 2147483647 w 210"/>
                <a:gd name="T15" fmla="*/ 2147483647 h 226"/>
                <a:gd name="T16" fmla="*/ 2147483647 w 210"/>
                <a:gd name="T17" fmla="*/ 2147483647 h 226"/>
                <a:gd name="T18" fmla="*/ 2147483647 w 210"/>
                <a:gd name="T19" fmla="*/ 2147483647 h 226"/>
                <a:gd name="T20" fmla="*/ 2147483647 w 210"/>
                <a:gd name="T21" fmla="*/ 2147483647 h 226"/>
                <a:gd name="T22" fmla="*/ 2147483647 w 210"/>
                <a:gd name="T23" fmla="*/ 2147483647 h 226"/>
                <a:gd name="T24" fmla="*/ 2147483647 w 210"/>
                <a:gd name="T25" fmla="*/ 2147483647 h 226"/>
                <a:gd name="T26" fmla="*/ 2147483647 w 210"/>
                <a:gd name="T27" fmla="*/ 2147483647 h 226"/>
                <a:gd name="T28" fmla="*/ 2147483647 w 210"/>
                <a:gd name="T29" fmla="*/ 2147483647 h 226"/>
                <a:gd name="T30" fmla="*/ 2147483647 w 210"/>
                <a:gd name="T31" fmla="*/ 2147483647 h 226"/>
                <a:gd name="T32" fmla="*/ 2147483647 w 210"/>
                <a:gd name="T33" fmla="*/ 2147483647 h 226"/>
                <a:gd name="T34" fmla="*/ 2147483647 w 210"/>
                <a:gd name="T35" fmla="*/ 2147483647 h 226"/>
                <a:gd name="T36" fmla="*/ 2147483647 w 210"/>
                <a:gd name="T37" fmla="*/ 2147483647 h 226"/>
                <a:gd name="T38" fmla="*/ 2147483647 w 210"/>
                <a:gd name="T39" fmla="*/ 2147483647 h 226"/>
                <a:gd name="T40" fmla="*/ 2147483647 w 210"/>
                <a:gd name="T41" fmla="*/ 2147483647 h 226"/>
                <a:gd name="T42" fmla="*/ 2147483647 w 210"/>
                <a:gd name="T43" fmla="*/ 2147483647 h 226"/>
                <a:gd name="T44" fmla="*/ 2147483647 w 210"/>
                <a:gd name="T45" fmla="*/ 2147483647 h 226"/>
                <a:gd name="T46" fmla="*/ 2147483647 w 210"/>
                <a:gd name="T47" fmla="*/ 2147483647 h 226"/>
                <a:gd name="T48" fmla="*/ 2147483647 w 210"/>
                <a:gd name="T49" fmla="*/ 2147483647 h 226"/>
                <a:gd name="T50" fmla="*/ 2147483647 w 210"/>
                <a:gd name="T51" fmla="*/ 2147483647 h 226"/>
                <a:gd name="T52" fmla="*/ 0 w 210"/>
                <a:gd name="T53" fmla="*/ 1672758761 h 226"/>
                <a:gd name="T54" fmla="*/ 2147483647 w 210"/>
                <a:gd name="T55" fmla="*/ 1672758761 h 22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0"/>
                <a:gd name="T85" fmla="*/ 0 h 226"/>
                <a:gd name="T86" fmla="*/ 210 w 210"/>
                <a:gd name="T87" fmla="*/ 226 h 22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0" h="226">
                  <a:moveTo>
                    <a:pt x="51" y="4"/>
                  </a:moveTo>
                  <a:cubicBezTo>
                    <a:pt x="70" y="2"/>
                    <a:pt x="89" y="1"/>
                    <a:pt x="97" y="0"/>
                  </a:cubicBezTo>
                  <a:cubicBezTo>
                    <a:pt x="91" y="6"/>
                    <a:pt x="94" y="18"/>
                    <a:pt x="94" y="18"/>
                  </a:cubicBezTo>
                  <a:cubicBezTo>
                    <a:pt x="97" y="23"/>
                    <a:pt x="110" y="24"/>
                    <a:pt x="114" y="27"/>
                  </a:cubicBezTo>
                  <a:cubicBezTo>
                    <a:pt x="117" y="31"/>
                    <a:pt x="127" y="45"/>
                    <a:pt x="132" y="50"/>
                  </a:cubicBezTo>
                  <a:cubicBezTo>
                    <a:pt x="138" y="55"/>
                    <a:pt x="148" y="59"/>
                    <a:pt x="152" y="61"/>
                  </a:cubicBezTo>
                  <a:cubicBezTo>
                    <a:pt x="157" y="64"/>
                    <a:pt x="152" y="75"/>
                    <a:pt x="160" y="80"/>
                  </a:cubicBezTo>
                  <a:cubicBezTo>
                    <a:pt x="167" y="85"/>
                    <a:pt x="178" y="86"/>
                    <a:pt x="178" y="91"/>
                  </a:cubicBezTo>
                  <a:cubicBezTo>
                    <a:pt x="178" y="97"/>
                    <a:pt x="185" y="105"/>
                    <a:pt x="191" y="111"/>
                  </a:cubicBezTo>
                  <a:cubicBezTo>
                    <a:pt x="197" y="116"/>
                    <a:pt x="198" y="123"/>
                    <a:pt x="198" y="127"/>
                  </a:cubicBezTo>
                  <a:cubicBezTo>
                    <a:pt x="198" y="129"/>
                    <a:pt x="204" y="133"/>
                    <a:pt x="210" y="136"/>
                  </a:cubicBezTo>
                  <a:cubicBezTo>
                    <a:pt x="209" y="137"/>
                    <a:pt x="209" y="138"/>
                    <a:pt x="208" y="139"/>
                  </a:cubicBezTo>
                  <a:cubicBezTo>
                    <a:pt x="203" y="146"/>
                    <a:pt x="195" y="177"/>
                    <a:pt x="195" y="188"/>
                  </a:cubicBezTo>
                  <a:cubicBezTo>
                    <a:pt x="195" y="191"/>
                    <a:pt x="195" y="195"/>
                    <a:pt x="196" y="201"/>
                  </a:cubicBezTo>
                  <a:cubicBezTo>
                    <a:pt x="186" y="198"/>
                    <a:pt x="174" y="195"/>
                    <a:pt x="174" y="201"/>
                  </a:cubicBezTo>
                  <a:cubicBezTo>
                    <a:pt x="174" y="209"/>
                    <a:pt x="172" y="226"/>
                    <a:pt x="172" y="226"/>
                  </a:cubicBezTo>
                  <a:cubicBezTo>
                    <a:pt x="158" y="225"/>
                    <a:pt x="158" y="225"/>
                    <a:pt x="158" y="225"/>
                  </a:cubicBezTo>
                  <a:cubicBezTo>
                    <a:pt x="156" y="214"/>
                    <a:pt x="156" y="214"/>
                    <a:pt x="156" y="214"/>
                  </a:cubicBezTo>
                  <a:cubicBezTo>
                    <a:pt x="156" y="214"/>
                    <a:pt x="49" y="221"/>
                    <a:pt x="48" y="219"/>
                  </a:cubicBezTo>
                  <a:cubicBezTo>
                    <a:pt x="48" y="217"/>
                    <a:pt x="45" y="211"/>
                    <a:pt x="43" y="204"/>
                  </a:cubicBezTo>
                  <a:cubicBezTo>
                    <a:pt x="41" y="199"/>
                    <a:pt x="38" y="193"/>
                    <a:pt x="38" y="191"/>
                  </a:cubicBezTo>
                  <a:cubicBezTo>
                    <a:pt x="36" y="187"/>
                    <a:pt x="39" y="178"/>
                    <a:pt x="38" y="174"/>
                  </a:cubicBezTo>
                  <a:cubicBezTo>
                    <a:pt x="36" y="170"/>
                    <a:pt x="32" y="158"/>
                    <a:pt x="34" y="153"/>
                  </a:cubicBezTo>
                  <a:cubicBezTo>
                    <a:pt x="35" y="149"/>
                    <a:pt x="38" y="147"/>
                    <a:pt x="41" y="143"/>
                  </a:cubicBezTo>
                  <a:cubicBezTo>
                    <a:pt x="44" y="140"/>
                    <a:pt x="41" y="136"/>
                    <a:pt x="40" y="133"/>
                  </a:cubicBezTo>
                  <a:cubicBezTo>
                    <a:pt x="38" y="128"/>
                    <a:pt x="27" y="121"/>
                    <a:pt x="27" y="115"/>
                  </a:cubicBezTo>
                  <a:cubicBezTo>
                    <a:pt x="0" y="9"/>
                    <a:pt x="0" y="9"/>
                    <a:pt x="0" y="9"/>
                  </a:cubicBezTo>
                  <a:cubicBezTo>
                    <a:pt x="0" y="9"/>
                    <a:pt x="26" y="7"/>
                    <a:pt x="51" y="4"/>
                  </a:cubicBezTo>
                  <a:close/>
                </a:path>
              </a:pathLst>
            </a:custGeom>
            <a:solidFill>
              <a:srgbClr val="575F9F"/>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1" name="Freeform 413"/>
            <p:cNvSpPr>
              <a:spLocks/>
            </p:cNvSpPr>
            <p:nvPr>
              <p:custDataLst>
                <p:tags r:id="rId18"/>
              </p:custDataLst>
            </p:nvPr>
          </p:nvSpPr>
          <p:spPr bwMode="auto">
            <a:xfrm>
              <a:off x="3496660" y="3978515"/>
              <a:ext cx="715132" cy="611029"/>
            </a:xfrm>
            <a:custGeom>
              <a:avLst/>
              <a:gdLst>
                <a:gd name="T0" fmla="*/ 2147483647 w 359"/>
                <a:gd name="T1" fmla="*/ 2147483647 h 306"/>
                <a:gd name="T2" fmla="*/ 2147483647 w 359"/>
                <a:gd name="T3" fmla="*/ 2147483647 h 306"/>
                <a:gd name="T4" fmla="*/ 2147483647 w 359"/>
                <a:gd name="T5" fmla="*/ 2147483647 h 306"/>
                <a:gd name="T6" fmla="*/ 2147483647 w 359"/>
                <a:gd name="T7" fmla="*/ 2147483647 h 306"/>
                <a:gd name="T8" fmla="*/ 2147483647 w 359"/>
                <a:gd name="T9" fmla="*/ 2147483647 h 306"/>
                <a:gd name="T10" fmla="*/ 2147483647 w 359"/>
                <a:gd name="T11" fmla="*/ 2147483647 h 306"/>
                <a:gd name="T12" fmla="*/ 2147483647 w 359"/>
                <a:gd name="T13" fmla="*/ 2147483647 h 306"/>
                <a:gd name="T14" fmla="*/ 2147483647 w 359"/>
                <a:gd name="T15" fmla="*/ 2147483647 h 306"/>
                <a:gd name="T16" fmla="*/ 2147483647 w 359"/>
                <a:gd name="T17" fmla="*/ 2147483647 h 306"/>
                <a:gd name="T18" fmla="*/ 2147483647 w 359"/>
                <a:gd name="T19" fmla="*/ 2147483647 h 306"/>
                <a:gd name="T20" fmla="*/ 2147483647 w 359"/>
                <a:gd name="T21" fmla="*/ 2147483647 h 306"/>
                <a:gd name="T22" fmla="*/ 2147483647 w 359"/>
                <a:gd name="T23" fmla="*/ 2147483647 h 306"/>
                <a:gd name="T24" fmla="*/ 2147483647 w 359"/>
                <a:gd name="T25" fmla="*/ 2147483647 h 306"/>
                <a:gd name="T26" fmla="*/ 2147483647 w 359"/>
                <a:gd name="T27" fmla="*/ 2147483647 h 306"/>
                <a:gd name="T28" fmla="*/ 2147483647 w 359"/>
                <a:gd name="T29" fmla="*/ 2147483647 h 306"/>
                <a:gd name="T30" fmla="*/ 2147483647 w 359"/>
                <a:gd name="T31" fmla="*/ 2147483647 h 306"/>
                <a:gd name="T32" fmla="*/ 2147483647 w 359"/>
                <a:gd name="T33" fmla="*/ 2147483647 h 306"/>
                <a:gd name="T34" fmla="*/ 2147483647 w 359"/>
                <a:gd name="T35" fmla="*/ 2147483647 h 306"/>
                <a:gd name="T36" fmla="*/ 2147483647 w 359"/>
                <a:gd name="T37" fmla="*/ 2147483647 h 306"/>
                <a:gd name="T38" fmla="*/ 2147483647 w 359"/>
                <a:gd name="T39" fmla="*/ 2147483647 h 306"/>
                <a:gd name="T40" fmla="*/ 2147483647 w 359"/>
                <a:gd name="T41" fmla="*/ 2147483647 h 306"/>
                <a:gd name="T42" fmla="*/ 2147483647 w 359"/>
                <a:gd name="T43" fmla="*/ 2147483647 h 306"/>
                <a:gd name="T44" fmla="*/ 2147483647 w 359"/>
                <a:gd name="T45" fmla="*/ 2147483647 h 306"/>
                <a:gd name="T46" fmla="*/ 2147483647 w 359"/>
                <a:gd name="T47" fmla="*/ 2147483647 h 306"/>
                <a:gd name="T48" fmla="*/ 2147483647 w 359"/>
                <a:gd name="T49" fmla="*/ 2147483647 h 306"/>
                <a:gd name="T50" fmla="*/ 2147483647 w 359"/>
                <a:gd name="T51" fmla="*/ 2147483647 h 306"/>
                <a:gd name="T52" fmla="*/ 2147483647 w 359"/>
                <a:gd name="T53" fmla="*/ 2147483647 h 306"/>
                <a:gd name="T54" fmla="*/ 2147483647 w 359"/>
                <a:gd name="T55" fmla="*/ 2147483647 h 306"/>
                <a:gd name="T56" fmla="*/ 2147483647 w 359"/>
                <a:gd name="T57" fmla="*/ 2147483647 h 306"/>
                <a:gd name="T58" fmla="*/ 2147483647 w 359"/>
                <a:gd name="T59" fmla="*/ 2147483647 h 306"/>
                <a:gd name="T60" fmla="*/ 2147483647 w 359"/>
                <a:gd name="T61" fmla="*/ 2147483647 h 306"/>
                <a:gd name="T62" fmla="*/ 2147483647 w 359"/>
                <a:gd name="T63" fmla="*/ 2147483647 h 306"/>
                <a:gd name="T64" fmla="*/ 2147483647 w 359"/>
                <a:gd name="T65" fmla="*/ 2147483647 h 306"/>
                <a:gd name="T66" fmla="*/ 2147483647 w 359"/>
                <a:gd name="T67" fmla="*/ 2147483647 h 306"/>
                <a:gd name="T68" fmla="*/ 2147483647 w 359"/>
                <a:gd name="T69" fmla="*/ 2147483647 h 306"/>
                <a:gd name="T70" fmla="*/ 2147483647 w 359"/>
                <a:gd name="T71" fmla="*/ 2147483647 h 306"/>
                <a:gd name="T72" fmla="*/ 2147483647 w 359"/>
                <a:gd name="T73" fmla="*/ 2147483647 h 306"/>
                <a:gd name="T74" fmla="*/ 2147483647 w 359"/>
                <a:gd name="T75" fmla="*/ 2147483647 h 306"/>
                <a:gd name="T76" fmla="*/ 2147483647 w 359"/>
                <a:gd name="T77" fmla="*/ 2147483647 h 306"/>
                <a:gd name="T78" fmla="*/ 2147483647 w 359"/>
                <a:gd name="T79" fmla="*/ 2147483647 h 3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9"/>
                <a:gd name="T121" fmla="*/ 0 h 306"/>
                <a:gd name="T122" fmla="*/ 359 w 359"/>
                <a:gd name="T123" fmla="*/ 306 h 30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9" h="306">
                  <a:moveTo>
                    <a:pt x="357" y="203"/>
                  </a:moveTo>
                  <a:cubicBezTo>
                    <a:pt x="359" y="209"/>
                    <a:pt x="357" y="240"/>
                    <a:pt x="357" y="246"/>
                  </a:cubicBezTo>
                  <a:cubicBezTo>
                    <a:pt x="357" y="251"/>
                    <a:pt x="355" y="250"/>
                    <a:pt x="353" y="251"/>
                  </a:cubicBezTo>
                  <a:cubicBezTo>
                    <a:pt x="351" y="252"/>
                    <a:pt x="350" y="245"/>
                    <a:pt x="348" y="246"/>
                  </a:cubicBezTo>
                  <a:cubicBezTo>
                    <a:pt x="345" y="247"/>
                    <a:pt x="343" y="254"/>
                    <a:pt x="343" y="261"/>
                  </a:cubicBezTo>
                  <a:cubicBezTo>
                    <a:pt x="342" y="267"/>
                    <a:pt x="344" y="269"/>
                    <a:pt x="346" y="269"/>
                  </a:cubicBezTo>
                  <a:cubicBezTo>
                    <a:pt x="348" y="270"/>
                    <a:pt x="348" y="264"/>
                    <a:pt x="349" y="261"/>
                  </a:cubicBezTo>
                  <a:cubicBezTo>
                    <a:pt x="350" y="257"/>
                    <a:pt x="354" y="257"/>
                    <a:pt x="355" y="258"/>
                  </a:cubicBezTo>
                  <a:cubicBezTo>
                    <a:pt x="356" y="260"/>
                    <a:pt x="351" y="277"/>
                    <a:pt x="348" y="284"/>
                  </a:cubicBezTo>
                  <a:cubicBezTo>
                    <a:pt x="345" y="290"/>
                    <a:pt x="333" y="300"/>
                    <a:pt x="331" y="302"/>
                  </a:cubicBezTo>
                  <a:cubicBezTo>
                    <a:pt x="329" y="303"/>
                    <a:pt x="324" y="306"/>
                    <a:pt x="322" y="304"/>
                  </a:cubicBezTo>
                  <a:cubicBezTo>
                    <a:pt x="320" y="302"/>
                    <a:pt x="322" y="300"/>
                    <a:pt x="326" y="297"/>
                  </a:cubicBezTo>
                  <a:cubicBezTo>
                    <a:pt x="329" y="295"/>
                    <a:pt x="338" y="286"/>
                    <a:pt x="339" y="285"/>
                  </a:cubicBezTo>
                  <a:cubicBezTo>
                    <a:pt x="341" y="284"/>
                    <a:pt x="342" y="280"/>
                    <a:pt x="341" y="278"/>
                  </a:cubicBezTo>
                  <a:cubicBezTo>
                    <a:pt x="340" y="276"/>
                    <a:pt x="335" y="280"/>
                    <a:pt x="333" y="281"/>
                  </a:cubicBezTo>
                  <a:cubicBezTo>
                    <a:pt x="331" y="283"/>
                    <a:pt x="313" y="289"/>
                    <a:pt x="310" y="284"/>
                  </a:cubicBezTo>
                  <a:cubicBezTo>
                    <a:pt x="305" y="276"/>
                    <a:pt x="321" y="279"/>
                    <a:pt x="321" y="276"/>
                  </a:cubicBezTo>
                  <a:cubicBezTo>
                    <a:pt x="322" y="273"/>
                    <a:pt x="308" y="270"/>
                    <a:pt x="306" y="262"/>
                  </a:cubicBezTo>
                  <a:cubicBezTo>
                    <a:pt x="304" y="257"/>
                    <a:pt x="295" y="252"/>
                    <a:pt x="292" y="250"/>
                  </a:cubicBezTo>
                  <a:cubicBezTo>
                    <a:pt x="289" y="249"/>
                    <a:pt x="289" y="252"/>
                    <a:pt x="285" y="252"/>
                  </a:cubicBezTo>
                  <a:cubicBezTo>
                    <a:pt x="281" y="252"/>
                    <a:pt x="276" y="235"/>
                    <a:pt x="273" y="227"/>
                  </a:cubicBezTo>
                  <a:cubicBezTo>
                    <a:pt x="271" y="223"/>
                    <a:pt x="271" y="220"/>
                    <a:pt x="269" y="218"/>
                  </a:cubicBezTo>
                  <a:cubicBezTo>
                    <a:pt x="267" y="217"/>
                    <a:pt x="264" y="211"/>
                    <a:pt x="264" y="210"/>
                  </a:cubicBezTo>
                  <a:cubicBezTo>
                    <a:pt x="264" y="206"/>
                    <a:pt x="263" y="202"/>
                    <a:pt x="262" y="200"/>
                  </a:cubicBezTo>
                  <a:cubicBezTo>
                    <a:pt x="261" y="197"/>
                    <a:pt x="256" y="196"/>
                    <a:pt x="254" y="198"/>
                  </a:cubicBezTo>
                  <a:cubicBezTo>
                    <a:pt x="252" y="201"/>
                    <a:pt x="257" y="207"/>
                    <a:pt x="253" y="208"/>
                  </a:cubicBezTo>
                  <a:cubicBezTo>
                    <a:pt x="250" y="209"/>
                    <a:pt x="249" y="206"/>
                    <a:pt x="246" y="203"/>
                  </a:cubicBezTo>
                  <a:cubicBezTo>
                    <a:pt x="242" y="199"/>
                    <a:pt x="230" y="184"/>
                    <a:pt x="228" y="181"/>
                  </a:cubicBezTo>
                  <a:cubicBezTo>
                    <a:pt x="225" y="179"/>
                    <a:pt x="226" y="177"/>
                    <a:pt x="226" y="174"/>
                  </a:cubicBezTo>
                  <a:cubicBezTo>
                    <a:pt x="227" y="171"/>
                    <a:pt x="230" y="175"/>
                    <a:pt x="232" y="175"/>
                  </a:cubicBezTo>
                  <a:cubicBezTo>
                    <a:pt x="233" y="175"/>
                    <a:pt x="243" y="159"/>
                    <a:pt x="243" y="156"/>
                  </a:cubicBezTo>
                  <a:cubicBezTo>
                    <a:pt x="243" y="154"/>
                    <a:pt x="235" y="148"/>
                    <a:pt x="232" y="146"/>
                  </a:cubicBezTo>
                  <a:cubicBezTo>
                    <a:pt x="229" y="145"/>
                    <a:pt x="229" y="151"/>
                    <a:pt x="228" y="152"/>
                  </a:cubicBezTo>
                  <a:cubicBezTo>
                    <a:pt x="227" y="154"/>
                    <a:pt x="233" y="157"/>
                    <a:pt x="233" y="159"/>
                  </a:cubicBezTo>
                  <a:cubicBezTo>
                    <a:pt x="233" y="161"/>
                    <a:pt x="232" y="166"/>
                    <a:pt x="229" y="166"/>
                  </a:cubicBezTo>
                  <a:cubicBezTo>
                    <a:pt x="226" y="167"/>
                    <a:pt x="223" y="164"/>
                    <a:pt x="221" y="160"/>
                  </a:cubicBezTo>
                  <a:cubicBezTo>
                    <a:pt x="218" y="156"/>
                    <a:pt x="221" y="150"/>
                    <a:pt x="222" y="145"/>
                  </a:cubicBezTo>
                  <a:cubicBezTo>
                    <a:pt x="224" y="140"/>
                    <a:pt x="225" y="121"/>
                    <a:pt x="225" y="114"/>
                  </a:cubicBezTo>
                  <a:cubicBezTo>
                    <a:pt x="225" y="107"/>
                    <a:pt x="219" y="96"/>
                    <a:pt x="216" y="94"/>
                  </a:cubicBezTo>
                  <a:cubicBezTo>
                    <a:pt x="214" y="92"/>
                    <a:pt x="206" y="95"/>
                    <a:pt x="205" y="93"/>
                  </a:cubicBezTo>
                  <a:cubicBezTo>
                    <a:pt x="204" y="91"/>
                    <a:pt x="189" y="75"/>
                    <a:pt x="185" y="71"/>
                  </a:cubicBezTo>
                  <a:cubicBezTo>
                    <a:pt x="181" y="66"/>
                    <a:pt x="166" y="55"/>
                    <a:pt x="162" y="54"/>
                  </a:cubicBezTo>
                  <a:cubicBezTo>
                    <a:pt x="157" y="52"/>
                    <a:pt x="155" y="54"/>
                    <a:pt x="149" y="54"/>
                  </a:cubicBezTo>
                  <a:cubicBezTo>
                    <a:pt x="144" y="55"/>
                    <a:pt x="136" y="61"/>
                    <a:pt x="132" y="63"/>
                  </a:cubicBezTo>
                  <a:cubicBezTo>
                    <a:pt x="130" y="64"/>
                    <a:pt x="118" y="68"/>
                    <a:pt x="115" y="72"/>
                  </a:cubicBezTo>
                  <a:cubicBezTo>
                    <a:pt x="112" y="76"/>
                    <a:pt x="113" y="77"/>
                    <a:pt x="115" y="77"/>
                  </a:cubicBezTo>
                  <a:cubicBezTo>
                    <a:pt x="117" y="78"/>
                    <a:pt x="129" y="72"/>
                    <a:pt x="131" y="70"/>
                  </a:cubicBezTo>
                  <a:cubicBezTo>
                    <a:pt x="133" y="68"/>
                    <a:pt x="137" y="68"/>
                    <a:pt x="137" y="72"/>
                  </a:cubicBezTo>
                  <a:cubicBezTo>
                    <a:pt x="136" y="75"/>
                    <a:pt x="120" y="83"/>
                    <a:pt x="117" y="84"/>
                  </a:cubicBezTo>
                  <a:cubicBezTo>
                    <a:pt x="114" y="84"/>
                    <a:pt x="109" y="84"/>
                    <a:pt x="104" y="83"/>
                  </a:cubicBezTo>
                  <a:cubicBezTo>
                    <a:pt x="100" y="83"/>
                    <a:pt x="97" y="77"/>
                    <a:pt x="95" y="75"/>
                  </a:cubicBezTo>
                  <a:cubicBezTo>
                    <a:pt x="94" y="73"/>
                    <a:pt x="96" y="71"/>
                    <a:pt x="98" y="71"/>
                  </a:cubicBezTo>
                  <a:cubicBezTo>
                    <a:pt x="100" y="71"/>
                    <a:pt x="103" y="77"/>
                    <a:pt x="104" y="78"/>
                  </a:cubicBezTo>
                  <a:cubicBezTo>
                    <a:pt x="106" y="79"/>
                    <a:pt x="107" y="75"/>
                    <a:pt x="107" y="73"/>
                  </a:cubicBezTo>
                  <a:cubicBezTo>
                    <a:pt x="107" y="72"/>
                    <a:pt x="106" y="66"/>
                    <a:pt x="102" y="65"/>
                  </a:cubicBezTo>
                  <a:cubicBezTo>
                    <a:pt x="98" y="64"/>
                    <a:pt x="79" y="58"/>
                    <a:pt x="76" y="56"/>
                  </a:cubicBezTo>
                  <a:cubicBezTo>
                    <a:pt x="74" y="54"/>
                    <a:pt x="65" y="51"/>
                    <a:pt x="55" y="51"/>
                  </a:cubicBezTo>
                  <a:cubicBezTo>
                    <a:pt x="44" y="51"/>
                    <a:pt x="34" y="56"/>
                    <a:pt x="30" y="57"/>
                  </a:cubicBezTo>
                  <a:cubicBezTo>
                    <a:pt x="25" y="58"/>
                    <a:pt x="26" y="55"/>
                    <a:pt x="26" y="54"/>
                  </a:cubicBezTo>
                  <a:cubicBezTo>
                    <a:pt x="27" y="52"/>
                    <a:pt x="34" y="49"/>
                    <a:pt x="34" y="47"/>
                  </a:cubicBezTo>
                  <a:cubicBezTo>
                    <a:pt x="35" y="46"/>
                    <a:pt x="29" y="39"/>
                    <a:pt x="29" y="38"/>
                  </a:cubicBezTo>
                  <a:cubicBezTo>
                    <a:pt x="28" y="37"/>
                    <a:pt x="24" y="39"/>
                    <a:pt x="22" y="41"/>
                  </a:cubicBezTo>
                  <a:cubicBezTo>
                    <a:pt x="20" y="42"/>
                    <a:pt x="19" y="48"/>
                    <a:pt x="19" y="51"/>
                  </a:cubicBezTo>
                  <a:cubicBezTo>
                    <a:pt x="18" y="53"/>
                    <a:pt x="20" y="59"/>
                    <a:pt x="16" y="60"/>
                  </a:cubicBezTo>
                  <a:cubicBezTo>
                    <a:pt x="14" y="60"/>
                    <a:pt x="11" y="61"/>
                    <a:pt x="7" y="62"/>
                  </a:cubicBezTo>
                  <a:cubicBezTo>
                    <a:pt x="11" y="55"/>
                    <a:pt x="15" y="46"/>
                    <a:pt x="14" y="42"/>
                  </a:cubicBezTo>
                  <a:cubicBezTo>
                    <a:pt x="11" y="37"/>
                    <a:pt x="0" y="34"/>
                    <a:pt x="1" y="26"/>
                  </a:cubicBezTo>
                  <a:cubicBezTo>
                    <a:pt x="2" y="19"/>
                    <a:pt x="2" y="19"/>
                    <a:pt x="2" y="19"/>
                  </a:cubicBezTo>
                  <a:cubicBezTo>
                    <a:pt x="113" y="9"/>
                    <a:pt x="113" y="9"/>
                    <a:pt x="113" y="9"/>
                  </a:cubicBezTo>
                  <a:cubicBezTo>
                    <a:pt x="115" y="16"/>
                    <a:pt x="118" y="22"/>
                    <a:pt x="118" y="24"/>
                  </a:cubicBezTo>
                  <a:cubicBezTo>
                    <a:pt x="119" y="26"/>
                    <a:pt x="226" y="19"/>
                    <a:pt x="226" y="19"/>
                  </a:cubicBezTo>
                  <a:cubicBezTo>
                    <a:pt x="228" y="30"/>
                    <a:pt x="228" y="30"/>
                    <a:pt x="228" y="30"/>
                  </a:cubicBezTo>
                  <a:cubicBezTo>
                    <a:pt x="242" y="31"/>
                    <a:pt x="242" y="31"/>
                    <a:pt x="242" y="31"/>
                  </a:cubicBezTo>
                  <a:cubicBezTo>
                    <a:pt x="242" y="31"/>
                    <a:pt x="244" y="14"/>
                    <a:pt x="244" y="6"/>
                  </a:cubicBezTo>
                  <a:cubicBezTo>
                    <a:pt x="244" y="0"/>
                    <a:pt x="256" y="3"/>
                    <a:pt x="266" y="6"/>
                  </a:cubicBezTo>
                  <a:cubicBezTo>
                    <a:pt x="269" y="22"/>
                    <a:pt x="276" y="45"/>
                    <a:pt x="281" y="56"/>
                  </a:cubicBezTo>
                  <a:cubicBezTo>
                    <a:pt x="288" y="70"/>
                    <a:pt x="319" y="107"/>
                    <a:pt x="322" y="112"/>
                  </a:cubicBezTo>
                  <a:cubicBezTo>
                    <a:pt x="325" y="118"/>
                    <a:pt x="317" y="115"/>
                    <a:pt x="316" y="123"/>
                  </a:cubicBezTo>
                  <a:cubicBezTo>
                    <a:pt x="315" y="131"/>
                    <a:pt x="323" y="139"/>
                    <a:pt x="328" y="147"/>
                  </a:cubicBezTo>
                  <a:cubicBezTo>
                    <a:pt x="334" y="154"/>
                    <a:pt x="355" y="196"/>
                    <a:pt x="357" y="203"/>
                  </a:cubicBezTo>
                  <a:close/>
                </a:path>
              </a:pathLst>
            </a:custGeom>
            <a:solidFill>
              <a:srgbClr val="9F5353"/>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2" name="Freeform 414"/>
            <p:cNvSpPr>
              <a:spLocks/>
            </p:cNvSpPr>
            <p:nvPr>
              <p:custDataLst>
                <p:tags r:id="rId19"/>
              </p:custDataLst>
            </p:nvPr>
          </p:nvSpPr>
          <p:spPr bwMode="auto">
            <a:xfrm>
              <a:off x="4059692" y="4578870"/>
              <a:ext cx="56037" cy="40025"/>
            </a:xfrm>
            <a:custGeom>
              <a:avLst/>
              <a:gdLst>
                <a:gd name="T0" fmla="*/ 2147483647 w 29"/>
                <a:gd name="T1" fmla="*/ 0 h 20"/>
                <a:gd name="T2" fmla="*/ 2147483647 w 29"/>
                <a:gd name="T3" fmla="*/ 2147483647 h 20"/>
                <a:gd name="T4" fmla="*/ 2147483647 w 29"/>
                <a:gd name="T5" fmla="*/ 2147483647 h 20"/>
                <a:gd name="T6" fmla="*/ 2147483647 w 29"/>
                <a:gd name="T7" fmla="*/ 2147483647 h 20"/>
                <a:gd name="T8" fmla="*/ 2147483647 w 29"/>
                <a:gd name="T9" fmla="*/ 2147483647 h 20"/>
                <a:gd name="T10" fmla="*/ 2147483647 w 29"/>
                <a:gd name="T11" fmla="*/ 2147483647 h 20"/>
                <a:gd name="T12" fmla="*/ 2147483647 w 29"/>
                <a:gd name="T13" fmla="*/ 0 h 20"/>
                <a:gd name="T14" fmla="*/ 0 60000 65536"/>
                <a:gd name="T15" fmla="*/ 0 60000 65536"/>
                <a:gd name="T16" fmla="*/ 0 60000 65536"/>
                <a:gd name="T17" fmla="*/ 0 60000 65536"/>
                <a:gd name="T18" fmla="*/ 0 60000 65536"/>
                <a:gd name="T19" fmla="*/ 0 60000 65536"/>
                <a:gd name="T20" fmla="*/ 0 60000 65536"/>
                <a:gd name="T21" fmla="*/ 0 w 29"/>
                <a:gd name="T22" fmla="*/ 0 h 20"/>
                <a:gd name="T23" fmla="*/ 29 w 2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0">
                  <a:moveTo>
                    <a:pt x="24" y="0"/>
                  </a:moveTo>
                  <a:cubicBezTo>
                    <a:pt x="28" y="0"/>
                    <a:pt x="29" y="1"/>
                    <a:pt x="29" y="3"/>
                  </a:cubicBezTo>
                  <a:cubicBezTo>
                    <a:pt x="28" y="6"/>
                    <a:pt x="26" y="11"/>
                    <a:pt x="24" y="11"/>
                  </a:cubicBezTo>
                  <a:cubicBezTo>
                    <a:pt x="23" y="12"/>
                    <a:pt x="20" y="9"/>
                    <a:pt x="17" y="11"/>
                  </a:cubicBezTo>
                  <a:cubicBezTo>
                    <a:pt x="14" y="13"/>
                    <a:pt x="3" y="20"/>
                    <a:pt x="2" y="18"/>
                  </a:cubicBezTo>
                  <a:cubicBezTo>
                    <a:pt x="0" y="16"/>
                    <a:pt x="6" y="8"/>
                    <a:pt x="9" y="6"/>
                  </a:cubicBezTo>
                  <a:cubicBezTo>
                    <a:pt x="13" y="3"/>
                    <a:pt x="21" y="0"/>
                    <a:pt x="24" y="0"/>
                  </a:cubicBezTo>
                  <a:close/>
                </a:path>
              </a:pathLst>
            </a:custGeom>
            <a:solidFill>
              <a:srgbClr val="D9D9D9"/>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3" name="Freeform 415"/>
            <p:cNvSpPr>
              <a:spLocks/>
            </p:cNvSpPr>
            <p:nvPr>
              <p:custDataLst>
                <p:tags r:id="rId20"/>
              </p:custDataLst>
            </p:nvPr>
          </p:nvSpPr>
          <p:spPr bwMode="auto">
            <a:xfrm>
              <a:off x="3998320" y="4405435"/>
              <a:ext cx="26684" cy="34686"/>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0 w 13"/>
                <a:gd name="T9" fmla="*/ 2147483647 h 17"/>
                <a:gd name="T10" fmla="*/ 2147483647 w 13"/>
                <a:gd name="T11" fmla="*/ 2147483647 h 17"/>
                <a:gd name="T12" fmla="*/ 2147483647 w 13"/>
                <a:gd name="T13" fmla="*/ 2147483647 h 17"/>
                <a:gd name="T14" fmla="*/ 2147483647 w 13"/>
                <a:gd name="T15" fmla="*/ 2147483647 h 17"/>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7"/>
                <a:gd name="T26" fmla="*/ 13 w 13"/>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7">
                  <a:moveTo>
                    <a:pt x="11" y="7"/>
                  </a:moveTo>
                  <a:cubicBezTo>
                    <a:pt x="12" y="9"/>
                    <a:pt x="13" y="12"/>
                    <a:pt x="12" y="13"/>
                  </a:cubicBezTo>
                  <a:cubicBezTo>
                    <a:pt x="12" y="14"/>
                    <a:pt x="12" y="14"/>
                    <a:pt x="11" y="14"/>
                  </a:cubicBezTo>
                  <a:cubicBezTo>
                    <a:pt x="9" y="17"/>
                    <a:pt x="8" y="15"/>
                    <a:pt x="5" y="12"/>
                  </a:cubicBezTo>
                  <a:cubicBezTo>
                    <a:pt x="2" y="9"/>
                    <a:pt x="0" y="7"/>
                    <a:pt x="0" y="4"/>
                  </a:cubicBezTo>
                  <a:cubicBezTo>
                    <a:pt x="1" y="2"/>
                    <a:pt x="4" y="1"/>
                    <a:pt x="4" y="1"/>
                  </a:cubicBezTo>
                  <a:cubicBezTo>
                    <a:pt x="4" y="1"/>
                    <a:pt x="6" y="0"/>
                    <a:pt x="7" y="1"/>
                  </a:cubicBezTo>
                  <a:cubicBezTo>
                    <a:pt x="8" y="1"/>
                    <a:pt x="9" y="4"/>
                    <a:pt x="11" y="7"/>
                  </a:cubicBezTo>
                  <a:close/>
                </a:path>
              </a:pathLst>
            </a:custGeom>
            <a:solidFill>
              <a:srgbClr val="D9D9D9"/>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4" name="Freeform 416"/>
            <p:cNvSpPr>
              <a:spLocks/>
            </p:cNvSpPr>
            <p:nvPr>
              <p:custDataLst>
                <p:tags r:id="rId21"/>
              </p:custDataLst>
            </p:nvPr>
          </p:nvSpPr>
          <p:spPr bwMode="auto">
            <a:xfrm>
              <a:off x="3632747" y="2857850"/>
              <a:ext cx="325545" cy="389565"/>
            </a:xfrm>
            <a:custGeom>
              <a:avLst/>
              <a:gdLst>
                <a:gd name="T0" fmla="*/ 2147483647 w 164"/>
                <a:gd name="T1" fmla="*/ 0 h 195"/>
                <a:gd name="T2" fmla="*/ 2147483647 w 164"/>
                <a:gd name="T3" fmla="*/ 2147483647 h 195"/>
                <a:gd name="T4" fmla="*/ 2147483647 w 164"/>
                <a:gd name="T5" fmla="*/ 2147483647 h 195"/>
                <a:gd name="T6" fmla="*/ 2147483647 w 164"/>
                <a:gd name="T7" fmla="*/ 2147483647 h 195"/>
                <a:gd name="T8" fmla="*/ 2147483647 w 164"/>
                <a:gd name="T9" fmla="*/ 2147483647 h 195"/>
                <a:gd name="T10" fmla="*/ 2147483647 w 164"/>
                <a:gd name="T11" fmla="*/ 2147483647 h 195"/>
                <a:gd name="T12" fmla="*/ 2147483647 w 164"/>
                <a:gd name="T13" fmla="*/ 2147483647 h 195"/>
                <a:gd name="T14" fmla="*/ 2147483647 w 164"/>
                <a:gd name="T15" fmla="*/ 2147483647 h 195"/>
                <a:gd name="T16" fmla="*/ 2147483647 w 164"/>
                <a:gd name="T17" fmla="*/ 2147483647 h 195"/>
                <a:gd name="T18" fmla="*/ 2147483647 w 164"/>
                <a:gd name="T19" fmla="*/ 2147483647 h 195"/>
                <a:gd name="T20" fmla="*/ 2147483647 w 164"/>
                <a:gd name="T21" fmla="*/ 2147483647 h 195"/>
                <a:gd name="T22" fmla="*/ 2147483647 w 164"/>
                <a:gd name="T23" fmla="*/ 2147483647 h 195"/>
                <a:gd name="T24" fmla="*/ 2147483647 w 164"/>
                <a:gd name="T25" fmla="*/ 2147483647 h 195"/>
                <a:gd name="T26" fmla="*/ 0 w 164"/>
                <a:gd name="T27" fmla="*/ 2147483647 h 195"/>
                <a:gd name="T28" fmla="*/ 2147483647 w 164"/>
                <a:gd name="T29" fmla="*/ 2147483647 h 195"/>
                <a:gd name="T30" fmla="*/ 2147483647 w 164"/>
                <a:gd name="T31" fmla="*/ 2147483647 h 195"/>
                <a:gd name="T32" fmla="*/ 2147483647 w 164"/>
                <a:gd name="T33" fmla="*/ 2147483647 h 195"/>
                <a:gd name="T34" fmla="*/ 2147483647 w 164"/>
                <a:gd name="T35" fmla="*/ 2147483647 h 195"/>
                <a:gd name="T36" fmla="*/ 2147483647 w 164"/>
                <a:gd name="T37" fmla="*/ 0 h 1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4"/>
                <a:gd name="T58" fmla="*/ 0 h 195"/>
                <a:gd name="T59" fmla="*/ 164 w 164"/>
                <a:gd name="T60" fmla="*/ 195 h 19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4" h="195">
                  <a:moveTo>
                    <a:pt x="152" y="0"/>
                  </a:moveTo>
                  <a:cubicBezTo>
                    <a:pt x="164" y="70"/>
                    <a:pt x="164" y="70"/>
                    <a:pt x="164" y="70"/>
                  </a:cubicBezTo>
                  <a:cubicBezTo>
                    <a:pt x="164" y="70"/>
                    <a:pt x="153" y="69"/>
                    <a:pt x="149" y="75"/>
                  </a:cubicBezTo>
                  <a:cubicBezTo>
                    <a:pt x="145" y="81"/>
                    <a:pt x="153" y="113"/>
                    <a:pt x="153" y="122"/>
                  </a:cubicBezTo>
                  <a:cubicBezTo>
                    <a:pt x="153" y="131"/>
                    <a:pt x="146" y="137"/>
                    <a:pt x="139" y="137"/>
                  </a:cubicBezTo>
                  <a:cubicBezTo>
                    <a:pt x="132" y="137"/>
                    <a:pt x="130" y="153"/>
                    <a:pt x="122" y="156"/>
                  </a:cubicBezTo>
                  <a:cubicBezTo>
                    <a:pt x="114" y="159"/>
                    <a:pt x="115" y="171"/>
                    <a:pt x="115" y="177"/>
                  </a:cubicBezTo>
                  <a:cubicBezTo>
                    <a:pt x="115" y="183"/>
                    <a:pt x="111" y="189"/>
                    <a:pt x="104" y="192"/>
                  </a:cubicBezTo>
                  <a:cubicBezTo>
                    <a:pt x="97" y="195"/>
                    <a:pt x="87" y="175"/>
                    <a:pt x="87" y="175"/>
                  </a:cubicBezTo>
                  <a:cubicBezTo>
                    <a:pt x="87" y="175"/>
                    <a:pt x="76" y="181"/>
                    <a:pt x="68" y="184"/>
                  </a:cubicBezTo>
                  <a:cubicBezTo>
                    <a:pt x="60" y="187"/>
                    <a:pt x="47" y="181"/>
                    <a:pt x="40" y="180"/>
                  </a:cubicBezTo>
                  <a:cubicBezTo>
                    <a:pt x="33" y="179"/>
                    <a:pt x="31" y="171"/>
                    <a:pt x="28" y="167"/>
                  </a:cubicBezTo>
                  <a:cubicBezTo>
                    <a:pt x="25" y="163"/>
                    <a:pt x="18" y="165"/>
                    <a:pt x="14" y="165"/>
                  </a:cubicBezTo>
                  <a:cubicBezTo>
                    <a:pt x="0" y="33"/>
                    <a:pt x="0" y="33"/>
                    <a:pt x="0" y="33"/>
                  </a:cubicBezTo>
                  <a:cubicBezTo>
                    <a:pt x="53" y="28"/>
                    <a:pt x="53" y="28"/>
                    <a:pt x="53" y="28"/>
                  </a:cubicBezTo>
                  <a:cubicBezTo>
                    <a:pt x="58" y="31"/>
                    <a:pt x="59" y="38"/>
                    <a:pt x="70" y="38"/>
                  </a:cubicBezTo>
                  <a:cubicBezTo>
                    <a:pt x="81" y="38"/>
                    <a:pt x="91" y="38"/>
                    <a:pt x="98" y="34"/>
                  </a:cubicBezTo>
                  <a:cubicBezTo>
                    <a:pt x="105" y="30"/>
                    <a:pt x="117" y="25"/>
                    <a:pt x="123" y="19"/>
                  </a:cubicBezTo>
                  <a:cubicBezTo>
                    <a:pt x="126" y="16"/>
                    <a:pt x="139" y="8"/>
                    <a:pt x="152" y="0"/>
                  </a:cubicBezTo>
                  <a:close/>
                </a:path>
              </a:pathLst>
            </a:custGeom>
            <a:solidFill>
              <a:srgbClr val="66CC33">
                <a:lumMod val="20000"/>
                <a:lumOff val="8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5" name="Freeform 417"/>
            <p:cNvSpPr>
              <a:spLocks/>
            </p:cNvSpPr>
            <p:nvPr>
              <p:custDataLst>
                <p:tags r:id="rId22"/>
              </p:custDataLst>
            </p:nvPr>
          </p:nvSpPr>
          <p:spPr bwMode="auto">
            <a:xfrm>
              <a:off x="3256503" y="3410177"/>
              <a:ext cx="680442" cy="221466"/>
            </a:xfrm>
            <a:custGeom>
              <a:avLst/>
              <a:gdLst>
                <a:gd name="T0" fmla="*/ 2147483647 w 341"/>
                <a:gd name="T1" fmla="*/ 0 h 111"/>
                <a:gd name="T2" fmla="*/ 2147483647 w 341"/>
                <a:gd name="T3" fmla="*/ 1672598335 h 111"/>
                <a:gd name="T4" fmla="*/ 2147483647 w 341"/>
                <a:gd name="T5" fmla="*/ 2147483647 h 111"/>
                <a:gd name="T6" fmla="*/ 2147483647 w 341"/>
                <a:gd name="T7" fmla="*/ 2147483647 h 111"/>
                <a:gd name="T8" fmla="*/ 2147483647 w 341"/>
                <a:gd name="T9" fmla="*/ 2147483647 h 111"/>
                <a:gd name="T10" fmla="*/ 2147483647 w 341"/>
                <a:gd name="T11" fmla="*/ 2147483647 h 111"/>
                <a:gd name="T12" fmla="*/ 2147483647 w 341"/>
                <a:gd name="T13" fmla="*/ 2147483647 h 111"/>
                <a:gd name="T14" fmla="*/ 2147483647 w 341"/>
                <a:gd name="T15" fmla="*/ 2147483647 h 111"/>
                <a:gd name="T16" fmla="*/ 2147483647 w 341"/>
                <a:gd name="T17" fmla="*/ 2147483647 h 111"/>
                <a:gd name="T18" fmla="*/ 2147483647 w 341"/>
                <a:gd name="T19" fmla="*/ 2147483647 h 111"/>
                <a:gd name="T20" fmla="*/ 2147483647 w 341"/>
                <a:gd name="T21" fmla="*/ 2147483647 h 111"/>
                <a:gd name="T22" fmla="*/ 2147483647 w 341"/>
                <a:gd name="T23" fmla="*/ 2147483647 h 111"/>
                <a:gd name="T24" fmla="*/ 2147483647 w 341"/>
                <a:gd name="T25" fmla="*/ 2147483647 h 111"/>
                <a:gd name="T26" fmla="*/ 1672818517 w 341"/>
                <a:gd name="T27" fmla="*/ 2147483647 h 111"/>
                <a:gd name="T28" fmla="*/ 1672818517 w 341"/>
                <a:gd name="T29" fmla="*/ 2147483647 h 111"/>
                <a:gd name="T30" fmla="*/ 1672818517 w 341"/>
                <a:gd name="T31" fmla="*/ 2147483647 h 111"/>
                <a:gd name="T32" fmla="*/ 2147483647 w 341"/>
                <a:gd name="T33" fmla="*/ 2147483647 h 111"/>
                <a:gd name="T34" fmla="*/ 2147483647 w 341"/>
                <a:gd name="T35" fmla="*/ 2147483647 h 111"/>
                <a:gd name="T36" fmla="*/ 2147483647 w 341"/>
                <a:gd name="T37" fmla="*/ 2147483647 h 111"/>
                <a:gd name="T38" fmla="*/ 2147483647 w 341"/>
                <a:gd name="T39" fmla="*/ 2147483647 h 111"/>
                <a:gd name="T40" fmla="*/ 2147483647 w 341"/>
                <a:gd name="T41" fmla="*/ 2147483647 h 111"/>
                <a:gd name="T42" fmla="*/ 2147483647 w 341"/>
                <a:gd name="T43" fmla="*/ 2147483647 h 111"/>
                <a:gd name="T44" fmla="*/ 2147483647 w 341"/>
                <a:gd name="T45" fmla="*/ 1672598335 h 111"/>
                <a:gd name="T46" fmla="*/ 2147483647 w 341"/>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1"/>
                <a:gd name="T73" fmla="*/ 0 h 111"/>
                <a:gd name="T74" fmla="*/ 341 w 341"/>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1" h="111">
                  <a:moveTo>
                    <a:pt x="340" y="0"/>
                  </a:moveTo>
                  <a:cubicBezTo>
                    <a:pt x="340" y="0"/>
                    <a:pt x="341" y="8"/>
                    <a:pt x="338" y="11"/>
                  </a:cubicBezTo>
                  <a:cubicBezTo>
                    <a:pt x="334" y="16"/>
                    <a:pt x="334" y="16"/>
                    <a:pt x="334" y="16"/>
                  </a:cubicBezTo>
                  <a:cubicBezTo>
                    <a:pt x="334" y="16"/>
                    <a:pt x="325" y="26"/>
                    <a:pt x="320" y="29"/>
                  </a:cubicBezTo>
                  <a:cubicBezTo>
                    <a:pt x="314" y="32"/>
                    <a:pt x="308" y="30"/>
                    <a:pt x="304" y="30"/>
                  </a:cubicBezTo>
                  <a:cubicBezTo>
                    <a:pt x="300" y="30"/>
                    <a:pt x="296" y="35"/>
                    <a:pt x="292" y="38"/>
                  </a:cubicBezTo>
                  <a:cubicBezTo>
                    <a:pt x="287" y="42"/>
                    <a:pt x="280" y="58"/>
                    <a:pt x="275" y="61"/>
                  </a:cubicBezTo>
                  <a:cubicBezTo>
                    <a:pt x="270" y="64"/>
                    <a:pt x="266" y="61"/>
                    <a:pt x="258" y="62"/>
                  </a:cubicBezTo>
                  <a:cubicBezTo>
                    <a:pt x="250" y="64"/>
                    <a:pt x="247" y="74"/>
                    <a:pt x="243" y="80"/>
                  </a:cubicBezTo>
                  <a:cubicBezTo>
                    <a:pt x="239" y="85"/>
                    <a:pt x="241" y="93"/>
                    <a:pt x="241" y="93"/>
                  </a:cubicBezTo>
                  <a:cubicBezTo>
                    <a:pt x="216" y="96"/>
                    <a:pt x="190" y="98"/>
                    <a:pt x="190" y="98"/>
                  </a:cubicBezTo>
                  <a:cubicBezTo>
                    <a:pt x="86" y="107"/>
                    <a:pt x="86" y="107"/>
                    <a:pt x="86" y="107"/>
                  </a:cubicBezTo>
                  <a:cubicBezTo>
                    <a:pt x="18" y="111"/>
                    <a:pt x="18" y="111"/>
                    <a:pt x="18" y="111"/>
                  </a:cubicBezTo>
                  <a:cubicBezTo>
                    <a:pt x="3" y="111"/>
                    <a:pt x="3" y="111"/>
                    <a:pt x="3" y="111"/>
                  </a:cubicBezTo>
                  <a:cubicBezTo>
                    <a:pt x="3" y="111"/>
                    <a:pt x="3" y="111"/>
                    <a:pt x="3" y="111"/>
                  </a:cubicBezTo>
                  <a:cubicBezTo>
                    <a:pt x="3" y="104"/>
                    <a:pt x="0" y="93"/>
                    <a:pt x="5" y="88"/>
                  </a:cubicBezTo>
                  <a:cubicBezTo>
                    <a:pt x="11" y="82"/>
                    <a:pt x="21" y="74"/>
                    <a:pt x="21" y="66"/>
                  </a:cubicBezTo>
                  <a:cubicBezTo>
                    <a:pt x="21" y="64"/>
                    <a:pt x="21" y="62"/>
                    <a:pt x="21" y="60"/>
                  </a:cubicBezTo>
                  <a:cubicBezTo>
                    <a:pt x="20" y="51"/>
                    <a:pt x="20" y="38"/>
                    <a:pt x="24" y="35"/>
                  </a:cubicBezTo>
                  <a:cubicBezTo>
                    <a:pt x="25" y="34"/>
                    <a:pt x="27" y="33"/>
                    <a:pt x="28" y="33"/>
                  </a:cubicBezTo>
                  <a:cubicBezTo>
                    <a:pt x="84" y="33"/>
                    <a:pt x="84" y="33"/>
                    <a:pt x="84" y="33"/>
                  </a:cubicBezTo>
                  <a:cubicBezTo>
                    <a:pt x="84" y="20"/>
                    <a:pt x="84" y="20"/>
                    <a:pt x="84" y="20"/>
                  </a:cubicBezTo>
                  <a:cubicBezTo>
                    <a:pt x="84" y="20"/>
                    <a:pt x="195" y="12"/>
                    <a:pt x="279" y="5"/>
                  </a:cubicBezTo>
                  <a:cubicBezTo>
                    <a:pt x="303" y="3"/>
                    <a:pt x="324" y="1"/>
                    <a:pt x="340" y="0"/>
                  </a:cubicBezTo>
                  <a:close/>
                </a:path>
              </a:pathLst>
            </a:custGeom>
            <a:solidFill>
              <a:srgbClr val="575F9F"/>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6" name="Freeform 418"/>
            <p:cNvSpPr>
              <a:spLocks/>
            </p:cNvSpPr>
            <p:nvPr>
              <p:custDataLst>
                <p:tags r:id="rId23"/>
              </p:custDataLst>
            </p:nvPr>
          </p:nvSpPr>
          <p:spPr bwMode="auto">
            <a:xfrm>
              <a:off x="3312539" y="3183376"/>
              <a:ext cx="573708" cy="293508"/>
            </a:xfrm>
            <a:custGeom>
              <a:avLst/>
              <a:gdLst>
                <a:gd name="T0" fmla="*/ 2147483647 w 288"/>
                <a:gd name="T1" fmla="*/ 2147483647 h 147"/>
                <a:gd name="T2" fmla="*/ 2147483647 w 288"/>
                <a:gd name="T3" fmla="*/ 2147483647 h 147"/>
                <a:gd name="T4" fmla="*/ 2147483647 w 288"/>
                <a:gd name="T5" fmla="*/ 2147483647 h 147"/>
                <a:gd name="T6" fmla="*/ 2147483647 w 288"/>
                <a:gd name="T7" fmla="*/ 2147483647 h 147"/>
                <a:gd name="T8" fmla="*/ 2147483647 w 288"/>
                <a:gd name="T9" fmla="*/ 2147483647 h 147"/>
                <a:gd name="T10" fmla="*/ 2147483647 w 288"/>
                <a:gd name="T11" fmla="*/ 2147483647 h 147"/>
                <a:gd name="T12" fmla="*/ 0 w 288"/>
                <a:gd name="T13" fmla="*/ 2147483647 h 147"/>
                <a:gd name="T14" fmla="*/ 1664328701 w 288"/>
                <a:gd name="T15" fmla="*/ 2147483647 h 147"/>
                <a:gd name="T16" fmla="*/ 1664328701 w 288"/>
                <a:gd name="T17" fmla="*/ 2147483647 h 147"/>
                <a:gd name="T18" fmla="*/ 2147483647 w 288"/>
                <a:gd name="T19" fmla="*/ 2147483647 h 147"/>
                <a:gd name="T20" fmla="*/ 2147483647 w 288"/>
                <a:gd name="T21" fmla="*/ 2147483647 h 147"/>
                <a:gd name="T22" fmla="*/ 2147483647 w 288"/>
                <a:gd name="T23" fmla="*/ 2147483647 h 147"/>
                <a:gd name="T24" fmla="*/ 2147483647 w 288"/>
                <a:gd name="T25" fmla="*/ 2147483647 h 147"/>
                <a:gd name="T26" fmla="*/ 2147483647 w 288"/>
                <a:gd name="T27" fmla="*/ 2147483647 h 147"/>
                <a:gd name="T28" fmla="*/ 2147483647 w 288"/>
                <a:gd name="T29" fmla="*/ 2147483647 h 147"/>
                <a:gd name="T30" fmla="*/ 2147483647 w 288"/>
                <a:gd name="T31" fmla="*/ 2147483647 h 147"/>
                <a:gd name="T32" fmla="*/ 2147483647 w 288"/>
                <a:gd name="T33" fmla="*/ 2147483647 h 147"/>
                <a:gd name="T34" fmla="*/ 2147483647 w 288"/>
                <a:gd name="T35" fmla="*/ 2147483647 h 147"/>
                <a:gd name="T36" fmla="*/ 2147483647 w 288"/>
                <a:gd name="T37" fmla="*/ 2147483647 h 147"/>
                <a:gd name="T38" fmla="*/ 2147483647 w 288"/>
                <a:gd name="T39" fmla="*/ 2147483647 h 147"/>
                <a:gd name="T40" fmla="*/ 2147483647 w 288"/>
                <a:gd name="T41" fmla="*/ 1676465336 h 147"/>
                <a:gd name="T42" fmla="*/ 2147483647 w 288"/>
                <a:gd name="T43" fmla="*/ 1676465336 h 147"/>
                <a:gd name="T44" fmla="*/ 2147483647 w 288"/>
                <a:gd name="T45" fmla="*/ 2147483647 h 147"/>
                <a:gd name="T46" fmla="*/ 2147483647 w 288"/>
                <a:gd name="T47" fmla="*/ 2147483647 h 147"/>
                <a:gd name="T48" fmla="*/ 2147483647 w 288"/>
                <a:gd name="T49" fmla="*/ 2147483647 h 147"/>
                <a:gd name="T50" fmla="*/ 2147483647 w 288"/>
                <a:gd name="T51" fmla="*/ 2147483647 h 147"/>
                <a:gd name="T52" fmla="*/ 2147483647 w 288"/>
                <a:gd name="T53" fmla="*/ 2147483647 h 147"/>
                <a:gd name="T54" fmla="*/ 2147483647 w 288"/>
                <a:gd name="T55" fmla="*/ 2147483647 h 14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88"/>
                <a:gd name="T85" fmla="*/ 0 h 147"/>
                <a:gd name="T86" fmla="*/ 288 w 288"/>
                <a:gd name="T87" fmla="*/ 147 h 14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88" h="147">
                  <a:moveTo>
                    <a:pt x="265" y="48"/>
                  </a:moveTo>
                  <a:cubicBezTo>
                    <a:pt x="267" y="51"/>
                    <a:pt x="283" y="66"/>
                    <a:pt x="288" y="69"/>
                  </a:cubicBezTo>
                  <a:cubicBezTo>
                    <a:pt x="288" y="69"/>
                    <a:pt x="258" y="100"/>
                    <a:pt x="258" y="104"/>
                  </a:cubicBezTo>
                  <a:cubicBezTo>
                    <a:pt x="258" y="107"/>
                    <a:pt x="251" y="119"/>
                    <a:pt x="251" y="119"/>
                  </a:cubicBezTo>
                  <a:cubicBezTo>
                    <a:pt x="167" y="126"/>
                    <a:pt x="56" y="134"/>
                    <a:pt x="56" y="134"/>
                  </a:cubicBezTo>
                  <a:cubicBezTo>
                    <a:pt x="56" y="147"/>
                    <a:pt x="56" y="147"/>
                    <a:pt x="56" y="147"/>
                  </a:cubicBezTo>
                  <a:cubicBezTo>
                    <a:pt x="0" y="147"/>
                    <a:pt x="0" y="147"/>
                    <a:pt x="0" y="147"/>
                  </a:cubicBezTo>
                  <a:cubicBezTo>
                    <a:pt x="5" y="146"/>
                    <a:pt x="11" y="146"/>
                    <a:pt x="11" y="141"/>
                  </a:cubicBezTo>
                  <a:cubicBezTo>
                    <a:pt x="11" y="134"/>
                    <a:pt x="16" y="124"/>
                    <a:pt x="10" y="121"/>
                  </a:cubicBezTo>
                  <a:cubicBezTo>
                    <a:pt x="20" y="111"/>
                    <a:pt x="20" y="111"/>
                    <a:pt x="20" y="111"/>
                  </a:cubicBezTo>
                  <a:cubicBezTo>
                    <a:pt x="25" y="111"/>
                    <a:pt x="31" y="120"/>
                    <a:pt x="37" y="116"/>
                  </a:cubicBezTo>
                  <a:cubicBezTo>
                    <a:pt x="43" y="112"/>
                    <a:pt x="43" y="95"/>
                    <a:pt x="48" y="88"/>
                  </a:cubicBezTo>
                  <a:cubicBezTo>
                    <a:pt x="49" y="86"/>
                    <a:pt x="51" y="84"/>
                    <a:pt x="53" y="82"/>
                  </a:cubicBezTo>
                  <a:cubicBezTo>
                    <a:pt x="58" y="77"/>
                    <a:pt x="65" y="72"/>
                    <a:pt x="71" y="73"/>
                  </a:cubicBezTo>
                  <a:cubicBezTo>
                    <a:pt x="80" y="74"/>
                    <a:pt x="81" y="79"/>
                    <a:pt x="90" y="77"/>
                  </a:cubicBezTo>
                  <a:cubicBezTo>
                    <a:pt x="99" y="75"/>
                    <a:pt x="101" y="59"/>
                    <a:pt x="111" y="60"/>
                  </a:cubicBezTo>
                  <a:cubicBezTo>
                    <a:pt x="121" y="61"/>
                    <a:pt x="124" y="67"/>
                    <a:pt x="129" y="63"/>
                  </a:cubicBezTo>
                  <a:cubicBezTo>
                    <a:pt x="134" y="59"/>
                    <a:pt x="138" y="50"/>
                    <a:pt x="142" y="43"/>
                  </a:cubicBezTo>
                  <a:cubicBezTo>
                    <a:pt x="146" y="36"/>
                    <a:pt x="143" y="24"/>
                    <a:pt x="149" y="22"/>
                  </a:cubicBezTo>
                  <a:cubicBezTo>
                    <a:pt x="155" y="20"/>
                    <a:pt x="163" y="24"/>
                    <a:pt x="168" y="21"/>
                  </a:cubicBezTo>
                  <a:cubicBezTo>
                    <a:pt x="173" y="18"/>
                    <a:pt x="170" y="2"/>
                    <a:pt x="174" y="2"/>
                  </a:cubicBezTo>
                  <a:cubicBezTo>
                    <a:pt x="178" y="2"/>
                    <a:pt x="185" y="0"/>
                    <a:pt x="188" y="4"/>
                  </a:cubicBezTo>
                  <a:cubicBezTo>
                    <a:pt x="191" y="8"/>
                    <a:pt x="193" y="16"/>
                    <a:pt x="200" y="17"/>
                  </a:cubicBezTo>
                  <a:cubicBezTo>
                    <a:pt x="207" y="18"/>
                    <a:pt x="220" y="24"/>
                    <a:pt x="228" y="21"/>
                  </a:cubicBezTo>
                  <a:cubicBezTo>
                    <a:pt x="236" y="18"/>
                    <a:pt x="247" y="12"/>
                    <a:pt x="247" y="12"/>
                  </a:cubicBezTo>
                  <a:cubicBezTo>
                    <a:pt x="247" y="12"/>
                    <a:pt x="257" y="32"/>
                    <a:pt x="264" y="29"/>
                  </a:cubicBezTo>
                  <a:cubicBezTo>
                    <a:pt x="262" y="39"/>
                    <a:pt x="262" y="39"/>
                    <a:pt x="262" y="39"/>
                  </a:cubicBezTo>
                  <a:cubicBezTo>
                    <a:pt x="262" y="39"/>
                    <a:pt x="263" y="45"/>
                    <a:pt x="265" y="48"/>
                  </a:cubicBezTo>
                  <a:close/>
                </a:path>
              </a:pathLst>
            </a:custGeom>
            <a:solidFill>
              <a:srgbClr val="66CC33">
                <a:lumMod val="20000"/>
                <a:lumOff val="8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7" name="Freeform 419"/>
            <p:cNvSpPr>
              <a:spLocks/>
            </p:cNvSpPr>
            <p:nvPr>
              <p:custDataLst>
                <p:tags r:id="rId24"/>
              </p:custDataLst>
            </p:nvPr>
          </p:nvSpPr>
          <p:spPr bwMode="auto">
            <a:xfrm>
              <a:off x="3419275" y="3607627"/>
              <a:ext cx="304198" cy="504300"/>
            </a:xfrm>
            <a:custGeom>
              <a:avLst/>
              <a:gdLst>
                <a:gd name="T0" fmla="*/ 2147483647 w 152"/>
                <a:gd name="T1" fmla="*/ 2147483647 h 253"/>
                <a:gd name="T2" fmla="*/ 2147483647 w 152"/>
                <a:gd name="T3" fmla="*/ 2147483647 h 253"/>
                <a:gd name="T4" fmla="*/ 2147483647 w 152"/>
                <a:gd name="T5" fmla="*/ 2147483647 h 253"/>
                <a:gd name="T6" fmla="*/ 2147483647 w 152"/>
                <a:gd name="T7" fmla="*/ 2147483647 h 253"/>
                <a:gd name="T8" fmla="*/ 2147483647 w 152"/>
                <a:gd name="T9" fmla="*/ 2147483647 h 253"/>
                <a:gd name="T10" fmla="*/ 2147483647 w 152"/>
                <a:gd name="T11" fmla="*/ 2147483647 h 253"/>
                <a:gd name="T12" fmla="*/ 2147483647 w 152"/>
                <a:gd name="T13" fmla="*/ 2147483647 h 253"/>
                <a:gd name="T14" fmla="*/ 2147483647 w 152"/>
                <a:gd name="T15" fmla="*/ 2147483647 h 253"/>
                <a:gd name="T16" fmla="*/ 2147483647 w 152"/>
                <a:gd name="T17" fmla="*/ 2147483647 h 253"/>
                <a:gd name="T18" fmla="*/ 2147483647 w 152"/>
                <a:gd name="T19" fmla="*/ 2147483647 h 253"/>
                <a:gd name="T20" fmla="*/ 2147483647 w 152"/>
                <a:gd name="T21" fmla="*/ 2147483647 h 253"/>
                <a:gd name="T22" fmla="*/ 2147483647 w 152"/>
                <a:gd name="T23" fmla="*/ 2147483647 h 253"/>
                <a:gd name="T24" fmla="*/ 2147483647 w 152"/>
                <a:gd name="T25" fmla="*/ 2147483647 h 253"/>
                <a:gd name="T26" fmla="*/ 2147483647 w 152"/>
                <a:gd name="T27" fmla="*/ 2147483647 h 253"/>
                <a:gd name="T28" fmla="*/ 2147483647 w 152"/>
                <a:gd name="T29" fmla="*/ 2147483647 h 253"/>
                <a:gd name="T30" fmla="*/ 0 w 152"/>
                <a:gd name="T31" fmla="*/ 2147483647 h 253"/>
                <a:gd name="T32" fmla="*/ 2147483647 w 152"/>
                <a:gd name="T33" fmla="*/ 1668000186 h 253"/>
                <a:gd name="T34" fmla="*/ 2147483647 w 152"/>
                <a:gd name="T35" fmla="*/ 0 h 253"/>
                <a:gd name="T36" fmla="*/ 2147483647 w 152"/>
                <a:gd name="T37" fmla="*/ 2147483647 h 253"/>
                <a:gd name="T38" fmla="*/ 2147483647 w 152"/>
                <a:gd name="T39" fmla="*/ 2147483647 h 253"/>
                <a:gd name="T40" fmla="*/ 2147483647 w 152"/>
                <a:gd name="T41" fmla="*/ 2147483647 h 253"/>
                <a:gd name="T42" fmla="*/ 2147483647 w 152"/>
                <a:gd name="T43" fmla="*/ 2147483647 h 253"/>
                <a:gd name="T44" fmla="*/ 2147483647 w 152"/>
                <a:gd name="T45" fmla="*/ 2147483647 h 253"/>
                <a:gd name="T46" fmla="*/ 2147483647 w 152"/>
                <a:gd name="T47" fmla="*/ 2147483647 h 253"/>
                <a:gd name="T48" fmla="*/ 2147483647 w 152"/>
                <a:gd name="T49" fmla="*/ 2147483647 h 2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2"/>
                <a:gd name="T76" fmla="*/ 0 h 253"/>
                <a:gd name="T77" fmla="*/ 152 w 152"/>
                <a:gd name="T78" fmla="*/ 253 h 25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2" h="253">
                  <a:moveTo>
                    <a:pt x="151" y="195"/>
                  </a:moveTo>
                  <a:cubicBezTo>
                    <a:pt x="40" y="205"/>
                    <a:pt x="40" y="205"/>
                    <a:pt x="40" y="205"/>
                  </a:cubicBezTo>
                  <a:cubicBezTo>
                    <a:pt x="40" y="205"/>
                    <a:pt x="40" y="205"/>
                    <a:pt x="39" y="212"/>
                  </a:cubicBezTo>
                  <a:cubicBezTo>
                    <a:pt x="38" y="220"/>
                    <a:pt x="49" y="223"/>
                    <a:pt x="52" y="228"/>
                  </a:cubicBezTo>
                  <a:cubicBezTo>
                    <a:pt x="53" y="232"/>
                    <a:pt x="49" y="241"/>
                    <a:pt x="45" y="248"/>
                  </a:cubicBezTo>
                  <a:cubicBezTo>
                    <a:pt x="45" y="248"/>
                    <a:pt x="45" y="248"/>
                    <a:pt x="45" y="248"/>
                  </a:cubicBezTo>
                  <a:cubicBezTo>
                    <a:pt x="39" y="249"/>
                    <a:pt x="32" y="251"/>
                    <a:pt x="29" y="252"/>
                  </a:cubicBezTo>
                  <a:cubicBezTo>
                    <a:pt x="26" y="253"/>
                    <a:pt x="20" y="253"/>
                    <a:pt x="15" y="253"/>
                  </a:cubicBezTo>
                  <a:cubicBezTo>
                    <a:pt x="11" y="253"/>
                    <a:pt x="12" y="251"/>
                    <a:pt x="13" y="249"/>
                  </a:cubicBezTo>
                  <a:cubicBezTo>
                    <a:pt x="14" y="247"/>
                    <a:pt x="35" y="245"/>
                    <a:pt x="36" y="244"/>
                  </a:cubicBezTo>
                  <a:cubicBezTo>
                    <a:pt x="37" y="243"/>
                    <a:pt x="34" y="238"/>
                    <a:pt x="32" y="236"/>
                  </a:cubicBezTo>
                  <a:cubicBezTo>
                    <a:pt x="30" y="234"/>
                    <a:pt x="31" y="218"/>
                    <a:pt x="24" y="218"/>
                  </a:cubicBezTo>
                  <a:cubicBezTo>
                    <a:pt x="21" y="218"/>
                    <a:pt x="20" y="224"/>
                    <a:pt x="19" y="227"/>
                  </a:cubicBezTo>
                  <a:cubicBezTo>
                    <a:pt x="19" y="230"/>
                    <a:pt x="20" y="239"/>
                    <a:pt x="19" y="241"/>
                  </a:cubicBezTo>
                  <a:cubicBezTo>
                    <a:pt x="18" y="242"/>
                    <a:pt x="13" y="242"/>
                    <a:pt x="8" y="243"/>
                  </a:cubicBezTo>
                  <a:cubicBezTo>
                    <a:pt x="6" y="219"/>
                    <a:pt x="0" y="168"/>
                    <a:pt x="0" y="162"/>
                  </a:cubicBezTo>
                  <a:cubicBezTo>
                    <a:pt x="0" y="155"/>
                    <a:pt x="4" y="9"/>
                    <a:pt x="4" y="9"/>
                  </a:cubicBezTo>
                  <a:cubicBezTo>
                    <a:pt x="108" y="0"/>
                    <a:pt x="108" y="0"/>
                    <a:pt x="108" y="0"/>
                  </a:cubicBezTo>
                  <a:cubicBezTo>
                    <a:pt x="135" y="106"/>
                    <a:pt x="135" y="106"/>
                    <a:pt x="135" y="106"/>
                  </a:cubicBezTo>
                  <a:cubicBezTo>
                    <a:pt x="135" y="112"/>
                    <a:pt x="146" y="119"/>
                    <a:pt x="148" y="124"/>
                  </a:cubicBezTo>
                  <a:cubicBezTo>
                    <a:pt x="149" y="127"/>
                    <a:pt x="152" y="131"/>
                    <a:pt x="149" y="134"/>
                  </a:cubicBezTo>
                  <a:cubicBezTo>
                    <a:pt x="146" y="138"/>
                    <a:pt x="143" y="140"/>
                    <a:pt x="142" y="144"/>
                  </a:cubicBezTo>
                  <a:cubicBezTo>
                    <a:pt x="140" y="149"/>
                    <a:pt x="144" y="161"/>
                    <a:pt x="146" y="165"/>
                  </a:cubicBezTo>
                  <a:cubicBezTo>
                    <a:pt x="147" y="169"/>
                    <a:pt x="144" y="178"/>
                    <a:pt x="146" y="182"/>
                  </a:cubicBezTo>
                  <a:cubicBezTo>
                    <a:pt x="146" y="184"/>
                    <a:pt x="149" y="190"/>
                    <a:pt x="151" y="195"/>
                  </a:cubicBezTo>
                  <a:close/>
                </a:path>
              </a:pathLst>
            </a:custGeom>
            <a:solidFill>
              <a:srgbClr val="575F9F"/>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8" name="Freeform 420"/>
            <p:cNvSpPr>
              <a:spLocks/>
            </p:cNvSpPr>
            <p:nvPr>
              <p:custDataLst>
                <p:tags r:id="rId25"/>
              </p:custDataLst>
            </p:nvPr>
          </p:nvSpPr>
          <p:spPr bwMode="auto">
            <a:xfrm>
              <a:off x="3413938" y="2924555"/>
              <a:ext cx="245493" cy="421584"/>
            </a:xfrm>
            <a:custGeom>
              <a:avLst/>
              <a:gdLst>
                <a:gd name="T0" fmla="*/ 2147483647 w 123"/>
                <a:gd name="T1" fmla="*/ 0 h 212"/>
                <a:gd name="T2" fmla="*/ 2147483647 w 123"/>
                <a:gd name="T3" fmla="*/ 2147483647 h 212"/>
                <a:gd name="T4" fmla="*/ 2147483647 w 123"/>
                <a:gd name="T5" fmla="*/ 2147483647 h 212"/>
                <a:gd name="T6" fmla="*/ 2147483647 w 123"/>
                <a:gd name="T7" fmla="*/ 2147483647 h 212"/>
                <a:gd name="T8" fmla="*/ 2147483647 w 123"/>
                <a:gd name="T9" fmla="*/ 2147483647 h 212"/>
                <a:gd name="T10" fmla="*/ 2147483647 w 123"/>
                <a:gd name="T11" fmla="*/ 2147483647 h 212"/>
                <a:gd name="T12" fmla="*/ 2147483647 w 123"/>
                <a:gd name="T13" fmla="*/ 2147483647 h 212"/>
                <a:gd name="T14" fmla="*/ 2147483647 w 123"/>
                <a:gd name="T15" fmla="*/ 2147483647 h 212"/>
                <a:gd name="T16" fmla="*/ 2147483647 w 123"/>
                <a:gd name="T17" fmla="*/ 2147483647 h 212"/>
                <a:gd name="T18" fmla="*/ 1673569139 w 123"/>
                <a:gd name="T19" fmla="*/ 2147483647 h 212"/>
                <a:gd name="T20" fmla="*/ 0 w 123"/>
                <a:gd name="T21" fmla="*/ 2147483647 h 212"/>
                <a:gd name="T22" fmla="*/ 2147483647 w 123"/>
                <a:gd name="T23" fmla="*/ 2147483647 h 212"/>
                <a:gd name="T24" fmla="*/ 2147483647 w 123"/>
                <a:gd name="T25" fmla="*/ 2147483647 h 212"/>
                <a:gd name="T26" fmla="*/ 2147483647 w 123"/>
                <a:gd name="T27" fmla="*/ 2147483647 h 212"/>
                <a:gd name="T28" fmla="*/ 1673569139 w 123"/>
                <a:gd name="T29" fmla="*/ 1655978595 h 212"/>
                <a:gd name="T30" fmla="*/ 2147483647 w 123"/>
                <a:gd name="T31" fmla="*/ 2147483647 h 212"/>
                <a:gd name="T32" fmla="*/ 2147483647 w 123"/>
                <a:gd name="T33" fmla="*/ 1655978595 h 212"/>
                <a:gd name="T34" fmla="*/ 2147483647 w 123"/>
                <a:gd name="T35" fmla="*/ 0 h 2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3"/>
                <a:gd name="T55" fmla="*/ 0 h 212"/>
                <a:gd name="T56" fmla="*/ 123 w 123"/>
                <a:gd name="T57" fmla="*/ 212 h 2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3" h="212">
                  <a:moveTo>
                    <a:pt x="109" y="0"/>
                  </a:moveTo>
                  <a:cubicBezTo>
                    <a:pt x="123" y="132"/>
                    <a:pt x="123" y="132"/>
                    <a:pt x="123" y="132"/>
                  </a:cubicBezTo>
                  <a:cubicBezTo>
                    <a:pt x="119" y="132"/>
                    <a:pt x="122" y="148"/>
                    <a:pt x="117" y="151"/>
                  </a:cubicBezTo>
                  <a:cubicBezTo>
                    <a:pt x="112" y="154"/>
                    <a:pt x="104" y="150"/>
                    <a:pt x="98" y="152"/>
                  </a:cubicBezTo>
                  <a:cubicBezTo>
                    <a:pt x="92" y="154"/>
                    <a:pt x="95" y="166"/>
                    <a:pt x="91" y="173"/>
                  </a:cubicBezTo>
                  <a:cubicBezTo>
                    <a:pt x="87" y="180"/>
                    <a:pt x="83" y="189"/>
                    <a:pt x="78" y="193"/>
                  </a:cubicBezTo>
                  <a:cubicBezTo>
                    <a:pt x="73" y="197"/>
                    <a:pt x="70" y="191"/>
                    <a:pt x="60" y="190"/>
                  </a:cubicBezTo>
                  <a:cubicBezTo>
                    <a:pt x="50" y="189"/>
                    <a:pt x="48" y="205"/>
                    <a:pt x="39" y="207"/>
                  </a:cubicBezTo>
                  <a:cubicBezTo>
                    <a:pt x="30" y="209"/>
                    <a:pt x="29" y="204"/>
                    <a:pt x="20" y="203"/>
                  </a:cubicBezTo>
                  <a:cubicBezTo>
                    <a:pt x="14" y="202"/>
                    <a:pt x="7" y="207"/>
                    <a:pt x="2" y="212"/>
                  </a:cubicBezTo>
                  <a:cubicBezTo>
                    <a:pt x="2" y="212"/>
                    <a:pt x="0" y="205"/>
                    <a:pt x="0" y="198"/>
                  </a:cubicBezTo>
                  <a:cubicBezTo>
                    <a:pt x="0" y="191"/>
                    <a:pt x="18" y="170"/>
                    <a:pt x="18" y="164"/>
                  </a:cubicBezTo>
                  <a:cubicBezTo>
                    <a:pt x="18" y="158"/>
                    <a:pt x="7" y="144"/>
                    <a:pt x="12" y="139"/>
                  </a:cubicBezTo>
                  <a:cubicBezTo>
                    <a:pt x="16" y="135"/>
                    <a:pt x="14" y="129"/>
                    <a:pt x="14" y="125"/>
                  </a:cubicBezTo>
                  <a:cubicBezTo>
                    <a:pt x="14" y="122"/>
                    <a:pt x="6" y="4"/>
                    <a:pt x="6" y="4"/>
                  </a:cubicBezTo>
                  <a:cubicBezTo>
                    <a:pt x="8" y="9"/>
                    <a:pt x="11" y="11"/>
                    <a:pt x="14" y="12"/>
                  </a:cubicBezTo>
                  <a:cubicBezTo>
                    <a:pt x="18" y="13"/>
                    <a:pt x="20" y="12"/>
                    <a:pt x="25" y="7"/>
                  </a:cubicBezTo>
                  <a:lnTo>
                    <a:pt x="109" y="0"/>
                  </a:lnTo>
                  <a:close/>
                </a:path>
              </a:pathLst>
            </a:custGeom>
            <a:solidFill>
              <a:srgbClr val="66CC33">
                <a:lumMod val="20000"/>
                <a:lumOff val="8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9" name="Freeform 421"/>
            <p:cNvSpPr>
              <a:spLocks/>
            </p:cNvSpPr>
            <p:nvPr>
              <p:custDataLst>
                <p:tags r:id="rId26"/>
              </p:custDataLst>
            </p:nvPr>
          </p:nvSpPr>
          <p:spPr bwMode="auto">
            <a:xfrm>
              <a:off x="3120414" y="2879196"/>
              <a:ext cx="328215" cy="544323"/>
            </a:xfrm>
            <a:custGeom>
              <a:avLst/>
              <a:gdLst>
                <a:gd name="T0" fmla="*/ 2147483647 w 165"/>
                <a:gd name="T1" fmla="*/ 2147483647 h 273"/>
                <a:gd name="T2" fmla="*/ 2147483647 w 165"/>
                <a:gd name="T3" fmla="*/ 2147483647 h 273"/>
                <a:gd name="T4" fmla="*/ 2147483647 w 165"/>
                <a:gd name="T5" fmla="*/ 2147483647 h 273"/>
                <a:gd name="T6" fmla="*/ 2147483647 w 165"/>
                <a:gd name="T7" fmla="*/ 2147483647 h 273"/>
                <a:gd name="T8" fmla="*/ 2147483647 w 165"/>
                <a:gd name="T9" fmla="*/ 2147483647 h 273"/>
                <a:gd name="T10" fmla="*/ 2147483647 w 165"/>
                <a:gd name="T11" fmla="*/ 2147483647 h 273"/>
                <a:gd name="T12" fmla="*/ 2147483647 w 165"/>
                <a:gd name="T13" fmla="*/ 2147483647 h 273"/>
                <a:gd name="T14" fmla="*/ 2147483647 w 165"/>
                <a:gd name="T15" fmla="*/ 2147483647 h 273"/>
                <a:gd name="T16" fmla="*/ 2147483647 w 165"/>
                <a:gd name="T17" fmla="*/ 2147483647 h 273"/>
                <a:gd name="T18" fmla="*/ 2147483647 w 165"/>
                <a:gd name="T19" fmla="*/ 2147483647 h 273"/>
                <a:gd name="T20" fmla="*/ 2147483647 w 165"/>
                <a:gd name="T21" fmla="*/ 2147483647 h 273"/>
                <a:gd name="T22" fmla="*/ 2147483647 w 165"/>
                <a:gd name="T23" fmla="*/ 2147483647 h 273"/>
                <a:gd name="T24" fmla="*/ 2147483647 w 165"/>
                <a:gd name="T25" fmla="*/ 2147483647 h 273"/>
                <a:gd name="T26" fmla="*/ 2147483647 w 165"/>
                <a:gd name="T27" fmla="*/ 2147483647 h 273"/>
                <a:gd name="T28" fmla="*/ 2147483647 w 165"/>
                <a:gd name="T29" fmla="*/ 2147483647 h 273"/>
                <a:gd name="T30" fmla="*/ 1656749751 w 165"/>
                <a:gd name="T31" fmla="*/ 2147483647 h 273"/>
                <a:gd name="T32" fmla="*/ 1656749751 w 165"/>
                <a:gd name="T33" fmla="*/ 2147483647 h 273"/>
                <a:gd name="T34" fmla="*/ 2147483647 w 165"/>
                <a:gd name="T35" fmla="*/ 2147483647 h 273"/>
                <a:gd name="T36" fmla="*/ 2147483647 w 165"/>
                <a:gd name="T37" fmla="*/ 2147483647 h 273"/>
                <a:gd name="T38" fmla="*/ 2147483647 w 165"/>
                <a:gd name="T39" fmla="*/ 2147483647 h 273"/>
                <a:gd name="T40" fmla="*/ 2147483647 w 165"/>
                <a:gd name="T41" fmla="*/ 2147483647 h 273"/>
                <a:gd name="T42" fmla="*/ 2147483647 w 165"/>
                <a:gd name="T43" fmla="*/ 1668965127 h 273"/>
                <a:gd name="T44" fmla="*/ 2147483647 w 165"/>
                <a:gd name="T45" fmla="*/ 0 h 273"/>
                <a:gd name="T46" fmla="*/ 2147483647 w 165"/>
                <a:gd name="T47" fmla="*/ 2147483647 h 273"/>
                <a:gd name="T48" fmla="*/ 2147483647 w 165"/>
                <a:gd name="T49" fmla="*/ 2147483647 h 273"/>
                <a:gd name="T50" fmla="*/ 2147483647 w 165"/>
                <a:gd name="T51" fmla="*/ 2147483647 h 2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273"/>
                <a:gd name="T80" fmla="*/ 165 w 165"/>
                <a:gd name="T81" fmla="*/ 273 h 27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273">
                  <a:moveTo>
                    <a:pt x="161" y="147"/>
                  </a:moveTo>
                  <a:cubicBezTo>
                    <a:pt x="161" y="151"/>
                    <a:pt x="163" y="157"/>
                    <a:pt x="159" y="161"/>
                  </a:cubicBezTo>
                  <a:cubicBezTo>
                    <a:pt x="154" y="166"/>
                    <a:pt x="165" y="180"/>
                    <a:pt x="165" y="186"/>
                  </a:cubicBezTo>
                  <a:cubicBezTo>
                    <a:pt x="165" y="192"/>
                    <a:pt x="147" y="213"/>
                    <a:pt x="147" y="220"/>
                  </a:cubicBezTo>
                  <a:cubicBezTo>
                    <a:pt x="147" y="227"/>
                    <a:pt x="149" y="234"/>
                    <a:pt x="149" y="234"/>
                  </a:cubicBezTo>
                  <a:cubicBezTo>
                    <a:pt x="147" y="236"/>
                    <a:pt x="145" y="238"/>
                    <a:pt x="144" y="240"/>
                  </a:cubicBezTo>
                  <a:cubicBezTo>
                    <a:pt x="139" y="247"/>
                    <a:pt x="139" y="264"/>
                    <a:pt x="133" y="268"/>
                  </a:cubicBezTo>
                  <a:cubicBezTo>
                    <a:pt x="127" y="272"/>
                    <a:pt x="121" y="263"/>
                    <a:pt x="116" y="263"/>
                  </a:cubicBezTo>
                  <a:cubicBezTo>
                    <a:pt x="106" y="273"/>
                    <a:pt x="106" y="273"/>
                    <a:pt x="106" y="273"/>
                  </a:cubicBezTo>
                  <a:cubicBezTo>
                    <a:pt x="100" y="270"/>
                    <a:pt x="96" y="269"/>
                    <a:pt x="95" y="262"/>
                  </a:cubicBezTo>
                  <a:cubicBezTo>
                    <a:pt x="94" y="255"/>
                    <a:pt x="95" y="242"/>
                    <a:pt x="87" y="238"/>
                  </a:cubicBezTo>
                  <a:cubicBezTo>
                    <a:pt x="79" y="234"/>
                    <a:pt x="53" y="221"/>
                    <a:pt x="55" y="212"/>
                  </a:cubicBezTo>
                  <a:cubicBezTo>
                    <a:pt x="57" y="203"/>
                    <a:pt x="65" y="195"/>
                    <a:pt x="61" y="188"/>
                  </a:cubicBezTo>
                  <a:cubicBezTo>
                    <a:pt x="57" y="181"/>
                    <a:pt x="47" y="187"/>
                    <a:pt x="43" y="180"/>
                  </a:cubicBezTo>
                  <a:cubicBezTo>
                    <a:pt x="39" y="173"/>
                    <a:pt x="51" y="173"/>
                    <a:pt x="37" y="163"/>
                  </a:cubicBezTo>
                  <a:cubicBezTo>
                    <a:pt x="23" y="153"/>
                    <a:pt x="0" y="132"/>
                    <a:pt x="5" y="120"/>
                  </a:cubicBezTo>
                  <a:cubicBezTo>
                    <a:pt x="6" y="117"/>
                    <a:pt x="8" y="114"/>
                    <a:pt x="9" y="111"/>
                  </a:cubicBezTo>
                  <a:cubicBezTo>
                    <a:pt x="15" y="101"/>
                    <a:pt x="24" y="89"/>
                    <a:pt x="24" y="82"/>
                  </a:cubicBezTo>
                  <a:cubicBezTo>
                    <a:pt x="24" y="73"/>
                    <a:pt x="19" y="62"/>
                    <a:pt x="22" y="59"/>
                  </a:cubicBezTo>
                  <a:cubicBezTo>
                    <a:pt x="25" y="56"/>
                    <a:pt x="42" y="56"/>
                    <a:pt x="46" y="51"/>
                  </a:cubicBezTo>
                  <a:cubicBezTo>
                    <a:pt x="50" y="46"/>
                    <a:pt x="57" y="36"/>
                    <a:pt x="53" y="25"/>
                  </a:cubicBezTo>
                  <a:cubicBezTo>
                    <a:pt x="50" y="17"/>
                    <a:pt x="38" y="9"/>
                    <a:pt x="29" y="1"/>
                  </a:cubicBezTo>
                  <a:cubicBezTo>
                    <a:pt x="143" y="0"/>
                    <a:pt x="143" y="0"/>
                    <a:pt x="143" y="0"/>
                  </a:cubicBezTo>
                  <a:cubicBezTo>
                    <a:pt x="143" y="7"/>
                    <a:pt x="148" y="13"/>
                    <a:pt x="151" y="22"/>
                  </a:cubicBezTo>
                  <a:cubicBezTo>
                    <a:pt x="151" y="23"/>
                    <a:pt x="152" y="25"/>
                    <a:pt x="153" y="26"/>
                  </a:cubicBezTo>
                  <a:cubicBezTo>
                    <a:pt x="153" y="26"/>
                    <a:pt x="161" y="144"/>
                    <a:pt x="161" y="147"/>
                  </a:cubicBezTo>
                  <a:close/>
                </a:path>
              </a:pathLst>
            </a:custGeom>
            <a:solidFill>
              <a:srgbClr val="66CC33">
                <a:lumMod val="7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0" name="Freeform 422"/>
            <p:cNvSpPr>
              <a:spLocks/>
            </p:cNvSpPr>
            <p:nvPr>
              <p:custDataLst>
                <p:tags r:id="rId27"/>
              </p:custDataLst>
            </p:nvPr>
          </p:nvSpPr>
          <p:spPr bwMode="auto">
            <a:xfrm>
              <a:off x="3147098" y="3623637"/>
              <a:ext cx="288188" cy="485622"/>
            </a:xfrm>
            <a:custGeom>
              <a:avLst/>
              <a:gdLst>
                <a:gd name="T0" fmla="*/ 2147483647 w 144"/>
                <a:gd name="T1" fmla="*/ 2147483647 h 243"/>
                <a:gd name="T2" fmla="*/ 2147483647 w 144"/>
                <a:gd name="T3" fmla="*/ 2147483647 h 243"/>
                <a:gd name="T4" fmla="*/ 2147483647 w 144"/>
                <a:gd name="T5" fmla="*/ 2147483647 h 243"/>
                <a:gd name="T6" fmla="*/ 2147483647 w 144"/>
                <a:gd name="T7" fmla="*/ 2147483647 h 243"/>
                <a:gd name="T8" fmla="*/ 2147483647 w 144"/>
                <a:gd name="T9" fmla="*/ 2147483647 h 243"/>
                <a:gd name="T10" fmla="*/ 2147483647 w 144"/>
                <a:gd name="T11" fmla="*/ 2147483647 h 243"/>
                <a:gd name="T12" fmla="*/ 2147483647 w 144"/>
                <a:gd name="T13" fmla="*/ 2147483647 h 243"/>
                <a:gd name="T14" fmla="*/ 2147483647 w 144"/>
                <a:gd name="T15" fmla="*/ 2147483647 h 243"/>
                <a:gd name="T16" fmla="*/ 2147483647 w 144"/>
                <a:gd name="T17" fmla="*/ 2147483647 h 243"/>
                <a:gd name="T18" fmla="*/ 2147483647 w 144"/>
                <a:gd name="T19" fmla="*/ 2147483647 h 243"/>
                <a:gd name="T20" fmla="*/ 2147483647 w 144"/>
                <a:gd name="T21" fmla="*/ 2147483647 h 243"/>
                <a:gd name="T22" fmla="*/ 2147483647 w 144"/>
                <a:gd name="T23" fmla="*/ 2147483647 h 243"/>
                <a:gd name="T24" fmla="*/ 2147483647 w 144"/>
                <a:gd name="T25" fmla="*/ 2147483647 h 243"/>
                <a:gd name="T26" fmla="*/ 2147483647 w 144"/>
                <a:gd name="T27" fmla="*/ 2147483647 h 243"/>
                <a:gd name="T28" fmla="*/ 2147483647 w 144"/>
                <a:gd name="T29" fmla="*/ 2147483647 h 243"/>
                <a:gd name="T30" fmla="*/ 2147483647 w 144"/>
                <a:gd name="T31" fmla="*/ 1680890744 h 243"/>
                <a:gd name="T32" fmla="*/ 2147483647 w 144"/>
                <a:gd name="T33" fmla="*/ 1680890744 h 243"/>
                <a:gd name="T34" fmla="*/ 2147483647 w 144"/>
                <a:gd name="T35" fmla="*/ 1680890744 h 243"/>
                <a:gd name="T36" fmla="*/ 2147483647 w 144"/>
                <a:gd name="T37" fmla="*/ 1680890744 h 243"/>
                <a:gd name="T38" fmla="*/ 2147483647 w 144"/>
                <a:gd name="T39" fmla="*/ 0 h 243"/>
                <a:gd name="T40" fmla="*/ 2147483647 w 144"/>
                <a:gd name="T41" fmla="*/ 2147483647 h 243"/>
                <a:gd name="T42" fmla="*/ 2147483647 w 144"/>
                <a:gd name="T43" fmla="*/ 2147483647 h 2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243"/>
                <a:gd name="T68" fmla="*/ 144 w 144"/>
                <a:gd name="T69" fmla="*/ 243 h 2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243">
                  <a:moveTo>
                    <a:pt x="144" y="234"/>
                  </a:moveTo>
                  <a:cubicBezTo>
                    <a:pt x="143" y="234"/>
                    <a:pt x="142" y="234"/>
                    <a:pt x="141" y="234"/>
                  </a:cubicBezTo>
                  <a:cubicBezTo>
                    <a:pt x="137" y="235"/>
                    <a:pt x="120" y="230"/>
                    <a:pt x="116" y="231"/>
                  </a:cubicBezTo>
                  <a:cubicBezTo>
                    <a:pt x="113" y="231"/>
                    <a:pt x="105" y="236"/>
                    <a:pt x="101" y="239"/>
                  </a:cubicBezTo>
                  <a:cubicBezTo>
                    <a:pt x="97" y="242"/>
                    <a:pt x="94" y="243"/>
                    <a:pt x="91" y="243"/>
                  </a:cubicBezTo>
                  <a:cubicBezTo>
                    <a:pt x="86" y="238"/>
                    <a:pt x="78" y="232"/>
                    <a:pt x="81" y="224"/>
                  </a:cubicBezTo>
                  <a:cubicBezTo>
                    <a:pt x="86" y="213"/>
                    <a:pt x="86" y="210"/>
                    <a:pt x="85" y="206"/>
                  </a:cubicBezTo>
                  <a:cubicBezTo>
                    <a:pt x="84" y="202"/>
                    <a:pt x="8" y="207"/>
                    <a:pt x="5" y="206"/>
                  </a:cubicBezTo>
                  <a:cubicBezTo>
                    <a:pt x="2" y="205"/>
                    <a:pt x="0" y="188"/>
                    <a:pt x="7" y="181"/>
                  </a:cubicBezTo>
                  <a:cubicBezTo>
                    <a:pt x="14" y="174"/>
                    <a:pt x="22" y="162"/>
                    <a:pt x="25" y="155"/>
                  </a:cubicBezTo>
                  <a:cubicBezTo>
                    <a:pt x="28" y="148"/>
                    <a:pt x="27" y="136"/>
                    <a:pt x="23" y="129"/>
                  </a:cubicBezTo>
                  <a:cubicBezTo>
                    <a:pt x="19" y="122"/>
                    <a:pt x="25" y="109"/>
                    <a:pt x="25" y="103"/>
                  </a:cubicBezTo>
                  <a:cubicBezTo>
                    <a:pt x="25" y="97"/>
                    <a:pt x="15" y="80"/>
                    <a:pt x="17" y="73"/>
                  </a:cubicBezTo>
                  <a:cubicBezTo>
                    <a:pt x="19" y="66"/>
                    <a:pt x="30" y="57"/>
                    <a:pt x="32" y="52"/>
                  </a:cubicBezTo>
                  <a:cubicBezTo>
                    <a:pt x="34" y="47"/>
                    <a:pt x="34" y="30"/>
                    <a:pt x="36" y="27"/>
                  </a:cubicBezTo>
                  <a:cubicBezTo>
                    <a:pt x="38" y="24"/>
                    <a:pt x="53" y="13"/>
                    <a:pt x="56" y="8"/>
                  </a:cubicBezTo>
                  <a:cubicBezTo>
                    <a:pt x="57" y="7"/>
                    <a:pt x="57" y="6"/>
                    <a:pt x="57" y="4"/>
                  </a:cubicBezTo>
                  <a:cubicBezTo>
                    <a:pt x="57" y="4"/>
                    <a:pt x="57" y="4"/>
                    <a:pt x="57" y="4"/>
                  </a:cubicBezTo>
                  <a:cubicBezTo>
                    <a:pt x="72" y="4"/>
                    <a:pt x="72" y="4"/>
                    <a:pt x="72" y="4"/>
                  </a:cubicBezTo>
                  <a:cubicBezTo>
                    <a:pt x="140" y="0"/>
                    <a:pt x="140" y="0"/>
                    <a:pt x="140" y="0"/>
                  </a:cubicBezTo>
                  <a:cubicBezTo>
                    <a:pt x="140" y="0"/>
                    <a:pt x="136" y="146"/>
                    <a:pt x="136" y="153"/>
                  </a:cubicBezTo>
                  <a:cubicBezTo>
                    <a:pt x="136" y="159"/>
                    <a:pt x="142" y="210"/>
                    <a:pt x="144" y="234"/>
                  </a:cubicBezTo>
                  <a:close/>
                </a:path>
              </a:pathLst>
            </a:custGeom>
            <a:solidFill>
              <a:srgbClr val="575F9F"/>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1" name="Freeform 424"/>
            <p:cNvSpPr>
              <a:spLocks/>
            </p:cNvSpPr>
            <p:nvPr>
              <p:custDataLst>
                <p:tags r:id="rId28"/>
              </p:custDataLst>
            </p:nvPr>
          </p:nvSpPr>
          <p:spPr bwMode="auto">
            <a:xfrm>
              <a:off x="3411271" y="2577683"/>
              <a:ext cx="34688" cy="61371"/>
            </a:xfrm>
            <a:custGeom>
              <a:avLst/>
              <a:gdLst>
                <a:gd name="T0" fmla="*/ 2147483647 w 18"/>
                <a:gd name="T1" fmla="*/ 2147483647 h 30"/>
                <a:gd name="T2" fmla="*/ 2147483647 w 18"/>
                <a:gd name="T3" fmla="*/ 2147483647 h 30"/>
                <a:gd name="T4" fmla="*/ 2147483647 w 18"/>
                <a:gd name="T5" fmla="*/ 2147483647 h 30"/>
                <a:gd name="T6" fmla="*/ 0 w 18"/>
                <a:gd name="T7" fmla="*/ 2147483647 h 30"/>
                <a:gd name="T8" fmla="*/ 2147483647 w 18"/>
                <a:gd name="T9" fmla="*/ 2147483647 h 30"/>
                <a:gd name="T10" fmla="*/ 2147483647 w 18"/>
                <a:gd name="T11" fmla="*/ 2147483647 h 30"/>
                <a:gd name="T12" fmla="*/ 2147483647 w 18"/>
                <a:gd name="T13" fmla="*/ 2147483647 h 30"/>
                <a:gd name="T14" fmla="*/ 2147483647 w 18"/>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30"/>
                <a:gd name="T26" fmla="*/ 18 w 18"/>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30">
                  <a:moveTo>
                    <a:pt x="18" y="1"/>
                  </a:moveTo>
                  <a:cubicBezTo>
                    <a:pt x="18" y="4"/>
                    <a:pt x="12" y="13"/>
                    <a:pt x="10" y="16"/>
                  </a:cubicBezTo>
                  <a:cubicBezTo>
                    <a:pt x="8" y="19"/>
                    <a:pt x="9" y="30"/>
                    <a:pt x="7" y="29"/>
                  </a:cubicBezTo>
                  <a:cubicBezTo>
                    <a:pt x="6" y="28"/>
                    <a:pt x="0" y="24"/>
                    <a:pt x="0" y="22"/>
                  </a:cubicBezTo>
                  <a:cubicBezTo>
                    <a:pt x="0" y="20"/>
                    <a:pt x="4" y="13"/>
                    <a:pt x="6" y="10"/>
                  </a:cubicBezTo>
                  <a:cubicBezTo>
                    <a:pt x="8" y="7"/>
                    <a:pt x="10" y="8"/>
                    <a:pt x="10" y="6"/>
                  </a:cubicBezTo>
                  <a:cubicBezTo>
                    <a:pt x="10" y="4"/>
                    <a:pt x="10" y="2"/>
                    <a:pt x="12" y="1"/>
                  </a:cubicBezTo>
                  <a:cubicBezTo>
                    <a:pt x="14" y="1"/>
                    <a:pt x="18" y="0"/>
                    <a:pt x="18" y="1"/>
                  </a:cubicBezTo>
                  <a:close/>
                </a:path>
              </a:pathLst>
            </a:custGeom>
            <a:grp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2" name="Freeform 425"/>
            <p:cNvSpPr>
              <a:spLocks/>
            </p:cNvSpPr>
            <p:nvPr>
              <p:custDataLst>
                <p:tags r:id="rId29"/>
              </p:custDataLst>
            </p:nvPr>
          </p:nvSpPr>
          <p:spPr bwMode="auto">
            <a:xfrm>
              <a:off x="3003004" y="2433597"/>
              <a:ext cx="418940" cy="448266"/>
            </a:xfrm>
            <a:custGeom>
              <a:avLst/>
              <a:gdLst>
                <a:gd name="T0" fmla="*/ 2147483647 w 209"/>
                <a:gd name="T1" fmla="*/ 2147483647 h 225"/>
                <a:gd name="T2" fmla="*/ 2147483647 w 209"/>
                <a:gd name="T3" fmla="*/ 2147483647 h 225"/>
                <a:gd name="T4" fmla="*/ 2147483647 w 209"/>
                <a:gd name="T5" fmla="*/ 2147483647 h 225"/>
                <a:gd name="T6" fmla="*/ 2147483647 w 209"/>
                <a:gd name="T7" fmla="*/ 2147483647 h 225"/>
                <a:gd name="T8" fmla="*/ 2147483647 w 209"/>
                <a:gd name="T9" fmla="*/ 2147483647 h 225"/>
                <a:gd name="T10" fmla="*/ 2147483647 w 209"/>
                <a:gd name="T11" fmla="*/ 2147483647 h 225"/>
                <a:gd name="T12" fmla="*/ 2147483647 w 209"/>
                <a:gd name="T13" fmla="*/ 2147483647 h 225"/>
                <a:gd name="T14" fmla="*/ 2147483647 w 209"/>
                <a:gd name="T15" fmla="*/ 2147483647 h 225"/>
                <a:gd name="T16" fmla="*/ 2147483647 w 209"/>
                <a:gd name="T17" fmla="*/ 2147483647 h 225"/>
                <a:gd name="T18" fmla="*/ 2147483647 w 209"/>
                <a:gd name="T19" fmla="*/ 2147483647 h 225"/>
                <a:gd name="T20" fmla="*/ 2147483647 w 209"/>
                <a:gd name="T21" fmla="*/ 2147483647 h 225"/>
                <a:gd name="T22" fmla="*/ 2147483647 w 209"/>
                <a:gd name="T23" fmla="*/ 2147483647 h 225"/>
                <a:gd name="T24" fmla="*/ 2147483647 w 209"/>
                <a:gd name="T25" fmla="*/ 2147483647 h 225"/>
                <a:gd name="T26" fmla="*/ 2147483647 w 209"/>
                <a:gd name="T27" fmla="*/ 2147483647 h 225"/>
                <a:gd name="T28" fmla="*/ 2147483647 w 209"/>
                <a:gd name="T29" fmla="*/ 2147483647 h 225"/>
                <a:gd name="T30" fmla="*/ 2147483647 w 209"/>
                <a:gd name="T31" fmla="*/ 2147483647 h 225"/>
                <a:gd name="T32" fmla="*/ 2147483647 w 209"/>
                <a:gd name="T33" fmla="*/ 2147483647 h 225"/>
                <a:gd name="T34" fmla="*/ 2147483647 w 209"/>
                <a:gd name="T35" fmla="*/ 2147483647 h 225"/>
                <a:gd name="T36" fmla="*/ 2147483647 w 209"/>
                <a:gd name="T37" fmla="*/ 2147483647 h 225"/>
                <a:gd name="T38" fmla="*/ 2147483647 w 209"/>
                <a:gd name="T39" fmla="*/ 2147483647 h 225"/>
                <a:gd name="T40" fmla="*/ 2147483647 w 209"/>
                <a:gd name="T41" fmla="*/ 2147483647 h 225"/>
                <a:gd name="T42" fmla="*/ 2147483647 w 209"/>
                <a:gd name="T43" fmla="*/ 2147483647 h 225"/>
                <a:gd name="T44" fmla="*/ 2147483647 w 209"/>
                <a:gd name="T45" fmla="*/ 2147483647 h 225"/>
                <a:gd name="T46" fmla="*/ 2147483647 w 209"/>
                <a:gd name="T47" fmla="*/ 2147483647 h 225"/>
                <a:gd name="T48" fmla="*/ 2147483647 w 209"/>
                <a:gd name="T49" fmla="*/ 2147483647 h 225"/>
                <a:gd name="T50" fmla="*/ 2147483647 w 209"/>
                <a:gd name="T51" fmla="*/ 2147483647 h 225"/>
                <a:gd name="T52" fmla="*/ 2147483647 w 209"/>
                <a:gd name="T53" fmla="*/ 2147483647 h 225"/>
                <a:gd name="T54" fmla="*/ 2147483647 w 209"/>
                <a:gd name="T55" fmla="*/ 2147483647 h 225"/>
                <a:gd name="T56" fmla="*/ 2147483647 w 209"/>
                <a:gd name="T57" fmla="*/ 2147483647 h 225"/>
                <a:gd name="T58" fmla="*/ 2147483647 w 209"/>
                <a:gd name="T59" fmla="*/ 2147483647 h 225"/>
                <a:gd name="T60" fmla="*/ 2147483647 w 209"/>
                <a:gd name="T61" fmla="*/ 2147483647 h 22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09"/>
                <a:gd name="T94" fmla="*/ 0 h 225"/>
                <a:gd name="T95" fmla="*/ 209 w 209"/>
                <a:gd name="T96" fmla="*/ 225 h 22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09" h="225">
                  <a:moveTo>
                    <a:pt x="200" y="102"/>
                  </a:moveTo>
                  <a:cubicBezTo>
                    <a:pt x="204" y="101"/>
                    <a:pt x="209" y="107"/>
                    <a:pt x="208" y="111"/>
                  </a:cubicBezTo>
                  <a:cubicBezTo>
                    <a:pt x="207" y="121"/>
                    <a:pt x="200" y="143"/>
                    <a:pt x="200" y="154"/>
                  </a:cubicBezTo>
                  <a:cubicBezTo>
                    <a:pt x="200" y="165"/>
                    <a:pt x="197" y="179"/>
                    <a:pt x="197" y="190"/>
                  </a:cubicBezTo>
                  <a:cubicBezTo>
                    <a:pt x="197" y="190"/>
                    <a:pt x="197" y="201"/>
                    <a:pt x="201" y="205"/>
                  </a:cubicBezTo>
                  <a:cubicBezTo>
                    <a:pt x="204" y="209"/>
                    <a:pt x="202" y="217"/>
                    <a:pt x="202" y="224"/>
                  </a:cubicBezTo>
                  <a:cubicBezTo>
                    <a:pt x="88" y="225"/>
                    <a:pt x="88" y="225"/>
                    <a:pt x="88" y="225"/>
                  </a:cubicBezTo>
                  <a:cubicBezTo>
                    <a:pt x="85" y="222"/>
                    <a:pt x="82" y="219"/>
                    <a:pt x="80" y="216"/>
                  </a:cubicBezTo>
                  <a:cubicBezTo>
                    <a:pt x="72" y="205"/>
                    <a:pt x="72" y="193"/>
                    <a:pt x="72" y="187"/>
                  </a:cubicBezTo>
                  <a:cubicBezTo>
                    <a:pt x="72" y="185"/>
                    <a:pt x="72" y="181"/>
                    <a:pt x="71" y="177"/>
                  </a:cubicBezTo>
                  <a:cubicBezTo>
                    <a:pt x="70" y="168"/>
                    <a:pt x="67" y="157"/>
                    <a:pt x="62" y="153"/>
                  </a:cubicBezTo>
                  <a:cubicBezTo>
                    <a:pt x="54" y="146"/>
                    <a:pt x="52" y="145"/>
                    <a:pt x="39" y="137"/>
                  </a:cubicBezTo>
                  <a:cubicBezTo>
                    <a:pt x="26" y="129"/>
                    <a:pt x="9" y="121"/>
                    <a:pt x="9" y="112"/>
                  </a:cubicBezTo>
                  <a:cubicBezTo>
                    <a:pt x="9" y="103"/>
                    <a:pt x="17" y="96"/>
                    <a:pt x="15" y="88"/>
                  </a:cubicBezTo>
                  <a:cubicBezTo>
                    <a:pt x="13" y="80"/>
                    <a:pt x="0" y="79"/>
                    <a:pt x="5" y="71"/>
                  </a:cubicBezTo>
                  <a:cubicBezTo>
                    <a:pt x="10" y="63"/>
                    <a:pt x="23" y="61"/>
                    <a:pt x="26" y="54"/>
                  </a:cubicBezTo>
                  <a:cubicBezTo>
                    <a:pt x="29" y="47"/>
                    <a:pt x="23" y="29"/>
                    <a:pt x="27" y="23"/>
                  </a:cubicBezTo>
                  <a:cubicBezTo>
                    <a:pt x="28" y="21"/>
                    <a:pt x="31" y="19"/>
                    <a:pt x="35" y="16"/>
                  </a:cubicBezTo>
                  <a:cubicBezTo>
                    <a:pt x="36" y="19"/>
                    <a:pt x="37" y="23"/>
                    <a:pt x="50" y="18"/>
                  </a:cubicBezTo>
                  <a:cubicBezTo>
                    <a:pt x="62" y="13"/>
                    <a:pt x="75" y="1"/>
                    <a:pt x="79" y="1"/>
                  </a:cubicBezTo>
                  <a:cubicBezTo>
                    <a:pt x="83" y="1"/>
                    <a:pt x="88" y="0"/>
                    <a:pt x="87" y="4"/>
                  </a:cubicBezTo>
                  <a:cubicBezTo>
                    <a:pt x="87" y="8"/>
                    <a:pt x="70" y="19"/>
                    <a:pt x="73" y="22"/>
                  </a:cubicBezTo>
                  <a:cubicBezTo>
                    <a:pt x="75" y="24"/>
                    <a:pt x="87" y="23"/>
                    <a:pt x="95" y="22"/>
                  </a:cubicBezTo>
                  <a:cubicBezTo>
                    <a:pt x="97" y="27"/>
                    <a:pt x="100" y="34"/>
                    <a:pt x="102" y="35"/>
                  </a:cubicBezTo>
                  <a:cubicBezTo>
                    <a:pt x="106" y="37"/>
                    <a:pt x="170" y="47"/>
                    <a:pt x="175" y="54"/>
                  </a:cubicBezTo>
                  <a:cubicBezTo>
                    <a:pt x="179" y="59"/>
                    <a:pt x="190" y="79"/>
                    <a:pt x="196" y="88"/>
                  </a:cubicBezTo>
                  <a:cubicBezTo>
                    <a:pt x="195" y="91"/>
                    <a:pt x="194" y="95"/>
                    <a:pt x="193" y="96"/>
                  </a:cubicBezTo>
                  <a:cubicBezTo>
                    <a:pt x="192" y="100"/>
                    <a:pt x="187" y="98"/>
                    <a:pt x="185" y="100"/>
                  </a:cubicBezTo>
                  <a:cubicBezTo>
                    <a:pt x="183" y="103"/>
                    <a:pt x="178" y="118"/>
                    <a:pt x="179" y="121"/>
                  </a:cubicBezTo>
                  <a:cubicBezTo>
                    <a:pt x="180" y="125"/>
                    <a:pt x="186" y="121"/>
                    <a:pt x="189" y="119"/>
                  </a:cubicBezTo>
                  <a:cubicBezTo>
                    <a:pt x="192" y="116"/>
                    <a:pt x="198" y="103"/>
                    <a:pt x="200" y="102"/>
                  </a:cubicBezTo>
                  <a:close/>
                </a:path>
              </a:pathLst>
            </a:custGeom>
            <a:solidFill>
              <a:srgbClr val="66CC33">
                <a:lumMod val="7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3" name="Freeform 427"/>
            <p:cNvSpPr>
              <a:spLocks/>
            </p:cNvSpPr>
            <p:nvPr>
              <p:custDataLst>
                <p:tags r:id="rId30"/>
              </p:custDataLst>
            </p:nvPr>
          </p:nvSpPr>
          <p:spPr bwMode="auto">
            <a:xfrm>
              <a:off x="3379250" y="4117264"/>
              <a:ext cx="29352" cy="58702"/>
            </a:xfrm>
            <a:custGeom>
              <a:avLst/>
              <a:gdLst>
                <a:gd name="T0" fmla="*/ 2147483647 w 15"/>
                <a:gd name="T1" fmla="*/ 2147483647 h 29"/>
                <a:gd name="T2" fmla="*/ 2147483647 w 15"/>
                <a:gd name="T3" fmla="*/ 2147483647 h 29"/>
                <a:gd name="T4" fmla="*/ 2147483647 w 15"/>
                <a:gd name="T5" fmla="*/ 2147483647 h 29"/>
                <a:gd name="T6" fmla="*/ 2147483647 w 15"/>
                <a:gd name="T7" fmla="*/ 2147483647 h 29"/>
                <a:gd name="T8" fmla="*/ 2147483647 w 15"/>
                <a:gd name="T9" fmla="*/ 2147483647 h 29"/>
                <a:gd name="T10" fmla="*/ 2147483647 w 15"/>
                <a:gd name="T11" fmla="*/ 2147483647 h 29"/>
                <a:gd name="T12" fmla="*/ 2147483647 w 15"/>
                <a:gd name="T13" fmla="*/ 2147483647 h 29"/>
                <a:gd name="T14" fmla="*/ 2147483647 w 15"/>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9"/>
                <a:gd name="T26" fmla="*/ 15 w 15"/>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9">
                  <a:moveTo>
                    <a:pt x="10" y="1"/>
                  </a:moveTo>
                  <a:cubicBezTo>
                    <a:pt x="12" y="2"/>
                    <a:pt x="15" y="7"/>
                    <a:pt x="14" y="15"/>
                  </a:cubicBezTo>
                  <a:cubicBezTo>
                    <a:pt x="13" y="25"/>
                    <a:pt x="5" y="29"/>
                    <a:pt x="2" y="27"/>
                  </a:cubicBezTo>
                  <a:cubicBezTo>
                    <a:pt x="0" y="25"/>
                    <a:pt x="7" y="18"/>
                    <a:pt x="8" y="17"/>
                  </a:cubicBezTo>
                  <a:cubicBezTo>
                    <a:pt x="9" y="16"/>
                    <a:pt x="5" y="14"/>
                    <a:pt x="5" y="13"/>
                  </a:cubicBezTo>
                  <a:cubicBezTo>
                    <a:pt x="5" y="11"/>
                    <a:pt x="8" y="10"/>
                    <a:pt x="8" y="9"/>
                  </a:cubicBezTo>
                  <a:cubicBezTo>
                    <a:pt x="8" y="8"/>
                    <a:pt x="8" y="7"/>
                    <a:pt x="7" y="5"/>
                  </a:cubicBezTo>
                  <a:cubicBezTo>
                    <a:pt x="7" y="2"/>
                    <a:pt x="9" y="0"/>
                    <a:pt x="10" y="1"/>
                  </a:cubicBezTo>
                  <a:close/>
                </a:path>
              </a:pathLst>
            </a:custGeom>
            <a:solidFill>
              <a:srgbClr val="D9D9D9"/>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4" name="Freeform 428"/>
            <p:cNvSpPr>
              <a:spLocks/>
            </p:cNvSpPr>
            <p:nvPr>
              <p:custDataLst>
                <p:tags r:id="rId31"/>
              </p:custDataLst>
            </p:nvPr>
          </p:nvSpPr>
          <p:spPr bwMode="auto">
            <a:xfrm>
              <a:off x="2946968" y="3831760"/>
              <a:ext cx="442955" cy="413580"/>
            </a:xfrm>
            <a:custGeom>
              <a:avLst/>
              <a:gdLst>
                <a:gd name="T0" fmla="*/ 2147483647 w 221"/>
                <a:gd name="T1" fmla="*/ 2147483647 h 207"/>
                <a:gd name="T2" fmla="*/ 2147483647 w 221"/>
                <a:gd name="T3" fmla="*/ 2147483647 h 207"/>
                <a:gd name="T4" fmla="*/ 2147483647 w 221"/>
                <a:gd name="T5" fmla="*/ 2147483647 h 207"/>
                <a:gd name="T6" fmla="*/ 2147483647 w 221"/>
                <a:gd name="T7" fmla="*/ 2147483647 h 207"/>
                <a:gd name="T8" fmla="*/ 2147483647 w 221"/>
                <a:gd name="T9" fmla="*/ 2147483647 h 207"/>
                <a:gd name="T10" fmla="*/ 2147483647 w 221"/>
                <a:gd name="T11" fmla="*/ 2147483647 h 207"/>
                <a:gd name="T12" fmla="*/ 2147483647 w 221"/>
                <a:gd name="T13" fmla="*/ 2147483647 h 207"/>
                <a:gd name="T14" fmla="*/ 2147483647 w 221"/>
                <a:gd name="T15" fmla="*/ 2147483647 h 207"/>
                <a:gd name="T16" fmla="*/ 2147483647 w 221"/>
                <a:gd name="T17" fmla="*/ 2147483647 h 207"/>
                <a:gd name="T18" fmla="*/ 2147483647 w 221"/>
                <a:gd name="T19" fmla="*/ 2147483647 h 207"/>
                <a:gd name="T20" fmla="*/ 2147483647 w 221"/>
                <a:gd name="T21" fmla="*/ 2147483647 h 207"/>
                <a:gd name="T22" fmla="*/ 2147483647 w 221"/>
                <a:gd name="T23" fmla="*/ 2147483647 h 207"/>
                <a:gd name="T24" fmla="*/ 2147483647 w 221"/>
                <a:gd name="T25" fmla="*/ 2147483647 h 207"/>
                <a:gd name="T26" fmla="*/ 2147483647 w 221"/>
                <a:gd name="T27" fmla="*/ 2147483647 h 207"/>
                <a:gd name="T28" fmla="*/ 2147483647 w 221"/>
                <a:gd name="T29" fmla="*/ 2147483647 h 207"/>
                <a:gd name="T30" fmla="*/ 2147483647 w 221"/>
                <a:gd name="T31" fmla="*/ 2147483647 h 207"/>
                <a:gd name="T32" fmla="*/ 2147483647 w 221"/>
                <a:gd name="T33" fmla="*/ 2147483647 h 207"/>
                <a:gd name="T34" fmla="*/ 2147483647 w 221"/>
                <a:gd name="T35" fmla="*/ 2147483647 h 207"/>
                <a:gd name="T36" fmla="*/ 2147483647 w 221"/>
                <a:gd name="T37" fmla="*/ 2147483647 h 207"/>
                <a:gd name="T38" fmla="*/ 2147483647 w 221"/>
                <a:gd name="T39" fmla="*/ 2147483647 h 207"/>
                <a:gd name="T40" fmla="*/ 2147483647 w 221"/>
                <a:gd name="T41" fmla="*/ 2147483647 h 207"/>
                <a:gd name="T42" fmla="*/ 0 w 221"/>
                <a:gd name="T43" fmla="*/ 2147483647 h 207"/>
                <a:gd name="T44" fmla="*/ 0 w 221"/>
                <a:gd name="T45" fmla="*/ 2147483647 h 207"/>
                <a:gd name="T46" fmla="*/ 2147483647 w 221"/>
                <a:gd name="T47" fmla="*/ 2147483647 h 207"/>
                <a:gd name="T48" fmla="*/ 2147483647 w 221"/>
                <a:gd name="T49" fmla="*/ 2147483647 h 207"/>
                <a:gd name="T50" fmla="*/ 2147483647 w 221"/>
                <a:gd name="T51" fmla="*/ 2147483647 h 207"/>
                <a:gd name="T52" fmla="*/ 2147483647 w 221"/>
                <a:gd name="T53" fmla="*/ 2147483647 h 207"/>
                <a:gd name="T54" fmla="*/ 2147483647 w 221"/>
                <a:gd name="T55" fmla="*/ 2147483647 h 207"/>
                <a:gd name="T56" fmla="*/ 2147483647 w 221"/>
                <a:gd name="T57" fmla="*/ 2147483647 h 207"/>
                <a:gd name="T58" fmla="*/ 2147483647 w 221"/>
                <a:gd name="T59" fmla="*/ 2147483647 h 207"/>
                <a:gd name="T60" fmla="*/ 2147483647 w 221"/>
                <a:gd name="T61" fmla="*/ 2147483647 h 207"/>
                <a:gd name="T62" fmla="*/ 2147483647 w 221"/>
                <a:gd name="T63" fmla="*/ 2147483647 h 207"/>
                <a:gd name="T64" fmla="*/ 2147483647 w 221"/>
                <a:gd name="T65" fmla="*/ 2147483647 h 207"/>
                <a:gd name="T66" fmla="*/ 2147483647 w 221"/>
                <a:gd name="T67" fmla="*/ 2147483647 h 207"/>
                <a:gd name="T68" fmla="*/ 2147483647 w 221"/>
                <a:gd name="T69" fmla="*/ 2147483647 h 207"/>
                <a:gd name="T70" fmla="*/ 2147483647 w 221"/>
                <a:gd name="T71" fmla="*/ 2147483647 h 2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1"/>
                <a:gd name="T109" fmla="*/ 0 h 207"/>
                <a:gd name="T110" fmla="*/ 221 w 221"/>
                <a:gd name="T111" fmla="*/ 207 h 2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1" h="207">
                  <a:moveTo>
                    <a:pt x="221" y="191"/>
                  </a:moveTo>
                  <a:cubicBezTo>
                    <a:pt x="221" y="194"/>
                    <a:pt x="217" y="200"/>
                    <a:pt x="215" y="201"/>
                  </a:cubicBezTo>
                  <a:cubicBezTo>
                    <a:pt x="213" y="201"/>
                    <a:pt x="206" y="204"/>
                    <a:pt x="205" y="205"/>
                  </a:cubicBezTo>
                  <a:cubicBezTo>
                    <a:pt x="204" y="207"/>
                    <a:pt x="201" y="205"/>
                    <a:pt x="202" y="202"/>
                  </a:cubicBezTo>
                  <a:cubicBezTo>
                    <a:pt x="203" y="199"/>
                    <a:pt x="206" y="197"/>
                    <a:pt x="206" y="196"/>
                  </a:cubicBezTo>
                  <a:cubicBezTo>
                    <a:pt x="206" y="194"/>
                    <a:pt x="200" y="191"/>
                    <a:pt x="196" y="189"/>
                  </a:cubicBezTo>
                  <a:cubicBezTo>
                    <a:pt x="191" y="188"/>
                    <a:pt x="185" y="187"/>
                    <a:pt x="183" y="186"/>
                  </a:cubicBezTo>
                  <a:cubicBezTo>
                    <a:pt x="182" y="186"/>
                    <a:pt x="184" y="182"/>
                    <a:pt x="186" y="181"/>
                  </a:cubicBezTo>
                  <a:cubicBezTo>
                    <a:pt x="189" y="181"/>
                    <a:pt x="187" y="178"/>
                    <a:pt x="185" y="176"/>
                  </a:cubicBezTo>
                  <a:cubicBezTo>
                    <a:pt x="183" y="174"/>
                    <a:pt x="173" y="172"/>
                    <a:pt x="171" y="172"/>
                  </a:cubicBezTo>
                  <a:cubicBezTo>
                    <a:pt x="169" y="172"/>
                    <a:pt x="167" y="173"/>
                    <a:pt x="167" y="176"/>
                  </a:cubicBezTo>
                  <a:cubicBezTo>
                    <a:pt x="168" y="178"/>
                    <a:pt x="173" y="180"/>
                    <a:pt x="175" y="181"/>
                  </a:cubicBezTo>
                  <a:cubicBezTo>
                    <a:pt x="176" y="183"/>
                    <a:pt x="177" y="187"/>
                    <a:pt x="176" y="190"/>
                  </a:cubicBezTo>
                  <a:cubicBezTo>
                    <a:pt x="176" y="192"/>
                    <a:pt x="172" y="197"/>
                    <a:pt x="169" y="198"/>
                  </a:cubicBezTo>
                  <a:cubicBezTo>
                    <a:pt x="166" y="199"/>
                    <a:pt x="160" y="200"/>
                    <a:pt x="159" y="199"/>
                  </a:cubicBezTo>
                  <a:cubicBezTo>
                    <a:pt x="157" y="198"/>
                    <a:pt x="159" y="195"/>
                    <a:pt x="162" y="195"/>
                  </a:cubicBezTo>
                  <a:cubicBezTo>
                    <a:pt x="164" y="195"/>
                    <a:pt x="167" y="193"/>
                    <a:pt x="166" y="189"/>
                  </a:cubicBezTo>
                  <a:cubicBezTo>
                    <a:pt x="165" y="185"/>
                    <a:pt x="161" y="185"/>
                    <a:pt x="156" y="185"/>
                  </a:cubicBezTo>
                  <a:cubicBezTo>
                    <a:pt x="151" y="185"/>
                    <a:pt x="151" y="188"/>
                    <a:pt x="151" y="192"/>
                  </a:cubicBezTo>
                  <a:cubicBezTo>
                    <a:pt x="150" y="197"/>
                    <a:pt x="154" y="200"/>
                    <a:pt x="149" y="200"/>
                  </a:cubicBezTo>
                  <a:cubicBezTo>
                    <a:pt x="144" y="200"/>
                    <a:pt x="140" y="198"/>
                    <a:pt x="135" y="197"/>
                  </a:cubicBezTo>
                  <a:cubicBezTo>
                    <a:pt x="130" y="196"/>
                    <a:pt x="123" y="194"/>
                    <a:pt x="120" y="194"/>
                  </a:cubicBezTo>
                  <a:cubicBezTo>
                    <a:pt x="117" y="193"/>
                    <a:pt x="117" y="187"/>
                    <a:pt x="119" y="186"/>
                  </a:cubicBezTo>
                  <a:cubicBezTo>
                    <a:pt x="121" y="185"/>
                    <a:pt x="130" y="189"/>
                    <a:pt x="131" y="188"/>
                  </a:cubicBezTo>
                  <a:cubicBezTo>
                    <a:pt x="132" y="187"/>
                    <a:pt x="131" y="183"/>
                    <a:pt x="129" y="181"/>
                  </a:cubicBezTo>
                  <a:cubicBezTo>
                    <a:pt x="128" y="180"/>
                    <a:pt x="112" y="177"/>
                    <a:pt x="112" y="176"/>
                  </a:cubicBezTo>
                  <a:cubicBezTo>
                    <a:pt x="112" y="175"/>
                    <a:pt x="109" y="172"/>
                    <a:pt x="109" y="168"/>
                  </a:cubicBezTo>
                  <a:cubicBezTo>
                    <a:pt x="108" y="164"/>
                    <a:pt x="99" y="162"/>
                    <a:pt x="95" y="161"/>
                  </a:cubicBezTo>
                  <a:cubicBezTo>
                    <a:pt x="91" y="161"/>
                    <a:pt x="83" y="164"/>
                    <a:pt x="82" y="166"/>
                  </a:cubicBezTo>
                  <a:cubicBezTo>
                    <a:pt x="80" y="167"/>
                    <a:pt x="83" y="171"/>
                    <a:pt x="85" y="173"/>
                  </a:cubicBezTo>
                  <a:cubicBezTo>
                    <a:pt x="87" y="174"/>
                    <a:pt x="100" y="175"/>
                    <a:pt x="101" y="178"/>
                  </a:cubicBezTo>
                  <a:cubicBezTo>
                    <a:pt x="101" y="180"/>
                    <a:pt x="99" y="182"/>
                    <a:pt x="97" y="183"/>
                  </a:cubicBezTo>
                  <a:cubicBezTo>
                    <a:pt x="95" y="183"/>
                    <a:pt x="89" y="181"/>
                    <a:pt x="85" y="179"/>
                  </a:cubicBezTo>
                  <a:cubicBezTo>
                    <a:pt x="82" y="178"/>
                    <a:pt x="81" y="178"/>
                    <a:pt x="76" y="178"/>
                  </a:cubicBezTo>
                  <a:cubicBezTo>
                    <a:pt x="71" y="179"/>
                    <a:pt x="55" y="173"/>
                    <a:pt x="51" y="171"/>
                  </a:cubicBezTo>
                  <a:cubicBezTo>
                    <a:pt x="47" y="169"/>
                    <a:pt x="39" y="167"/>
                    <a:pt x="29" y="167"/>
                  </a:cubicBezTo>
                  <a:cubicBezTo>
                    <a:pt x="20" y="167"/>
                    <a:pt x="11" y="172"/>
                    <a:pt x="9" y="173"/>
                  </a:cubicBezTo>
                  <a:cubicBezTo>
                    <a:pt x="9" y="173"/>
                    <a:pt x="9" y="173"/>
                    <a:pt x="9" y="173"/>
                  </a:cubicBezTo>
                  <a:cubicBezTo>
                    <a:pt x="8" y="168"/>
                    <a:pt x="6" y="163"/>
                    <a:pt x="8" y="160"/>
                  </a:cubicBezTo>
                  <a:cubicBezTo>
                    <a:pt x="10" y="155"/>
                    <a:pt x="18" y="150"/>
                    <a:pt x="16" y="143"/>
                  </a:cubicBezTo>
                  <a:cubicBezTo>
                    <a:pt x="15" y="136"/>
                    <a:pt x="9" y="133"/>
                    <a:pt x="12" y="128"/>
                  </a:cubicBezTo>
                  <a:cubicBezTo>
                    <a:pt x="16" y="122"/>
                    <a:pt x="26" y="107"/>
                    <a:pt x="22" y="99"/>
                  </a:cubicBezTo>
                  <a:cubicBezTo>
                    <a:pt x="19" y="91"/>
                    <a:pt x="10" y="82"/>
                    <a:pt x="8" y="76"/>
                  </a:cubicBezTo>
                  <a:cubicBezTo>
                    <a:pt x="6" y="69"/>
                    <a:pt x="0" y="55"/>
                    <a:pt x="0" y="55"/>
                  </a:cubicBezTo>
                  <a:cubicBezTo>
                    <a:pt x="0" y="55"/>
                    <a:pt x="0" y="27"/>
                    <a:pt x="0" y="4"/>
                  </a:cubicBezTo>
                  <a:cubicBezTo>
                    <a:pt x="0" y="4"/>
                    <a:pt x="0" y="4"/>
                    <a:pt x="0" y="4"/>
                  </a:cubicBezTo>
                  <a:cubicBezTo>
                    <a:pt x="125" y="0"/>
                    <a:pt x="125" y="0"/>
                    <a:pt x="125" y="0"/>
                  </a:cubicBezTo>
                  <a:cubicBezTo>
                    <a:pt x="125" y="6"/>
                    <a:pt x="119" y="19"/>
                    <a:pt x="123" y="26"/>
                  </a:cubicBezTo>
                  <a:cubicBezTo>
                    <a:pt x="127" y="33"/>
                    <a:pt x="128" y="45"/>
                    <a:pt x="125" y="52"/>
                  </a:cubicBezTo>
                  <a:cubicBezTo>
                    <a:pt x="122" y="59"/>
                    <a:pt x="114" y="71"/>
                    <a:pt x="107" y="78"/>
                  </a:cubicBezTo>
                  <a:cubicBezTo>
                    <a:pt x="100" y="85"/>
                    <a:pt x="102" y="102"/>
                    <a:pt x="105" y="103"/>
                  </a:cubicBezTo>
                  <a:cubicBezTo>
                    <a:pt x="108" y="104"/>
                    <a:pt x="184" y="99"/>
                    <a:pt x="185" y="103"/>
                  </a:cubicBezTo>
                  <a:cubicBezTo>
                    <a:pt x="186" y="107"/>
                    <a:pt x="186" y="110"/>
                    <a:pt x="181" y="121"/>
                  </a:cubicBezTo>
                  <a:cubicBezTo>
                    <a:pt x="178" y="129"/>
                    <a:pt x="186" y="135"/>
                    <a:pt x="191" y="140"/>
                  </a:cubicBezTo>
                  <a:cubicBezTo>
                    <a:pt x="189" y="141"/>
                    <a:pt x="179" y="136"/>
                    <a:pt x="177" y="135"/>
                  </a:cubicBezTo>
                  <a:cubicBezTo>
                    <a:pt x="174" y="133"/>
                    <a:pt x="169" y="130"/>
                    <a:pt x="166" y="131"/>
                  </a:cubicBezTo>
                  <a:cubicBezTo>
                    <a:pt x="163" y="132"/>
                    <a:pt x="157" y="140"/>
                    <a:pt x="156" y="145"/>
                  </a:cubicBezTo>
                  <a:cubicBezTo>
                    <a:pt x="156" y="150"/>
                    <a:pt x="168" y="149"/>
                    <a:pt x="172" y="149"/>
                  </a:cubicBezTo>
                  <a:cubicBezTo>
                    <a:pt x="175" y="149"/>
                    <a:pt x="177" y="144"/>
                    <a:pt x="179" y="143"/>
                  </a:cubicBezTo>
                  <a:cubicBezTo>
                    <a:pt x="181" y="142"/>
                    <a:pt x="183" y="144"/>
                    <a:pt x="185" y="146"/>
                  </a:cubicBezTo>
                  <a:cubicBezTo>
                    <a:pt x="187" y="147"/>
                    <a:pt x="183" y="148"/>
                    <a:pt x="181" y="151"/>
                  </a:cubicBezTo>
                  <a:cubicBezTo>
                    <a:pt x="180" y="154"/>
                    <a:pt x="186" y="156"/>
                    <a:pt x="190" y="157"/>
                  </a:cubicBezTo>
                  <a:cubicBezTo>
                    <a:pt x="194" y="159"/>
                    <a:pt x="194" y="154"/>
                    <a:pt x="195" y="152"/>
                  </a:cubicBezTo>
                  <a:cubicBezTo>
                    <a:pt x="196" y="150"/>
                    <a:pt x="200" y="146"/>
                    <a:pt x="202" y="146"/>
                  </a:cubicBezTo>
                  <a:cubicBezTo>
                    <a:pt x="204" y="146"/>
                    <a:pt x="211" y="139"/>
                    <a:pt x="213" y="138"/>
                  </a:cubicBezTo>
                  <a:cubicBezTo>
                    <a:pt x="216" y="137"/>
                    <a:pt x="218" y="138"/>
                    <a:pt x="217" y="140"/>
                  </a:cubicBezTo>
                  <a:cubicBezTo>
                    <a:pt x="217" y="141"/>
                    <a:pt x="213" y="145"/>
                    <a:pt x="211" y="147"/>
                  </a:cubicBezTo>
                  <a:cubicBezTo>
                    <a:pt x="209" y="149"/>
                    <a:pt x="208" y="157"/>
                    <a:pt x="207" y="160"/>
                  </a:cubicBezTo>
                  <a:cubicBezTo>
                    <a:pt x="206" y="163"/>
                    <a:pt x="191" y="167"/>
                    <a:pt x="191" y="169"/>
                  </a:cubicBezTo>
                  <a:cubicBezTo>
                    <a:pt x="191" y="171"/>
                    <a:pt x="196" y="176"/>
                    <a:pt x="198" y="178"/>
                  </a:cubicBezTo>
                  <a:cubicBezTo>
                    <a:pt x="200" y="180"/>
                    <a:pt x="210" y="183"/>
                    <a:pt x="215" y="185"/>
                  </a:cubicBezTo>
                  <a:cubicBezTo>
                    <a:pt x="219" y="187"/>
                    <a:pt x="221" y="187"/>
                    <a:pt x="221" y="191"/>
                  </a:cubicBezTo>
                  <a:close/>
                </a:path>
              </a:pathLst>
            </a:custGeom>
            <a:solidFill>
              <a:schemeClr val="bg2">
                <a:lumMod val="85000"/>
              </a:scheme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5" name="Freeform 430"/>
            <p:cNvSpPr>
              <a:spLocks/>
            </p:cNvSpPr>
            <p:nvPr>
              <p:custDataLst>
                <p:tags r:id="rId32"/>
              </p:custDataLst>
            </p:nvPr>
          </p:nvSpPr>
          <p:spPr bwMode="auto">
            <a:xfrm>
              <a:off x="3192461" y="2406914"/>
              <a:ext cx="597723" cy="530983"/>
            </a:xfrm>
            <a:custGeom>
              <a:avLst/>
              <a:gdLst>
                <a:gd name="T0" fmla="*/ 2147483647 w 300"/>
                <a:gd name="T1" fmla="*/ 2147483647 h 266"/>
                <a:gd name="T2" fmla="*/ 2147483647 w 300"/>
                <a:gd name="T3" fmla="*/ 2147483647 h 266"/>
                <a:gd name="T4" fmla="*/ 2147483647 w 300"/>
                <a:gd name="T5" fmla="*/ 2147483647 h 266"/>
                <a:gd name="T6" fmla="*/ 2147483647 w 300"/>
                <a:gd name="T7" fmla="*/ 2147483647 h 266"/>
                <a:gd name="T8" fmla="*/ 2147483647 w 300"/>
                <a:gd name="T9" fmla="*/ 2147483647 h 266"/>
                <a:gd name="T10" fmla="*/ 2147483647 w 300"/>
                <a:gd name="T11" fmla="*/ 2147483647 h 266"/>
                <a:gd name="T12" fmla="*/ 2147483647 w 300"/>
                <a:gd name="T13" fmla="*/ 2147483647 h 266"/>
                <a:gd name="T14" fmla="*/ 2147483647 w 300"/>
                <a:gd name="T15" fmla="*/ 2147483647 h 266"/>
                <a:gd name="T16" fmla="*/ 2147483647 w 300"/>
                <a:gd name="T17" fmla="*/ 2147483647 h 266"/>
                <a:gd name="T18" fmla="*/ 2147483647 w 300"/>
                <a:gd name="T19" fmla="*/ 2147483647 h 266"/>
                <a:gd name="T20" fmla="*/ 2147483647 w 300"/>
                <a:gd name="T21" fmla="*/ 2147483647 h 266"/>
                <a:gd name="T22" fmla="*/ 2147483647 w 300"/>
                <a:gd name="T23" fmla="*/ 2147483647 h 266"/>
                <a:gd name="T24" fmla="*/ 2147483647 w 300"/>
                <a:gd name="T25" fmla="*/ 2147483647 h 266"/>
                <a:gd name="T26" fmla="*/ 2147483647 w 300"/>
                <a:gd name="T27" fmla="*/ 2147483647 h 266"/>
                <a:gd name="T28" fmla="*/ 2147483647 w 300"/>
                <a:gd name="T29" fmla="*/ 2147483647 h 266"/>
                <a:gd name="T30" fmla="*/ 2147483647 w 300"/>
                <a:gd name="T31" fmla="*/ 2147483647 h 266"/>
                <a:gd name="T32" fmla="*/ 2147483647 w 300"/>
                <a:gd name="T33" fmla="*/ 2147483647 h 266"/>
                <a:gd name="T34" fmla="*/ 2147483647 w 300"/>
                <a:gd name="T35" fmla="*/ 2147483647 h 266"/>
                <a:gd name="T36" fmla="*/ 2147483647 w 300"/>
                <a:gd name="T37" fmla="*/ 2147483647 h 266"/>
                <a:gd name="T38" fmla="*/ 2147483647 w 300"/>
                <a:gd name="T39" fmla="*/ 2147483647 h 266"/>
                <a:gd name="T40" fmla="*/ 2147483647 w 300"/>
                <a:gd name="T41" fmla="*/ 2147483647 h 266"/>
                <a:gd name="T42" fmla="*/ 2147483647 w 300"/>
                <a:gd name="T43" fmla="*/ 2147483647 h 266"/>
                <a:gd name="T44" fmla="*/ 2147483647 w 300"/>
                <a:gd name="T45" fmla="*/ 2147483647 h 266"/>
                <a:gd name="T46" fmla="*/ 2147483647 w 300"/>
                <a:gd name="T47" fmla="*/ 2147483647 h 266"/>
                <a:gd name="T48" fmla="*/ 2147483647 w 300"/>
                <a:gd name="T49" fmla="*/ 2147483647 h 266"/>
                <a:gd name="T50" fmla="*/ 2147483647 w 300"/>
                <a:gd name="T51" fmla="*/ 2147483647 h 266"/>
                <a:gd name="T52" fmla="*/ 2147483647 w 300"/>
                <a:gd name="T53" fmla="*/ 2147483647 h 266"/>
                <a:gd name="T54" fmla="*/ 2147483647 w 300"/>
                <a:gd name="T55" fmla="*/ 2147483647 h 266"/>
                <a:gd name="T56" fmla="*/ 2147483647 w 300"/>
                <a:gd name="T57" fmla="*/ 2147483647 h 266"/>
                <a:gd name="T58" fmla="*/ 2147483647 w 300"/>
                <a:gd name="T59" fmla="*/ 2147483647 h 266"/>
                <a:gd name="T60" fmla="*/ 2147483647 w 300"/>
                <a:gd name="T61" fmla="*/ 2147483647 h 266"/>
                <a:gd name="T62" fmla="*/ 2147483647 w 300"/>
                <a:gd name="T63" fmla="*/ 2147483647 h 266"/>
                <a:gd name="T64" fmla="*/ 2147483647 w 300"/>
                <a:gd name="T65" fmla="*/ 2147483647 h 266"/>
                <a:gd name="T66" fmla="*/ 2147483647 w 300"/>
                <a:gd name="T67" fmla="*/ 2147483647 h 2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0"/>
                <a:gd name="T103" fmla="*/ 0 h 266"/>
                <a:gd name="T104" fmla="*/ 300 w 300"/>
                <a:gd name="T105" fmla="*/ 266 h 2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0" h="266">
                  <a:moveTo>
                    <a:pt x="300" y="183"/>
                  </a:moveTo>
                  <a:cubicBezTo>
                    <a:pt x="299" y="195"/>
                    <a:pt x="297" y="206"/>
                    <a:pt x="295" y="208"/>
                  </a:cubicBezTo>
                  <a:cubicBezTo>
                    <a:pt x="291" y="213"/>
                    <a:pt x="276" y="223"/>
                    <a:pt x="276" y="231"/>
                  </a:cubicBezTo>
                  <a:cubicBezTo>
                    <a:pt x="276" y="235"/>
                    <a:pt x="277" y="239"/>
                    <a:pt x="279" y="243"/>
                  </a:cubicBezTo>
                  <a:cubicBezTo>
                    <a:pt x="274" y="248"/>
                    <a:pt x="271" y="253"/>
                    <a:pt x="273" y="254"/>
                  </a:cubicBezTo>
                  <a:cubicBezTo>
                    <a:pt x="220" y="259"/>
                    <a:pt x="220" y="259"/>
                    <a:pt x="220" y="259"/>
                  </a:cubicBezTo>
                  <a:cubicBezTo>
                    <a:pt x="136" y="266"/>
                    <a:pt x="136" y="266"/>
                    <a:pt x="136" y="266"/>
                  </a:cubicBezTo>
                  <a:cubicBezTo>
                    <a:pt x="137" y="265"/>
                    <a:pt x="139" y="264"/>
                    <a:pt x="140" y="262"/>
                  </a:cubicBezTo>
                  <a:cubicBezTo>
                    <a:pt x="149" y="253"/>
                    <a:pt x="158" y="228"/>
                    <a:pt x="157" y="220"/>
                  </a:cubicBezTo>
                  <a:cubicBezTo>
                    <a:pt x="156" y="212"/>
                    <a:pt x="152" y="200"/>
                    <a:pt x="146" y="192"/>
                  </a:cubicBezTo>
                  <a:cubicBezTo>
                    <a:pt x="139" y="183"/>
                    <a:pt x="141" y="172"/>
                    <a:pt x="141" y="163"/>
                  </a:cubicBezTo>
                  <a:cubicBezTo>
                    <a:pt x="141" y="155"/>
                    <a:pt x="147" y="123"/>
                    <a:pt x="150" y="114"/>
                  </a:cubicBezTo>
                  <a:cubicBezTo>
                    <a:pt x="151" y="110"/>
                    <a:pt x="152" y="107"/>
                    <a:pt x="155" y="105"/>
                  </a:cubicBezTo>
                  <a:cubicBezTo>
                    <a:pt x="157" y="103"/>
                    <a:pt x="166" y="92"/>
                    <a:pt x="168" y="92"/>
                  </a:cubicBezTo>
                  <a:cubicBezTo>
                    <a:pt x="175" y="92"/>
                    <a:pt x="167" y="115"/>
                    <a:pt x="170" y="115"/>
                  </a:cubicBezTo>
                  <a:cubicBezTo>
                    <a:pt x="173" y="115"/>
                    <a:pt x="174" y="116"/>
                    <a:pt x="176" y="115"/>
                  </a:cubicBezTo>
                  <a:cubicBezTo>
                    <a:pt x="178" y="114"/>
                    <a:pt x="179" y="108"/>
                    <a:pt x="179" y="105"/>
                  </a:cubicBezTo>
                  <a:cubicBezTo>
                    <a:pt x="179" y="102"/>
                    <a:pt x="177" y="89"/>
                    <a:pt x="178" y="88"/>
                  </a:cubicBezTo>
                  <a:cubicBezTo>
                    <a:pt x="180" y="86"/>
                    <a:pt x="187" y="85"/>
                    <a:pt x="190" y="84"/>
                  </a:cubicBezTo>
                  <a:cubicBezTo>
                    <a:pt x="192" y="83"/>
                    <a:pt x="195" y="80"/>
                    <a:pt x="190" y="79"/>
                  </a:cubicBezTo>
                  <a:cubicBezTo>
                    <a:pt x="186" y="78"/>
                    <a:pt x="184" y="75"/>
                    <a:pt x="184" y="74"/>
                  </a:cubicBezTo>
                  <a:cubicBezTo>
                    <a:pt x="184" y="67"/>
                    <a:pt x="197" y="63"/>
                    <a:pt x="198" y="57"/>
                  </a:cubicBezTo>
                  <a:cubicBezTo>
                    <a:pt x="199" y="50"/>
                    <a:pt x="179" y="50"/>
                    <a:pt x="172" y="50"/>
                  </a:cubicBezTo>
                  <a:cubicBezTo>
                    <a:pt x="167" y="50"/>
                    <a:pt x="160" y="55"/>
                    <a:pt x="154" y="56"/>
                  </a:cubicBezTo>
                  <a:cubicBezTo>
                    <a:pt x="151" y="57"/>
                    <a:pt x="145" y="56"/>
                    <a:pt x="143" y="57"/>
                  </a:cubicBezTo>
                  <a:cubicBezTo>
                    <a:pt x="140" y="57"/>
                    <a:pt x="143" y="63"/>
                    <a:pt x="138" y="67"/>
                  </a:cubicBezTo>
                  <a:cubicBezTo>
                    <a:pt x="136" y="68"/>
                    <a:pt x="133" y="81"/>
                    <a:pt x="131" y="81"/>
                  </a:cubicBezTo>
                  <a:cubicBezTo>
                    <a:pt x="129" y="81"/>
                    <a:pt x="128" y="76"/>
                    <a:pt x="127" y="75"/>
                  </a:cubicBezTo>
                  <a:cubicBezTo>
                    <a:pt x="125" y="73"/>
                    <a:pt x="132" y="62"/>
                    <a:pt x="132" y="60"/>
                  </a:cubicBezTo>
                  <a:cubicBezTo>
                    <a:pt x="131" y="58"/>
                    <a:pt x="127" y="60"/>
                    <a:pt x="124" y="61"/>
                  </a:cubicBezTo>
                  <a:cubicBezTo>
                    <a:pt x="122" y="62"/>
                    <a:pt x="121" y="70"/>
                    <a:pt x="120" y="70"/>
                  </a:cubicBezTo>
                  <a:cubicBezTo>
                    <a:pt x="119" y="71"/>
                    <a:pt x="117" y="72"/>
                    <a:pt x="113" y="73"/>
                  </a:cubicBezTo>
                  <a:cubicBezTo>
                    <a:pt x="110" y="74"/>
                    <a:pt x="107" y="83"/>
                    <a:pt x="104" y="89"/>
                  </a:cubicBezTo>
                  <a:cubicBezTo>
                    <a:pt x="103" y="92"/>
                    <a:pt x="102" y="96"/>
                    <a:pt x="101" y="101"/>
                  </a:cubicBezTo>
                  <a:cubicBezTo>
                    <a:pt x="95" y="92"/>
                    <a:pt x="84" y="72"/>
                    <a:pt x="80" y="67"/>
                  </a:cubicBezTo>
                  <a:cubicBezTo>
                    <a:pt x="75" y="60"/>
                    <a:pt x="11" y="50"/>
                    <a:pt x="7" y="48"/>
                  </a:cubicBezTo>
                  <a:cubicBezTo>
                    <a:pt x="5" y="47"/>
                    <a:pt x="2" y="40"/>
                    <a:pt x="0" y="35"/>
                  </a:cubicBezTo>
                  <a:cubicBezTo>
                    <a:pt x="3" y="34"/>
                    <a:pt x="6" y="33"/>
                    <a:pt x="7" y="32"/>
                  </a:cubicBezTo>
                  <a:cubicBezTo>
                    <a:pt x="11" y="28"/>
                    <a:pt x="14" y="23"/>
                    <a:pt x="18" y="23"/>
                  </a:cubicBezTo>
                  <a:cubicBezTo>
                    <a:pt x="23" y="23"/>
                    <a:pt x="29" y="21"/>
                    <a:pt x="38" y="14"/>
                  </a:cubicBezTo>
                  <a:cubicBezTo>
                    <a:pt x="47" y="7"/>
                    <a:pt x="50" y="0"/>
                    <a:pt x="52" y="2"/>
                  </a:cubicBezTo>
                  <a:cubicBezTo>
                    <a:pt x="54" y="3"/>
                    <a:pt x="60" y="13"/>
                    <a:pt x="60" y="15"/>
                  </a:cubicBezTo>
                  <a:cubicBezTo>
                    <a:pt x="60" y="17"/>
                    <a:pt x="59" y="25"/>
                    <a:pt x="62" y="26"/>
                  </a:cubicBezTo>
                  <a:cubicBezTo>
                    <a:pt x="66" y="26"/>
                    <a:pt x="67" y="14"/>
                    <a:pt x="75" y="15"/>
                  </a:cubicBezTo>
                  <a:cubicBezTo>
                    <a:pt x="82" y="16"/>
                    <a:pt x="85" y="16"/>
                    <a:pt x="91" y="20"/>
                  </a:cubicBezTo>
                  <a:cubicBezTo>
                    <a:pt x="97" y="23"/>
                    <a:pt x="104" y="28"/>
                    <a:pt x="105" y="28"/>
                  </a:cubicBezTo>
                  <a:cubicBezTo>
                    <a:pt x="111" y="30"/>
                    <a:pt x="118" y="31"/>
                    <a:pt x="124" y="30"/>
                  </a:cubicBezTo>
                  <a:cubicBezTo>
                    <a:pt x="129" y="28"/>
                    <a:pt x="139" y="18"/>
                    <a:pt x="145" y="17"/>
                  </a:cubicBezTo>
                  <a:cubicBezTo>
                    <a:pt x="152" y="16"/>
                    <a:pt x="160" y="14"/>
                    <a:pt x="164" y="12"/>
                  </a:cubicBezTo>
                  <a:cubicBezTo>
                    <a:pt x="166" y="12"/>
                    <a:pt x="174" y="9"/>
                    <a:pt x="182" y="7"/>
                  </a:cubicBezTo>
                  <a:cubicBezTo>
                    <a:pt x="183" y="8"/>
                    <a:pt x="183" y="8"/>
                    <a:pt x="183" y="8"/>
                  </a:cubicBezTo>
                  <a:cubicBezTo>
                    <a:pt x="187" y="11"/>
                    <a:pt x="193" y="27"/>
                    <a:pt x="197" y="27"/>
                  </a:cubicBezTo>
                  <a:cubicBezTo>
                    <a:pt x="201" y="27"/>
                    <a:pt x="205" y="16"/>
                    <a:pt x="210" y="23"/>
                  </a:cubicBezTo>
                  <a:cubicBezTo>
                    <a:pt x="215" y="30"/>
                    <a:pt x="211" y="35"/>
                    <a:pt x="218" y="39"/>
                  </a:cubicBezTo>
                  <a:cubicBezTo>
                    <a:pt x="225" y="42"/>
                    <a:pt x="225" y="39"/>
                    <a:pt x="231" y="39"/>
                  </a:cubicBezTo>
                  <a:cubicBezTo>
                    <a:pt x="237" y="40"/>
                    <a:pt x="240" y="47"/>
                    <a:pt x="240" y="47"/>
                  </a:cubicBezTo>
                  <a:cubicBezTo>
                    <a:pt x="237" y="54"/>
                    <a:pt x="237" y="54"/>
                    <a:pt x="237" y="54"/>
                  </a:cubicBezTo>
                  <a:cubicBezTo>
                    <a:pt x="223" y="53"/>
                    <a:pt x="204" y="52"/>
                    <a:pt x="202" y="54"/>
                  </a:cubicBezTo>
                  <a:cubicBezTo>
                    <a:pt x="200" y="57"/>
                    <a:pt x="214" y="66"/>
                    <a:pt x="222" y="67"/>
                  </a:cubicBezTo>
                  <a:cubicBezTo>
                    <a:pt x="229" y="69"/>
                    <a:pt x="244" y="73"/>
                    <a:pt x="248" y="81"/>
                  </a:cubicBezTo>
                  <a:cubicBezTo>
                    <a:pt x="253" y="89"/>
                    <a:pt x="258" y="101"/>
                    <a:pt x="258" y="110"/>
                  </a:cubicBezTo>
                  <a:cubicBezTo>
                    <a:pt x="257" y="119"/>
                    <a:pt x="255" y="131"/>
                    <a:pt x="252" y="136"/>
                  </a:cubicBezTo>
                  <a:cubicBezTo>
                    <a:pt x="250" y="141"/>
                    <a:pt x="242" y="145"/>
                    <a:pt x="241" y="150"/>
                  </a:cubicBezTo>
                  <a:cubicBezTo>
                    <a:pt x="240" y="155"/>
                    <a:pt x="241" y="155"/>
                    <a:pt x="243" y="159"/>
                  </a:cubicBezTo>
                  <a:cubicBezTo>
                    <a:pt x="249" y="167"/>
                    <a:pt x="262" y="145"/>
                    <a:pt x="265" y="141"/>
                  </a:cubicBezTo>
                  <a:cubicBezTo>
                    <a:pt x="268" y="137"/>
                    <a:pt x="273" y="135"/>
                    <a:pt x="276" y="137"/>
                  </a:cubicBezTo>
                  <a:cubicBezTo>
                    <a:pt x="280" y="140"/>
                    <a:pt x="292" y="170"/>
                    <a:pt x="292" y="173"/>
                  </a:cubicBezTo>
                  <a:cubicBezTo>
                    <a:pt x="292" y="175"/>
                    <a:pt x="292" y="182"/>
                    <a:pt x="300" y="183"/>
                  </a:cubicBezTo>
                  <a:close/>
                </a:path>
              </a:pathLst>
            </a:custGeom>
            <a:solidFill>
              <a:srgbClr val="66CC33">
                <a:lumMod val="20000"/>
                <a:lumOff val="8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6" name="Freeform 431"/>
            <p:cNvSpPr>
              <a:spLocks/>
            </p:cNvSpPr>
            <p:nvPr>
              <p:custDataLst>
                <p:tags r:id="rId33"/>
              </p:custDataLst>
            </p:nvPr>
          </p:nvSpPr>
          <p:spPr bwMode="auto">
            <a:xfrm>
              <a:off x="3307202" y="2377565"/>
              <a:ext cx="61374" cy="50696"/>
            </a:xfrm>
            <a:custGeom>
              <a:avLst/>
              <a:gdLst>
                <a:gd name="T0" fmla="*/ 2147483647 w 30"/>
                <a:gd name="T1" fmla="*/ 2147483647 h 25"/>
                <a:gd name="T2" fmla="*/ 2147483647 w 30"/>
                <a:gd name="T3" fmla="*/ 2147483647 h 25"/>
                <a:gd name="T4" fmla="*/ 2147483647 w 30"/>
                <a:gd name="T5" fmla="*/ 2147483647 h 25"/>
                <a:gd name="T6" fmla="*/ 2147483647 w 30"/>
                <a:gd name="T7" fmla="*/ 2147483647 h 25"/>
                <a:gd name="T8" fmla="*/ 2147483647 w 30"/>
                <a:gd name="T9" fmla="*/ 2147483647 h 25"/>
                <a:gd name="T10" fmla="*/ 0 w 30"/>
                <a:gd name="T11" fmla="*/ 2147483647 h 25"/>
                <a:gd name="T12" fmla="*/ 2147483647 w 30"/>
                <a:gd name="T13" fmla="*/ 2147483647 h 25"/>
                <a:gd name="T14" fmla="*/ 2147483647 w 30"/>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25"/>
                <a:gd name="T26" fmla="*/ 30 w 30"/>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25">
                  <a:moveTo>
                    <a:pt x="29" y="3"/>
                  </a:moveTo>
                  <a:cubicBezTo>
                    <a:pt x="30" y="6"/>
                    <a:pt x="29" y="7"/>
                    <a:pt x="27" y="7"/>
                  </a:cubicBezTo>
                  <a:cubicBezTo>
                    <a:pt x="25" y="8"/>
                    <a:pt x="22" y="5"/>
                    <a:pt x="20" y="8"/>
                  </a:cubicBezTo>
                  <a:cubicBezTo>
                    <a:pt x="17" y="11"/>
                    <a:pt x="11" y="21"/>
                    <a:pt x="10" y="23"/>
                  </a:cubicBezTo>
                  <a:cubicBezTo>
                    <a:pt x="9" y="24"/>
                    <a:pt x="8" y="25"/>
                    <a:pt x="6" y="22"/>
                  </a:cubicBezTo>
                  <a:cubicBezTo>
                    <a:pt x="5" y="19"/>
                    <a:pt x="0" y="13"/>
                    <a:pt x="0" y="11"/>
                  </a:cubicBezTo>
                  <a:cubicBezTo>
                    <a:pt x="0" y="9"/>
                    <a:pt x="10" y="3"/>
                    <a:pt x="14" y="2"/>
                  </a:cubicBezTo>
                  <a:cubicBezTo>
                    <a:pt x="19" y="1"/>
                    <a:pt x="28" y="0"/>
                    <a:pt x="29" y="3"/>
                  </a:cubicBezTo>
                  <a:close/>
                </a:path>
              </a:pathLst>
            </a:custGeom>
            <a:solidFill>
              <a:srgbClr val="66CC33">
                <a:lumMod val="20000"/>
                <a:lumOff val="8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7" name="Freeform 432"/>
            <p:cNvSpPr>
              <a:spLocks/>
            </p:cNvSpPr>
            <p:nvPr>
              <p:custDataLst>
                <p:tags r:id="rId34"/>
              </p:custDataLst>
            </p:nvPr>
          </p:nvSpPr>
          <p:spPr bwMode="auto">
            <a:xfrm>
              <a:off x="2802874" y="3076646"/>
              <a:ext cx="539018" cy="453603"/>
            </a:xfrm>
            <a:custGeom>
              <a:avLst/>
              <a:gdLst>
                <a:gd name="T0" fmla="*/ 2147483647 w 270"/>
                <a:gd name="T1" fmla="*/ 2147483647 h 227"/>
                <a:gd name="T2" fmla="*/ 2147483647 w 270"/>
                <a:gd name="T3" fmla="*/ 2147483647 h 227"/>
                <a:gd name="T4" fmla="*/ 2147483647 w 270"/>
                <a:gd name="T5" fmla="*/ 2147483647 h 227"/>
                <a:gd name="T6" fmla="*/ 2147483647 w 270"/>
                <a:gd name="T7" fmla="*/ 2147483647 h 227"/>
                <a:gd name="T8" fmla="*/ 2147483647 w 270"/>
                <a:gd name="T9" fmla="*/ 2147483647 h 227"/>
                <a:gd name="T10" fmla="*/ 2147483647 w 270"/>
                <a:gd name="T11" fmla="*/ 2147483647 h 227"/>
                <a:gd name="T12" fmla="*/ 2147483647 w 270"/>
                <a:gd name="T13" fmla="*/ 2147483647 h 227"/>
                <a:gd name="T14" fmla="*/ 2147483647 w 270"/>
                <a:gd name="T15" fmla="*/ 2147483647 h 227"/>
                <a:gd name="T16" fmla="*/ 2147483647 w 270"/>
                <a:gd name="T17" fmla="*/ 2147483647 h 227"/>
                <a:gd name="T18" fmla="*/ 2147483647 w 270"/>
                <a:gd name="T19" fmla="*/ 2147483647 h 227"/>
                <a:gd name="T20" fmla="*/ 2147483647 w 270"/>
                <a:gd name="T21" fmla="*/ 2147483647 h 227"/>
                <a:gd name="T22" fmla="*/ 2147483647 w 270"/>
                <a:gd name="T23" fmla="*/ 2147483647 h 227"/>
                <a:gd name="T24" fmla="*/ 2147483647 w 270"/>
                <a:gd name="T25" fmla="*/ 2147483647 h 227"/>
                <a:gd name="T26" fmla="*/ 2147483647 w 270"/>
                <a:gd name="T27" fmla="*/ 2147483647 h 227"/>
                <a:gd name="T28" fmla="*/ 2147483647 w 270"/>
                <a:gd name="T29" fmla="*/ 2147483647 h 227"/>
                <a:gd name="T30" fmla="*/ 2147483647 w 270"/>
                <a:gd name="T31" fmla="*/ 2147483647 h 227"/>
                <a:gd name="T32" fmla="*/ 2147483647 w 270"/>
                <a:gd name="T33" fmla="*/ 2147483647 h 227"/>
                <a:gd name="T34" fmla="*/ 0 w 270"/>
                <a:gd name="T35" fmla="*/ 1680566313 h 227"/>
                <a:gd name="T36" fmla="*/ 2147483647 w 270"/>
                <a:gd name="T37" fmla="*/ 0 h 227"/>
                <a:gd name="T38" fmla="*/ 2147483647 w 270"/>
                <a:gd name="T39" fmla="*/ 2147483647 h 227"/>
                <a:gd name="T40" fmla="*/ 2147483647 w 270"/>
                <a:gd name="T41" fmla="*/ 2147483647 h 227"/>
                <a:gd name="T42" fmla="*/ 2147483647 w 270"/>
                <a:gd name="T43" fmla="*/ 2147483647 h 227"/>
                <a:gd name="T44" fmla="*/ 2147483647 w 270"/>
                <a:gd name="T45" fmla="*/ 2147483647 h 227"/>
                <a:gd name="T46" fmla="*/ 2147483647 w 270"/>
                <a:gd name="T47" fmla="*/ 2147483647 h 227"/>
                <a:gd name="T48" fmla="*/ 2147483647 w 270"/>
                <a:gd name="T49" fmla="*/ 2147483647 h 227"/>
                <a:gd name="T50" fmla="*/ 2147483647 w 270"/>
                <a:gd name="T51" fmla="*/ 2147483647 h 227"/>
                <a:gd name="T52" fmla="*/ 2147483647 w 270"/>
                <a:gd name="T53" fmla="*/ 2147483647 h 227"/>
                <a:gd name="T54" fmla="*/ 2147483647 w 270"/>
                <a:gd name="T55" fmla="*/ 2147483647 h 2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0"/>
                <a:gd name="T85" fmla="*/ 0 h 227"/>
                <a:gd name="T86" fmla="*/ 270 w 270"/>
                <a:gd name="T87" fmla="*/ 227 h 2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0" h="227">
                  <a:moveTo>
                    <a:pt x="264" y="174"/>
                  </a:moveTo>
                  <a:cubicBezTo>
                    <a:pt x="270" y="177"/>
                    <a:pt x="265" y="187"/>
                    <a:pt x="265" y="194"/>
                  </a:cubicBezTo>
                  <a:cubicBezTo>
                    <a:pt x="265" y="199"/>
                    <a:pt x="259" y="199"/>
                    <a:pt x="254" y="200"/>
                  </a:cubicBezTo>
                  <a:cubicBezTo>
                    <a:pt x="253" y="200"/>
                    <a:pt x="251" y="201"/>
                    <a:pt x="250" y="202"/>
                  </a:cubicBezTo>
                  <a:cubicBezTo>
                    <a:pt x="246" y="205"/>
                    <a:pt x="246" y="218"/>
                    <a:pt x="247" y="227"/>
                  </a:cubicBezTo>
                  <a:cubicBezTo>
                    <a:pt x="219" y="227"/>
                    <a:pt x="219" y="227"/>
                    <a:pt x="219" y="227"/>
                  </a:cubicBezTo>
                  <a:cubicBezTo>
                    <a:pt x="220" y="223"/>
                    <a:pt x="220" y="223"/>
                    <a:pt x="220" y="223"/>
                  </a:cubicBezTo>
                  <a:cubicBezTo>
                    <a:pt x="223" y="221"/>
                    <a:pt x="234" y="213"/>
                    <a:pt x="225" y="207"/>
                  </a:cubicBezTo>
                  <a:cubicBezTo>
                    <a:pt x="216" y="201"/>
                    <a:pt x="203" y="204"/>
                    <a:pt x="203" y="204"/>
                  </a:cubicBezTo>
                  <a:cubicBezTo>
                    <a:pt x="46" y="206"/>
                    <a:pt x="46" y="206"/>
                    <a:pt x="46" y="206"/>
                  </a:cubicBezTo>
                  <a:cubicBezTo>
                    <a:pt x="46" y="204"/>
                    <a:pt x="46" y="195"/>
                    <a:pt x="46" y="183"/>
                  </a:cubicBezTo>
                  <a:cubicBezTo>
                    <a:pt x="46" y="146"/>
                    <a:pt x="46" y="81"/>
                    <a:pt x="46" y="77"/>
                  </a:cubicBezTo>
                  <a:cubicBezTo>
                    <a:pt x="45" y="69"/>
                    <a:pt x="30" y="62"/>
                    <a:pt x="29" y="57"/>
                  </a:cubicBezTo>
                  <a:cubicBezTo>
                    <a:pt x="28" y="53"/>
                    <a:pt x="42" y="46"/>
                    <a:pt x="38" y="41"/>
                  </a:cubicBezTo>
                  <a:cubicBezTo>
                    <a:pt x="34" y="37"/>
                    <a:pt x="31" y="32"/>
                    <a:pt x="28" y="32"/>
                  </a:cubicBezTo>
                  <a:cubicBezTo>
                    <a:pt x="25" y="32"/>
                    <a:pt x="22" y="33"/>
                    <a:pt x="19" y="32"/>
                  </a:cubicBezTo>
                  <a:cubicBezTo>
                    <a:pt x="18" y="31"/>
                    <a:pt x="16" y="30"/>
                    <a:pt x="15" y="29"/>
                  </a:cubicBezTo>
                  <a:cubicBezTo>
                    <a:pt x="12" y="26"/>
                    <a:pt x="4" y="13"/>
                    <a:pt x="0" y="4"/>
                  </a:cubicBezTo>
                  <a:cubicBezTo>
                    <a:pt x="153" y="0"/>
                    <a:pt x="153" y="0"/>
                    <a:pt x="153" y="0"/>
                  </a:cubicBezTo>
                  <a:cubicBezTo>
                    <a:pt x="167" y="12"/>
                    <a:pt x="167" y="12"/>
                    <a:pt x="167" y="12"/>
                  </a:cubicBezTo>
                  <a:cubicBezTo>
                    <a:pt x="166" y="15"/>
                    <a:pt x="164" y="18"/>
                    <a:pt x="163" y="21"/>
                  </a:cubicBezTo>
                  <a:cubicBezTo>
                    <a:pt x="158" y="33"/>
                    <a:pt x="181" y="54"/>
                    <a:pt x="195" y="64"/>
                  </a:cubicBezTo>
                  <a:cubicBezTo>
                    <a:pt x="209" y="74"/>
                    <a:pt x="197" y="74"/>
                    <a:pt x="201" y="81"/>
                  </a:cubicBezTo>
                  <a:cubicBezTo>
                    <a:pt x="205" y="88"/>
                    <a:pt x="215" y="82"/>
                    <a:pt x="219" y="89"/>
                  </a:cubicBezTo>
                  <a:cubicBezTo>
                    <a:pt x="223" y="96"/>
                    <a:pt x="215" y="104"/>
                    <a:pt x="213" y="113"/>
                  </a:cubicBezTo>
                  <a:cubicBezTo>
                    <a:pt x="211" y="122"/>
                    <a:pt x="237" y="135"/>
                    <a:pt x="245" y="139"/>
                  </a:cubicBezTo>
                  <a:cubicBezTo>
                    <a:pt x="253" y="143"/>
                    <a:pt x="252" y="156"/>
                    <a:pt x="253" y="163"/>
                  </a:cubicBezTo>
                  <a:cubicBezTo>
                    <a:pt x="254" y="170"/>
                    <a:pt x="258" y="171"/>
                    <a:pt x="264" y="174"/>
                  </a:cubicBezTo>
                  <a:close/>
                </a:path>
              </a:pathLst>
            </a:custGeom>
            <a:solidFill>
              <a:srgbClr val="FFFFFF">
                <a:lumMod val="8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8" name="Freeform 433"/>
            <p:cNvSpPr>
              <a:spLocks/>
            </p:cNvSpPr>
            <p:nvPr>
              <p:custDataLst>
                <p:tags r:id="rId35"/>
              </p:custDataLst>
            </p:nvPr>
          </p:nvSpPr>
          <p:spPr bwMode="auto">
            <a:xfrm>
              <a:off x="2896268" y="3479551"/>
              <a:ext cx="400261" cy="357546"/>
            </a:xfrm>
            <a:custGeom>
              <a:avLst/>
              <a:gdLst>
                <a:gd name="T0" fmla="*/ 2147483647 w 201"/>
                <a:gd name="T1" fmla="*/ 2147483647 h 180"/>
                <a:gd name="T2" fmla="*/ 2147483647 w 201"/>
                <a:gd name="T3" fmla="*/ 2147483647 h 180"/>
                <a:gd name="T4" fmla="*/ 2147483647 w 201"/>
                <a:gd name="T5" fmla="*/ 2147483647 h 180"/>
                <a:gd name="T6" fmla="*/ 2147483647 w 201"/>
                <a:gd name="T7" fmla="*/ 2147483647 h 180"/>
                <a:gd name="T8" fmla="*/ 2147483647 w 201"/>
                <a:gd name="T9" fmla="*/ 2147483647 h 180"/>
                <a:gd name="T10" fmla="*/ 2147483647 w 201"/>
                <a:gd name="T11" fmla="*/ 2147483647 h 180"/>
                <a:gd name="T12" fmla="*/ 2147483647 w 201"/>
                <a:gd name="T13" fmla="*/ 2147483647 h 180"/>
                <a:gd name="T14" fmla="*/ 2147483647 w 201"/>
                <a:gd name="T15" fmla="*/ 2147483647 h 180"/>
                <a:gd name="T16" fmla="*/ 2147483647 w 201"/>
                <a:gd name="T17" fmla="*/ 2147483647 h 180"/>
                <a:gd name="T18" fmla="*/ 2147483647 w 201"/>
                <a:gd name="T19" fmla="*/ 2147483647 h 180"/>
                <a:gd name="T20" fmla="*/ 2147483647 w 201"/>
                <a:gd name="T21" fmla="*/ 2147483647 h 180"/>
                <a:gd name="T22" fmla="*/ 2147483647 w 201"/>
                <a:gd name="T23" fmla="*/ 2147483647 h 180"/>
                <a:gd name="T24" fmla="*/ 1663168069 w 201"/>
                <a:gd name="T25" fmla="*/ 2147483647 h 180"/>
                <a:gd name="T26" fmla="*/ 1663168069 w 201"/>
                <a:gd name="T27" fmla="*/ 2147483647 h 180"/>
                <a:gd name="T28" fmla="*/ 1663168069 w 201"/>
                <a:gd name="T29" fmla="*/ 2147483647 h 180"/>
                <a:gd name="T30" fmla="*/ 0 w 201"/>
                <a:gd name="T31" fmla="*/ 1650857090 h 180"/>
                <a:gd name="T32" fmla="*/ 2147483647 w 201"/>
                <a:gd name="T33" fmla="*/ 1650857090 h 180"/>
                <a:gd name="T34" fmla="*/ 2147483647 w 201"/>
                <a:gd name="T35" fmla="*/ 1650857090 h 180"/>
                <a:gd name="T36" fmla="*/ 2147483647 w 201"/>
                <a:gd name="T37" fmla="*/ 2147483647 h 180"/>
                <a:gd name="T38" fmla="*/ 2147483647 w 201"/>
                <a:gd name="T39" fmla="*/ 2147483647 h 180"/>
                <a:gd name="T40" fmla="*/ 2147483647 w 201"/>
                <a:gd name="T41" fmla="*/ 2147483647 h 1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1"/>
                <a:gd name="T64" fmla="*/ 0 h 180"/>
                <a:gd name="T65" fmla="*/ 201 w 201"/>
                <a:gd name="T66" fmla="*/ 180 h 1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1" h="180">
                  <a:moveTo>
                    <a:pt x="201" y="26"/>
                  </a:moveTo>
                  <a:cubicBezTo>
                    <a:pt x="201" y="28"/>
                    <a:pt x="201" y="30"/>
                    <a:pt x="201" y="32"/>
                  </a:cubicBezTo>
                  <a:cubicBezTo>
                    <a:pt x="201" y="40"/>
                    <a:pt x="191" y="48"/>
                    <a:pt x="185" y="54"/>
                  </a:cubicBezTo>
                  <a:cubicBezTo>
                    <a:pt x="180" y="59"/>
                    <a:pt x="183" y="70"/>
                    <a:pt x="183" y="77"/>
                  </a:cubicBezTo>
                  <a:cubicBezTo>
                    <a:pt x="183" y="79"/>
                    <a:pt x="183" y="80"/>
                    <a:pt x="182" y="81"/>
                  </a:cubicBezTo>
                  <a:cubicBezTo>
                    <a:pt x="179" y="86"/>
                    <a:pt x="164" y="97"/>
                    <a:pt x="162" y="100"/>
                  </a:cubicBezTo>
                  <a:cubicBezTo>
                    <a:pt x="160" y="103"/>
                    <a:pt x="160" y="120"/>
                    <a:pt x="158" y="125"/>
                  </a:cubicBezTo>
                  <a:cubicBezTo>
                    <a:pt x="156" y="130"/>
                    <a:pt x="145" y="139"/>
                    <a:pt x="143" y="146"/>
                  </a:cubicBezTo>
                  <a:cubicBezTo>
                    <a:pt x="141" y="153"/>
                    <a:pt x="151" y="170"/>
                    <a:pt x="151" y="176"/>
                  </a:cubicBezTo>
                  <a:cubicBezTo>
                    <a:pt x="26" y="180"/>
                    <a:pt x="26" y="180"/>
                    <a:pt x="26" y="180"/>
                  </a:cubicBezTo>
                  <a:cubicBezTo>
                    <a:pt x="26" y="180"/>
                    <a:pt x="26" y="180"/>
                    <a:pt x="26" y="180"/>
                  </a:cubicBezTo>
                  <a:cubicBezTo>
                    <a:pt x="26" y="165"/>
                    <a:pt x="25" y="153"/>
                    <a:pt x="24" y="153"/>
                  </a:cubicBezTo>
                  <a:cubicBezTo>
                    <a:pt x="22" y="152"/>
                    <a:pt x="14" y="158"/>
                    <a:pt x="8" y="153"/>
                  </a:cubicBezTo>
                  <a:cubicBezTo>
                    <a:pt x="7" y="152"/>
                    <a:pt x="6" y="151"/>
                    <a:pt x="4" y="150"/>
                  </a:cubicBezTo>
                  <a:cubicBezTo>
                    <a:pt x="4" y="150"/>
                    <a:pt x="8" y="64"/>
                    <a:pt x="8" y="58"/>
                  </a:cubicBezTo>
                  <a:cubicBezTo>
                    <a:pt x="8" y="52"/>
                    <a:pt x="0" y="12"/>
                    <a:pt x="0" y="5"/>
                  </a:cubicBezTo>
                  <a:cubicBezTo>
                    <a:pt x="157" y="3"/>
                    <a:pt x="157" y="3"/>
                    <a:pt x="157" y="3"/>
                  </a:cubicBezTo>
                  <a:cubicBezTo>
                    <a:pt x="157" y="3"/>
                    <a:pt x="170" y="0"/>
                    <a:pt x="179" y="6"/>
                  </a:cubicBezTo>
                  <a:cubicBezTo>
                    <a:pt x="188" y="12"/>
                    <a:pt x="177" y="20"/>
                    <a:pt x="174" y="22"/>
                  </a:cubicBezTo>
                  <a:cubicBezTo>
                    <a:pt x="173" y="26"/>
                    <a:pt x="173" y="26"/>
                    <a:pt x="173" y="26"/>
                  </a:cubicBezTo>
                  <a:lnTo>
                    <a:pt x="201" y="26"/>
                  </a:lnTo>
                  <a:close/>
                </a:path>
              </a:pathLst>
            </a:custGeom>
            <a:solidFill>
              <a:schemeClr val="bg2">
                <a:lumMod val="85000"/>
              </a:scheme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9" name="Freeform 434"/>
            <p:cNvSpPr>
              <a:spLocks/>
            </p:cNvSpPr>
            <p:nvPr>
              <p:custDataLst>
                <p:tags r:id="rId36"/>
              </p:custDataLst>
            </p:nvPr>
          </p:nvSpPr>
          <p:spPr bwMode="auto">
            <a:xfrm>
              <a:off x="2717485" y="2206797"/>
              <a:ext cx="525675" cy="581679"/>
            </a:xfrm>
            <a:custGeom>
              <a:avLst/>
              <a:gdLst>
                <a:gd name="T0" fmla="*/ 2147483647 w 262"/>
                <a:gd name="T1" fmla="*/ 2147483647 h 292"/>
                <a:gd name="T2" fmla="*/ 2147483647 w 262"/>
                <a:gd name="T3" fmla="*/ 2147483647 h 292"/>
                <a:gd name="T4" fmla="*/ 2147483647 w 262"/>
                <a:gd name="T5" fmla="*/ 2147483647 h 292"/>
                <a:gd name="T6" fmla="*/ 2147483647 w 262"/>
                <a:gd name="T7" fmla="*/ 2147483647 h 292"/>
                <a:gd name="T8" fmla="*/ 2147483647 w 262"/>
                <a:gd name="T9" fmla="*/ 2147483647 h 292"/>
                <a:gd name="T10" fmla="*/ 2147483647 w 262"/>
                <a:gd name="T11" fmla="*/ 2147483647 h 292"/>
                <a:gd name="T12" fmla="*/ 2147483647 w 262"/>
                <a:gd name="T13" fmla="*/ 2147483647 h 292"/>
                <a:gd name="T14" fmla="*/ 2147483647 w 262"/>
                <a:gd name="T15" fmla="*/ 2147483647 h 292"/>
                <a:gd name="T16" fmla="*/ 2147483647 w 262"/>
                <a:gd name="T17" fmla="*/ 2147483647 h 292"/>
                <a:gd name="T18" fmla="*/ 2147483647 w 262"/>
                <a:gd name="T19" fmla="*/ 2147483647 h 292"/>
                <a:gd name="T20" fmla="*/ 2147483647 w 262"/>
                <a:gd name="T21" fmla="*/ 2147483647 h 292"/>
                <a:gd name="T22" fmla="*/ 2147483647 w 262"/>
                <a:gd name="T23" fmla="*/ 2147483647 h 292"/>
                <a:gd name="T24" fmla="*/ 2147483647 w 262"/>
                <a:gd name="T25" fmla="*/ 2147483647 h 292"/>
                <a:gd name="T26" fmla="*/ 2147483647 w 262"/>
                <a:gd name="T27" fmla="*/ 2147483647 h 292"/>
                <a:gd name="T28" fmla="*/ 2147483647 w 262"/>
                <a:gd name="T29" fmla="*/ 2147483647 h 292"/>
                <a:gd name="T30" fmla="*/ 2147483647 w 262"/>
                <a:gd name="T31" fmla="*/ 2147483647 h 292"/>
                <a:gd name="T32" fmla="*/ 2147483647 w 262"/>
                <a:gd name="T33" fmla="*/ 2147483647 h 292"/>
                <a:gd name="T34" fmla="*/ 2147483647 w 262"/>
                <a:gd name="T35" fmla="*/ 2147483647 h 292"/>
                <a:gd name="T36" fmla="*/ 2147483647 w 262"/>
                <a:gd name="T37" fmla="*/ 2147483647 h 292"/>
                <a:gd name="T38" fmla="*/ 2147483647 w 262"/>
                <a:gd name="T39" fmla="*/ 2147483647 h 292"/>
                <a:gd name="T40" fmla="*/ 2147483647 w 262"/>
                <a:gd name="T41" fmla="*/ 2147483647 h 292"/>
                <a:gd name="T42" fmla="*/ 2147483647 w 262"/>
                <a:gd name="T43" fmla="*/ 2147483647 h 292"/>
                <a:gd name="T44" fmla="*/ 0 w 262"/>
                <a:gd name="T45" fmla="*/ 2147483647 h 292"/>
                <a:gd name="T46" fmla="*/ 2147483647 w 262"/>
                <a:gd name="T47" fmla="*/ 2147483647 h 292"/>
                <a:gd name="T48" fmla="*/ 2147483647 w 262"/>
                <a:gd name="T49" fmla="*/ 0 h 292"/>
                <a:gd name="T50" fmla="*/ 2147483647 w 262"/>
                <a:gd name="T51" fmla="*/ 1664535416 h 292"/>
                <a:gd name="T52" fmla="*/ 2147483647 w 262"/>
                <a:gd name="T53" fmla="*/ 2147483647 h 292"/>
                <a:gd name="T54" fmla="*/ 2147483647 w 262"/>
                <a:gd name="T55" fmla="*/ 2147483647 h 292"/>
                <a:gd name="T56" fmla="*/ 2147483647 w 262"/>
                <a:gd name="T57" fmla="*/ 2147483647 h 292"/>
                <a:gd name="T58" fmla="*/ 2147483647 w 262"/>
                <a:gd name="T59" fmla="*/ 2147483647 h 292"/>
                <a:gd name="T60" fmla="*/ 2147483647 w 262"/>
                <a:gd name="T61" fmla="*/ 2147483647 h 292"/>
                <a:gd name="T62" fmla="*/ 2147483647 w 262"/>
                <a:gd name="T63" fmla="*/ 2147483647 h 292"/>
                <a:gd name="T64" fmla="*/ 2147483647 w 262"/>
                <a:gd name="T65" fmla="*/ 2147483647 h 292"/>
                <a:gd name="T66" fmla="*/ 2147483647 w 262"/>
                <a:gd name="T67" fmla="*/ 2147483647 h 292"/>
                <a:gd name="T68" fmla="*/ 2147483647 w 262"/>
                <a:gd name="T69" fmla="*/ 2147483647 h 292"/>
                <a:gd name="T70" fmla="*/ 2147483647 w 262"/>
                <a:gd name="T71" fmla="*/ 2147483647 h 292"/>
                <a:gd name="T72" fmla="*/ 2147483647 w 262"/>
                <a:gd name="T73" fmla="*/ 2147483647 h 292"/>
                <a:gd name="T74" fmla="*/ 2147483647 w 262"/>
                <a:gd name="T75" fmla="*/ 2147483647 h 292"/>
                <a:gd name="T76" fmla="*/ 2147483647 w 262"/>
                <a:gd name="T77" fmla="*/ 2147483647 h 29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62"/>
                <a:gd name="T118" fmla="*/ 0 h 292"/>
                <a:gd name="T119" fmla="*/ 262 w 262"/>
                <a:gd name="T120" fmla="*/ 292 h 29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62" h="292">
                  <a:moveTo>
                    <a:pt x="262" y="66"/>
                  </a:moveTo>
                  <a:cubicBezTo>
                    <a:pt x="262" y="68"/>
                    <a:pt x="262" y="69"/>
                    <a:pt x="261" y="70"/>
                  </a:cubicBezTo>
                  <a:cubicBezTo>
                    <a:pt x="260" y="71"/>
                    <a:pt x="256" y="73"/>
                    <a:pt x="251" y="75"/>
                  </a:cubicBezTo>
                  <a:cubicBezTo>
                    <a:pt x="244" y="77"/>
                    <a:pt x="223" y="84"/>
                    <a:pt x="218" y="89"/>
                  </a:cubicBezTo>
                  <a:cubicBezTo>
                    <a:pt x="212" y="93"/>
                    <a:pt x="175" y="126"/>
                    <a:pt x="177" y="129"/>
                  </a:cubicBezTo>
                  <a:cubicBezTo>
                    <a:pt x="177" y="129"/>
                    <a:pt x="177" y="129"/>
                    <a:pt x="177" y="129"/>
                  </a:cubicBezTo>
                  <a:cubicBezTo>
                    <a:pt x="173" y="132"/>
                    <a:pt x="170" y="134"/>
                    <a:pt x="169" y="136"/>
                  </a:cubicBezTo>
                  <a:cubicBezTo>
                    <a:pt x="165" y="142"/>
                    <a:pt x="171" y="160"/>
                    <a:pt x="168" y="167"/>
                  </a:cubicBezTo>
                  <a:cubicBezTo>
                    <a:pt x="165" y="174"/>
                    <a:pt x="152" y="176"/>
                    <a:pt x="147" y="184"/>
                  </a:cubicBezTo>
                  <a:cubicBezTo>
                    <a:pt x="142" y="192"/>
                    <a:pt x="155" y="193"/>
                    <a:pt x="157" y="201"/>
                  </a:cubicBezTo>
                  <a:cubicBezTo>
                    <a:pt x="159" y="209"/>
                    <a:pt x="151" y="216"/>
                    <a:pt x="151" y="225"/>
                  </a:cubicBezTo>
                  <a:cubicBezTo>
                    <a:pt x="151" y="234"/>
                    <a:pt x="168" y="242"/>
                    <a:pt x="181" y="250"/>
                  </a:cubicBezTo>
                  <a:cubicBezTo>
                    <a:pt x="194" y="258"/>
                    <a:pt x="196" y="259"/>
                    <a:pt x="204" y="266"/>
                  </a:cubicBezTo>
                  <a:cubicBezTo>
                    <a:pt x="209" y="270"/>
                    <a:pt x="212" y="281"/>
                    <a:pt x="213" y="290"/>
                  </a:cubicBezTo>
                  <a:cubicBezTo>
                    <a:pt x="19" y="292"/>
                    <a:pt x="19" y="292"/>
                    <a:pt x="19" y="292"/>
                  </a:cubicBezTo>
                  <a:cubicBezTo>
                    <a:pt x="19" y="282"/>
                    <a:pt x="22" y="209"/>
                    <a:pt x="22" y="204"/>
                  </a:cubicBezTo>
                  <a:cubicBezTo>
                    <a:pt x="22" y="199"/>
                    <a:pt x="9" y="194"/>
                    <a:pt x="9" y="187"/>
                  </a:cubicBezTo>
                  <a:cubicBezTo>
                    <a:pt x="9" y="182"/>
                    <a:pt x="18" y="179"/>
                    <a:pt x="20" y="173"/>
                  </a:cubicBezTo>
                  <a:cubicBezTo>
                    <a:pt x="20" y="172"/>
                    <a:pt x="21" y="171"/>
                    <a:pt x="21" y="170"/>
                  </a:cubicBezTo>
                  <a:cubicBezTo>
                    <a:pt x="21" y="161"/>
                    <a:pt x="13" y="145"/>
                    <a:pt x="13" y="137"/>
                  </a:cubicBezTo>
                  <a:cubicBezTo>
                    <a:pt x="13" y="129"/>
                    <a:pt x="12" y="99"/>
                    <a:pt x="11" y="92"/>
                  </a:cubicBezTo>
                  <a:cubicBezTo>
                    <a:pt x="11" y="85"/>
                    <a:pt x="2" y="69"/>
                    <a:pt x="2" y="59"/>
                  </a:cubicBezTo>
                  <a:cubicBezTo>
                    <a:pt x="0" y="21"/>
                    <a:pt x="0" y="21"/>
                    <a:pt x="0" y="21"/>
                  </a:cubicBezTo>
                  <a:cubicBezTo>
                    <a:pt x="19" y="21"/>
                    <a:pt x="68" y="21"/>
                    <a:pt x="68" y="21"/>
                  </a:cubicBezTo>
                  <a:cubicBezTo>
                    <a:pt x="68" y="0"/>
                    <a:pt x="68" y="0"/>
                    <a:pt x="68" y="0"/>
                  </a:cubicBezTo>
                  <a:cubicBezTo>
                    <a:pt x="68" y="0"/>
                    <a:pt x="78" y="0"/>
                    <a:pt x="81" y="4"/>
                  </a:cubicBezTo>
                  <a:cubicBezTo>
                    <a:pt x="83" y="8"/>
                    <a:pt x="81" y="32"/>
                    <a:pt x="88" y="33"/>
                  </a:cubicBezTo>
                  <a:cubicBezTo>
                    <a:pt x="96" y="34"/>
                    <a:pt x="106" y="35"/>
                    <a:pt x="110" y="37"/>
                  </a:cubicBezTo>
                  <a:cubicBezTo>
                    <a:pt x="114" y="40"/>
                    <a:pt x="116" y="45"/>
                    <a:pt x="123" y="44"/>
                  </a:cubicBezTo>
                  <a:cubicBezTo>
                    <a:pt x="131" y="43"/>
                    <a:pt x="132" y="35"/>
                    <a:pt x="138" y="37"/>
                  </a:cubicBezTo>
                  <a:cubicBezTo>
                    <a:pt x="144" y="38"/>
                    <a:pt x="155" y="44"/>
                    <a:pt x="156" y="47"/>
                  </a:cubicBezTo>
                  <a:cubicBezTo>
                    <a:pt x="158" y="51"/>
                    <a:pt x="158" y="59"/>
                    <a:pt x="165" y="57"/>
                  </a:cubicBezTo>
                  <a:cubicBezTo>
                    <a:pt x="171" y="56"/>
                    <a:pt x="173" y="52"/>
                    <a:pt x="180" y="55"/>
                  </a:cubicBezTo>
                  <a:cubicBezTo>
                    <a:pt x="186" y="58"/>
                    <a:pt x="184" y="66"/>
                    <a:pt x="191" y="66"/>
                  </a:cubicBezTo>
                  <a:cubicBezTo>
                    <a:pt x="199" y="66"/>
                    <a:pt x="199" y="56"/>
                    <a:pt x="206" y="56"/>
                  </a:cubicBezTo>
                  <a:cubicBezTo>
                    <a:pt x="214" y="55"/>
                    <a:pt x="211" y="53"/>
                    <a:pt x="214" y="57"/>
                  </a:cubicBezTo>
                  <a:cubicBezTo>
                    <a:pt x="218" y="61"/>
                    <a:pt x="222" y="63"/>
                    <a:pt x="227" y="63"/>
                  </a:cubicBezTo>
                  <a:cubicBezTo>
                    <a:pt x="232" y="63"/>
                    <a:pt x="242" y="61"/>
                    <a:pt x="247" y="64"/>
                  </a:cubicBezTo>
                  <a:cubicBezTo>
                    <a:pt x="251" y="66"/>
                    <a:pt x="257" y="66"/>
                    <a:pt x="262" y="66"/>
                  </a:cubicBezTo>
                  <a:close/>
                </a:path>
              </a:pathLst>
            </a:custGeom>
            <a:solidFill>
              <a:srgbClr val="66CC33">
                <a:lumMod val="7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0" name="Freeform 435"/>
            <p:cNvSpPr>
              <a:spLocks/>
            </p:cNvSpPr>
            <p:nvPr>
              <p:custDataLst>
                <p:tags r:id="rId37"/>
              </p:custDataLst>
            </p:nvPr>
          </p:nvSpPr>
          <p:spPr bwMode="auto">
            <a:xfrm>
              <a:off x="2744169" y="2785806"/>
              <a:ext cx="488317" cy="314854"/>
            </a:xfrm>
            <a:custGeom>
              <a:avLst/>
              <a:gdLst>
                <a:gd name="T0" fmla="*/ 2147483647 w 245"/>
                <a:gd name="T1" fmla="*/ 2147483647 h 158"/>
                <a:gd name="T2" fmla="*/ 2147483647 w 245"/>
                <a:gd name="T3" fmla="*/ 2147483647 h 158"/>
                <a:gd name="T4" fmla="*/ 2147483647 w 245"/>
                <a:gd name="T5" fmla="*/ 2147483647 h 158"/>
                <a:gd name="T6" fmla="*/ 2147483647 w 245"/>
                <a:gd name="T7" fmla="*/ 2147483647 h 158"/>
                <a:gd name="T8" fmla="*/ 2147483647 w 245"/>
                <a:gd name="T9" fmla="*/ 2147483647 h 158"/>
                <a:gd name="T10" fmla="*/ 2147483647 w 245"/>
                <a:gd name="T11" fmla="*/ 2147483647 h 158"/>
                <a:gd name="T12" fmla="*/ 2147483647 w 245"/>
                <a:gd name="T13" fmla="*/ 2147483647 h 158"/>
                <a:gd name="T14" fmla="*/ 2147483647 w 245"/>
                <a:gd name="T15" fmla="*/ 2147483647 h 158"/>
                <a:gd name="T16" fmla="*/ 2147483647 w 245"/>
                <a:gd name="T17" fmla="*/ 2147483647 h 158"/>
                <a:gd name="T18" fmla="*/ 2147483647 w 245"/>
                <a:gd name="T19" fmla="*/ 2147483647 h 158"/>
                <a:gd name="T20" fmla="*/ 2147483647 w 245"/>
                <a:gd name="T21" fmla="*/ 2147483647 h 158"/>
                <a:gd name="T22" fmla="*/ 1667556666 w 245"/>
                <a:gd name="T23" fmla="*/ 2147483647 h 158"/>
                <a:gd name="T24" fmla="*/ 1667556666 w 245"/>
                <a:gd name="T25" fmla="*/ 2147483647 h 158"/>
                <a:gd name="T26" fmla="*/ 1667556666 w 245"/>
                <a:gd name="T27" fmla="*/ 1667101209 h 158"/>
                <a:gd name="T28" fmla="*/ 2147483647 w 245"/>
                <a:gd name="T29" fmla="*/ 0 h 158"/>
                <a:gd name="T30" fmla="*/ 2147483647 w 245"/>
                <a:gd name="T31" fmla="*/ 1667101209 h 158"/>
                <a:gd name="T32" fmla="*/ 2147483647 w 245"/>
                <a:gd name="T33" fmla="*/ 2147483647 h 158"/>
                <a:gd name="T34" fmla="*/ 2147483647 w 245"/>
                <a:gd name="T35" fmla="*/ 2147483647 h 158"/>
                <a:gd name="T36" fmla="*/ 2147483647 w 245"/>
                <a:gd name="T37" fmla="*/ 2147483647 h 1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5"/>
                <a:gd name="T58" fmla="*/ 0 h 158"/>
                <a:gd name="T59" fmla="*/ 245 w 245"/>
                <a:gd name="T60" fmla="*/ 158 h 1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5" h="158">
                  <a:moveTo>
                    <a:pt x="241" y="72"/>
                  </a:moveTo>
                  <a:cubicBezTo>
                    <a:pt x="245" y="83"/>
                    <a:pt x="238" y="93"/>
                    <a:pt x="234" y="98"/>
                  </a:cubicBezTo>
                  <a:cubicBezTo>
                    <a:pt x="230" y="103"/>
                    <a:pt x="213" y="103"/>
                    <a:pt x="210" y="106"/>
                  </a:cubicBezTo>
                  <a:cubicBezTo>
                    <a:pt x="207" y="109"/>
                    <a:pt x="212" y="120"/>
                    <a:pt x="212" y="129"/>
                  </a:cubicBezTo>
                  <a:cubicBezTo>
                    <a:pt x="212" y="136"/>
                    <a:pt x="203" y="148"/>
                    <a:pt x="197" y="158"/>
                  </a:cubicBezTo>
                  <a:cubicBezTo>
                    <a:pt x="183" y="146"/>
                    <a:pt x="183" y="146"/>
                    <a:pt x="183" y="146"/>
                  </a:cubicBezTo>
                  <a:cubicBezTo>
                    <a:pt x="30" y="150"/>
                    <a:pt x="30" y="150"/>
                    <a:pt x="30" y="150"/>
                  </a:cubicBezTo>
                  <a:cubicBezTo>
                    <a:pt x="29" y="147"/>
                    <a:pt x="28" y="144"/>
                    <a:pt x="28" y="142"/>
                  </a:cubicBezTo>
                  <a:cubicBezTo>
                    <a:pt x="28" y="135"/>
                    <a:pt x="31" y="115"/>
                    <a:pt x="28" y="109"/>
                  </a:cubicBezTo>
                  <a:cubicBezTo>
                    <a:pt x="26" y="102"/>
                    <a:pt x="18" y="103"/>
                    <a:pt x="18" y="97"/>
                  </a:cubicBezTo>
                  <a:cubicBezTo>
                    <a:pt x="18" y="91"/>
                    <a:pt x="18" y="82"/>
                    <a:pt x="15" y="75"/>
                  </a:cubicBezTo>
                  <a:cubicBezTo>
                    <a:pt x="12" y="67"/>
                    <a:pt x="0" y="54"/>
                    <a:pt x="1" y="45"/>
                  </a:cubicBezTo>
                  <a:cubicBezTo>
                    <a:pt x="2" y="37"/>
                    <a:pt x="10" y="31"/>
                    <a:pt x="8" y="23"/>
                  </a:cubicBezTo>
                  <a:cubicBezTo>
                    <a:pt x="6" y="15"/>
                    <a:pt x="6" y="12"/>
                    <a:pt x="6" y="2"/>
                  </a:cubicBezTo>
                  <a:cubicBezTo>
                    <a:pt x="200" y="0"/>
                    <a:pt x="200" y="0"/>
                    <a:pt x="200" y="0"/>
                  </a:cubicBezTo>
                  <a:cubicBezTo>
                    <a:pt x="201" y="4"/>
                    <a:pt x="201" y="8"/>
                    <a:pt x="201" y="10"/>
                  </a:cubicBezTo>
                  <a:cubicBezTo>
                    <a:pt x="201" y="16"/>
                    <a:pt x="201" y="28"/>
                    <a:pt x="209" y="39"/>
                  </a:cubicBezTo>
                  <a:cubicBezTo>
                    <a:pt x="211" y="42"/>
                    <a:pt x="214" y="45"/>
                    <a:pt x="217" y="48"/>
                  </a:cubicBezTo>
                  <a:cubicBezTo>
                    <a:pt x="226" y="56"/>
                    <a:pt x="238" y="64"/>
                    <a:pt x="241" y="72"/>
                  </a:cubicBezTo>
                  <a:close/>
                </a:path>
              </a:pathLst>
            </a:custGeom>
            <a:solidFill>
              <a:srgbClr val="66CC33">
                <a:lumMod val="7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1" name="Freeform 436"/>
            <p:cNvSpPr>
              <a:spLocks/>
            </p:cNvSpPr>
            <p:nvPr>
              <p:custDataLst>
                <p:tags r:id="rId38"/>
              </p:custDataLst>
            </p:nvPr>
          </p:nvSpPr>
          <p:spPr bwMode="auto">
            <a:xfrm>
              <a:off x="2223830" y="3418182"/>
              <a:ext cx="688448" cy="360213"/>
            </a:xfrm>
            <a:custGeom>
              <a:avLst/>
              <a:gdLst>
                <a:gd name="T0" fmla="*/ 2147483647 w 345"/>
                <a:gd name="T1" fmla="*/ 2147483647 h 180"/>
                <a:gd name="T2" fmla="*/ 2147483647 w 345"/>
                <a:gd name="T3" fmla="*/ 2147483647 h 180"/>
                <a:gd name="T4" fmla="*/ 2147483647 w 345"/>
                <a:gd name="T5" fmla="*/ 2147483647 h 180"/>
                <a:gd name="T6" fmla="*/ 2147483647 w 345"/>
                <a:gd name="T7" fmla="*/ 2147483647 h 180"/>
                <a:gd name="T8" fmla="*/ 2147483647 w 345"/>
                <a:gd name="T9" fmla="*/ 2147483647 h 180"/>
                <a:gd name="T10" fmla="*/ 2147483647 w 345"/>
                <a:gd name="T11" fmla="*/ 2147483647 h 180"/>
                <a:gd name="T12" fmla="*/ 2147483647 w 345"/>
                <a:gd name="T13" fmla="*/ 2147483647 h 180"/>
                <a:gd name="T14" fmla="*/ 2147483647 w 345"/>
                <a:gd name="T15" fmla="*/ 2147483647 h 180"/>
                <a:gd name="T16" fmla="*/ 2147483647 w 345"/>
                <a:gd name="T17" fmla="*/ 2147483647 h 180"/>
                <a:gd name="T18" fmla="*/ 2147483647 w 345"/>
                <a:gd name="T19" fmla="*/ 2147483647 h 180"/>
                <a:gd name="T20" fmla="*/ 2147483647 w 345"/>
                <a:gd name="T21" fmla="*/ 2147483647 h 180"/>
                <a:gd name="T22" fmla="*/ 2147483647 w 345"/>
                <a:gd name="T23" fmla="*/ 2147483647 h 180"/>
                <a:gd name="T24" fmla="*/ 2147483647 w 345"/>
                <a:gd name="T25" fmla="*/ 2147483647 h 180"/>
                <a:gd name="T26" fmla="*/ 2147483647 w 345"/>
                <a:gd name="T27" fmla="*/ 2147483647 h 180"/>
                <a:gd name="T28" fmla="*/ 2147483647 w 345"/>
                <a:gd name="T29" fmla="*/ 2147483647 h 180"/>
                <a:gd name="T30" fmla="*/ 2147483647 w 345"/>
                <a:gd name="T31" fmla="*/ 2147483647 h 180"/>
                <a:gd name="T32" fmla="*/ 2147483647 w 345"/>
                <a:gd name="T33" fmla="*/ 2147483647 h 180"/>
                <a:gd name="T34" fmla="*/ 2147483647 w 345"/>
                <a:gd name="T35" fmla="*/ 2147483647 h 180"/>
                <a:gd name="T36" fmla="*/ 1672936986 w 345"/>
                <a:gd name="T37" fmla="*/ 2147483647 h 180"/>
                <a:gd name="T38" fmla="*/ 0 w 345"/>
                <a:gd name="T39" fmla="*/ 2147483647 h 180"/>
                <a:gd name="T40" fmla="*/ 1672936986 w 345"/>
                <a:gd name="T41" fmla="*/ 0 h 180"/>
                <a:gd name="T42" fmla="*/ 1672936986 w 345"/>
                <a:gd name="T43" fmla="*/ 0 h 180"/>
                <a:gd name="T44" fmla="*/ 2147483647 w 345"/>
                <a:gd name="T45" fmla="*/ 2147483647 h 180"/>
                <a:gd name="T46" fmla="*/ 2147483647 w 345"/>
                <a:gd name="T47" fmla="*/ 2147483647 h 180"/>
                <a:gd name="T48" fmla="*/ 2147483647 w 345"/>
                <a:gd name="T49" fmla="*/ 2147483647 h 180"/>
                <a:gd name="T50" fmla="*/ 2147483647 w 345"/>
                <a:gd name="T51" fmla="*/ 2147483647 h 180"/>
                <a:gd name="T52" fmla="*/ 2147483647 w 345"/>
                <a:gd name="T53" fmla="*/ 2147483647 h 180"/>
                <a:gd name="T54" fmla="*/ 2147483647 w 345"/>
                <a:gd name="T55" fmla="*/ 2147483647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5"/>
                <a:gd name="T85" fmla="*/ 0 h 180"/>
                <a:gd name="T86" fmla="*/ 345 w 345"/>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5" h="180">
                  <a:moveTo>
                    <a:pt x="345" y="88"/>
                  </a:moveTo>
                  <a:cubicBezTo>
                    <a:pt x="345" y="94"/>
                    <a:pt x="341" y="180"/>
                    <a:pt x="341" y="180"/>
                  </a:cubicBezTo>
                  <a:cubicBezTo>
                    <a:pt x="334" y="174"/>
                    <a:pt x="323" y="166"/>
                    <a:pt x="318" y="166"/>
                  </a:cubicBezTo>
                  <a:cubicBezTo>
                    <a:pt x="312" y="166"/>
                    <a:pt x="309" y="170"/>
                    <a:pt x="303" y="170"/>
                  </a:cubicBezTo>
                  <a:cubicBezTo>
                    <a:pt x="298" y="170"/>
                    <a:pt x="285" y="167"/>
                    <a:pt x="279" y="168"/>
                  </a:cubicBezTo>
                  <a:cubicBezTo>
                    <a:pt x="274" y="170"/>
                    <a:pt x="271" y="180"/>
                    <a:pt x="265" y="176"/>
                  </a:cubicBezTo>
                  <a:cubicBezTo>
                    <a:pt x="259" y="173"/>
                    <a:pt x="257" y="164"/>
                    <a:pt x="253" y="164"/>
                  </a:cubicBezTo>
                  <a:cubicBezTo>
                    <a:pt x="249" y="164"/>
                    <a:pt x="238" y="180"/>
                    <a:pt x="233" y="174"/>
                  </a:cubicBezTo>
                  <a:cubicBezTo>
                    <a:pt x="227" y="169"/>
                    <a:pt x="226" y="165"/>
                    <a:pt x="220" y="164"/>
                  </a:cubicBezTo>
                  <a:cubicBezTo>
                    <a:pt x="214" y="162"/>
                    <a:pt x="211" y="162"/>
                    <a:pt x="209" y="164"/>
                  </a:cubicBezTo>
                  <a:cubicBezTo>
                    <a:pt x="207" y="167"/>
                    <a:pt x="203" y="171"/>
                    <a:pt x="199" y="167"/>
                  </a:cubicBezTo>
                  <a:cubicBezTo>
                    <a:pt x="195" y="163"/>
                    <a:pt x="196" y="155"/>
                    <a:pt x="191" y="154"/>
                  </a:cubicBezTo>
                  <a:cubicBezTo>
                    <a:pt x="185" y="152"/>
                    <a:pt x="181" y="156"/>
                    <a:pt x="175" y="154"/>
                  </a:cubicBezTo>
                  <a:cubicBezTo>
                    <a:pt x="169" y="152"/>
                    <a:pt x="157" y="152"/>
                    <a:pt x="151" y="148"/>
                  </a:cubicBezTo>
                  <a:cubicBezTo>
                    <a:pt x="146" y="144"/>
                    <a:pt x="147" y="138"/>
                    <a:pt x="143" y="136"/>
                  </a:cubicBezTo>
                  <a:cubicBezTo>
                    <a:pt x="140" y="134"/>
                    <a:pt x="135" y="138"/>
                    <a:pt x="131" y="137"/>
                  </a:cubicBezTo>
                  <a:cubicBezTo>
                    <a:pt x="127" y="136"/>
                    <a:pt x="120" y="129"/>
                    <a:pt x="117" y="129"/>
                  </a:cubicBezTo>
                  <a:cubicBezTo>
                    <a:pt x="115" y="129"/>
                    <a:pt x="121" y="32"/>
                    <a:pt x="121" y="32"/>
                  </a:cubicBezTo>
                  <a:cubicBezTo>
                    <a:pt x="9" y="24"/>
                    <a:pt x="9" y="24"/>
                    <a:pt x="9" y="24"/>
                  </a:cubicBezTo>
                  <a:cubicBezTo>
                    <a:pt x="0" y="24"/>
                    <a:pt x="0" y="24"/>
                    <a:pt x="0" y="24"/>
                  </a:cubicBezTo>
                  <a:cubicBezTo>
                    <a:pt x="2" y="0"/>
                    <a:pt x="2" y="0"/>
                    <a:pt x="2" y="0"/>
                  </a:cubicBezTo>
                  <a:cubicBezTo>
                    <a:pt x="2" y="0"/>
                    <a:pt x="2" y="0"/>
                    <a:pt x="2" y="0"/>
                  </a:cubicBezTo>
                  <a:cubicBezTo>
                    <a:pt x="14" y="1"/>
                    <a:pt x="27" y="2"/>
                    <a:pt x="41" y="2"/>
                  </a:cubicBezTo>
                  <a:cubicBezTo>
                    <a:pt x="127" y="8"/>
                    <a:pt x="245" y="11"/>
                    <a:pt x="309" y="12"/>
                  </a:cubicBezTo>
                  <a:cubicBezTo>
                    <a:pt x="337" y="12"/>
                    <a:pt x="337" y="12"/>
                    <a:pt x="337" y="12"/>
                  </a:cubicBezTo>
                  <a:cubicBezTo>
                    <a:pt x="337" y="12"/>
                    <a:pt x="337" y="12"/>
                    <a:pt x="337" y="12"/>
                  </a:cubicBezTo>
                  <a:cubicBezTo>
                    <a:pt x="337" y="24"/>
                    <a:pt x="337" y="33"/>
                    <a:pt x="337" y="35"/>
                  </a:cubicBezTo>
                  <a:cubicBezTo>
                    <a:pt x="337" y="42"/>
                    <a:pt x="345" y="82"/>
                    <a:pt x="345" y="88"/>
                  </a:cubicBezTo>
                  <a:close/>
                </a:path>
              </a:pathLst>
            </a:custGeom>
            <a:solidFill>
              <a:schemeClr val="bg2">
                <a:lumMod val="85000"/>
              </a:scheme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2" name="Freeform 437"/>
            <p:cNvSpPr>
              <a:spLocks/>
            </p:cNvSpPr>
            <p:nvPr>
              <p:custDataLst>
                <p:tags r:id="rId39"/>
              </p:custDataLst>
            </p:nvPr>
          </p:nvSpPr>
          <p:spPr bwMode="auto">
            <a:xfrm>
              <a:off x="2303882" y="3124675"/>
              <a:ext cx="592386" cy="317521"/>
            </a:xfrm>
            <a:custGeom>
              <a:avLst/>
              <a:gdLst>
                <a:gd name="T0" fmla="*/ 2147483647 w 296"/>
                <a:gd name="T1" fmla="*/ 2147483647 h 159"/>
                <a:gd name="T2" fmla="*/ 2147483647 w 296"/>
                <a:gd name="T3" fmla="*/ 2147483647 h 159"/>
                <a:gd name="T4" fmla="*/ 2147483647 w 296"/>
                <a:gd name="T5" fmla="*/ 2147483647 h 159"/>
                <a:gd name="T6" fmla="*/ 2147483647 w 296"/>
                <a:gd name="T7" fmla="*/ 2147483647 h 159"/>
                <a:gd name="T8" fmla="*/ 0 w 296"/>
                <a:gd name="T9" fmla="*/ 2147483647 h 159"/>
                <a:gd name="T10" fmla="*/ 2147483647 w 296"/>
                <a:gd name="T11" fmla="*/ 0 h 159"/>
                <a:gd name="T12" fmla="*/ 2147483647 w 296"/>
                <a:gd name="T13" fmla="*/ 1677031230 h 159"/>
                <a:gd name="T14" fmla="*/ 2147483647 w 296"/>
                <a:gd name="T15" fmla="*/ 1677031230 h 159"/>
                <a:gd name="T16" fmla="*/ 2147483647 w 296"/>
                <a:gd name="T17" fmla="*/ 1677031230 h 159"/>
                <a:gd name="T18" fmla="*/ 2147483647 w 296"/>
                <a:gd name="T19" fmla="*/ 2147483647 h 159"/>
                <a:gd name="T20" fmla="*/ 2147483647 w 296"/>
                <a:gd name="T21" fmla="*/ 2147483647 h 159"/>
                <a:gd name="T22" fmla="*/ 2147483647 w 296"/>
                <a:gd name="T23" fmla="*/ 2147483647 h 1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59"/>
                <a:gd name="T38" fmla="*/ 296 w 296"/>
                <a:gd name="T39" fmla="*/ 159 h 15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59">
                  <a:moveTo>
                    <a:pt x="296" y="53"/>
                  </a:moveTo>
                  <a:cubicBezTo>
                    <a:pt x="296" y="57"/>
                    <a:pt x="296" y="122"/>
                    <a:pt x="296" y="159"/>
                  </a:cubicBezTo>
                  <a:cubicBezTo>
                    <a:pt x="296" y="159"/>
                    <a:pt x="296" y="159"/>
                    <a:pt x="296" y="159"/>
                  </a:cubicBezTo>
                  <a:cubicBezTo>
                    <a:pt x="268" y="159"/>
                    <a:pt x="268" y="159"/>
                    <a:pt x="268" y="159"/>
                  </a:cubicBezTo>
                  <a:cubicBezTo>
                    <a:pt x="204" y="158"/>
                    <a:pt x="86" y="155"/>
                    <a:pt x="0" y="149"/>
                  </a:cubicBezTo>
                  <a:cubicBezTo>
                    <a:pt x="10" y="0"/>
                    <a:pt x="10" y="0"/>
                    <a:pt x="10" y="0"/>
                  </a:cubicBezTo>
                  <a:cubicBezTo>
                    <a:pt x="89" y="5"/>
                    <a:pt x="210" y="9"/>
                    <a:pt x="269" y="9"/>
                  </a:cubicBezTo>
                  <a:cubicBezTo>
                    <a:pt x="269" y="8"/>
                    <a:pt x="269" y="8"/>
                    <a:pt x="269" y="8"/>
                  </a:cubicBezTo>
                  <a:cubicBezTo>
                    <a:pt x="272" y="9"/>
                    <a:pt x="275" y="8"/>
                    <a:pt x="278" y="8"/>
                  </a:cubicBezTo>
                  <a:cubicBezTo>
                    <a:pt x="281" y="8"/>
                    <a:pt x="284" y="13"/>
                    <a:pt x="288" y="17"/>
                  </a:cubicBezTo>
                  <a:cubicBezTo>
                    <a:pt x="292" y="22"/>
                    <a:pt x="278" y="29"/>
                    <a:pt x="279" y="33"/>
                  </a:cubicBezTo>
                  <a:cubicBezTo>
                    <a:pt x="280" y="38"/>
                    <a:pt x="295" y="45"/>
                    <a:pt x="296" y="53"/>
                  </a:cubicBezTo>
                  <a:close/>
                </a:path>
              </a:pathLst>
            </a:custGeom>
            <a:solidFill>
              <a:srgbClr val="FFFFFF">
                <a:lumMod val="8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3" name="Freeform 438"/>
            <p:cNvSpPr>
              <a:spLocks/>
            </p:cNvSpPr>
            <p:nvPr>
              <p:custDataLst>
                <p:tags r:id="rId40"/>
              </p:custDataLst>
            </p:nvPr>
          </p:nvSpPr>
          <p:spPr bwMode="auto">
            <a:xfrm>
              <a:off x="2181135" y="2815158"/>
              <a:ext cx="661764" cy="328194"/>
            </a:xfrm>
            <a:custGeom>
              <a:avLst/>
              <a:gdLst>
                <a:gd name="T0" fmla="*/ 2147483647 w 331"/>
                <a:gd name="T1" fmla="*/ 2147483647 h 164"/>
                <a:gd name="T2" fmla="*/ 2147483647 w 331"/>
                <a:gd name="T3" fmla="*/ 2147483647 h 164"/>
                <a:gd name="T4" fmla="*/ 2147483647 w 331"/>
                <a:gd name="T5" fmla="*/ 2147483647 h 164"/>
                <a:gd name="T6" fmla="*/ 0 w 331"/>
                <a:gd name="T7" fmla="*/ 2147483647 h 164"/>
                <a:gd name="T8" fmla="*/ 1682119527 w 331"/>
                <a:gd name="T9" fmla="*/ 0 h 164"/>
                <a:gd name="T10" fmla="*/ 2147483647 w 331"/>
                <a:gd name="T11" fmla="*/ 2147483647 h 164"/>
                <a:gd name="T12" fmla="*/ 2147483647 w 331"/>
                <a:gd name="T13" fmla="*/ 2147483647 h 164"/>
                <a:gd name="T14" fmla="*/ 2147483647 w 331"/>
                <a:gd name="T15" fmla="*/ 2147483647 h 164"/>
                <a:gd name="T16" fmla="*/ 2147483647 w 331"/>
                <a:gd name="T17" fmla="*/ 2147483647 h 164"/>
                <a:gd name="T18" fmla="*/ 2147483647 w 331"/>
                <a:gd name="T19" fmla="*/ 2147483647 h 164"/>
                <a:gd name="T20" fmla="*/ 2147483647 w 331"/>
                <a:gd name="T21" fmla="*/ 2147483647 h 164"/>
                <a:gd name="T22" fmla="*/ 2147483647 w 331"/>
                <a:gd name="T23" fmla="*/ 2147483647 h 164"/>
                <a:gd name="T24" fmla="*/ 2147483647 w 331"/>
                <a:gd name="T25" fmla="*/ 2147483647 h 164"/>
                <a:gd name="T26" fmla="*/ 2147483647 w 331"/>
                <a:gd name="T27" fmla="*/ 2147483647 h 164"/>
                <a:gd name="T28" fmla="*/ 2147483647 w 331"/>
                <a:gd name="T29" fmla="*/ 2147483647 h 164"/>
                <a:gd name="T30" fmla="*/ 2147483647 w 331"/>
                <a:gd name="T31" fmla="*/ 2147483647 h 164"/>
                <a:gd name="T32" fmla="*/ 2147483647 w 331"/>
                <a:gd name="T33" fmla="*/ 2147483647 h 164"/>
                <a:gd name="T34" fmla="*/ 2147483647 w 331"/>
                <a:gd name="T35" fmla="*/ 2147483647 h 1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1"/>
                <a:gd name="T55" fmla="*/ 0 h 164"/>
                <a:gd name="T56" fmla="*/ 331 w 331"/>
                <a:gd name="T57" fmla="*/ 164 h 1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1" h="164">
                  <a:moveTo>
                    <a:pt x="331" y="164"/>
                  </a:moveTo>
                  <a:cubicBezTo>
                    <a:pt x="272" y="164"/>
                    <a:pt x="151" y="160"/>
                    <a:pt x="72" y="155"/>
                  </a:cubicBezTo>
                  <a:cubicBezTo>
                    <a:pt x="75" y="104"/>
                    <a:pt x="75" y="104"/>
                    <a:pt x="75" y="104"/>
                  </a:cubicBezTo>
                  <a:cubicBezTo>
                    <a:pt x="0" y="96"/>
                    <a:pt x="0" y="96"/>
                    <a:pt x="0" y="96"/>
                  </a:cubicBezTo>
                  <a:cubicBezTo>
                    <a:pt x="11" y="0"/>
                    <a:pt x="11" y="0"/>
                    <a:pt x="11" y="0"/>
                  </a:cubicBezTo>
                  <a:cubicBezTo>
                    <a:pt x="75" y="6"/>
                    <a:pt x="178" y="10"/>
                    <a:pt x="213" y="11"/>
                  </a:cubicBezTo>
                  <a:cubicBezTo>
                    <a:pt x="213" y="11"/>
                    <a:pt x="224" y="26"/>
                    <a:pt x="234" y="24"/>
                  </a:cubicBezTo>
                  <a:cubicBezTo>
                    <a:pt x="244" y="23"/>
                    <a:pt x="246" y="19"/>
                    <a:pt x="255" y="20"/>
                  </a:cubicBezTo>
                  <a:cubicBezTo>
                    <a:pt x="264" y="20"/>
                    <a:pt x="268" y="24"/>
                    <a:pt x="272" y="26"/>
                  </a:cubicBezTo>
                  <a:cubicBezTo>
                    <a:pt x="283" y="30"/>
                    <a:pt x="283" y="30"/>
                    <a:pt x="283" y="30"/>
                  </a:cubicBezTo>
                  <a:cubicBezTo>
                    <a:pt x="282" y="39"/>
                    <a:pt x="294" y="52"/>
                    <a:pt x="297" y="60"/>
                  </a:cubicBezTo>
                  <a:cubicBezTo>
                    <a:pt x="300" y="67"/>
                    <a:pt x="300" y="76"/>
                    <a:pt x="300" y="82"/>
                  </a:cubicBezTo>
                  <a:cubicBezTo>
                    <a:pt x="300" y="88"/>
                    <a:pt x="308" y="87"/>
                    <a:pt x="310" y="94"/>
                  </a:cubicBezTo>
                  <a:cubicBezTo>
                    <a:pt x="313" y="100"/>
                    <a:pt x="310" y="120"/>
                    <a:pt x="310" y="127"/>
                  </a:cubicBezTo>
                  <a:cubicBezTo>
                    <a:pt x="310" y="129"/>
                    <a:pt x="311" y="132"/>
                    <a:pt x="312" y="135"/>
                  </a:cubicBezTo>
                  <a:cubicBezTo>
                    <a:pt x="316" y="144"/>
                    <a:pt x="324" y="157"/>
                    <a:pt x="327" y="160"/>
                  </a:cubicBezTo>
                  <a:cubicBezTo>
                    <a:pt x="328" y="161"/>
                    <a:pt x="330" y="162"/>
                    <a:pt x="331" y="163"/>
                  </a:cubicBezTo>
                  <a:lnTo>
                    <a:pt x="331" y="164"/>
                  </a:lnTo>
                  <a:close/>
                </a:path>
              </a:pathLst>
            </a:custGeom>
            <a:solidFill>
              <a:srgbClr val="4D9926"/>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4" name="Freeform 439"/>
            <p:cNvSpPr>
              <a:spLocks/>
            </p:cNvSpPr>
            <p:nvPr>
              <p:custDataLst>
                <p:tags r:id="rId41"/>
              </p:custDataLst>
            </p:nvPr>
          </p:nvSpPr>
          <p:spPr bwMode="auto">
            <a:xfrm>
              <a:off x="2202482" y="2518981"/>
              <a:ext cx="563034" cy="357546"/>
            </a:xfrm>
            <a:custGeom>
              <a:avLst/>
              <a:gdLst>
                <a:gd name="T0" fmla="*/ 2147483647 w 281"/>
                <a:gd name="T1" fmla="*/ 2147483647 h 179"/>
                <a:gd name="T2" fmla="*/ 2147483647 w 281"/>
                <a:gd name="T3" fmla="*/ 2147483647 h 179"/>
                <a:gd name="T4" fmla="*/ 2147483647 w 281"/>
                <a:gd name="T5" fmla="*/ 2147483647 h 179"/>
                <a:gd name="T6" fmla="*/ 2147483647 w 281"/>
                <a:gd name="T7" fmla="*/ 2147483647 h 179"/>
                <a:gd name="T8" fmla="*/ 2147483647 w 281"/>
                <a:gd name="T9" fmla="*/ 2147483647 h 179"/>
                <a:gd name="T10" fmla="*/ 2147483647 w 281"/>
                <a:gd name="T11" fmla="*/ 2147483647 h 179"/>
                <a:gd name="T12" fmla="*/ 0 w 281"/>
                <a:gd name="T13" fmla="*/ 2147483647 h 179"/>
                <a:gd name="T14" fmla="*/ 2147483647 w 281"/>
                <a:gd name="T15" fmla="*/ 2147483647 h 179"/>
                <a:gd name="T16" fmla="*/ 2147483647 w 281"/>
                <a:gd name="T17" fmla="*/ 0 h 179"/>
                <a:gd name="T18" fmla="*/ 2147483647 w 281"/>
                <a:gd name="T19" fmla="*/ 2147483647 h 179"/>
                <a:gd name="T20" fmla="*/ 2147483647 w 281"/>
                <a:gd name="T21" fmla="*/ 2147483647 h 179"/>
                <a:gd name="T22" fmla="*/ 2147483647 w 281"/>
                <a:gd name="T23" fmla="*/ 2147483647 h 179"/>
                <a:gd name="T24" fmla="*/ 2147483647 w 281"/>
                <a:gd name="T25" fmla="*/ 2147483647 h 179"/>
                <a:gd name="T26" fmla="*/ 2147483647 w 281"/>
                <a:gd name="T27" fmla="*/ 2147483647 h 1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1"/>
                <a:gd name="T43" fmla="*/ 0 h 179"/>
                <a:gd name="T44" fmla="*/ 281 w 281"/>
                <a:gd name="T45" fmla="*/ 179 h 1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1" h="179">
                  <a:moveTo>
                    <a:pt x="279" y="157"/>
                  </a:moveTo>
                  <a:cubicBezTo>
                    <a:pt x="281" y="165"/>
                    <a:pt x="273" y="171"/>
                    <a:pt x="272" y="179"/>
                  </a:cubicBezTo>
                  <a:cubicBezTo>
                    <a:pt x="261" y="175"/>
                    <a:pt x="261" y="175"/>
                    <a:pt x="261" y="175"/>
                  </a:cubicBezTo>
                  <a:cubicBezTo>
                    <a:pt x="257" y="173"/>
                    <a:pt x="253" y="169"/>
                    <a:pt x="244" y="169"/>
                  </a:cubicBezTo>
                  <a:cubicBezTo>
                    <a:pt x="235" y="168"/>
                    <a:pt x="233" y="172"/>
                    <a:pt x="223" y="173"/>
                  </a:cubicBezTo>
                  <a:cubicBezTo>
                    <a:pt x="213" y="175"/>
                    <a:pt x="202" y="160"/>
                    <a:pt x="202" y="160"/>
                  </a:cubicBezTo>
                  <a:cubicBezTo>
                    <a:pt x="167" y="159"/>
                    <a:pt x="64" y="155"/>
                    <a:pt x="0" y="149"/>
                  </a:cubicBezTo>
                  <a:cubicBezTo>
                    <a:pt x="11" y="45"/>
                    <a:pt x="11" y="45"/>
                    <a:pt x="11" y="45"/>
                  </a:cubicBezTo>
                  <a:cubicBezTo>
                    <a:pt x="16" y="0"/>
                    <a:pt x="16" y="0"/>
                    <a:pt x="16" y="0"/>
                  </a:cubicBezTo>
                  <a:cubicBezTo>
                    <a:pt x="95" y="9"/>
                    <a:pt x="223" y="16"/>
                    <a:pt x="278" y="17"/>
                  </a:cubicBezTo>
                  <a:cubicBezTo>
                    <a:pt x="276" y="23"/>
                    <a:pt x="267" y="26"/>
                    <a:pt x="267" y="31"/>
                  </a:cubicBezTo>
                  <a:cubicBezTo>
                    <a:pt x="267" y="38"/>
                    <a:pt x="280" y="43"/>
                    <a:pt x="280" y="48"/>
                  </a:cubicBezTo>
                  <a:cubicBezTo>
                    <a:pt x="280" y="53"/>
                    <a:pt x="277" y="126"/>
                    <a:pt x="277" y="136"/>
                  </a:cubicBezTo>
                  <a:cubicBezTo>
                    <a:pt x="277" y="146"/>
                    <a:pt x="277" y="149"/>
                    <a:pt x="279" y="157"/>
                  </a:cubicBezTo>
                  <a:close/>
                </a:path>
              </a:pathLst>
            </a:custGeom>
            <a:solidFill>
              <a:srgbClr val="66CC33">
                <a:lumMod val="7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5" name="Freeform 441"/>
            <p:cNvSpPr>
              <a:spLocks/>
            </p:cNvSpPr>
            <p:nvPr>
              <p:custDataLst>
                <p:tags r:id="rId42"/>
              </p:custDataLst>
            </p:nvPr>
          </p:nvSpPr>
          <p:spPr bwMode="auto">
            <a:xfrm>
              <a:off x="1899148" y="3466211"/>
              <a:ext cx="1094083" cy="1017612"/>
            </a:xfrm>
            <a:custGeom>
              <a:avLst/>
              <a:gdLst>
                <a:gd name="T0" fmla="*/ 2147483647 w 558"/>
                <a:gd name="T1" fmla="*/ 2147483647 h 545"/>
                <a:gd name="T2" fmla="*/ 2147483647 w 558"/>
                <a:gd name="T3" fmla="*/ 2147483647 h 545"/>
                <a:gd name="T4" fmla="*/ 2147483647 w 558"/>
                <a:gd name="T5" fmla="*/ 2147483647 h 545"/>
                <a:gd name="T6" fmla="*/ 2147483647 w 558"/>
                <a:gd name="T7" fmla="*/ 2147483647 h 545"/>
                <a:gd name="T8" fmla="*/ 2147483647 w 558"/>
                <a:gd name="T9" fmla="*/ 2147483647 h 545"/>
                <a:gd name="T10" fmla="*/ 2147483647 w 558"/>
                <a:gd name="T11" fmla="*/ 2147483647 h 545"/>
                <a:gd name="T12" fmla="*/ 2147483647 w 558"/>
                <a:gd name="T13" fmla="*/ 2147483647 h 545"/>
                <a:gd name="T14" fmla="*/ 2147483647 w 558"/>
                <a:gd name="T15" fmla="*/ 2147483647 h 545"/>
                <a:gd name="T16" fmla="*/ 2147483647 w 558"/>
                <a:gd name="T17" fmla="*/ 2147483647 h 545"/>
                <a:gd name="T18" fmla="*/ 2147483647 w 558"/>
                <a:gd name="T19" fmla="*/ 2147483647 h 545"/>
                <a:gd name="T20" fmla="*/ 2147483647 w 558"/>
                <a:gd name="T21" fmla="*/ 2147483647 h 545"/>
                <a:gd name="T22" fmla="*/ 2147483647 w 558"/>
                <a:gd name="T23" fmla="*/ 2147483647 h 545"/>
                <a:gd name="T24" fmla="*/ 2147483647 w 558"/>
                <a:gd name="T25" fmla="*/ 2147483647 h 545"/>
                <a:gd name="T26" fmla="*/ 2147483647 w 558"/>
                <a:gd name="T27" fmla="*/ 2147483647 h 545"/>
                <a:gd name="T28" fmla="*/ 2147483647 w 558"/>
                <a:gd name="T29" fmla="*/ 2147483647 h 545"/>
                <a:gd name="T30" fmla="*/ 2147483647 w 558"/>
                <a:gd name="T31" fmla="*/ 2147483647 h 545"/>
                <a:gd name="T32" fmla="*/ 2147483647 w 558"/>
                <a:gd name="T33" fmla="*/ 2147483647 h 545"/>
                <a:gd name="T34" fmla="*/ 2147483647 w 558"/>
                <a:gd name="T35" fmla="*/ 2147483647 h 545"/>
                <a:gd name="T36" fmla="*/ 2147483647 w 558"/>
                <a:gd name="T37" fmla="*/ 2147483647 h 545"/>
                <a:gd name="T38" fmla="*/ 2147483647 w 558"/>
                <a:gd name="T39" fmla="*/ 2147483647 h 545"/>
                <a:gd name="T40" fmla="*/ 2147483647 w 558"/>
                <a:gd name="T41" fmla="*/ 2147483647 h 545"/>
                <a:gd name="T42" fmla="*/ 2147483647 w 558"/>
                <a:gd name="T43" fmla="*/ 2147483647 h 545"/>
                <a:gd name="T44" fmla="*/ 0 w 558"/>
                <a:gd name="T45" fmla="*/ 2147483647 h 545"/>
                <a:gd name="T46" fmla="*/ 2147483647 w 558"/>
                <a:gd name="T47" fmla="*/ 2147483647 h 545"/>
                <a:gd name="T48" fmla="*/ 2147483647 w 558"/>
                <a:gd name="T49" fmla="*/ 0 h 545"/>
                <a:gd name="T50" fmla="*/ 2147483647 w 558"/>
                <a:gd name="T51" fmla="*/ 2147483647 h 545"/>
                <a:gd name="T52" fmla="*/ 2147483647 w 558"/>
                <a:gd name="T53" fmla="*/ 2147483647 h 545"/>
                <a:gd name="T54" fmla="*/ 2147483647 w 558"/>
                <a:gd name="T55" fmla="*/ 2147483647 h 545"/>
                <a:gd name="T56" fmla="*/ 2147483647 w 558"/>
                <a:gd name="T57" fmla="*/ 2147483647 h 545"/>
                <a:gd name="T58" fmla="*/ 2147483647 w 558"/>
                <a:gd name="T59" fmla="*/ 2147483647 h 545"/>
                <a:gd name="T60" fmla="*/ 2147483647 w 558"/>
                <a:gd name="T61" fmla="*/ 2147483647 h 545"/>
                <a:gd name="T62" fmla="*/ 2147483647 w 558"/>
                <a:gd name="T63" fmla="*/ 2147483647 h 545"/>
                <a:gd name="T64" fmla="*/ 2147483647 w 558"/>
                <a:gd name="T65" fmla="*/ 2147483647 h 545"/>
                <a:gd name="T66" fmla="*/ 2147483647 w 558"/>
                <a:gd name="T67" fmla="*/ 2147483647 h 545"/>
                <a:gd name="T68" fmla="*/ 2147483647 w 558"/>
                <a:gd name="T69" fmla="*/ 2147483647 h 545"/>
                <a:gd name="T70" fmla="*/ 2147483647 w 558"/>
                <a:gd name="T71" fmla="*/ 2147483647 h 5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8"/>
                <a:gd name="T109" fmla="*/ 0 h 545"/>
                <a:gd name="T110" fmla="*/ 558 w 558"/>
                <a:gd name="T111" fmla="*/ 545 h 5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8" h="545">
                  <a:moveTo>
                    <a:pt x="554" y="281"/>
                  </a:moveTo>
                  <a:cubicBezTo>
                    <a:pt x="558" y="289"/>
                    <a:pt x="548" y="304"/>
                    <a:pt x="544" y="310"/>
                  </a:cubicBezTo>
                  <a:cubicBezTo>
                    <a:pt x="541" y="315"/>
                    <a:pt x="547" y="318"/>
                    <a:pt x="548" y="325"/>
                  </a:cubicBezTo>
                  <a:cubicBezTo>
                    <a:pt x="550" y="332"/>
                    <a:pt x="542" y="337"/>
                    <a:pt x="540" y="342"/>
                  </a:cubicBezTo>
                  <a:cubicBezTo>
                    <a:pt x="538" y="345"/>
                    <a:pt x="540" y="350"/>
                    <a:pt x="541" y="355"/>
                  </a:cubicBezTo>
                  <a:cubicBezTo>
                    <a:pt x="539" y="356"/>
                    <a:pt x="525" y="358"/>
                    <a:pt x="520" y="359"/>
                  </a:cubicBezTo>
                  <a:cubicBezTo>
                    <a:pt x="515" y="361"/>
                    <a:pt x="500" y="361"/>
                    <a:pt x="503" y="357"/>
                  </a:cubicBezTo>
                  <a:cubicBezTo>
                    <a:pt x="504" y="356"/>
                    <a:pt x="507" y="349"/>
                    <a:pt x="505" y="347"/>
                  </a:cubicBezTo>
                  <a:cubicBezTo>
                    <a:pt x="502" y="345"/>
                    <a:pt x="499" y="347"/>
                    <a:pt x="496" y="350"/>
                  </a:cubicBezTo>
                  <a:cubicBezTo>
                    <a:pt x="493" y="353"/>
                    <a:pt x="490" y="358"/>
                    <a:pt x="491" y="362"/>
                  </a:cubicBezTo>
                  <a:cubicBezTo>
                    <a:pt x="492" y="366"/>
                    <a:pt x="495" y="370"/>
                    <a:pt x="497" y="370"/>
                  </a:cubicBezTo>
                  <a:cubicBezTo>
                    <a:pt x="499" y="370"/>
                    <a:pt x="503" y="366"/>
                    <a:pt x="506" y="366"/>
                  </a:cubicBezTo>
                  <a:cubicBezTo>
                    <a:pt x="509" y="366"/>
                    <a:pt x="509" y="370"/>
                    <a:pt x="508" y="371"/>
                  </a:cubicBezTo>
                  <a:cubicBezTo>
                    <a:pt x="506" y="373"/>
                    <a:pt x="494" y="381"/>
                    <a:pt x="488" y="384"/>
                  </a:cubicBezTo>
                  <a:cubicBezTo>
                    <a:pt x="482" y="387"/>
                    <a:pt x="473" y="397"/>
                    <a:pt x="468" y="400"/>
                  </a:cubicBezTo>
                  <a:cubicBezTo>
                    <a:pt x="464" y="402"/>
                    <a:pt x="460" y="401"/>
                    <a:pt x="457" y="401"/>
                  </a:cubicBezTo>
                  <a:cubicBezTo>
                    <a:pt x="453" y="401"/>
                    <a:pt x="446" y="406"/>
                    <a:pt x="444" y="407"/>
                  </a:cubicBezTo>
                  <a:cubicBezTo>
                    <a:pt x="441" y="408"/>
                    <a:pt x="441" y="398"/>
                    <a:pt x="432" y="404"/>
                  </a:cubicBezTo>
                  <a:cubicBezTo>
                    <a:pt x="430" y="406"/>
                    <a:pt x="421" y="398"/>
                    <a:pt x="418" y="401"/>
                  </a:cubicBezTo>
                  <a:cubicBezTo>
                    <a:pt x="415" y="405"/>
                    <a:pt x="429" y="413"/>
                    <a:pt x="429" y="416"/>
                  </a:cubicBezTo>
                  <a:cubicBezTo>
                    <a:pt x="428" y="419"/>
                    <a:pt x="422" y="419"/>
                    <a:pt x="419" y="420"/>
                  </a:cubicBezTo>
                  <a:cubicBezTo>
                    <a:pt x="417" y="420"/>
                    <a:pt x="414" y="413"/>
                    <a:pt x="411" y="415"/>
                  </a:cubicBezTo>
                  <a:cubicBezTo>
                    <a:pt x="407" y="416"/>
                    <a:pt x="411" y="420"/>
                    <a:pt x="411" y="424"/>
                  </a:cubicBezTo>
                  <a:cubicBezTo>
                    <a:pt x="411" y="428"/>
                    <a:pt x="411" y="429"/>
                    <a:pt x="409" y="431"/>
                  </a:cubicBezTo>
                  <a:cubicBezTo>
                    <a:pt x="407" y="432"/>
                    <a:pt x="403" y="426"/>
                    <a:pt x="401" y="427"/>
                  </a:cubicBezTo>
                  <a:cubicBezTo>
                    <a:pt x="398" y="428"/>
                    <a:pt x="399" y="433"/>
                    <a:pt x="399" y="435"/>
                  </a:cubicBezTo>
                  <a:cubicBezTo>
                    <a:pt x="399" y="438"/>
                    <a:pt x="397" y="442"/>
                    <a:pt x="395" y="444"/>
                  </a:cubicBezTo>
                  <a:cubicBezTo>
                    <a:pt x="394" y="446"/>
                    <a:pt x="391" y="441"/>
                    <a:pt x="390" y="441"/>
                  </a:cubicBezTo>
                  <a:cubicBezTo>
                    <a:pt x="388" y="441"/>
                    <a:pt x="385" y="442"/>
                    <a:pt x="383" y="446"/>
                  </a:cubicBezTo>
                  <a:cubicBezTo>
                    <a:pt x="381" y="451"/>
                    <a:pt x="391" y="452"/>
                    <a:pt x="390" y="455"/>
                  </a:cubicBezTo>
                  <a:cubicBezTo>
                    <a:pt x="390" y="458"/>
                    <a:pt x="388" y="459"/>
                    <a:pt x="385" y="464"/>
                  </a:cubicBezTo>
                  <a:cubicBezTo>
                    <a:pt x="384" y="468"/>
                    <a:pt x="381" y="485"/>
                    <a:pt x="378" y="491"/>
                  </a:cubicBezTo>
                  <a:cubicBezTo>
                    <a:pt x="375" y="497"/>
                    <a:pt x="391" y="531"/>
                    <a:pt x="394" y="539"/>
                  </a:cubicBezTo>
                  <a:cubicBezTo>
                    <a:pt x="394" y="539"/>
                    <a:pt x="388" y="545"/>
                    <a:pt x="380" y="545"/>
                  </a:cubicBezTo>
                  <a:cubicBezTo>
                    <a:pt x="373" y="545"/>
                    <a:pt x="368" y="539"/>
                    <a:pt x="359" y="535"/>
                  </a:cubicBezTo>
                  <a:cubicBezTo>
                    <a:pt x="349" y="532"/>
                    <a:pt x="315" y="520"/>
                    <a:pt x="310" y="512"/>
                  </a:cubicBezTo>
                  <a:cubicBezTo>
                    <a:pt x="304" y="504"/>
                    <a:pt x="295" y="465"/>
                    <a:pt x="291" y="456"/>
                  </a:cubicBezTo>
                  <a:cubicBezTo>
                    <a:pt x="286" y="447"/>
                    <a:pt x="266" y="433"/>
                    <a:pt x="257" y="416"/>
                  </a:cubicBezTo>
                  <a:cubicBezTo>
                    <a:pt x="249" y="399"/>
                    <a:pt x="245" y="380"/>
                    <a:pt x="237" y="371"/>
                  </a:cubicBezTo>
                  <a:cubicBezTo>
                    <a:pt x="228" y="362"/>
                    <a:pt x="219" y="345"/>
                    <a:pt x="212" y="341"/>
                  </a:cubicBezTo>
                  <a:cubicBezTo>
                    <a:pt x="204" y="337"/>
                    <a:pt x="171" y="340"/>
                    <a:pt x="163" y="340"/>
                  </a:cubicBezTo>
                  <a:cubicBezTo>
                    <a:pt x="154" y="340"/>
                    <a:pt x="145" y="377"/>
                    <a:pt x="135" y="376"/>
                  </a:cubicBezTo>
                  <a:cubicBezTo>
                    <a:pt x="125" y="375"/>
                    <a:pt x="86" y="355"/>
                    <a:pt x="80" y="341"/>
                  </a:cubicBezTo>
                  <a:cubicBezTo>
                    <a:pt x="73" y="328"/>
                    <a:pt x="73" y="296"/>
                    <a:pt x="62" y="285"/>
                  </a:cubicBezTo>
                  <a:cubicBezTo>
                    <a:pt x="52" y="274"/>
                    <a:pt x="10" y="226"/>
                    <a:pt x="5" y="224"/>
                  </a:cubicBezTo>
                  <a:cubicBezTo>
                    <a:pt x="5" y="223"/>
                    <a:pt x="3" y="223"/>
                    <a:pt x="0" y="222"/>
                  </a:cubicBezTo>
                  <a:cubicBezTo>
                    <a:pt x="2" y="206"/>
                    <a:pt x="2" y="206"/>
                    <a:pt x="2" y="206"/>
                  </a:cubicBezTo>
                  <a:cubicBezTo>
                    <a:pt x="149" y="221"/>
                    <a:pt x="149" y="221"/>
                    <a:pt x="149" y="221"/>
                  </a:cubicBezTo>
                  <a:cubicBezTo>
                    <a:pt x="169" y="0"/>
                    <a:pt x="169" y="0"/>
                    <a:pt x="169" y="0"/>
                  </a:cubicBezTo>
                  <a:cubicBezTo>
                    <a:pt x="178" y="0"/>
                    <a:pt x="178" y="0"/>
                    <a:pt x="178" y="0"/>
                  </a:cubicBezTo>
                  <a:cubicBezTo>
                    <a:pt x="290" y="8"/>
                    <a:pt x="290" y="8"/>
                    <a:pt x="290" y="8"/>
                  </a:cubicBezTo>
                  <a:cubicBezTo>
                    <a:pt x="290" y="8"/>
                    <a:pt x="284" y="105"/>
                    <a:pt x="286" y="105"/>
                  </a:cubicBezTo>
                  <a:cubicBezTo>
                    <a:pt x="289" y="105"/>
                    <a:pt x="296" y="112"/>
                    <a:pt x="300" y="113"/>
                  </a:cubicBezTo>
                  <a:cubicBezTo>
                    <a:pt x="304" y="114"/>
                    <a:pt x="309" y="110"/>
                    <a:pt x="312" y="112"/>
                  </a:cubicBezTo>
                  <a:cubicBezTo>
                    <a:pt x="316" y="114"/>
                    <a:pt x="315" y="120"/>
                    <a:pt x="320" y="124"/>
                  </a:cubicBezTo>
                  <a:cubicBezTo>
                    <a:pt x="326" y="128"/>
                    <a:pt x="338" y="128"/>
                    <a:pt x="344" y="130"/>
                  </a:cubicBezTo>
                  <a:cubicBezTo>
                    <a:pt x="350" y="132"/>
                    <a:pt x="354" y="128"/>
                    <a:pt x="360" y="130"/>
                  </a:cubicBezTo>
                  <a:cubicBezTo>
                    <a:pt x="365" y="131"/>
                    <a:pt x="364" y="139"/>
                    <a:pt x="368" y="143"/>
                  </a:cubicBezTo>
                  <a:cubicBezTo>
                    <a:pt x="372" y="147"/>
                    <a:pt x="376" y="143"/>
                    <a:pt x="378" y="140"/>
                  </a:cubicBezTo>
                  <a:cubicBezTo>
                    <a:pt x="380" y="138"/>
                    <a:pt x="383" y="138"/>
                    <a:pt x="389" y="140"/>
                  </a:cubicBezTo>
                  <a:cubicBezTo>
                    <a:pt x="395" y="141"/>
                    <a:pt x="396" y="145"/>
                    <a:pt x="402" y="150"/>
                  </a:cubicBezTo>
                  <a:cubicBezTo>
                    <a:pt x="407" y="156"/>
                    <a:pt x="418" y="140"/>
                    <a:pt x="422" y="140"/>
                  </a:cubicBezTo>
                  <a:cubicBezTo>
                    <a:pt x="426" y="140"/>
                    <a:pt x="428" y="149"/>
                    <a:pt x="434" y="152"/>
                  </a:cubicBezTo>
                  <a:cubicBezTo>
                    <a:pt x="440" y="156"/>
                    <a:pt x="443" y="146"/>
                    <a:pt x="448" y="144"/>
                  </a:cubicBezTo>
                  <a:cubicBezTo>
                    <a:pt x="454" y="143"/>
                    <a:pt x="467" y="146"/>
                    <a:pt x="472" y="146"/>
                  </a:cubicBezTo>
                  <a:cubicBezTo>
                    <a:pt x="478" y="146"/>
                    <a:pt x="481" y="142"/>
                    <a:pt x="487" y="142"/>
                  </a:cubicBezTo>
                  <a:cubicBezTo>
                    <a:pt x="492" y="142"/>
                    <a:pt x="503" y="150"/>
                    <a:pt x="510" y="156"/>
                  </a:cubicBezTo>
                  <a:cubicBezTo>
                    <a:pt x="512" y="157"/>
                    <a:pt x="513" y="158"/>
                    <a:pt x="514" y="159"/>
                  </a:cubicBezTo>
                  <a:cubicBezTo>
                    <a:pt x="520" y="164"/>
                    <a:pt x="528" y="158"/>
                    <a:pt x="530" y="159"/>
                  </a:cubicBezTo>
                  <a:cubicBezTo>
                    <a:pt x="531" y="159"/>
                    <a:pt x="532" y="171"/>
                    <a:pt x="532" y="186"/>
                  </a:cubicBezTo>
                  <a:cubicBezTo>
                    <a:pt x="532" y="209"/>
                    <a:pt x="532" y="237"/>
                    <a:pt x="532" y="237"/>
                  </a:cubicBezTo>
                  <a:cubicBezTo>
                    <a:pt x="532" y="237"/>
                    <a:pt x="538" y="251"/>
                    <a:pt x="540" y="258"/>
                  </a:cubicBezTo>
                  <a:cubicBezTo>
                    <a:pt x="542" y="264"/>
                    <a:pt x="551" y="273"/>
                    <a:pt x="554" y="281"/>
                  </a:cubicBezTo>
                  <a:close/>
                </a:path>
              </a:pathLst>
            </a:custGeom>
            <a:solidFill>
              <a:schemeClr val="bg2">
                <a:lumMod val="85000"/>
              </a:scheme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6" name="Freeform 442"/>
            <p:cNvSpPr>
              <a:spLocks/>
            </p:cNvSpPr>
            <p:nvPr>
              <p:custDataLst>
                <p:tags r:id="rId43"/>
              </p:custDataLst>
            </p:nvPr>
          </p:nvSpPr>
          <p:spPr bwMode="auto">
            <a:xfrm>
              <a:off x="2722822" y="4280026"/>
              <a:ext cx="85389" cy="56034"/>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2147483647 w 43"/>
                <a:gd name="T9" fmla="*/ 2147483647 h 28"/>
                <a:gd name="T10" fmla="*/ 2147483647 w 43"/>
                <a:gd name="T11" fmla="*/ 2147483647 h 28"/>
                <a:gd name="T12" fmla="*/ 2147483647 w 43"/>
                <a:gd name="T13" fmla="*/ 2147483647 h 28"/>
                <a:gd name="T14" fmla="*/ 0 60000 65536"/>
                <a:gd name="T15" fmla="*/ 0 60000 65536"/>
                <a:gd name="T16" fmla="*/ 0 60000 65536"/>
                <a:gd name="T17" fmla="*/ 0 60000 65536"/>
                <a:gd name="T18" fmla="*/ 0 60000 65536"/>
                <a:gd name="T19" fmla="*/ 0 60000 65536"/>
                <a:gd name="T20" fmla="*/ 0 60000 65536"/>
                <a:gd name="T21" fmla="*/ 0 w 43"/>
                <a:gd name="T22" fmla="*/ 0 h 28"/>
                <a:gd name="T23" fmla="*/ 43 w 43"/>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28">
                  <a:moveTo>
                    <a:pt x="40" y="2"/>
                  </a:moveTo>
                  <a:cubicBezTo>
                    <a:pt x="43" y="4"/>
                    <a:pt x="40" y="6"/>
                    <a:pt x="40" y="6"/>
                  </a:cubicBezTo>
                  <a:cubicBezTo>
                    <a:pt x="37" y="9"/>
                    <a:pt x="13" y="24"/>
                    <a:pt x="10" y="26"/>
                  </a:cubicBezTo>
                  <a:cubicBezTo>
                    <a:pt x="8" y="28"/>
                    <a:pt x="4" y="27"/>
                    <a:pt x="2" y="25"/>
                  </a:cubicBezTo>
                  <a:cubicBezTo>
                    <a:pt x="0" y="22"/>
                    <a:pt x="8" y="19"/>
                    <a:pt x="9" y="18"/>
                  </a:cubicBezTo>
                  <a:cubicBezTo>
                    <a:pt x="10" y="17"/>
                    <a:pt x="26" y="8"/>
                    <a:pt x="28" y="6"/>
                  </a:cubicBezTo>
                  <a:cubicBezTo>
                    <a:pt x="31" y="3"/>
                    <a:pt x="38" y="0"/>
                    <a:pt x="40" y="2"/>
                  </a:cubicBezTo>
                  <a:close/>
                </a:path>
              </a:pathLst>
            </a:custGeom>
            <a:solidFill>
              <a:srgbClr val="D9D9D9"/>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7" name="Freeform 443"/>
            <p:cNvSpPr>
              <a:spLocks/>
            </p:cNvSpPr>
            <p:nvPr>
              <p:custDataLst>
                <p:tags r:id="rId44"/>
              </p:custDataLst>
            </p:nvPr>
          </p:nvSpPr>
          <p:spPr bwMode="auto">
            <a:xfrm>
              <a:off x="2674791" y="4336060"/>
              <a:ext cx="48031" cy="50696"/>
            </a:xfrm>
            <a:custGeom>
              <a:avLst/>
              <a:gdLst>
                <a:gd name="T0" fmla="*/ 2147483647 w 24"/>
                <a:gd name="T1" fmla="*/ 2147483647 h 25"/>
                <a:gd name="T2" fmla="*/ 2147483647 w 24"/>
                <a:gd name="T3" fmla="*/ 2147483647 h 25"/>
                <a:gd name="T4" fmla="*/ 2147483647 w 24"/>
                <a:gd name="T5" fmla="*/ 2147483647 h 25"/>
                <a:gd name="T6" fmla="*/ 2147483647 w 24"/>
                <a:gd name="T7" fmla="*/ 2147483647 h 25"/>
                <a:gd name="T8" fmla="*/ 2147483647 w 24"/>
                <a:gd name="T9" fmla="*/ 2147483647 h 25"/>
                <a:gd name="T10" fmla="*/ 2147483647 w 24"/>
                <a:gd name="T11" fmla="*/ 2147483647 h 25"/>
                <a:gd name="T12" fmla="*/ 0 60000 65536"/>
                <a:gd name="T13" fmla="*/ 0 60000 65536"/>
                <a:gd name="T14" fmla="*/ 0 60000 65536"/>
                <a:gd name="T15" fmla="*/ 0 60000 65536"/>
                <a:gd name="T16" fmla="*/ 0 60000 65536"/>
                <a:gd name="T17" fmla="*/ 0 60000 65536"/>
                <a:gd name="T18" fmla="*/ 0 w 24"/>
                <a:gd name="T19" fmla="*/ 0 h 25"/>
                <a:gd name="T20" fmla="*/ 24 w 24"/>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4" h="25">
                  <a:moveTo>
                    <a:pt x="22" y="1"/>
                  </a:moveTo>
                  <a:cubicBezTo>
                    <a:pt x="24" y="2"/>
                    <a:pt x="24" y="4"/>
                    <a:pt x="22" y="5"/>
                  </a:cubicBezTo>
                  <a:cubicBezTo>
                    <a:pt x="22" y="5"/>
                    <a:pt x="7" y="25"/>
                    <a:pt x="2" y="20"/>
                  </a:cubicBezTo>
                  <a:cubicBezTo>
                    <a:pt x="0" y="17"/>
                    <a:pt x="8" y="12"/>
                    <a:pt x="10" y="9"/>
                  </a:cubicBezTo>
                  <a:cubicBezTo>
                    <a:pt x="12" y="6"/>
                    <a:pt x="14" y="4"/>
                    <a:pt x="16" y="2"/>
                  </a:cubicBezTo>
                  <a:cubicBezTo>
                    <a:pt x="16" y="2"/>
                    <a:pt x="20" y="0"/>
                    <a:pt x="22" y="1"/>
                  </a:cubicBezTo>
                  <a:close/>
                </a:path>
              </a:pathLst>
            </a:custGeom>
            <a:solidFill>
              <a:srgbClr val="D9D9D9"/>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8" name="Freeform 444"/>
            <p:cNvSpPr>
              <a:spLocks/>
            </p:cNvSpPr>
            <p:nvPr>
              <p:custDataLst>
                <p:tags r:id="rId45"/>
              </p:custDataLst>
            </p:nvPr>
          </p:nvSpPr>
          <p:spPr bwMode="auto">
            <a:xfrm>
              <a:off x="2656111" y="4386756"/>
              <a:ext cx="34690" cy="144086"/>
            </a:xfrm>
            <a:custGeom>
              <a:avLst/>
              <a:gdLst>
                <a:gd name="T0" fmla="*/ 2147483647 w 17"/>
                <a:gd name="T1" fmla="*/ 2147483647 h 72"/>
                <a:gd name="T2" fmla="*/ 2147483647 w 17"/>
                <a:gd name="T3" fmla="*/ 2147483647 h 72"/>
                <a:gd name="T4" fmla="*/ 2147483647 w 17"/>
                <a:gd name="T5" fmla="*/ 2147483647 h 72"/>
                <a:gd name="T6" fmla="*/ 0 w 17"/>
                <a:gd name="T7" fmla="*/ 2147483647 h 72"/>
                <a:gd name="T8" fmla="*/ 2147483647 w 17"/>
                <a:gd name="T9" fmla="*/ 2147483647 h 72"/>
                <a:gd name="T10" fmla="*/ 2147483647 w 17"/>
                <a:gd name="T11" fmla="*/ 2147483647 h 72"/>
                <a:gd name="T12" fmla="*/ 2147483647 w 17"/>
                <a:gd name="T13" fmla="*/ 2147483647 h 72"/>
                <a:gd name="T14" fmla="*/ 2147483647 w 17"/>
                <a:gd name="T15" fmla="*/ 2147483647 h 72"/>
                <a:gd name="T16" fmla="*/ 2147483647 w 17"/>
                <a:gd name="T17" fmla="*/ 2147483647 h 72"/>
                <a:gd name="T18" fmla="*/ 2147483647 w 17"/>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72"/>
                <a:gd name="T32" fmla="*/ 17 w 17"/>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72">
                  <a:moveTo>
                    <a:pt x="17" y="68"/>
                  </a:moveTo>
                  <a:cubicBezTo>
                    <a:pt x="17" y="71"/>
                    <a:pt x="15" y="72"/>
                    <a:pt x="13" y="72"/>
                  </a:cubicBezTo>
                  <a:cubicBezTo>
                    <a:pt x="11" y="72"/>
                    <a:pt x="9" y="65"/>
                    <a:pt x="9" y="61"/>
                  </a:cubicBezTo>
                  <a:cubicBezTo>
                    <a:pt x="9" y="61"/>
                    <a:pt x="0" y="36"/>
                    <a:pt x="0" y="29"/>
                  </a:cubicBezTo>
                  <a:cubicBezTo>
                    <a:pt x="0" y="22"/>
                    <a:pt x="4" y="8"/>
                    <a:pt x="7" y="3"/>
                  </a:cubicBezTo>
                  <a:cubicBezTo>
                    <a:pt x="8" y="0"/>
                    <a:pt x="10" y="0"/>
                    <a:pt x="11" y="2"/>
                  </a:cubicBezTo>
                  <a:cubicBezTo>
                    <a:pt x="13" y="3"/>
                    <a:pt x="13" y="4"/>
                    <a:pt x="13" y="6"/>
                  </a:cubicBezTo>
                  <a:cubicBezTo>
                    <a:pt x="12" y="8"/>
                    <a:pt x="7" y="23"/>
                    <a:pt x="7" y="27"/>
                  </a:cubicBezTo>
                  <a:cubicBezTo>
                    <a:pt x="6" y="30"/>
                    <a:pt x="9" y="38"/>
                    <a:pt x="10" y="44"/>
                  </a:cubicBezTo>
                  <a:cubicBezTo>
                    <a:pt x="11" y="49"/>
                    <a:pt x="16" y="65"/>
                    <a:pt x="17" y="68"/>
                  </a:cubicBezTo>
                  <a:close/>
                </a:path>
              </a:pathLst>
            </a:custGeom>
            <a:solidFill>
              <a:srgbClr val="D9D9D9"/>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9" name="Freeform 445"/>
            <p:cNvSpPr>
              <a:spLocks/>
            </p:cNvSpPr>
            <p:nvPr>
              <p:custDataLst>
                <p:tags r:id="rId46"/>
              </p:custDataLst>
            </p:nvPr>
          </p:nvSpPr>
          <p:spPr bwMode="auto">
            <a:xfrm>
              <a:off x="1754190" y="2964580"/>
              <a:ext cx="576375" cy="458939"/>
            </a:xfrm>
            <a:custGeom>
              <a:avLst/>
              <a:gdLst>
                <a:gd name="T0" fmla="*/ 2147483647 w 289"/>
                <a:gd name="T1" fmla="*/ 2147483647 h 230"/>
                <a:gd name="T2" fmla="*/ 2147483647 w 289"/>
                <a:gd name="T3" fmla="*/ 2147483647 h 230"/>
                <a:gd name="T4" fmla="*/ 2147483647 w 289"/>
                <a:gd name="T5" fmla="*/ 2147483647 h 230"/>
                <a:gd name="T6" fmla="*/ 2147483647 w 289"/>
                <a:gd name="T7" fmla="*/ 2147483647 h 230"/>
                <a:gd name="T8" fmla="*/ 2147483647 w 289"/>
                <a:gd name="T9" fmla="*/ 2147483647 h 230"/>
                <a:gd name="T10" fmla="*/ 0 w 289"/>
                <a:gd name="T11" fmla="*/ 2147483647 h 230"/>
                <a:gd name="T12" fmla="*/ 2147483647 w 289"/>
                <a:gd name="T13" fmla="*/ 0 h 230"/>
                <a:gd name="T14" fmla="*/ 2147483647 w 289"/>
                <a:gd name="T15" fmla="*/ 1672936986 h 230"/>
                <a:gd name="T16" fmla="*/ 2147483647 w 289"/>
                <a:gd name="T17" fmla="*/ 2147483647 h 230"/>
                <a:gd name="T18" fmla="*/ 2147483647 w 289"/>
                <a:gd name="T19" fmla="*/ 2147483647 h 2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9"/>
                <a:gd name="T31" fmla="*/ 0 h 230"/>
                <a:gd name="T32" fmla="*/ 289 w 289"/>
                <a:gd name="T33" fmla="*/ 230 h 2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9" h="230">
                  <a:moveTo>
                    <a:pt x="289" y="30"/>
                  </a:moveTo>
                  <a:cubicBezTo>
                    <a:pt x="286" y="81"/>
                    <a:pt x="286" y="81"/>
                    <a:pt x="286" y="81"/>
                  </a:cubicBezTo>
                  <a:cubicBezTo>
                    <a:pt x="276" y="230"/>
                    <a:pt x="276" y="230"/>
                    <a:pt x="276" y="230"/>
                  </a:cubicBezTo>
                  <a:cubicBezTo>
                    <a:pt x="262" y="230"/>
                    <a:pt x="249" y="229"/>
                    <a:pt x="237" y="228"/>
                  </a:cubicBezTo>
                  <a:cubicBezTo>
                    <a:pt x="228" y="227"/>
                    <a:pt x="220" y="226"/>
                    <a:pt x="213" y="226"/>
                  </a:cubicBezTo>
                  <a:cubicBezTo>
                    <a:pt x="174" y="222"/>
                    <a:pt x="85" y="210"/>
                    <a:pt x="0" y="197"/>
                  </a:cubicBezTo>
                  <a:cubicBezTo>
                    <a:pt x="29" y="0"/>
                    <a:pt x="29" y="0"/>
                    <a:pt x="29" y="0"/>
                  </a:cubicBezTo>
                  <a:cubicBezTo>
                    <a:pt x="79" y="8"/>
                    <a:pt x="79" y="8"/>
                    <a:pt x="79" y="8"/>
                  </a:cubicBezTo>
                  <a:cubicBezTo>
                    <a:pt x="214" y="22"/>
                    <a:pt x="214" y="22"/>
                    <a:pt x="214" y="22"/>
                  </a:cubicBezTo>
                  <a:lnTo>
                    <a:pt x="289" y="30"/>
                  </a:lnTo>
                  <a:close/>
                </a:path>
              </a:pathLst>
            </a:custGeom>
            <a:solidFill>
              <a:schemeClr val="bg2">
                <a:lumMod val="85000"/>
              </a:scheme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0" name="Freeform 446"/>
            <p:cNvSpPr>
              <a:spLocks/>
            </p:cNvSpPr>
            <p:nvPr>
              <p:custDataLst>
                <p:tags r:id="rId47"/>
              </p:custDataLst>
            </p:nvPr>
          </p:nvSpPr>
          <p:spPr bwMode="auto">
            <a:xfrm>
              <a:off x="2234503" y="2220137"/>
              <a:ext cx="525677" cy="333532"/>
            </a:xfrm>
            <a:custGeom>
              <a:avLst/>
              <a:gdLst>
                <a:gd name="T0" fmla="*/ 2147483647 w 263"/>
                <a:gd name="T1" fmla="*/ 0 h 167"/>
                <a:gd name="T2" fmla="*/ 2147483647 w 263"/>
                <a:gd name="T3" fmla="*/ 2147483647 h 167"/>
                <a:gd name="T4" fmla="*/ 2147483647 w 263"/>
                <a:gd name="T5" fmla="*/ 2147483647 h 167"/>
                <a:gd name="T6" fmla="*/ 2147483647 w 263"/>
                <a:gd name="T7" fmla="*/ 2147483647 h 167"/>
                <a:gd name="T8" fmla="*/ 2147483647 w 263"/>
                <a:gd name="T9" fmla="*/ 2147483647 h 167"/>
                <a:gd name="T10" fmla="*/ 2147483647 w 263"/>
                <a:gd name="T11" fmla="*/ 2147483647 h 167"/>
                <a:gd name="T12" fmla="*/ 2147483647 w 263"/>
                <a:gd name="T13" fmla="*/ 2147483647 h 167"/>
                <a:gd name="T14" fmla="*/ 2147483647 w 263"/>
                <a:gd name="T15" fmla="*/ 2147483647 h 167"/>
                <a:gd name="T16" fmla="*/ 0 w 263"/>
                <a:gd name="T17" fmla="*/ 2147483647 h 167"/>
                <a:gd name="T18" fmla="*/ 2147483647 w 263"/>
                <a:gd name="T19" fmla="*/ 0 h 167"/>
                <a:gd name="T20" fmla="*/ 2147483647 w 263"/>
                <a:gd name="T21" fmla="*/ 0 h 167"/>
                <a:gd name="T22" fmla="*/ 2147483647 w 263"/>
                <a:gd name="T23" fmla="*/ 0 h 1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3"/>
                <a:gd name="T37" fmla="*/ 0 h 167"/>
                <a:gd name="T38" fmla="*/ 263 w 263"/>
                <a:gd name="T39" fmla="*/ 167 h 1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3" h="167">
                  <a:moveTo>
                    <a:pt x="18" y="0"/>
                  </a:moveTo>
                  <a:cubicBezTo>
                    <a:pt x="57" y="4"/>
                    <a:pt x="223" y="15"/>
                    <a:pt x="241" y="15"/>
                  </a:cubicBezTo>
                  <a:cubicBezTo>
                    <a:pt x="241" y="15"/>
                    <a:pt x="242" y="15"/>
                    <a:pt x="242" y="15"/>
                  </a:cubicBezTo>
                  <a:cubicBezTo>
                    <a:pt x="244" y="53"/>
                    <a:pt x="244" y="53"/>
                    <a:pt x="244" y="53"/>
                  </a:cubicBezTo>
                  <a:cubicBezTo>
                    <a:pt x="244" y="63"/>
                    <a:pt x="253" y="79"/>
                    <a:pt x="253" y="86"/>
                  </a:cubicBezTo>
                  <a:cubicBezTo>
                    <a:pt x="254" y="93"/>
                    <a:pt x="255" y="123"/>
                    <a:pt x="255" y="131"/>
                  </a:cubicBezTo>
                  <a:cubicBezTo>
                    <a:pt x="255" y="139"/>
                    <a:pt x="263" y="155"/>
                    <a:pt x="263" y="164"/>
                  </a:cubicBezTo>
                  <a:cubicBezTo>
                    <a:pt x="263" y="165"/>
                    <a:pt x="262" y="166"/>
                    <a:pt x="262" y="167"/>
                  </a:cubicBezTo>
                  <a:cubicBezTo>
                    <a:pt x="207" y="166"/>
                    <a:pt x="79" y="159"/>
                    <a:pt x="0" y="150"/>
                  </a:cubicBezTo>
                  <a:cubicBezTo>
                    <a:pt x="17" y="0"/>
                    <a:pt x="17" y="0"/>
                    <a:pt x="17" y="0"/>
                  </a:cubicBezTo>
                  <a:cubicBezTo>
                    <a:pt x="17" y="0"/>
                    <a:pt x="17" y="0"/>
                    <a:pt x="17" y="0"/>
                  </a:cubicBezTo>
                  <a:cubicBezTo>
                    <a:pt x="17" y="0"/>
                    <a:pt x="17" y="0"/>
                    <a:pt x="18" y="0"/>
                  </a:cubicBezTo>
                  <a:close/>
                </a:path>
              </a:pathLst>
            </a:custGeom>
            <a:solidFill>
              <a:srgbClr val="66CC33">
                <a:lumMod val="7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1" name="Freeform 447"/>
            <p:cNvSpPr>
              <a:spLocks/>
            </p:cNvSpPr>
            <p:nvPr>
              <p:custDataLst>
                <p:tags r:id="rId48"/>
              </p:custDataLst>
            </p:nvPr>
          </p:nvSpPr>
          <p:spPr bwMode="auto">
            <a:xfrm>
              <a:off x="1466003" y="2086724"/>
              <a:ext cx="803191" cy="520310"/>
            </a:xfrm>
            <a:custGeom>
              <a:avLst/>
              <a:gdLst>
                <a:gd name="T0" fmla="*/ 2147483647 w 402"/>
                <a:gd name="T1" fmla="*/ 2147483647 h 261"/>
                <a:gd name="T2" fmla="*/ 2147483647 w 402"/>
                <a:gd name="T3" fmla="*/ 2147483647 h 261"/>
                <a:gd name="T4" fmla="*/ 2147483647 w 402"/>
                <a:gd name="T5" fmla="*/ 2147483647 h 261"/>
                <a:gd name="T6" fmla="*/ 2147483647 w 402"/>
                <a:gd name="T7" fmla="*/ 2147483647 h 261"/>
                <a:gd name="T8" fmla="*/ 2147483647 w 402"/>
                <a:gd name="T9" fmla="*/ 2147483647 h 261"/>
                <a:gd name="T10" fmla="*/ 2147483647 w 402"/>
                <a:gd name="T11" fmla="*/ 2147483647 h 261"/>
                <a:gd name="T12" fmla="*/ 2147483647 w 402"/>
                <a:gd name="T13" fmla="*/ 2147483647 h 261"/>
                <a:gd name="T14" fmla="*/ 2147483647 w 402"/>
                <a:gd name="T15" fmla="*/ 2147483647 h 261"/>
                <a:gd name="T16" fmla="*/ 2147483647 w 402"/>
                <a:gd name="T17" fmla="*/ 2147483647 h 261"/>
                <a:gd name="T18" fmla="*/ 2147483647 w 402"/>
                <a:gd name="T19" fmla="*/ 2147483647 h 261"/>
                <a:gd name="T20" fmla="*/ 2147483647 w 402"/>
                <a:gd name="T21" fmla="*/ 2147483647 h 261"/>
                <a:gd name="T22" fmla="*/ 2147483647 w 402"/>
                <a:gd name="T23" fmla="*/ 2147483647 h 261"/>
                <a:gd name="T24" fmla="*/ 2147483647 w 402"/>
                <a:gd name="T25" fmla="*/ 2147483647 h 261"/>
                <a:gd name="T26" fmla="*/ 2147483647 w 402"/>
                <a:gd name="T27" fmla="*/ 2147483647 h 261"/>
                <a:gd name="T28" fmla="*/ 2147483647 w 402"/>
                <a:gd name="T29" fmla="*/ 2147483647 h 261"/>
                <a:gd name="T30" fmla="*/ 2147483647 w 402"/>
                <a:gd name="T31" fmla="*/ 2147483647 h 261"/>
                <a:gd name="T32" fmla="*/ 2147483647 w 402"/>
                <a:gd name="T33" fmla="*/ 2147483647 h 261"/>
                <a:gd name="T34" fmla="*/ 2147483647 w 402"/>
                <a:gd name="T35" fmla="*/ 2147483647 h 261"/>
                <a:gd name="T36" fmla="*/ 2147483647 w 402"/>
                <a:gd name="T37" fmla="*/ 2147483647 h 261"/>
                <a:gd name="T38" fmla="*/ 2147483647 w 402"/>
                <a:gd name="T39" fmla="*/ 2147483647 h 261"/>
                <a:gd name="T40" fmla="*/ 2147483647 w 402"/>
                <a:gd name="T41" fmla="*/ 2147483647 h 261"/>
                <a:gd name="T42" fmla="*/ 1679929827 w 402"/>
                <a:gd name="T43" fmla="*/ 2147483647 h 261"/>
                <a:gd name="T44" fmla="*/ 1679929827 w 402"/>
                <a:gd name="T45" fmla="*/ 2147483647 h 261"/>
                <a:gd name="T46" fmla="*/ 1679929827 w 402"/>
                <a:gd name="T47" fmla="*/ 2147483647 h 261"/>
                <a:gd name="T48" fmla="*/ 1679929827 w 402"/>
                <a:gd name="T49" fmla="*/ 2147483647 h 261"/>
                <a:gd name="T50" fmla="*/ 2147483647 w 402"/>
                <a:gd name="T51" fmla="*/ 0 h 261"/>
                <a:gd name="T52" fmla="*/ 2147483647 w 402"/>
                <a:gd name="T53" fmla="*/ 0 h 261"/>
                <a:gd name="T54" fmla="*/ 2147483647 w 402"/>
                <a:gd name="T55" fmla="*/ 2147483647 h 261"/>
                <a:gd name="T56" fmla="*/ 2147483647 w 402"/>
                <a:gd name="T57" fmla="*/ 2147483647 h 2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02"/>
                <a:gd name="T88" fmla="*/ 0 h 261"/>
                <a:gd name="T89" fmla="*/ 402 w 402"/>
                <a:gd name="T90" fmla="*/ 261 h 2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02" h="261">
                  <a:moveTo>
                    <a:pt x="402" y="66"/>
                  </a:moveTo>
                  <a:cubicBezTo>
                    <a:pt x="402" y="66"/>
                    <a:pt x="402" y="66"/>
                    <a:pt x="402" y="66"/>
                  </a:cubicBezTo>
                  <a:cubicBezTo>
                    <a:pt x="385" y="216"/>
                    <a:pt x="385" y="216"/>
                    <a:pt x="385" y="216"/>
                  </a:cubicBezTo>
                  <a:cubicBezTo>
                    <a:pt x="380" y="261"/>
                    <a:pt x="380" y="261"/>
                    <a:pt x="380" y="261"/>
                  </a:cubicBezTo>
                  <a:cubicBezTo>
                    <a:pt x="361" y="260"/>
                    <a:pt x="361" y="260"/>
                    <a:pt x="361" y="260"/>
                  </a:cubicBezTo>
                  <a:cubicBezTo>
                    <a:pt x="256" y="250"/>
                    <a:pt x="256" y="250"/>
                    <a:pt x="256" y="250"/>
                  </a:cubicBezTo>
                  <a:cubicBezTo>
                    <a:pt x="135" y="231"/>
                    <a:pt x="135" y="231"/>
                    <a:pt x="135" y="231"/>
                  </a:cubicBezTo>
                  <a:cubicBezTo>
                    <a:pt x="131" y="252"/>
                    <a:pt x="131" y="252"/>
                    <a:pt x="131" y="252"/>
                  </a:cubicBezTo>
                  <a:cubicBezTo>
                    <a:pt x="118" y="249"/>
                    <a:pt x="118" y="249"/>
                    <a:pt x="118" y="249"/>
                  </a:cubicBezTo>
                  <a:cubicBezTo>
                    <a:pt x="114" y="249"/>
                    <a:pt x="100" y="243"/>
                    <a:pt x="96" y="245"/>
                  </a:cubicBezTo>
                  <a:cubicBezTo>
                    <a:pt x="91" y="246"/>
                    <a:pt x="82" y="251"/>
                    <a:pt x="78" y="251"/>
                  </a:cubicBezTo>
                  <a:cubicBezTo>
                    <a:pt x="73" y="251"/>
                    <a:pt x="65" y="251"/>
                    <a:pt x="64" y="245"/>
                  </a:cubicBezTo>
                  <a:cubicBezTo>
                    <a:pt x="62" y="240"/>
                    <a:pt x="66" y="235"/>
                    <a:pt x="62" y="227"/>
                  </a:cubicBezTo>
                  <a:cubicBezTo>
                    <a:pt x="57" y="220"/>
                    <a:pt x="48" y="222"/>
                    <a:pt x="48" y="215"/>
                  </a:cubicBezTo>
                  <a:cubicBezTo>
                    <a:pt x="47" y="209"/>
                    <a:pt x="52" y="187"/>
                    <a:pt x="48" y="183"/>
                  </a:cubicBezTo>
                  <a:cubicBezTo>
                    <a:pt x="44" y="179"/>
                    <a:pt x="32" y="190"/>
                    <a:pt x="26" y="185"/>
                  </a:cubicBezTo>
                  <a:cubicBezTo>
                    <a:pt x="20" y="181"/>
                    <a:pt x="20" y="173"/>
                    <a:pt x="23" y="168"/>
                  </a:cubicBezTo>
                  <a:cubicBezTo>
                    <a:pt x="26" y="163"/>
                    <a:pt x="33" y="165"/>
                    <a:pt x="34" y="159"/>
                  </a:cubicBezTo>
                  <a:cubicBezTo>
                    <a:pt x="36" y="153"/>
                    <a:pt x="46" y="131"/>
                    <a:pt x="42" y="129"/>
                  </a:cubicBezTo>
                  <a:cubicBezTo>
                    <a:pt x="37" y="126"/>
                    <a:pt x="28" y="126"/>
                    <a:pt x="24" y="117"/>
                  </a:cubicBezTo>
                  <a:cubicBezTo>
                    <a:pt x="21" y="109"/>
                    <a:pt x="20" y="93"/>
                    <a:pt x="13" y="89"/>
                  </a:cubicBezTo>
                  <a:cubicBezTo>
                    <a:pt x="6" y="85"/>
                    <a:pt x="3" y="83"/>
                    <a:pt x="3" y="77"/>
                  </a:cubicBezTo>
                  <a:cubicBezTo>
                    <a:pt x="3" y="71"/>
                    <a:pt x="10" y="66"/>
                    <a:pt x="7" y="61"/>
                  </a:cubicBezTo>
                  <a:cubicBezTo>
                    <a:pt x="4" y="57"/>
                    <a:pt x="0" y="53"/>
                    <a:pt x="1" y="48"/>
                  </a:cubicBezTo>
                  <a:cubicBezTo>
                    <a:pt x="1" y="43"/>
                    <a:pt x="8" y="25"/>
                    <a:pt x="8" y="25"/>
                  </a:cubicBezTo>
                  <a:cubicBezTo>
                    <a:pt x="15" y="0"/>
                    <a:pt x="15" y="0"/>
                    <a:pt x="15" y="0"/>
                  </a:cubicBezTo>
                  <a:cubicBezTo>
                    <a:pt x="15" y="0"/>
                    <a:pt x="15" y="0"/>
                    <a:pt x="15" y="0"/>
                  </a:cubicBezTo>
                  <a:cubicBezTo>
                    <a:pt x="72" y="12"/>
                    <a:pt x="178" y="36"/>
                    <a:pt x="208" y="40"/>
                  </a:cubicBezTo>
                  <a:cubicBezTo>
                    <a:pt x="245" y="45"/>
                    <a:pt x="362" y="62"/>
                    <a:pt x="402" y="66"/>
                  </a:cubicBezTo>
                  <a:close/>
                </a:path>
              </a:pathLst>
            </a:custGeom>
            <a:solidFill>
              <a:srgbClr val="EBE6E6">
                <a:lumMod val="5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2" name="Freeform 448"/>
            <p:cNvSpPr>
              <a:spLocks/>
            </p:cNvSpPr>
            <p:nvPr>
              <p:custDataLst>
                <p:tags r:id="rId49"/>
              </p:custDataLst>
            </p:nvPr>
          </p:nvSpPr>
          <p:spPr bwMode="auto">
            <a:xfrm>
              <a:off x="1668802" y="3356812"/>
              <a:ext cx="557697" cy="581679"/>
            </a:xfrm>
            <a:custGeom>
              <a:avLst/>
              <a:gdLst>
                <a:gd name="T0" fmla="*/ 2147483647 w 279"/>
                <a:gd name="T1" fmla="*/ 2147483647 h 291"/>
                <a:gd name="T2" fmla="*/ 2147483647 w 279"/>
                <a:gd name="T3" fmla="*/ 2147483647 h 291"/>
                <a:gd name="T4" fmla="*/ 2147483647 w 279"/>
                <a:gd name="T5" fmla="*/ 2147483647 h 291"/>
                <a:gd name="T6" fmla="*/ 2147483647 w 279"/>
                <a:gd name="T7" fmla="*/ 2147483647 h 291"/>
                <a:gd name="T8" fmla="*/ 2147483647 w 279"/>
                <a:gd name="T9" fmla="*/ 2147483647 h 291"/>
                <a:gd name="T10" fmla="*/ 2147483647 w 279"/>
                <a:gd name="T11" fmla="*/ 2147483647 h 291"/>
                <a:gd name="T12" fmla="*/ 2147483647 w 279"/>
                <a:gd name="T13" fmla="*/ 2147483647 h 291"/>
                <a:gd name="T14" fmla="*/ 2147483647 w 279"/>
                <a:gd name="T15" fmla="*/ 2147483647 h 291"/>
                <a:gd name="T16" fmla="*/ 0 w 279"/>
                <a:gd name="T17" fmla="*/ 2147483647 h 291"/>
                <a:gd name="T18" fmla="*/ 0 w 279"/>
                <a:gd name="T19" fmla="*/ 2147483647 h 291"/>
                <a:gd name="T20" fmla="*/ 2147483647 w 279"/>
                <a:gd name="T21" fmla="*/ 0 h 291"/>
                <a:gd name="T22" fmla="*/ 2147483647 w 279"/>
                <a:gd name="T23" fmla="*/ 2147483647 h 291"/>
                <a:gd name="T24" fmla="*/ 2147483647 w 279"/>
                <a:gd name="T25" fmla="*/ 2147483647 h 2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9"/>
                <a:gd name="T40" fmla="*/ 0 h 291"/>
                <a:gd name="T41" fmla="*/ 279 w 279"/>
                <a:gd name="T42" fmla="*/ 291 h 2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9" h="291">
                  <a:moveTo>
                    <a:pt x="279" y="31"/>
                  </a:moveTo>
                  <a:cubicBezTo>
                    <a:pt x="279" y="31"/>
                    <a:pt x="279" y="31"/>
                    <a:pt x="279" y="31"/>
                  </a:cubicBezTo>
                  <a:cubicBezTo>
                    <a:pt x="277" y="55"/>
                    <a:pt x="277" y="55"/>
                    <a:pt x="277" y="55"/>
                  </a:cubicBezTo>
                  <a:cubicBezTo>
                    <a:pt x="257" y="276"/>
                    <a:pt x="257" y="276"/>
                    <a:pt x="257" y="276"/>
                  </a:cubicBezTo>
                  <a:cubicBezTo>
                    <a:pt x="110" y="261"/>
                    <a:pt x="110" y="261"/>
                    <a:pt x="110" y="261"/>
                  </a:cubicBezTo>
                  <a:cubicBezTo>
                    <a:pt x="108" y="277"/>
                    <a:pt x="108" y="277"/>
                    <a:pt x="108" y="277"/>
                  </a:cubicBezTo>
                  <a:cubicBezTo>
                    <a:pt x="92" y="275"/>
                    <a:pt x="39" y="270"/>
                    <a:pt x="39" y="270"/>
                  </a:cubicBezTo>
                  <a:cubicBezTo>
                    <a:pt x="37" y="291"/>
                    <a:pt x="37" y="291"/>
                    <a:pt x="37" y="291"/>
                  </a:cubicBezTo>
                  <a:cubicBezTo>
                    <a:pt x="37" y="291"/>
                    <a:pt x="21" y="289"/>
                    <a:pt x="0" y="286"/>
                  </a:cubicBezTo>
                  <a:cubicBezTo>
                    <a:pt x="0" y="286"/>
                    <a:pt x="0" y="286"/>
                    <a:pt x="0" y="286"/>
                  </a:cubicBezTo>
                  <a:cubicBezTo>
                    <a:pt x="42" y="0"/>
                    <a:pt x="42" y="0"/>
                    <a:pt x="42" y="0"/>
                  </a:cubicBezTo>
                  <a:cubicBezTo>
                    <a:pt x="127" y="13"/>
                    <a:pt x="216" y="25"/>
                    <a:pt x="255" y="29"/>
                  </a:cubicBezTo>
                  <a:cubicBezTo>
                    <a:pt x="262" y="29"/>
                    <a:pt x="270" y="30"/>
                    <a:pt x="279" y="31"/>
                  </a:cubicBezTo>
                  <a:close/>
                </a:path>
              </a:pathLst>
            </a:custGeom>
            <a:solidFill>
              <a:srgbClr val="816767"/>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3" name="Freeform 449"/>
            <p:cNvSpPr>
              <a:spLocks/>
            </p:cNvSpPr>
            <p:nvPr>
              <p:custDataLst>
                <p:tags r:id="rId50"/>
              </p:custDataLst>
            </p:nvPr>
          </p:nvSpPr>
          <p:spPr bwMode="auto">
            <a:xfrm>
              <a:off x="1663465" y="2548333"/>
              <a:ext cx="563034" cy="458939"/>
            </a:xfrm>
            <a:custGeom>
              <a:avLst/>
              <a:gdLst>
                <a:gd name="T0" fmla="*/ 194789677 w 578"/>
                <a:gd name="T1" fmla="*/ 0 h 473"/>
                <a:gd name="T2" fmla="*/ 194789677 w 578"/>
                <a:gd name="T3" fmla="*/ 192281464 h 473"/>
                <a:gd name="T4" fmla="*/ 194789677 w 578"/>
                <a:gd name="T5" fmla="*/ 192281464 h 473"/>
                <a:gd name="T6" fmla="*/ 0 w 578"/>
                <a:gd name="T7" fmla="*/ 192281464 h 473"/>
                <a:gd name="T8" fmla="*/ 0 w 578"/>
                <a:gd name="T9" fmla="*/ 192281464 h 473"/>
                <a:gd name="T10" fmla="*/ 0 w 578"/>
                <a:gd name="T11" fmla="*/ 192281464 h 473"/>
                <a:gd name="T12" fmla="*/ 0 w 578"/>
                <a:gd name="T13" fmla="*/ 192281464 h 473"/>
                <a:gd name="T14" fmla="*/ 0 w 578"/>
                <a:gd name="T15" fmla="*/ 192281464 h 473"/>
                <a:gd name="T16" fmla="*/ 0 w 578"/>
                <a:gd name="T17" fmla="*/ 0 h 473"/>
                <a:gd name="T18" fmla="*/ 0 w 578"/>
                <a:gd name="T19" fmla="*/ 0 h 473"/>
                <a:gd name="T20" fmla="*/ 194789677 w 578"/>
                <a:gd name="T21" fmla="*/ 0 h 473"/>
                <a:gd name="T22" fmla="*/ 194789677 w 578"/>
                <a:gd name="T23" fmla="*/ 0 h 473"/>
                <a:gd name="T24" fmla="*/ 194789677 w 578"/>
                <a:gd name="T25" fmla="*/ 0 h 4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8"/>
                <a:gd name="T40" fmla="*/ 0 h 473"/>
                <a:gd name="T41" fmla="*/ 578 w 578"/>
                <a:gd name="T42" fmla="*/ 473 h 4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8" h="473">
                  <a:moveTo>
                    <a:pt x="578" y="62"/>
                  </a:moveTo>
                  <a:lnTo>
                    <a:pt x="555" y="276"/>
                  </a:lnTo>
                  <a:lnTo>
                    <a:pt x="533" y="473"/>
                  </a:lnTo>
                  <a:lnTo>
                    <a:pt x="255" y="445"/>
                  </a:lnTo>
                  <a:lnTo>
                    <a:pt x="152" y="428"/>
                  </a:lnTo>
                  <a:lnTo>
                    <a:pt x="97" y="420"/>
                  </a:lnTo>
                  <a:lnTo>
                    <a:pt x="0" y="402"/>
                  </a:lnTo>
                  <a:lnTo>
                    <a:pt x="19" y="303"/>
                  </a:lnTo>
                  <a:lnTo>
                    <a:pt x="66" y="44"/>
                  </a:lnTo>
                  <a:lnTo>
                    <a:pt x="74" y="0"/>
                  </a:lnTo>
                  <a:lnTo>
                    <a:pt x="323" y="40"/>
                  </a:lnTo>
                  <a:lnTo>
                    <a:pt x="539" y="60"/>
                  </a:lnTo>
                  <a:lnTo>
                    <a:pt x="578" y="62"/>
                  </a:lnTo>
                  <a:close/>
                </a:path>
              </a:pathLst>
            </a:custGeom>
            <a:solidFill>
              <a:srgbClr val="FFFFFF">
                <a:lumMod val="8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4" name="Freeform 450"/>
            <p:cNvSpPr>
              <a:spLocks/>
            </p:cNvSpPr>
            <p:nvPr>
              <p:custDataLst>
                <p:tags r:id="rId51"/>
              </p:custDataLst>
            </p:nvPr>
          </p:nvSpPr>
          <p:spPr bwMode="auto">
            <a:xfrm>
              <a:off x="1359267" y="2801816"/>
              <a:ext cx="450961" cy="554996"/>
            </a:xfrm>
            <a:custGeom>
              <a:avLst/>
              <a:gdLst>
                <a:gd name="T0" fmla="*/ 2147483647 w 226"/>
                <a:gd name="T1" fmla="*/ 2147483647 h 278"/>
                <a:gd name="T2" fmla="*/ 2147483647 w 226"/>
                <a:gd name="T3" fmla="*/ 2147483647 h 278"/>
                <a:gd name="T4" fmla="*/ 0 w 226"/>
                <a:gd name="T5" fmla="*/ 2147483647 h 278"/>
                <a:gd name="T6" fmla="*/ 2147483647 w 226"/>
                <a:gd name="T7" fmla="*/ 0 h 278"/>
                <a:gd name="T8" fmla="*/ 2147483647 w 226"/>
                <a:gd name="T9" fmla="*/ 1676026309 h 278"/>
                <a:gd name="T10" fmla="*/ 2147483647 w 226"/>
                <a:gd name="T11" fmla="*/ 2147483647 h 278"/>
                <a:gd name="T12" fmla="*/ 2147483647 w 226"/>
                <a:gd name="T13" fmla="*/ 2147483647 h 278"/>
                <a:gd name="T14" fmla="*/ 2147483647 w 226"/>
                <a:gd name="T15" fmla="*/ 2147483647 h 278"/>
                <a:gd name="T16" fmla="*/ 2147483647 w 226"/>
                <a:gd name="T17" fmla="*/ 2147483647 h 2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6"/>
                <a:gd name="T28" fmla="*/ 0 h 278"/>
                <a:gd name="T29" fmla="*/ 226 w 226"/>
                <a:gd name="T30" fmla="*/ 278 h 2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6" h="278">
                  <a:moveTo>
                    <a:pt x="226" y="81"/>
                  </a:moveTo>
                  <a:cubicBezTo>
                    <a:pt x="197" y="278"/>
                    <a:pt x="197" y="278"/>
                    <a:pt x="197" y="278"/>
                  </a:cubicBezTo>
                  <a:cubicBezTo>
                    <a:pt x="109" y="265"/>
                    <a:pt x="25" y="252"/>
                    <a:pt x="0" y="248"/>
                  </a:cubicBezTo>
                  <a:cubicBezTo>
                    <a:pt x="19" y="165"/>
                    <a:pt x="52" y="0"/>
                    <a:pt x="52" y="0"/>
                  </a:cubicBezTo>
                  <a:cubicBezTo>
                    <a:pt x="81" y="6"/>
                    <a:pt x="81" y="6"/>
                    <a:pt x="81" y="6"/>
                  </a:cubicBezTo>
                  <a:cubicBezTo>
                    <a:pt x="161" y="20"/>
                    <a:pt x="161" y="20"/>
                    <a:pt x="161" y="20"/>
                  </a:cubicBezTo>
                  <a:cubicBezTo>
                    <a:pt x="152" y="68"/>
                    <a:pt x="152" y="68"/>
                    <a:pt x="152" y="68"/>
                  </a:cubicBezTo>
                  <a:cubicBezTo>
                    <a:pt x="199" y="77"/>
                    <a:pt x="199" y="77"/>
                    <a:pt x="199" y="77"/>
                  </a:cubicBezTo>
                  <a:lnTo>
                    <a:pt x="226" y="81"/>
                  </a:lnTo>
                  <a:close/>
                </a:path>
              </a:pathLst>
            </a:custGeom>
            <a:solidFill>
              <a:srgbClr val="FFFFFF">
                <a:lumMod val="85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5" name="Freeform 451"/>
            <p:cNvSpPr>
              <a:spLocks/>
            </p:cNvSpPr>
            <p:nvPr>
              <p:custDataLst>
                <p:tags r:id="rId52"/>
              </p:custDataLst>
            </p:nvPr>
          </p:nvSpPr>
          <p:spPr bwMode="auto">
            <a:xfrm>
              <a:off x="1212505" y="3298110"/>
              <a:ext cx="541685" cy="629707"/>
            </a:xfrm>
            <a:custGeom>
              <a:avLst/>
              <a:gdLst>
                <a:gd name="T0" fmla="*/ 2147483647 w 271"/>
                <a:gd name="T1" fmla="*/ 2147483647 h 316"/>
                <a:gd name="T2" fmla="*/ 2147483647 w 271"/>
                <a:gd name="T3" fmla="*/ 2147483647 h 316"/>
                <a:gd name="T4" fmla="*/ 2147483647 w 271"/>
                <a:gd name="T5" fmla="*/ 2147483647 h 316"/>
                <a:gd name="T6" fmla="*/ 2147483647 w 271"/>
                <a:gd name="T7" fmla="*/ 2147483647 h 316"/>
                <a:gd name="T8" fmla="*/ 0 w 271"/>
                <a:gd name="T9" fmla="*/ 2147483647 h 316"/>
                <a:gd name="T10" fmla="*/ 1681363337 w 271"/>
                <a:gd name="T11" fmla="*/ 2147483647 h 316"/>
                <a:gd name="T12" fmla="*/ 1681363337 w 271"/>
                <a:gd name="T13" fmla="*/ 2147483647 h 316"/>
                <a:gd name="T14" fmla="*/ 1681363337 w 271"/>
                <a:gd name="T15" fmla="*/ 2147483647 h 316"/>
                <a:gd name="T16" fmla="*/ 2147483647 w 271"/>
                <a:gd name="T17" fmla="*/ 2147483647 h 316"/>
                <a:gd name="T18" fmla="*/ 1681363337 w 271"/>
                <a:gd name="T19" fmla="*/ 2147483647 h 316"/>
                <a:gd name="T20" fmla="*/ 2147483647 w 271"/>
                <a:gd name="T21" fmla="*/ 2147483647 h 316"/>
                <a:gd name="T22" fmla="*/ 2147483647 w 271"/>
                <a:gd name="T23" fmla="*/ 2147483647 h 316"/>
                <a:gd name="T24" fmla="*/ 2147483647 w 271"/>
                <a:gd name="T25" fmla="*/ 2147483647 h 316"/>
                <a:gd name="T26" fmla="*/ 2147483647 w 271"/>
                <a:gd name="T27" fmla="*/ 2147483647 h 316"/>
                <a:gd name="T28" fmla="*/ 2147483647 w 271"/>
                <a:gd name="T29" fmla="*/ 2147483647 h 316"/>
                <a:gd name="T30" fmla="*/ 2147483647 w 271"/>
                <a:gd name="T31" fmla="*/ 2147483647 h 316"/>
                <a:gd name="T32" fmla="*/ 2147483647 w 271"/>
                <a:gd name="T33" fmla="*/ 2147483647 h 316"/>
                <a:gd name="T34" fmla="*/ 2147483647 w 271"/>
                <a:gd name="T35" fmla="*/ 2147483647 h 316"/>
                <a:gd name="T36" fmla="*/ 2147483647 w 271"/>
                <a:gd name="T37" fmla="*/ 0 h 316"/>
                <a:gd name="T38" fmla="*/ 2147483647 w 271"/>
                <a:gd name="T39" fmla="*/ 2147483647 h 3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1"/>
                <a:gd name="T61" fmla="*/ 0 h 316"/>
                <a:gd name="T62" fmla="*/ 271 w 271"/>
                <a:gd name="T63" fmla="*/ 316 h 3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1" h="316">
                  <a:moveTo>
                    <a:pt x="271" y="30"/>
                  </a:moveTo>
                  <a:cubicBezTo>
                    <a:pt x="229" y="316"/>
                    <a:pt x="229" y="316"/>
                    <a:pt x="229" y="316"/>
                  </a:cubicBezTo>
                  <a:cubicBezTo>
                    <a:pt x="229" y="316"/>
                    <a:pt x="229" y="316"/>
                    <a:pt x="229" y="316"/>
                  </a:cubicBezTo>
                  <a:cubicBezTo>
                    <a:pt x="196" y="311"/>
                    <a:pt x="152" y="305"/>
                    <a:pt x="144" y="304"/>
                  </a:cubicBezTo>
                  <a:cubicBezTo>
                    <a:pt x="131" y="301"/>
                    <a:pt x="0" y="218"/>
                    <a:pt x="0" y="218"/>
                  </a:cubicBezTo>
                  <a:cubicBezTo>
                    <a:pt x="0" y="218"/>
                    <a:pt x="5" y="211"/>
                    <a:pt x="6" y="208"/>
                  </a:cubicBezTo>
                  <a:cubicBezTo>
                    <a:pt x="6" y="208"/>
                    <a:pt x="6" y="208"/>
                    <a:pt x="6" y="208"/>
                  </a:cubicBezTo>
                  <a:cubicBezTo>
                    <a:pt x="9" y="207"/>
                    <a:pt x="9" y="207"/>
                    <a:pt x="9" y="207"/>
                  </a:cubicBezTo>
                  <a:cubicBezTo>
                    <a:pt x="9" y="207"/>
                    <a:pt x="19" y="202"/>
                    <a:pt x="19" y="198"/>
                  </a:cubicBezTo>
                  <a:cubicBezTo>
                    <a:pt x="19" y="193"/>
                    <a:pt x="7" y="187"/>
                    <a:pt x="10" y="182"/>
                  </a:cubicBezTo>
                  <a:cubicBezTo>
                    <a:pt x="14" y="176"/>
                    <a:pt x="22" y="168"/>
                    <a:pt x="24" y="162"/>
                  </a:cubicBezTo>
                  <a:cubicBezTo>
                    <a:pt x="25" y="155"/>
                    <a:pt x="24" y="143"/>
                    <a:pt x="29" y="141"/>
                  </a:cubicBezTo>
                  <a:cubicBezTo>
                    <a:pt x="33" y="138"/>
                    <a:pt x="48" y="137"/>
                    <a:pt x="46" y="130"/>
                  </a:cubicBezTo>
                  <a:cubicBezTo>
                    <a:pt x="44" y="124"/>
                    <a:pt x="31" y="110"/>
                    <a:pt x="32" y="105"/>
                  </a:cubicBezTo>
                  <a:cubicBezTo>
                    <a:pt x="32" y="103"/>
                    <a:pt x="33" y="99"/>
                    <a:pt x="34" y="94"/>
                  </a:cubicBezTo>
                  <a:cubicBezTo>
                    <a:pt x="36" y="88"/>
                    <a:pt x="37" y="81"/>
                    <a:pt x="37" y="76"/>
                  </a:cubicBezTo>
                  <a:cubicBezTo>
                    <a:pt x="37" y="69"/>
                    <a:pt x="32" y="41"/>
                    <a:pt x="39" y="38"/>
                  </a:cubicBezTo>
                  <a:cubicBezTo>
                    <a:pt x="45" y="36"/>
                    <a:pt x="58" y="51"/>
                    <a:pt x="63" y="47"/>
                  </a:cubicBezTo>
                  <a:cubicBezTo>
                    <a:pt x="64" y="46"/>
                    <a:pt x="68" y="28"/>
                    <a:pt x="74" y="0"/>
                  </a:cubicBezTo>
                  <a:cubicBezTo>
                    <a:pt x="99" y="4"/>
                    <a:pt x="183" y="17"/>
                    <a:pt x="271" y="30"/>
                  </a:cubicBezTo>
                  <a:close/>
                </a:path>
              </a:pathLst>
            </a:custGeom>
            <a:solidFill>
              <a:srgbClr val="EBE6E6">
                <a:lumMod val="5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6" name="Freeform 452"/>
            <p:cNvSpPr>
              <a:spLocks/>
            </p:cNvSpPr>
            <p:nvPr>
              <p:custDataLst>
                <p:tags r:id="rId53"/>
              </p:custDataLst>
            </p:nvPr>
          </p:nvSpPr>
          <p:spPr bwMode="auto">
            <a:xfrm>
              <a:off x="953669" y="2700422"/>
              <a:ext cx="509666" cy="784466"/>
            </a:xfrm>
            <a:custGeom>
              <a:avLst/>
              <a:gdLst>
                <a:gd name="T0" fmla="*/ 2147483647 w 256"/>
                <a:gd name="T1" fmla="*/ 2147483647 h 393"/>
                <a:gd name="T2" fmla="*/ 2147483647 w 256"/>
                <a:gd name="T3" fmla="*/ 2147483647 h 393"/>
                <a:gd name="T4" fmla="*/ 2147483647 w 256"/>
                <a:gd name="T5" fmla="*/ 2147483647 h 393"/>
                <a:gd name="T6" fmla="*/ 2147483647 w 256"/>
                <a:gd name="T7" fmla="*/ 2147483647 h 393"/>
                <a:gd name="T8" fmla="*/ 2147483647 w 256"/>
                <a:gd name="T9" fmla="*/ 2147483647 h 393"/>
                <a:gd name="T10" fmla="*/ 0 w 256"/>
                <a:gd name="T11" fmla="*/ 2147483647 h 393"/>
                <a:gd name="T12" fmla="*/ 2147483647 w 256"/>
                <a:gd name="T13" fmla="*/ 0 h 393"/>
                <a:gd name="T14" fmla="*/ 2147483647 w 256"/>
                <a:gd name="T15" fmla="*/ 2147483647 h 393"/>
                <a:gd name="T16" fmla="*/ 2147483647 w 256"/>
                <a:gd name="T17" fmla="*/ 2147483647 h 393"/>
                <a:gd name="T18" fmla="*/ 2147483647 w 256"/>
                <a:gd name="T19" fmla="*/ 2147483647 h 393"/>
                <a:gd name="T20" fmla="*/ 2147483647 w 256"/>
                <a:gd name="T21" fmla="*/ 2147483647 h 393"/>
                <a:gd name="T22" fmla="*/ 2147483647 w 256"/>
                <a:gd name="T23" fmla="*/ 2147483647 h 3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6"/>
                <a:gd name="T37" fmla="*/ 0 h 393"/>
                <a:gd name="T38" fmla="*/ 256 w 256"/>
                <a:gd name="T39" fmla="*/ 393 h 3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6" h="393">
                  <a:moveTo>
                    <a:pt x="204" y="299"/>
                  </a:moveTo>
                  <a:cubicBezTo>
                    <a:pt x="198" y="327"/>
                    <a:pt x="194" y="345"/>
                    <a:pt x="193" y="346"/>
                  </a:cubicBezTo>
                  <a:cubicBezTo>
                    <a:pt x="188" y="350"/>
                    <a:pt x="175" y="335"/>
                    <a:pt x="169" y="337"/>
                  </a:cubicBezTo>
                  <a:cubicBezTo>
                    <a:pt x="162" y="340"/>
                    <a:pt x="167" y="368"/>
                    <a:pt x="167" y="375"/>
                  </a:cubicBezTo>
                  <a:cubicBezTo>
                    <a:pt x="167" y="380"/>
                    <a:pt x="166" y="387"/>
                    <a:pt x="164" y="393"/>
                  </a:cubicBezTo>
                  <a:cubicBezTo>
                    <a:pt x="0" y="147"/>
                    <a:pt x="0" y="147"/>
                    <a:pt x="0" y="147"/>
                  </a:cubicBezTo>
                  <a:cubicBezTo>
                    <a:pt x="43" y="0"/>
                    <a:pt x="43" y="0"/>
                    <a:pt x="43" y="0"/>
                  </a:cubicBezTo>
                  <a:cubicBezTo>
                    <a:pt x="96" y="15"/>
                    <a:pt x="96" y="15"/>
                    <a:pt x="96" y="15"/>
                  </a:cubicBezTo>
                  <a:cubicBezTo>
                    <a:pt x="148" y="27"/>
                    <a:pt x="148" y="27"/>
                    <a:pt x="148" y="27"/>
                  </a:cubicBezTo>
                  <a:cubicBezTo>
                    <a:pt x="180" y="34"/>
                    <a:pt x="180" y="34"/>
                    <a:pt x="180" y="34"/>
                  </a:cubicBezTo>
                  <a:cubicBezTo>
                    <a:pt x="256" y="51"/>
                    <a:pt x="256" y="51"/>
                    <a:pt x="256" y="51"/>
                  </a:cubicBezTo>
                  <a:cubicBezTo>
                    <a:pt x="256" y="51"/>
                    <a:pt x="223" y="216"/>
                    <a:pt x="204" y="299"/>
                  </a:cubicBezTo>
                  <a:close/>
                </a:path>
              </a:pathLst>
            </a:custGeom>
            <a:solidFill>
              <a:srgbClr val="EBE6E6">
                <a:lumMod val="5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7" name="Freeform 453"/>
            <p:cNvSpPr>
              <a:spLocks/>
            </p:cNvSpPr>
            <p:nvPr>
              <p:custDataLst>
                <p:tags r:id="rId54"/>
              </p:custDataLst>
            </p:nvPr>
          </p:nvSpPr>
          <p:spPr bwMode="auto">
            <a:xfrm>
              <a:off x="1247194" y="2070715"/>
              <a:ext cx="480313" cy="771125"/>
            </a:xfrm>
            <a:custGeom>
              <a:avLst/>
              <a:gdLst>
                <a:gd name="T0" fmla="*/ 2147483647 w 240"/>
                <a:gd name="T1" fmla="*/ 0 h 386"/>
                <a:gd name="T2" fmla="*/ 2147483647 w 240"/>
                <a:gd name="T3" fmla="*/ 1679698936 h 386"/>
                <a:gd name="T4" fmla="*/ 2147483647 w 240"/>
                <a:gd name="T5" fmla="*/ 1679698936 h 386"/>
                <a:gd name="T6" fmla="*/ 2147483647 w 240"/>
                <a:gd name="T7" fmla="*/ 2147483647 h 386"/>
                <a:gd name="T8" fmla="*/ 2147483647 w 240"/>
                <a:gd name="T9" fmla="*/ 2147483647 h 386"/>
                <a:gd name="T10" fmla="*/ 2147483647 w 240"/>
                <a:gd name="T11" fmla="*/ 2147483647 h 386"/>
                <a:gd name="T12" fmla="*/ 2147483647 w 240"/>
                <a:gd name="T13" fmla="*/ 2147483647 h 386"/>
                <a:gd name="T14" fmla="*/ 2147483647 w 240"/>
                <a:gd name="T15" fmla="*/ 2147483647 h 386"/>
                <a:gd name="T16" fmla="*/ 2147483647 w 240"/>
                <a:gd name="T17" fmla="*/ 2147483647 h 386"/>
                <a:gd name="T18" fmla="*/ 2147483647 w 240"/>
                <a:gd name="T19" fmla="*/ 2147483647 h 386"/>
                <a:gd name="T20" fmla="*/ 2147483647 w 240"/>
                <a:gd name="T21" fmla="*/ 2147483647 h 386"/>
                <a:gd name="T22" fmla="*/ 2147483647 w 240"/>
                <a:gd name="T23" fmla="*/ 2147483647 h 386"/>
                <a:gd name="T24" fmla="*/ 2147483647 w 240"/>
                <a:gd name="T25" fmla="*/ 2147483647 h 386"/>
                <a:gd name="T26" fmla="*/ 2147483647 w 240"/>
                <a:gd name="T27" fmla="*/ 2147483647 h 386"/>
                <a:gd name="T28" fmla="*/ 2147483647 w 240"/>
                <a:gd name="T29" fmla="*/ 2147483647 h 386"/>
                <a:gd name="T30" fmla="*/ 2147483647 w 240"/>
                <a:gd name="T31" fmla="*/ 2147483647 h 386"/>
                <a:gd name="T32" fmla="*/ 2147483647 w 240"/>
                <a:gd name="T33" fmla="*/ 2147483647 h 386"/>
                <a:gd name="T34" fmla="*/ 2147483647 w 240"/>
                <a:gd name="T35" fmla="*/ 2147483647 h 386"/>
                <a:gd name="T36" fmla="*/ 2147483647 w 240"/>
                <a:gd name="T37" fmla="*/ 2147483647 h 386"/>
                <a:gd name="T38" fmla="*/ 2147483647 w 240"/>
                <a:gd name="T39" fmla="*/ 2147483647 h 386"/>
                <a:gd name="T40" fmla="*/ 2147483647 w 240"/>
                <a:gd name="T41" fmla="*/ 2147483647 h 386"/>
                <a:gd name="T42" fmla="*/ 2147483647 w 240"/>
                <a:gd name="T43" fmla="*/ 2147483647 h 386"/>
                <a:gd name="T44" fmla="*/ 2147483647 w 240"/>
                <a:gd name="T45" fmla="*/ 2147483647 h 386"/>
                <a:gd name="T46" fmla="*/ 2147483647 w 240"/>
                <a:gd name="T47" fmla="*/ 2147483647 h 386"/>
                <a:gd name="T48" fmla="*/ 2147483647 w 240"/>
                <a:gd name="T49" fmla="*/ 2147483647 h 386"/>
                <a:gd name="T50" fmla="*/ 0 w 240"/>
                <a:gd name="T51" fmla="*/ 2147483647 h 386"/>
                <a:gd name="T52" fmla="*/ 2147483647 w 240"/>
                <a:gd name="T53" fmla="*/ 2147483647 h 386"/>
                <a:gd name="T54" fmla="*/ 2147483647 w 240"/>
                <a:gd name="T55" fmla="*/ 2147483647 h 386"/>
                <a:gd name="T56" fmla="*/ 2147483647 w 240"/>
                <a:gd name="T57" fmla="*/ 2147483647 h 386"/>
                <a:gd name="T58" fmla="*/ 2147483647 w 240"/>
                <a:gd name="T59" fmla="*/ 2147483647 h 386"/>
                <a:gd name="T60" fmla="*/ 2147483647 w 240"/>
                <a:gd name="T61" fmla="*/ 2147483647 h 386"/>
                <a:gd name="T62" fmla="*/ 2147483647 w 240"/>
                <a:gd name="T63" fmla="*/ 2147483647 h 386"/>
                <a:gd name="T64" fmla="*/ 2147483647 w 240"/>
                <a:gd name="T65" fmla="*/ 2147483647 h 386"/>
                <a:gd name="T66" fmla="*/ 2147483647 w 240"/>
                <a:gd name="T67" fmla="*/ 2147483647 h 386"/>
                <a:gd name="T68" fmla="*/ 2147483647 w 240"/>
                <a:gd name="T69" fmla="*/ 1679698936 h 386"/>
                <a:gd name="T70" fmla="*/ 2147483647 w 240"/>
                <a:gd name="T71" fmla="*/ 0 h 386"/>
                <a:gd name="T72" fmla="*/ 2147483647 w 240"/>
                <a:gd name="T73" fmla="*/ 0 h 38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0"/>
                <a:gd name="T112" fmla="*/ 0 h 386"/>
                <a:gd name="T113" fmla="*/ 240 w 240"/>
                <a:gd name="T114" fmla="*/ 386 h 38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0" h="386">
                  <a:moveTo>
                    <a:pt x="92" y="0"/>
                  </a:moveTo>
                  <a:cubicBezTo>
                    <a:pt x="97" y="1"/>
                    <a:pt x="109" y="4"/>
                    <a:pt x="124" y="8"/>
                  </a:cubicBezTo>
                  <a:cubicBezTo>
                    <a:pt x="124" y="8"/>
                    <a:pt x="124" y="8"/>
                    <a:pt x="124" y="8"/>
                  </a:cubicBezTo>
                  <a:cubicBezTo>
                    <a:pt x="117" y="33"/>
                    <a:pt x="117" y="33"/>
                    <a:pt x="117" y="33"/>
                  </a:cubicBezTo>
                  <a:cubicBezTo>
                    <a:pt x="117" y="33"/>
                    <a:pt x="110" y="51"/>
                    <a:pt x="110" y="56"/>
                  </a:cubicBezTo>
                  <a:cubicBezTo>
                    <a:pt x="109" y="61"/>
                    <a:pt x="113" y="65"/>
                    <a:pt x="116" y="69"/>
                  </a:cubicBezTo>
                  <a:cubicBezTo>
                    <a:pt x="119" y="74"/>
                    <a:pt x="112" y="79"/>
                    <a:pt x="112" y="85"/>
                  </a:cubicBezTo>
                  <a:cubicBezTo>
                    <a:pt x="112" y="91"/>
                    <a:pt x="115" y="93"/>
                    <a:pt x="122" y="97"/>
                  </a:cubicBezTo>
                  <a:cubicBezTo>
                    <a:pt x="129" y="101"/>
                    <a:pt x="130" y="117"/>
                    <a:pt x="133" y="125"/>
                  </a:cubicBezTo>
                  <a:cubicBezTo>
                    <a:pt x="137" y="134"/>
                    <a:pt x="146" y="134"/>
                    <a:pt x="151" y="137"/>
                  </a:cubicBezTo>
                  <a:cubicBezTo>
                    <a:pt x="155" y="139"/>
                    <a:pt x="145" y="161"/>
                    <a:pt x="143" y="167"/>
                  </a:cubicBezTo>
                  <a:cubicBezTo>
                    <a:pt x="142" y="173"/>
                    <a:pt x="135" y="171"/>
                    <a:pt x="132" y="176"/>
                  </a:cubicBezTo>
                  <a:cubicBezTo>
                    <a:pt x="129" y="181"/>
                    <a:pt x="129" y="189"/>
                    <a:pt x="135" y="193"/>
                  </a:cubicBezTo>
                  <a:cubicBezTo>
                    <a:pt x="141" y="198"/>
                    <a:pt x="153" y="187"/>
                    <a:pt x="157" y="191"/>
                  </a:cubicBezTo>
                  <a:cubicBezTo>
                    <a:pt x="161" y="195"/>
                    <a:pt x="156" y="217"/>
                    <a:pt x="157" y="223"/>
                  </a:cubicBezTo>
                  <a:cubicBezTo>
                    <a:pt x="157" y="230"/>
                    <a:pt x="166" y="228"/>
                    <a:pt x="171" y="235"/>
                  </a:cubicBezTo>
                  <a:cubicBezTo>
                    <a:pt x="175" y="243"/>
                    <a:pt x="171" y="248"/>
                    <a:pt x="173" y="253"/>
                  </a:cubicBezTo>
                  <a:cubicBezTo>
                    <a:pt x="174" y="259"/>
                    <a:pt x="182" y="259"/>
                    <a:pt x="187" y="259"/>
                  </a:cubicBezTo>
                  <a:cubicBezTo>
                    <a:pt x="191" y="259"/>
                    <a:pt x="200" y="254"/>
                    <a:pt x="205" y="253"/>
                  </a:cubicBezTo>
                  <a:cubicBezTo>
                    <a:pt x="209" y="251"/>
                    <a:pt x="223" y="257"/>
                    <a:pt x="227" y="257"/>
                  </a:cubicBezTo>
                  <a:cubicBezTo>
                    <a:pt x="240" y="260"/>
                    <a:pt x="240" y="260"/>
                    <a:pt x="240" y="260"/>
                  </a:cubicBezTo>
                  <a:cubicBezTo>
                    <a:pt x="217" y="386"/>
                    <a:pt x="217" y="386"/>
                    <a:pt x="217" y="386"/>
                  </a:cubicBezTo>
                  <a:cubicBezTo>
                    <a:pt x="137" y="372"/>
                    <a:pt x="137" y="372"/>
                    <a:pt x="137" y="372"/>
                  </a:cubicBezTo>
                  <a:cubicBezTo>
                    <a:pt x="108" y="366"/>
                    <a:pt x="108" y="366"/>
                    <a:pt x="108" y="366"/>
                  </a:cubicBezTo>
                  <a:cubicBezTo>
                    <a:pt x="32" y="349"/>
                    <a:pt x="32" y="349"/>
                    <a:pt x="32" y="349"/>
                  </a:cubicBezTo>
                  <a:cubicBezTo>
                    <a:pt x="0" y="342"/>
                    <a:pt x="0" y="342"/>
                    <a:pt x="0" y="342"/>
                  </a:cubicBezTo>
                  <a:cubicBezTo>
                    <a:pt x="22" y="259"/>
                    <a:pt x="22" y="259"/>
                    <a:pt x="22" y="259"/>
                  </a:cubicBezTo>
                  <a:cubicBezTo>
                    <a:pt x="26" y="251"/>
                    <a:pt x="30" y="243"/>
                    <a:pt x="31" y="237"/>
                  </a:cubicBezTo>
                  <a:cubicBezTo>
                    <a:pt x="33" y="232"/>
                    <a:pt x="19" y="230"/>
                    <a:pt x="22" y="224"/>
                  </a:cubicBezTo>
                  <a:cubicBezTo>
                    <a:pt x="26" y="216"/>
                    <a:pt x="39" y="207"/>
                    <a:pt x="44" y="201"/>
                  </a:cubicBezTo>
                  <a:cubicBezTo>
                    <a:pt x="49" y="195"/>
                    <a:pt x="67" y="175"/>
                    <a:pt x="65" y="167"/>
                  </a:cubicBezTo>
                  <a:cubicBezTo>
                    <a:pt x="63" y="160"/>
                    <a:pt x="54" y="157"/>
                    <a:pt x="53" y="150"/>
                  </a:cubicBezTo>
                  <a:cubicBezTo>
                    <a:pt x="53" y="149"/>
                    <a:pt x="53" y="148"/>
                    <a:pt x="53" y="147"/>
                  </a:cubicBezTo>
                  <a:cubicBezTo>
                    <a:pt x="53" y="140"/>
                    <a:pt x="55" y="131"/>
                    <a:pt x="55" y="131"/>
                  </a:cubicBezTo>
                  <a:cubicBezTo>
                    <a:pt x="91" y="1"/>
                    <a:pt x="91" y="1"/>
                    <a:pt x="91" y="1"/>
                  </a:cubicBezTo>
                  <a:cubicBezTo>
                    <a:pt x="91" y="0"/>
                    <a:pt x="91" y="0"/>
                    <a:pt x="91" y="0"/>
                  </a:cubicBezTo>
                  <a:cubicBezTo>
                    <a:pt x="92" y="0"/>
                    <a:pt x="92" y="0"/>
                    <a:pt x="92" y="0"/>
                  </a:cubicBezTo>
                  <a:close/>
                </a:path>
              </a:pathLst>
            </a:custGeom>
            <a:solidFill>
              <a:srgbClr val="EBE6E6">
                <a:lumMod val="5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8" name="Freeform 454"/>
            <p:cNvSpPr>
              <a:spLocks/>
            </p:cNvSpPr>
            <p:nvPr>
              <p:custDataLst>
                <p:tags r:id="rId55"/>
              </p:custDataLst>
            </p:nvPr>
          </p:nvSpPr>
          <p:spPr bwMode="auto">
            <a:xfrm>
              <a:off x="900301" y="1969321"/>
              <a:ext cx="528344" cy="394901"/>
            </a:xfrm>
            <a:custGeom>
              <a:avLst/>
              <a:gdLst>
                <a:gd name="T0" fmla="*/ 2147483647 w 265"/>
                <a:gd name="T1" fmla="*/ 2147483647 h 198"/>
                <a:gd name="T2" fmla="*/ 2147483647 w 265"/>
                <a:gd name="T3" fmla="*/ 2147483647 h 198"/>
                <a:gd name="T4" fmla="*/ 2147483647 w 265"/>
                <a:gd name="T5" fmla="*/ 2147483647 h 198"/>
                <a:gd name="T6" fmla="*/ 2147483647 w 265"/>
                <a:gd name="T7" fmla="*/ 2147483647 h 198"/>
                <a:gd name="T8" fmla="*/ 2147483647 w 265"/>
                <a:gd name="T9" fmla="*/ 2147483647 h 198"/>
                <a:gd name="T10" fmla="*/ 2147483647 w 265"/>
                <a:gd name="T11" fmla="*/ 2147483647 h 198"/>
                <a:gd name="T12" fmla="*/ 2147483647 w 265"/>
                <a:gd name="T13" fmla="*/ 2147483647 h 198"/>
                <a:gd name="T14" fmla="*/ 2147483647 w 265"/>
                <a:gd name="T15" fmla="*/ 2147483647 h 198"/>
                <a:gd name="T16" fmla="*/ 2147483647 w 265"/>
                <a:gd name="T17" fmla="*/ 2147483647 h 198"/>
                <a:gd name="T18" fmla="*/ 2147483647 w 265"/>
                <a:gd name="T19" fmla="*/ 2147483647 h 198"/>
                <a:gd name="T20" fmla="*/ 2147483647 w 265"/>
                <a:gd name="T21" fmla="*/ 2147483647 h 198"/>
                <a:gd name="T22" fmla="*/ 0 w 265"/>
                <a:gd name="T23" fmla="*/ 2147483647 h 198"/>
                <a:gd name="T24" fmla="*/ 1668594856 w 265"/>
                <a:gd name="T25" fmla="*/ 2147483647 h 198"/>
                <a:gd name="T26" fmla="*/ 1668594856 w 265"/>
                <a:gd name="T27" fmla="*/ 2147483647 h 198"/>
                <a:gd name="T28" fmla="*/ 2147483647 w 265"/>
                <a:gd name="T29" fmla="*/ 2147483647 h 198"/>
                <a:gd name="T30" fmla="*/ 2147483647 w 265"/>
                <a:gd name="T31" fmla="*/ 1671365476 h 198"/>
                <a:gd name="T32" fmla="*/ 2147483647 w 265"/>
                <a:gd name="T33" fmla="*/ 2147483647 h 198"/>
                <a:gd name="T34" fmla="*/ 2147483647 w 265"/>
                <a:gd name="T35" fmla="*/ 2147483647 h 198"/>
                <a:gd name="T36" fmla="*/ 2147483647 w 265"/>
                <a:gd name="T37" fmla="*/ 2147483647 h 198"/>
                <a:gd name="T38" fmla="*/ 2147483647 w 265"/>
                <a:gd name="T39" fmla="*/ 2147483647 h 198"/>
                <a:gd name="T40" fmla="*/ 2147483647 w 265"/>
                <a:gd name="T41" fmla="*/ 2147483647 h 198"/>
                <a:gd name="T42" fmla="*/ 2147483647 w 265"/>
                <a:gd name="T43" fmla="*/ 2147483647 h 198"/>
                <a:gd name="T44" fmla="*/ 2147483647 w 265"/>
                <a:gd name="T45" fmla="*/ 2147483647 h 198"/>
                <a:gd name="T46" fmla="*/ 2147483647 w 265"/>
                <a:gd name="T47" fmla="*/ 2147483647 h 198"/>
                <a:gd name="T48" fmla="*/ 2147483647 w 265"/>
                <a:gd name="T49" fmla="*/ 2147483647 h 198"/>
                <a:gd name="T50" fmla="*/ 2147483647 w 265"/>
                <a:gd name="T51" fmla="*/ 2147483647 h 198"/>
                <a:gd name="T52" fmla="*/ 2147483647 w 265"/>
                <a:gd name="T53" fmla="*/ 2147483647 h 198"/>
                <a:gd name="T54" fmla="*/ 2147483647 w 265"/>
                <a:gd name="T55" fmla="*/ 2147483647 h 198"/>
                <a:gd name="T56" fmla="*/ 2147483647 w 265"/>
                <a:gd name="T57" fmla="*/ 1671365476 h 198"/>
                <a:gd name="T58" fmla="*/ 2147483647 w 265"/>
                <a:gd name="T59" fmla="*/ 1671365476 h 198"/>
                <a:gd name="T60" fmla="*/ 2147483647 w 265"/>
                <a:gd name="T61" fmla="*/ 2147483647 h 1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5"/>
                <a:gd name="T94" fmla="*/ 0 h 198"/>
                <a:gd name="T95" fmla="*/ 265 w 265"/>
                <a:gd name="T96" fmla="*/ 198 h 1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5" h="198">
                  <a:moveTo>
                    <a:pt x="265" y="51"/>
                  </a:moveTo>
                  <a:cubicBezTo>
                    <a:pt x="265" y="52"/>
                    <a:pt x="265" y="52"/>
                    <a:pt x="265" y="52"/>
                  </a:cubicBezTo>
                  <a:cubicBezTo>
                    <a:pt x="229" y="182"/>
                    <a:pt x="229" y="182"/>
                    <a:pt x="229" y="182"/>
                  </a:cubicBezTo>
                  <a:cubicBezTo>
                    <a:pt x="229" y="182"/>
                    <a:pt x="227" y="191"/>
                    <a:pt x="227" y="198"/>
                  </a:cubicBezTo>
                  <a:cubicBezTo>
                    <a:pt x="155" y="180"/>
                    <a:pt x="155" y="180"/>
                    <a:pt x="155" y="180"/>
                  </a:cubicBezTo>
                  <a:cubicBezTo>
                    <a:pt x="140" y="177"/>
                    <a:pt x="118" y="182"/>
                    <a:pt x="108" y="183"/>
                  </a:cubicBezTo>
                  <a:cubicBezTo>
                    <a:pt x="98" y="184"/>
                    <a:pt x="87" y="181"/>
                    <a:pt x="85" y="179"/>
                  </a:cubicBezTo>
                  <a:cubicBezTo>
                    <a:pt x="82" y="177"/>
                    <a:pt x="70" y="171"/>
                    <a:pt x="63" y="170"/>
                  </a:cubicBezTo>
                  <a:cubicBezTo>
                    <a:pt x="58" y="170"/>
                    <a:pt x="43" y="172"/>
                    <a:pt x="39" y="169"/>
                  </a:cubicBezTo>
                  <a:cubicBezTo>
                    <a:pt x="35" y="166"/>
                    <a:pt x="28" y="166"/>
                    <a:pt x="31" y="158"/>
                  </a:cubicBezTo>
                  <a:cubicBezTo>
                    <a:pt x="35" y="150"/>
                    <a:pt x="30" y="136"/>
                    <a:pt x="25" y="132"/>
                  </a:cubicBezTo>
                  <a:cubicBezTo>
                    <a:pt x="23" y="129"/>
                    <a:pt x="10" y="125"/>
                    <a:pt x="0" y="123"/>
                  </a:cubicBezTo>
                  <a:cubicBezTo>
                    <a:pt x="1" y="120"/>
                    <a:pt x="1" y="118"/>
                    <a:pt x="1" y="117"/>
                  </a:cubicBezTo>
                  <a:cubicBezTo>
                    <a:pt x="2" y="106"/>
                    <a:pt x="10" y="55"/>
                    <a:pt x="10" y="45"/>
                  </a:cubicBezTo>
                  <a:cubicBezTo>
                    <a:pt x="10" y="35"/>
                    <a:pt x="7" y="22"/>
                    <a:pt x="12" y="16"/>
                  </a:cubicBezTo>
                  <a:cubicBezTo>
                    <a:pt x="17" y="10"/>
                    <a:pt x="12" y="7"/>
                    <a:pt x="17" y="10"/>
                  </a:cubicBezTo>
                  <a:cubicBezTo>
                    <a:pt x="22" y="14"/>
                    <a:pt x="33" y="29"/>
                    <a:pt x="40" y="32"/>
                  </a:cubicBezTo>
                  <a:cubicBezTo>
                    <a:pt x="48" y="34"/>
                    <a:pt x="64" y="36"/>
                    <a:pt x="66" y="41"/>
                  </a:cubicBezTo>
                  <a:cubicBezTo>
                    <a:pt x="68" y="46"/>
                    <a:pt x="73" y="53"/>
                    <a:pt x="70" y="55"/>
                  </a:cubicBezTo>
                  <a:cubicBezTo>
                    <a:pt x="68" y="58"/>
                    <a:pt x="44" y="68"/>
                    <a:pt x="49" y="73"/>
                  </a:cubicBezTo>
                  <a:cubicBezTo>
                    <a:pt x="53" y="78"/>
                    <a:pt x="58" y="77"/>
                    <a:pt x="58" y="81"/>
                  </a:cubicBezTo>
                  <a:cubicBezTo>
                    <a:pt x="57" y="85"/>
                    <a:pt x="44" y="85"/>
                    <a:pt x="49" y="89"/>
                  </a:cubicBezTo>
                  <a:cubicBezTo>
                    <a:pt x="55" y="93"/>
                    <a:pt x="61" y="91"/>
                    <a:pt x="68" y="88"/>
                  </a:cubicBezTo>
                  <a:cubicBezTo>
                    <a:pt x="74" y="84"/>
                    <a:pt x="80" y="78"/>
                    <a:pt x="78" y="72"/>
                  </a:cubicBezTo>
                  <a:cubicBezTo>
                    <a:pt x="77" y="65"/>
                    <a:pt x="73" y="64"/>
                    <a:pt x="78" y="59"/>
                  </a:cubicBezTo>
                  <a:cubicBezTo>
                    <a:pt x="83" y="55"/>
                    <a:pt x="87" y="59"/>
                    <a:pt x="86" y="51"/>
                  </a:cubicBezTo>
                  <a:cubicBezTo>
                    <a:pt x="85" y="43"/>
                    <a:pt x="83" y="40"/>
                    <a:pt x="83" y="31"/>
                  </a:cubicBezTo>
                  <a:cubicBezTo>
                    <a:pt x="83" y="22"/>
                    <a:pt x="87" y="23"/>
                    <a:pt x="88" y="20"/>
                  </a:cubicBezTo>
                  <a:cubicBezTo>
                    <a:pt x="88" y="16"/>
                    <a:pt x="82" y="15"/>
                    <a:pt x="83" y="10"/>
                  </a:cubicBezTo>
                  <a:cubicBezTo>
                    <a:pt x="83" y="6"/>
                    <a:pt x="82" y="0"/>
                    <a:pt x="86" y="2"/>
                  </a:cubicBezTo>
                  <a:cubicBezTo>
                    <a:pt x="90" y="4"/>
                    <a:pt x="239" y="45"/>
                    <a:pt x="265" y="51"/>
                  </a:cubicBezTo>
                  <a:close/>
                </a:path>
              </a:pathLst>
            </a:custGeom>
            <a:solidFill>
              <a:srgbClr val="EBE6E6">
                <a:lumMod val="5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9" name="Freeform 455"/>
            <p:cNvSpPr>
              <a:spLocks/>
            </p:cNvSpPr>
            <p:nvPr>
              <p:custDataLst>
                <p:tags r:id="rId56"/>
              </p:custDataLst>
            </p:nvPr>
          </p:nvSpPr>
          <p:spPr bwMode="auto">
            <a:xfrm>
              <a:off x="740197" y="2214800"/>
              <a:ext cx="643086" cy="538987"/>
            </a:xfrm>
            <a:custGeom>
              <a:avLst/>
              <a:gdLst>
                <a:gd name="T0" fmla="*/ 2147483647 w 322"/>
                <a:gd name="T1" fmla="*/ 2147483647 h 270"/>
                <a:gd name="T2" fmla="*/ 2147483647 w 322"/>
                <a:gd name="T3" fmla="*/ 2147483647 h 270"/>
                <a:gd name="T4" fmla="*/ 2147483647 w 322"/>
                <a:gd name="T5" fmla="*/ 2147483647 h 270"/>
                <a:gd name="T6" fmla="*/ 2147483647 w 322"/>
                <a:gd name="T7" fmla="*/ 2147483647 h 270"/>
                <a:gd name="T8" fmla="*/ 2147483647 w 322"/>
                <a:gd name="T9" fmla="*/ 2147483647 h 270"/>
                <a:gd name="T10" fmla="*/ 2147483647 w 322"/>
                <a:gd name="T11" fmla="*/ 2147483647 h 270"/>
                <a:gd name="T12" fmla="*/ 2147483647 w 322"/>
                <a:gd name="T13" fmla="*/ 2147483647 h 270"/>
                <a:gd name="T14" fmla="*/ 2147483647 w 322"/>
                <a:gd name="T15" fmla="*/ 2147483647 h 270"/>
                <a:gd name="T16" fmla="*/ 2147483647 w 322"/>
                <a:gd name="T17" fmla="*/ 2147483647 h 270"/>
                <a:gd name="T18" fmla="*/ 0 w 322"/>
                <a:gd name="T19" fmla="*/ 2147483647 h 270"/>
                <a:gd name="T20" fmla="*/ 1677132718 w 322"/>
                <a:gd name="T21" fmla="*/ 2147483647 h 270"/>
                <a:gd name="T22" fmla="*/ 2147483647 w 322"/>
                <a:gd name="T23" fmla="*/ 2147483647 h 270"/>
                <a:gd name="T24" fmla="*/ 2147483647 w 322"/>
                <a:gd name="T25" fmla="*/ 0 h 270"/>
                <a:gd name="T26" fmla="*/ 2147483647 w 322"/>
                <a:gd name="T27" fmla="*/ 1675788166 h 270"/>
                <a:gd name="T28" fmla="*/ 2147483647 w 322"/>
                <a:gd name="T29" fmla="*/ 2147483647 h 270"/>
                <a:gd name="T30" fmla="*/ 2147483647 w 322"/>
                <a:gd name="T31" fmla="*/ 2147483647 h 270"/>
                <a:gd name="T32" fmla="*/ 2147483647 w 322"/>
                <a:gd name="T33" fmla="*/ 2147483647 h 270"/>
                <a:gd name="T34" fmla="*/ 2147483647 w 322"/>
                <a:gd name="T35" fmla="*/ 2147483647 h 270"/>
                <a:gd name="T36" fmla="*/ 2147483647 w 322"/>
                <a:gd name="T37" fmla="*/ 2147483647 h 270"/>
                <a:gd name="T38" fmla="*/ 2147483647 w 322"/>
                <a:gd name="T39" fmla="*/ 2147483647 h 270"/>
                <a:gd name="T40" fmla="*/ 2147483647 w 322"/>
                <a:gd name="T41" fmla="*/ 2147483647 h 270"/>
                <a:gd name="T42" fmla="*/ 2147483647 w 322"/>
                <a:gd name="T43" fmla="*/ 2147483647 h 270"/>
                <a:gd name="T44" fmla="*/ 2147483647 w 322"/>
                <a:gd name="T45" fmla="*/ 2147483647 h 2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2"/>
                <a:gd name="T70" fmla="*/ 0 h 270"/>
                <a:gd name="T71" fmla="*/ 322 w 322"/>
                <a:gd name="T72" fmla="*/ 270 h 2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2" h="270">
                  <a:moveTo>
                    <a:pt x="320" y="95"/>
                  </a:moveTo>
                  <a:cubicBezTo>
                    <a:pt x="322" y="103"/>
                    <a:pt x="304" y="123"/>
                    <a:pt x="299" y="129"/>
                  </a:cubicBezTo>
                  <a:cubicBezTo>
                    <a:pt x="294" y="135"/>
                    <a:pt x="281" y="144"/>
                    <a:pt x="277" y="152"/>
                  </a:cubicBezTo>
                  <a:cubicBezTo>
                    <a:pt x="274" y="158"/>
                    <a:pt x="288" y="160"/>
                    <a:pt x="286" y="165"/>
                  </a:cubicBezTo>
                  <a:cubicBezTo>
                    <a:pt x="285" y="171"/>
                    <a:pt x="281" y="179"/>
                    <a:pt x="277" y="187"/>
                  </a:cubicBezTo>
                  <a:cubicBezTo>
                    <a:pt x="255" y="270"/>
                    <a:pt x="255" y="270"/>
                    <a:pt x="255" y="270"/>
                  </a:cubicBezTo>
                  <a:cubicBezTo>
                    <a:pt x="203" y="258"/>
                    <a:pt x="203" y="258"/>
                    <a:pt x="203" y="258"/>
                  </a:cubicBezTo>
                  <a:cubicBezTo>
                    <a:pt x="150" y="243"/>
                    <a:pt x="150" y="243"/>
                    <a:pt x="150" y="243"/>
                  </a:cubicBezTo>
                  <a:cubicBezTo>
                    <a:pt x="107" y="231"/>
                    <a:pt x="107" y="231"/>
                    <a:pt x="107" y="231"/>
                  </a:cubicBezTo>
                  <a:cubicBezTo>
                    <a:pt x="0" y="195"/>
                    <a:pt x="0" y="195"/>
                    <a:pt x="0" y="195"/>
                  </a:cubicBezTo>
                  <a:cubicBezTo>
                    <a:pt x="1" y="181"/>
                    <a:pt x="2" y="168"/>
                    <a:pt x="4" y="161"/>
                  </a:cubicBezTo>
                  <a:cubicBezTo>
                    <a:pt x="8" y="149"/>
                    <a:pt x="37" y="106"/>
                    <a:pt x="45" y="88"/>
                  </a:cubicBezTo>
                  <a:cubicBezTo>
                    <a:pt x="53" y="71"/>
                    <a:pt x="75" y="19"/>
                    <a:pt x="81" y="0"/>
                  </a:cubicBezTo>
                  <a:cubicBezTo>
                    <a:pt x="91" y="2"/>
                    <a:pt x="104" y="6"/>
                    <a:pt x="106" y="9"/>
                  </a:cubicBezTo>
                  <a:cubicBezTo>
                    <a:pt x="111" y="13"/>
                    <a:pt x="116" y="27"/>
                    <a:pt x="112" y="35"/>
                  </a:cubicBezTo>
                  <a:cubicBezTo>
                    <a:pt x="109" y="43"/>
                    <a:pt x="116" y="43"/>
                    <a:pt x="120" y="46"/>
                  </a:cubicBezTo>
                  <a:cubicBezTo>
                    <a:pt x="124" y="49"/>
                    <a:pt x="139" y="47"/>
                    <a:pt x="144" y="47"/>
                  </a:cubicBezTo>
                  <a:cubicBezTo>
                    <a:pt x="151" y="48"/>
                    <a:pt x="163" y="54"/>
                    <a:pt x="166" y="56"/>
                  </a:cubicBezTo>
                  <a:cubicBezTo>
                    <a:pt x="168" y="58"/>
                    <a:pt x="179" y="61"/>
                    <a:pt x="189" y="60"/>
                  </a:cubicBezTo>
                  <a:cubicBezTo>
                    <a:pt x="199" y="59"/>
                    <a:pt x="221" y="54"/>
                    <a:pt x="236" y="57"/>
                  </a:cubicBezTo>
                  <a:cubicBezTo>
                    <a:pt x="308" y="75"/>
                    <a:pt x="308" y="75"/>
                    <a:pt x="308" y="75"/>
                  </a:cubicBezTo>
                  <a:cubicBezTo>
                    <a:pt x="308" y="76"/>
                    <a:pt x="308" y="77"/>
                    <a:pt x="308" y="78"/>
                  </a:cubicBezTo>
                  <a:cubicBezTo>
                    <a:pt x="309" y="85"/>
                    <a:pt x="318" y="88"/>
                    <a:pt x="320" y="95"/>
                  </a:cubicBezTo>
                  <a:close/>
                </a:path>
              </a:pathLst>
            </a:custGeom>
            <a:solidFill>
              <a:srgbClr val="EBE6E6">
                <a:lumMod val="5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0" name="Freeform 457"/>
            <p:cNvSpPr>
              <a:spLocks/>
            </p:cNvSpPr>
            <p:nvPr>
              <p:custDataLst>
                <p:tags r:id="rId57"/>
              </p:custDataLst>
            </p:nvPr>
          </p:nvSpPr>
          <p:spPr bwMode="auto">
            <a:xfrm>
              <a:off x="665481" y="2604365"/>
              <a:ext cx="643086" cy="1109992"/>
            </a:xfrm>
            <a:custGeom>
              <a:avLst/>
              <a:gdLst>
                <a:gd name="T0" fmla="*/ 2147483647 w 322"/>
                <a:gd name="T1" fmla="*/ 2147483647 h 555"/>
                <a:gd name="T2" fmla="*/ 2147483647 w 322"/>
                <a:gd name="T3" fmla="*/ 2147483647 h 555"/>
                <a:gd name="T4" fmla="*/ 2147483647 w 322"/>
                <a:gd name="T5" fmla="*/ 2147483647 h 555"/>
                <a:gd name="T6" fmla="*/ 2147483647 w 322"/>
                <a:gd name="T7" fmla="*/ 2147483647 h 555"/>
                <a:gd name="T8" fmla="*/ 2147483647 w 322"/>
                <a:gd name="T9" fmla="*/ 2147483647 h 555"/>
                <a:gd name="T10" fmla="*/ 2147483647 w 322"/>
                <a:gd name="T11" fmla="*/ 2147483647 h 555"/>
                <a:gd name="T12" fmla="*/ 2147483647 w 322"/>
                <a:gd name="T13" fmla="*/ 2147483647 h 555"/>
                <a:gd name="T14" fmla="*/ 2147483647 w 322"/>
                <a:gd name="T15" fmla="*/ 2147483647 h 555"/>
                <a:gd name="T16" fmla="*/ 2147483647 w 322"/>
                <a:gd name="T17" fmla="*/ 2147483647 h 555"/>
                <a:gd name="T18" fmla="*/ 2147483647 w 322"/>
                <a:gd name="T19" fmla="*/ 2147483647 h 555"/>
                <a:gd name="T20" fmla="*/ 2147483647 w 322"/>
                <a:gd name="T21" fmla="*/ 2147483647 h 555"/>
                <a:gd name="T22" fmla="*/ 2147483647 w 322"/>
                <a:gd name="T23" fmla="*/ 2147483647 h 555"/>
                <a:gd name="T24" fmla="*/ 2147483647 w 322"/>
                <a:gd name="T25" fmla="*/ 2147483647 h 555"/>
                <a:gd name="T26" fmla="*/ 2147483647 w 322"/>
                <a:gd name="T27" fmla="*/ 2147483647 h 555"/>
                <a:gd name="T28" fmla="*/ 2147483647 w 322"/>
                <a:gd name="T29" fmla="*/ 2147483647 h 555"/>
                <a:gd name="T30" fmla="*/ 2147483647 w 322"/>
                <a:gd name="T31" fmla="*/ 2147483647 h 555"/>
                <a:gd name="T32" fmla="*/ 2147483647 w 322"/>
                <a:gd name="T33" fmla="*/ 2147483647 h 555"/>
                <a:gd name="T34" fmla="*/ 2147483647 w 322"/>
                <a:gd name="T35" fmla="*/ 2147483647 h 555"/>
                <a:gd name="T36" fmla="*/ 2147483647 w 322"/>
                <a:gd name="T37" fmla="*/ 2147483647 h 555"/>
                <a:gd name="T38" fmla="*/ 2147483647 w 322"/>
                <a:gd name="T39" fmla="*/ 2147483647 h 555"/>
                <a:gd name="T40" fmla="*/ 2147483647 w 322"/>
                <a:gd name="T41" fmla="*/ 2147483647 h 555"/>
                <a:gd name="T42" fmla="*/ 2147483647 w 322"/>
                <a:gd name="T43" fmla="*/ 2147483647 h 555"/>
                <a:gd name="T44" fmla="*/ 2147483647 w 322"/>
                <a:gd name="T45" fmla="*/ 2147483647 h 555"/>
                <a:gd name="T46" fmla="*/ 2147483647 w 322"/>
                <a:gd name="T47" fmla="*/ 2147483647 h 555"/>
                <a:gd name="T48" fmla="*/ 2147483647 w 322"/>
                <a:gd name="T49" fmla="*/ 2147483647 h 555"/>
                <a:gd name="T50" fmla="*/ 2147483647 w 322"/>
                <a:gd name="T51" fmla="*/ 2147483647 h 555"/>
                <a:gd name="T52" fmla="*/ 2147483647 w 322"/>
                <a:gd name="T53" fmla="*/ 2147483647 h 555"/>
                <a:gd name="T54" fmla="*/ 2147483647 w 322"/>
                <a:gd name="T55" fmla="*/ 2147483647 h 555"/>
                <a:gd name="T56" fmla="*/ 2147483647 w 322"/>
                <a:gd name="T57" fmla="*/ 2147483647 h 555"/>
                <a:gd name="T58" fmla="*/ 2147483647 w 322"/>
                <a:gd name="T59" fmla="*/ 0 h 555"/>
                <a:gd name="T60" fmla="*/ 2147483647 w 322"/>
                <a:gd name="T61" fmla="*/ 2147483647 h 555"/>
                <a:gd name="T62" fmla="*/ 2147483647 w 322"/>
                <a:gd name="T63" fmla="*/ 2147483647 h 555"/>
                <a:gd name="T64" fmla="*/ 2147483647 w 322"/>
                <a:gd name="T65" fmla="*/ 2147483647 h 555"/>
                <a:gd name="T66" fmla="*/ 2147483647 w 322"/>
                <a:gd name="T67" fmla="*/ 2147483647 h 555"/>
                <a:gd name="T68" fmla="*/ 2147483647 w 322"/>
                <a:gd name="T69" fmla="*/ 2147483647 h 555"/>
                <a:gd name="T70" fmla="*/ 2147483647 w 322"/>
                <a:gd name="T71" fmla="*/ 2147483647 h 55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2"/>
                <a:gd name="T109" fmla="*/ 0 h 555"/>
                <a:gd name="T110" fmla="*/ 322 w 322"/>
                <a:gd name="T111" fmla="*/ 555 h 55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2" h="555">
                  <a:moveTo>
                    <a:pt x="320" y="477"/>
                  </a:moveTo>
                  <a:cubicBezTo>
                    <a:pt x="322" y="484"/>
                    <a:pt x="307" y="485"/>
                    <a:pt x="303" y="488"/>
                  </a:cubicBezTo>
                  <a:cubicBezTo>
                    <a:pt x="298" y="490"/>
                    <a:pt x="299" y="502"/>
                    <a:pt x="298" y="509"/>
                  </a:cubicBezTo>
                  <a:cubicBezTo>
                    <a:pt x="296" y="515"/>
                    <a:pt x="288" y="523"/>
                    <a:pt x="284" y="529"/>
                  </a:cubicBezTo>
                  <a:cubicBezTo>
                    <a:pt x="281" y="534"/>
                    <a:pt x="293" y="540"/>
                    <a:pt x="293" y="545"/>
                  </a:cubicBezTo>
                  <a:cubicBezTo>
                    <a:pt x="293" y="549"/>
                    <a:pt x="283" y="554"/>
                    <a:pt x="283" y="554"/>
                  </a:cubicBezTo>
                  <a:cubicBezTo>
                    <a:pt x="280" y="555"/>
                    <a:pt x="280" y="555"/>
                    <a:pt x="280" y="555"/>
                  </a:cubicBezTo>
                  <a:cubicBezTo>
                    <a:pt x="271" y="552"/>
                    <a:pt x="180" y="544"/>
                    <a:pt x="180" y="544"/>
                  </a:cubicBezTo>
                  <a:cubicBezTo>
                    <a:pt x="180" y="544"/>
                    <a:pt x="180" y="520"/>
                    <a:pt x="176" y="510"/>
                  </a:cubicBezTo>
                  <a:cubicBezTo>
                    <a:pt x="172" y="500"/>
                    <a:pt x="156" y="480"/>
                    <a:pt x="149" y="475"/>
                  </a:cubicBezTo>
                  <a:cubicBezTo>
                    <a:pt x="142" y="470"/>
                    <a:pt x="147" y="461"/>
                    <a:pt x="138" y="455"/>
                  </a:cubicBezTo>
                  <a:cubicBezTo>
                    <a:pt x="129" y="449"/>
                    <a:pt x="124" y="454"/>
                    <a:pt x="118" y="446"/>
                  </a:cubicBezTo>
                  <a:cubicBezTo>
                    <a:pt x="111" y="437"/>
                    <a:pt x="111" y="433"/>
                    <a:pt x="103" y="427"/>
                  </a:cubicBezTo>
                  <a:cubicBezTo>
                    <a:pt x="94" y="422"/>
                    <a:pt x="78" y="418"/>
                    <a:pt x="73" y="418"/>
                  </a:cubicBezTo>
                  <a:cubicBezTo>
                    <a:pt x="68" y="418"/>
                    <a:pt x="65" y="409"/>
                    <a:pt x="62" y="404"/>
                  </a:cubicBezTo>
                  <a:cubicBezTo>
                    <a:pt x="60" y="399"/>
                    <a:pt x="71" y="393"/>
                    <a:pt x="69" y="382"/>
                  </a:cubicBezTo>
                  <a:cubicBezTo>
                    <a:pt x="66" y="371"/>
                    <a:pt x="45" y="322"/>
                    <a:pt x="40" y="314"/>
                  </a:cubicBezTo>
                  <a:cubicBezTo>
                    <a:pt x="34" y="305"/>
                    <a:pt x="34" y="297"/>
                    <a:pt x="36" y="293"/>
                  </a:cubicBezTo>
                  <a:cubicBezTo>
                    <a:pt x="39" y="289"/>
                    <a:pt x="46" y="296"/>
                    <a:pt x="47" y="291"/>
                  </a:cubicBezTo>
                  <a:cubicBezTo>
                    <a:pt x="48" y="285"/>
                    <a:pt x="51" y="275"/>
                    <a:pt x="45" y="272"/>
                  </a:cubicBezTo>
                  <a:cubicBezTo>
                    <a:pt x="40" y="270"/>
                    <a:pt x="37" y="276"/>
                    <a:pt x="34" y="270"/>
                  </a:cubicBezTo>
                  <a:cubicBezTo>
                    <a:pt x="30" y="263"/>
                    <a:pt x="32" y="243"/>
                    <a:pt x="34" y="239"/>
                  </a:cubicBezTo>
                  <a:cubicBezTo>
                    <a:pt x="35" y="235"/>
                    <a:pt x="39" y="232"/>
                    <a:pt x="35" y="227"/>
                  </a:cubicBezTo>
                  <a:cubicBezTo>
                    <a:pt x="32" y="222"/>
                    <a:pt x="28" y="222"/>
                    <a:pt x="21" y="213"/>
                  </a:cubicBezTo>
                  <a:cubicBezTo>
                    <a:pt x="15" y="204"/>
                    <a:pt x="29" y="206"/>
                    <a:pt x="22" y="192"/>
                  </a:cubicBezTo>
                  <a:cubicBezTo>
                    <a:pt x="16" y="178"/>
                    <a:pt x="8" y="174"/>
                    <a:pt x="7" y="161"/>
                  </a:cubicBezTo>
                  <a:cubicBezTo>
                    <a:pt x="6" y="149"/>
                    <a:pt x="23" y="130"/>
                    <a:pt x="16" y="114"/>
                  </a:cubicBezTo>
                  <a:cubicBezTo>
                    <a:pt x="10" y="98"/>
                    <a:pt x="0" y="94"/>
                    <a:pt x="6" y="81"/>
                  </a:cubicBezTo>
                  <a:cubicBezTo>
                    <a:pt x="11" y="69"/>
                    <a:pt x="35" y="50"/>
                    <a:pt x="36" y="33"/>
                  </a:cubicBezTo>
                  <a:cubicBezTo>
                    <a:pt x="37" y="25"/>
                    <a:pt x="37" y="13"/>
                    <a:pt x="37" y="0"/>
                  </a:cubicBezTo>
                  <a:cubicBezTo>
                    <a:pt x="144" y="36"/>
                    <a:pt x="144" y="36"/>
                    <a:pt x="144" y="36"/>
                  </a:cubicBezTo>
                  <a:cubicBezTo>
                    <a:pt x="187" y="48"/>
                    <a:pt x="187" y="48"/>
                    <a:pt x="187" y="48"/>
                  </a:cubicBezTo>
                  <a:cubicBezTo>
                    <a:pt x="144" y="195"/>
                    <a:pt x="144" y="195"/>
                    <a:pt x="144" y="195"/>
                  </a:cubicBezTo>
                  <a:cubicBezTo>
                    <a:pt x="308" y="441"/>
                    <a:pt x="308" y="441"/>
                    <a:pt x="308" y="441"/>
                  </a:cubicBezTo>
                  <a:cubicBezTo>
                    <a:pt x="307" y="446"/>
                    <a:pt x="306" y="450"/>
                    <a:pt x="306" y="452"/>
                  </a:cubicBezTo>
                  <a:cubicBezTo>
                    <a:pt x="305" y="457"/>
                    <a:pt x="318" y="471"/>
                    <a:pt x="320" y="477"/>
                  </a:cubicBezTo>
                  <a:close/>
                </a:path>
              </a:pathLst>
            </a:custGeom>
            <a:solidFill>
              <a:srgbClr val="EBE6E6">
                <a:lumMod val="50000"/>
              </a:srgbClr>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1" name="Freeform 458"/>
            <p:cNvSpPr>
              <a:spLocks/>
            </p:cNvSpPr>
            <p:nvPr>
              <p:custDataLst>
                <p:tags r:id="rId58"/>
              </p:custDataLst>
            </p:nvPr>
          </p:nvSpPr>
          <p:spPr bwMode="auto">
            <a:xfrm>
              <a:off x="841596" y="3476884"/>
              <a:ext cx="40027" cy="21346"/>
            </a:xfrm>
            <a:custGeom>
              <a:avLst/>
              <a:gdLst>
                <a:gd name="T0" fmla="*/ 2147483647 w 20"/>
                <a:gd name="T1" fmla="*/ 2147483647 h 12"/>
                <a:gd name="T2" fmla="*/ 2147483647 w 20"/>
                <a:gd name="T3" fmla="*/ 2147483647 h 12"/>
                <a:gd name="T4" fmla="*/ 2147483647 w 20"/>
                <a:gd name="T5" fmla="*/ 2147483647 h 12"/>
                <a:gd name="T6" fmla="*/ 0 w 20"/>
                <a:gd name="T7" fmla="*/ 2147483647 h 12"/>
                <a:gd name="T8" fmla="*/ 2147483647 w 20"/>
                <a:gd name="T9" fmla="*/ 0 h 12"/>
                <a:gd name="T10" fmla="*/ 2147483647 w 20"/>
                <a:gd name="T11" fmla="*/ 2147483647 h 12"/>
                <a:gd name="T12" fmla="*/ 2147483647 w 20"/>
                <a:gd name="T13" fmla="*/ 2147483647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18" y="8"/>
                  </a:moveTo>
                  <a:cubicBezTo>
                    <a:pt x="20" y="10"/>
                    <a:pt x="18" y="12"/>
                    <a:pt x="14" y="12"/>
                  </a:cubicBezTo>
                  <a:cubicBezTo>
                    <a:pt x="10" y="12"/>
                    <a:pt x="4" y="11"/>
                    <a:pt x="2" y="10"/>
                  </a:cubicBezTo>
                  <a:cubicBezTo>
                    <a:pt x="1" y="9"/>
                    <a:pt x="0" y="2"/>
                    <a:pt x="0" y="2"/>
                  </a:cubicBezTo>
                  <a:cubicBezTo>
                    <a:pt x="0" y="2"/>
                    <a:pt x="2" y="0"/>
                    <a:pt x="3" y="0"/>
                  </a:cubicBezTo>
                  <a:cubicBezTo>
                    <a:pt x="5" y="0"/>
                    <a:pt x="6" y="2"/>
                    <a:pt x="9" y="5"/>
                  </a:cubicBezTo>
                  <a:cubicBezTo>
                    <a:pt x="11" y="8"/>
                    <a:pt x="15" y="5"/>
                    <a:pt x="18" y="8"/>
                  </a:cubicBezTo>
                  <a:close/>
                </a:path>
              </a:pathLst>
            </a:custGeom>
            <a:solidFill>
              <a:srgbClr val="816767"/>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2" name="Freeform 459"/>
            <p:cNvSpPr>
              <a:spLocks/>
            </p:cNvSpPr>
            <p:nvPr>
              <p:custDataLst>
                <p:tags r:id="rId59"/>
              </p:custDataLst>
            </p:nvPr>
          </p:nvSpPr>
          <p:spPr bwMode="auto">
            <a:xfrm>
              <a:off x="801571" y="3476884"/>
              <a:ext cx="34688" cy="26683"/>
            </a:xfrm>
            <a:custGeom>
              <a:avLst/>
              <a:gdLst>
                <a:gd name="T0" fmla="*/ 2147483647 w 17"/>
                <a:gd name="T1" fmla="*/ 2147483647 h 14"/>
                <a:gd name="T2" fmla="*/ 2147483647 w 17"/>
                <a:gd name="T3" fmla="*/ 2147483647 h 14"/>
                <a:gd name="T4" fmla="*/ 2147483647 w 17"/>
                <a:gd name="T5" fmla="*/ 2147483647 h 14"/>
                <a:gd name="T6" fmla="*/ 2147483647 w 17"/>
                <a:gd name="T7" fmla="*/ 0 h 14"/>
                <a:gd name="T8" fmla="*/ 2147483647 w 17"/>
                <a:gd name="T9" fmla="*/ 2147483647 h 14"/>
                <a:gd name="T10" fmla="*/ 2147483647 w 17"/>
                <a:gd name="T11" fmla="*/ 2147483647 h 14"/>
                <a:gd name="T12" fmla="*/ 0 60000 65536"/>
                <a:gd name="T13" fmla="*/ 0 60000 65536"/>
                <a:gd name="T14" fmla="*/ 0 60000 65536"/>
                <a:gd name="T15" fmla="*/ 0 60000 65536"/>
                <a:gd name="T16" fmla="*/ 0 60000 65536"/>
                <a:gd name="T17" fmla="*/ 0 60000 65536"/>
                <a:gd name="T18" fmla="*/ 0 w 17"/>
                <a:gd name="T19" fmla="*/ 0 h 14"/>
                <a:gd name="T20" fmla="*/ 17 w 17"/>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7" h="14">
                  <a:moveTo>
                    <a:pt x="16" y="10"/>
                  </a:moveTo>
                  <a:cubicBezTo>
                    <a:pt x="17" y="14"/>
                    <a:pt x="12" y="12"/>
                    <a:pt x="7" y="12"/>
                  </a:cubicBezTo>
                  <a:cubicBezTo>
                    <a:pt x="2" y="12"/>
                    <a:pt x="2" y="10"/>
                    <a:pt x="1" y="6"/>
                  </a:cubicBezTo>
                  <a:cubicBezTo>
                    <a:pt x="0" y="2"/>
                    <a:pt x="0" y="0"/>
                    <a:pt x="3" y="0"/>
                  </a:cubicBezTo>
                  <a:cubicBezTo>
                    <a:pt x="3" y="0"/>
                    <a:pt x="11" y="0"/>
                    <a:pt x="12" y="3"/>
                  </a:cubicBezTo>
                  <a:cubicBezTo>
                    <a:pt x="12" y="5"/>
                    <a:pt x="14" y="6"/>
                    <a:pt x="16" y="10"/>
                  </a:cubicBezTo>
                  <a:close/>
                </a:path>
              </a:pathLst>
            </a:custGeom>
            <a:solidFill>
              <a:srgbClr val="816767"/>
            </a:solidFill>
            <a:ln w="952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204" name="TextBox 203"/>
          <p:cNvSpPr txBox="1"/>
          <p:nvPr/>
        </p:nvSpPr>
        <p:spPr>
          <a:xfrm>
            <a:off x="8811085" y="2344218"/>
            <a:ext cx="2397063" cy="1046440"/>
          </a:xfrm>
          <a:prstGeom prst="rect">
            <a:avLst/>
          </a:prstGeom>
          <a:noFill/>
        </p:spPr>
        <p:txBody>
          <a:bodyPr wrap="square" lIns="91440" tIns="45720" rIns="91440" bIns="45720" rtlCol="0" anchor="t">
            <a:spAutoFit/>
          </a:bodyPr>
          <a:lstStyle/>
          <a:p>
            <a:r>
              <a:rPr lang="en-US" sz="1400" b="1" dirty="0"/>
              <a:t>NORRIS</a:t>
            </a:r>
          </a:p>
          <a:p>
            <a:r>
              <a:rPr lang="en-US" sz="1200" b="1" dirty="0">
                <a:latin typeface="Arial Narrow"/>
                <a:cs typeface="Arial"/>
              </a:rPr>
              <a:t>RSM: Rick Zanardo</a:t>
            </a:r>
            <a:endParaRPr lang="en-US" sz="1200" b="1" dirty="0"/>
          </a:p>
          <a:p>
            <a:r>
              <a:rPr lang="en-US" sz="1200" dirty="0"/>
              <a:t>Primary Rep Contact: Kim Frye</a:t>
            </a:r>
          </a:p>
          <a:p>
            <a:endParaRPr lang="en-US" sz="1200" dirty="0"/>
          </a:p>
          <a:p>
            <a:r>
              <a:rPr lang="en-US" sz="1200" dirty="0"/>
              <a:t>Territory: CT, MA, ME, NH, RI, VT</a:t>
            </a:r>
          </a:p>
        </p:txBody>
      </p:sp>
      <p:sp>
        <p:nvSpPr>
          <p:cNvPr id="206" name="TextBox 205"/>
          <p:cNvSpPr txBox="1"/>
          <p:nvPr/>
        </p:nvSpPr>
        <p:spPr>
          <a:xfrm>
            <a:off x="6451414" y="612363"/>
            <a:ext cx="2917571" cy="1600438"/>
          </a:xfrm>
          <a:prstGeom prst="rect">
            <a:avLst/>
          </a:prstGeom>
          <a:noFill/>
        </p:spPr>
        <p:txBody>
          <a:bodyPr wrap="square" rtlCol="0">
            <a:spAutoFit/>
          </a:bodyPr>
          <a:lstStyle/>
          <a:p>
            <a:r>
              <a:rPr lang="en-US" sz="1400" b="1" dirty="0"/>
              <a:t>ALLIED</a:t>
            </a:r>
          </a:p>
          <a:p>
            <a:r>
              <a:rPr lang="en-US" sz="1200" b="1" dirty="0"/>
              <a:t>RSM: Gary McNelly</a:t>
            </a:r>
          </a:p>
          <a:p>
            <a:r>
              <a:rPr lang="en-US" sz="1200" dirty="0"/>
              <a:t>Primary Rep Contact: Cindi Smith</a:t>
            </a:r>
          </a:p>
          <a:p>
            <a:endParaRPr lang="en-US" sz="1200" dirty="0"/>
          </a:p>
          <a:p>
            <a:r>
              <a:rPr lang="en-US" sz="1200" dirty="0"/>
              <a:t>Territory: OH, IN, KY, MI, WV, NY (12000-14999), W. PA (15000-16999), </a:t>
            </a:r>
          </a:p>
          <a:p>
            <a:r>
              <a:rPr lang="en-US" sz="1200" dirty="0"/>
              <a:t>          Excludes Metro NY (105xx-108xx, </a:t>
            </a:r>
          </a:p>
          <a:p>
            <a:r>
              <a:rPr lang="en-US" sz="1200" dirty="0"/>
              <a:t>          109xx-109xx, i.e. Manhattan, Long Island)</a:t>
            </a:r>
          </a:p>
        </p:txBody>
      </p:sp>
      <p:pic>
        <p:nvPicPr>
          <p:cNvPr id="75" name="Picture 74" descr="http://www.aereps.net/images/allied-logo.png">
            <a:hlinkClick r:id="rId62"/>
          </p:cNvPr>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8564595" y="741472"/>
            <a:ext cx="2106259" cy="536100"/>
          </a:xfrm>
          <a:prstGeom prst="rect">
            <a:avLst/>
          </a:prstGeom>
          <a:noFill/>
          <a:ln>
            <a:noFill/>
          </a:ln>
        </p:spPr>
      </p:pic>
      <p:pic>
        <p:nvPicPr>
          <p:cNvPr id="67" name="Picture 66"/>
          <p:cNvPicPr>
            <a:picLocks noChangeAspect="1"/>
          </p:cNvPicPr>
          <p:nvPr/>
        </p:nvPicPr>
        <p:blipFill>
          <a:blip r:embed="rId6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93914" y="1126651"/>
            <a:ext cx="1703017" cy="588478"/>
          </a:xfrm>
          <a:prstGeom prst="rect">
            <a:avLst/>
          </a:prstGeom>
        </p:spPr>
      </p:pic>
      <p:pic>
        <p:nvPicPr>
          <p:cNvPr id="68" name="Picture 67"/>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9503073" y="2036912"/>
            <a:ext cx="1758087" cy="360090"/>
          </a:xfrm>
          <a:prstGeom prst="rect">
            <a:avLst/>
          </a:prstGeom>
        </p:spPr>
      </p:pic>
      <p:sp>
        <p:nvSpPr>
          <p:cNvPr id="80" name="TextBox 79"/>
          <p:cNvSpPr txBox="1"/>
          <p:nvPr/>
        </p:nvSpPr>
        <p:spPr>
          <a:xfrm>
            <a:off x="777563" y="5068680"/>
            <a:ext cx="2381329" cy="276999"/>
          </a:xfrm>
          <a:prstGeom prst="rect">
            <a:avLst/>
          </a:prstGeom>
          <a:noFill/>
        </p:spPr>
        <p:txBody>
          <a:bodyPr wrap="square" lIns="91440" tIns="45720" rIns="91440" bIns="45720" numCol="3" rtlCol="0" anchor="t">
            <a:spAutoFit/>
          </a:bodyPr>
          <a:lstStyle/>
          <a:p>
            <a:endParaRPr lang="en-US" sz="1200" dirty="0"/>
          </a:p>
        </p:txBody>
      </p:sp>
      <p:pic>
        <p:nvPicPr>
          <p:cNvPr id="78" name="Picture 2" descr="http://ecbiz226.inmotionhosting.com/~intere13/wp-content/uploads/2017/05/Interep-World-Logo-Med.png"/>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8906501" y="3600695"/>
            <a:ext cx="2345238" cy="105641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4" descr="Mega Technologies Inc"/>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0135547" y="5374523"/>
            <a:ext cx="1309595" cy="666286"/>
          </a:xfrm>
          <a:prstGeom prst="rect">
            <a:avLst/>
          </a:prstGeom>
          <a:solidFill>
            <a:srgbClr val="000000">
              <a:shade val="95000"/>
            </a:srgbClr>
          </a:solidFill>
          <a:ln w="3175" cap="sq">
            <a:solidFill>
              <a:schemeClr val="bg1"/>
            </a:solidFill>
            <a:miter lim="800000"/>
          </a:ln>
          <a:effectLst>
            <a:outerShdw blurRad="254000" dist="190500" dir="2700000" sy="90000" algn="bl" rotWithShape="0">
              <a:srgbClr val="000000">
                <a:alpha val="40000"/>
              </a:srgbClr>
            </a:outerShdw>
          </a:effectLst>
        </p:spPr>
      </p:pic>
      <p:sp>
        <p:nvSpPr>
          <p:cNvPr id="83" name="TextBox 82"/>
          <p:cNvSpPr txBox="1"/>
          <p:nvPr/>
        </p:nvSpPr>
        <p:spPr>
          <a:xfrm>
            <a:off x="8284082" y="4203441"/>
            <a:ext cx="2798009" cy="861774"/>
          </a:xfrm>
          <a:prstGeom prst="rect">
            <a:avLst/>
          </a:prstGeom>
          <a:noFill/>
        </p:spPr>
        <p:txBody>
          <a:bodyPr wrap="square" lIns="91440" tIns="45720" rIns="91440" bIns="45720" rtlCol="0" anchor="t">
            <a:spAutoFit/>
          </a:bodyPr>
          <a:lstStyle/>
          <a:p>
            <a:r>
              <a:rPr lang="en-US" sz="1400" b="1" dirty="0"/>
              <a:t>INTEREP</a:t>
            </a:r>
          </a:p>
          <a:p>
            <a:r>
              <a:rPr lang="en-US" sz="1200" b="1" dirty="0">
                <a:latin typeface="Arial Narrow"/>
                <a:cs typeface="Arial"/>
              </a:rPr>
              <a:t>RSM: Rick Zanardo</a:t>
            </a:r>
            <a:endParaRPr lang="en-US" sz="1200" b="1" dirty="0"/>
          </a:p>
          <a:p>
            <a:r>
              <a:rPr lang="en-US" sz="1200" dirty="0"/>
              <a:t>Primary Rep Contact: Shannon Maynard</a:t>
            </a:r>
          </a:p>
          <a:p>
            <a:r>
              <a:rPr lang="en-US" sz="1200" dirty="0"/>
              <a:t>Territory: AL, GA, NC, SC, MS, TN</a:t>
            </a:r>
            <a:endParaRPr lang="de-CH" sz="1200" dirty="0"/>
          </a:p>
        </p:txBody>
      </p:sp>
      <p:sp>
        <p:nvSpPr>
          <p:cNvPr id="84" name="TextBox 83"/>
          <p:cNvSpPr txBox="1"/>
          <p:nvPr/>
        </p:nvSpPr>
        <p:spPr>
          <a:xfrm>
            <a:off x="7960414" y="5363193"/>
            <a:ext cx="2798009" cy="861774"/>
          </a:xfrm>
          <a:prstGeom prst="rect">
            <a:avLst/>
          </a:prstGeom>
          <a:noFill/>
        </p:spPr>
        <p:txBody>
          <a:bodyPr wrap="square" lIns="91440" tIns="45720" rIns="91440" bIns="45720" rtlCol="0" anchor="t">
            <a:spAutoFit/>
          </a:bodyPr>
          <a:lstStyle/>
          <a:p>
            <a:r>
              <a:rPr lang="en-US" sz="1400" b="1" dirty="0"/>
              <a:t>MEGA TECH</a:t>
            </a:r>
          </a:p>
          <a:p>
            <a:r>
              <a:rPr lang="en-US" sz="1200" b="1">
                <a:latin typeface="Arial Narrow"/>
                <a:cs typeface="Arial"/>
              </a:rPr>
              <a:t>RSM: Rick Zanardo </a:t>
            </a:r>
          </a:p>
          <a:p>
            <a:r>
              <a:rPr lang="en-US" sz="1200" dirty="0"/>
              <a:t>Primary Rep Contact: Perry Jordan                 Territory: FL</a:t>
            </a:r>
            <a:endParaRPr lang="de-CH" sz="1200" dirty="0"/>
          </a:p>
        </p:txBody>
      </p:sp>
      <p:graphicFrame>
        <p:nvGraphicFramePr>
          <p:cNvPr id="4" name="Table 4">
            <a:extLst>
              <a:ext uri="{FF2B5EF4-FFF2-40B4-BE49-F238E27FC236}">
                <a16:creationId xmlns:a16="http://schemas.microsoft.com/office/drawing/2014/main" id="{7A790EBC-1C95-A07A-8856-13184AAEB2F2}"/>
              </a:ext>
            </a:extLst>
          </p:cNvPr>
          <p:cNvGraphicFramePr>
            <a:graphicFrameLocks noGrp="1"/>
          </p:cNvGraphicFramePr>
          <p:nvPr/>
        </p:nvGraphicFramePr>
        <p:xfrm>
          <a:off x="148167" y="4751916"/>
          <a:ext cx="3461604" cy="1651000"/>
        </p:xfrm>
        <a:graphic>
          <a:graphicData uri="http://schemas.openxmlformats.org/drawingml/2006/table">
            <a:tbl>
              <a:tblPr firstRow="1" bandRow="1">
                <a:tableStyleId>{5C22544A-7EE6-4342-B048-85BDC9FD1C3A}</a:tableStyleId>
              </a:tblPr>
              <a:tblGrid>
                <a:gridCol w="865401">
                  <a:extLst>
                    <a:ext uri="{9D8B030D-6E8A-4147-A177-3AD203B41FA5}">
                      <a16:colId xmlns:a16="http://schemas.microsoft.com/office/drawing/2014/main" val="3796168537"/>
                    </a:ext>
                  </a:extLst>
                </a:gridCol>
                <a:gridCol w="865401">
                  <a:extLst>
                    <a:ext uri="{9D8B030D-6E8A-4147-A177-3AD203B41FA5}">
                      <a16:colId xmlns:a16="http://schemas.microsoft.com/office/drawing/2014/main" val="1240947380"/>
                    </a:ext>
                  </a:extLst>
                </a:gridCol>
                <a:gridCol w="865401">
                  <a:extLst>
                    <a:ext uri="{9D8B030D-6E8A-4147-A177-3AD203B41FA5}">
                      <a16:colId xmlns:a16="http://schemas.microsoft.com/office/drawing/2014/main" val="1861463547"/>
                    </a:ext>
                  </a:extLst>
                </a:gridCol>
                <a:gridCol w="865401">
                  <a:extLst>
                    <a:ext uri="{9D8B030D-6E8A-4147-A177-3AD203B41FA5}">
                      <a16:colId xmlns:a16="http://schemas.microsoft.com/office/drawing/2014/main" val="3021285394"/>
                    </a:ext>
                  </a:extLst>
                </a:gridCol>
              </a:tblGrid>
              <a:tr h="431800">
                <a:tc gridSpan="4">
                  <a:txBody>
                    <a:bodyPr/>
                    <a:lstStyle/>
                    <a:p>
                      <a:pPr algn="ctr"/>
                      <a:r>
                        <a:rPr lang="en-US" sz="1800" dirty="0">
                          <a:solidFill>
                            <a:schemeClr val="tx1"/>
                          </a:solidFill>
                        </a:rPr>
                        <a:t>States without REPS</a:t>
                      </a:r>
                    </a:p>
                  </a:txBody>
                  <a:tcPr>
                    <a:lnL w="0">
                      <a:noFill/>
                    </a:lnL>
                    <a:lnR w="0">
                      <a:noFill/>
                    </a:lnR>
                    <a:lnT w="0">
                      <a:noFill/>
                    </a:lnT>
                    <a:lnB w="0">
                      <a:noFill/>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54494563"/>
                  </a:ext>
                </a:extLst>
              </a:tr>
              <a:tr h="264440">
                <a:tc>
                  <a:txBody>
                    <a:bodyPr/>
                    <a:lstStyle/>
                    <a:p>
                      <a:r>
                        <a:rPr lang="en-US" sz="1400" dirty="0"/>
                        <a:t>CO</a:t>
                      </a:r>
                    </a:p>
                  </a:txBody>
                  <a:tcPr>
                    <a:lnL w="0">
                      <a:noFill/>
                    </a:lnL>
                    <a:lnR w="0">
                      <a:noFill/>
                    </a:lnR>
                    <a:lnT w="0">
                      <a:noFill/>
                    </a:lnT>
                    <a:lnB w="0">
                      <a:noFill/>
                    </a:lnB>
                    <a:solidFill>
                      <a:schemeClr val="bg1"/>
                    </a:solidFill>
                  </a:tcPr>
                </a:tc>
                <a:tc>
                  <a:txBody>
                    <a:bodyPr/>
                    <a:lstStyle/>
                    <a:p>
                      <a:r>
                        <a:rPr lang="en-US" sz="1400" dirty="0"/>
                        <a:t>MO</a:t>
                      </a:r>
                    </a:p>
                  </a:txBody>
                  <a:tcPr>
                    <a:lnL w="0">
                      <a:noFill/>
                    </a:lnL>
                    <a:lnR w="0">
                      <a:noFill/>
                    </a:lnR>
                    <a:lnT w="0">
                      <a:noFill/>
                    </a:lnT>
                    <a:lnB w="0">
                      <a:noFill/>
                    </a:lnB>
                    <a:solidFill>
                      <a:schemeClr val="bg1"/>
                    </a:solidFill>
                  </a:tcPr>
                </a:tc>
                <a:tc>
                  <a:txBody>
                    <a:bodyPr/>
                    <a:lstStyle/>
                    <a:p>
                      <a:r>
                        <a:rPr lang="en-US" sz="1400" dirty="0"/>
                        <a:t>WY</a:t>
                      </a:r>
                    </a:p>
                  </a:txBody>
                  <a:tcPr>
                    <a:lnL w="0">
                      <a:noFill/>
                    </a:lnL>
                    <a:lnR w="0">
                      <a:noFill/>
                    </a:lnR>
                    <a:lnT w="0">
                      <a:noFill/>
                    </a:lnT>
                    <a:lnB w="0">
                      <a:noFill/>
                    </a:lnB>
                    <a:solidFill>
                      <a:schemeClr val="bg1"/>
                    </a:solidFill>
                  </a:tcPr>
                </a:tc>
                <a:tc>
                  <a:txBody>
                    <a:bodyPr/>
                    <a:lstStyle/>
                    <a:p>
                      <a:pPr lvl="0">
                        <a:buNone/>
                      </a:pPr>
                      <a:r>
                        <a:rPr lang="en-US" sz="1400" dirty="0"/>
                        <a:t>VA</a:t>
                      </a:r>
                    </a:p>
                  </a:txBody>
                  <a:tcPr>
                    <a:lnL w="0">
                      <a:noFill/>
                    </a:lnL>
                    <a:lnR w="0">
                      <a:noFill/>
                    </a:lnR>
                    <a:lnT w="0">
                      <a:noFill/>
                    </a:lnT>
                    <a:lnB w="0">
                      <a:noFill/>
                    </a:lnB>
                    <a:solidFill>
                      <a:schemeClr val="bg1"/>
                    </a:solidFill>
                  </a:tcPr>
                </a:tc>
                <a:extLst>
                  <a:ext uri="{0D108BD9-81ED-4DB2-BD59-A6C34878D82A}">
                    <a16:rowId xmlns:a16="http://schemas.microsoft.com/office/drawing/2014/main" val="1586895180"/>
                  </a:ext>
                </a:extLst>
              </a:tr>
              <a:tr h="264440">
                <a:tc>
                  <a:txBody>
                    <a:bodyPr/>
                    <a:lstStyle/>
                    <a:p>
                      <a:r>
                        <a:rPr lang="en-US" sz="1400" dirty="0"/>
                        <a:t>DE</a:t>
                      </a:r>
                    </a:p>
                  </a:txBody>
                  <a:tcPr>
                    <a:lnL w="0">
                      <a:noFill/>
                    </a:lnL>
                    <a:lnR w="0">
                      <a:noFill/>
                    </a:lnR>
                    <a:lnT w="0">
                      <a:noFill/>
                    </a:lnT>
                    <a:lnB w="0">
                      <a:noFill/>
                    </a:lnB>
                    <a:solidFill>
                      <a:schemeClr val="bg1"/>
                    </a:solidFill>
                  </a:tcPr>
                </a:tc>
                <a:tc>
                  <a:txBody>
                    <a:bodyPr/>
                    <a:lstStyle/>
                    <a:p>
                      <a:r>
                        <a:rPr lang="en-US" sz="1400" dirty="0"/>
                        <a:t>NJ</a:t>
                      </a:r>
                    </a:p>
                  </a:txBody>
                  <a:tcPr>
                    <a:lnL w="0">
                      <a:noFill/>
                    </a:lnL>
                    <a:lnR w="0">
                      <a:noFill/>
                    </a:lnR>
                    <a:lnT w="0">
                      <a:noFill/>
                    </a:lnT>
                    <a:lnB w="0">
                      <a:noFill/>
                    </a:lnB>
                    <a:solidFill>
                      <a:schemeClr val="bg1"/>
                    </a:solidFill>
                  </a:tcPr>
                </a:tc>
                <a:tc>
                  <a:txBody>
                    <a:bodyPr/>
                    <a:lstStyle/>
                    <a:p>
                      <a:r>
                        <a:rPr lang="en-US" sz="1400" dirty="0"/>
                        <a:t>TX</a:t>
                      </a:r>
                    </a:p>
                  </a:txBody>
                  <a:tcPr>
                    <a:lnL w="0">
                      <a:noFill/>
                    </a:lnL>
                    <a:lnR w="0">
                      <a:noFill/>
                    </a:lnR>
                    <a:lnT w="0">
                      <a:noFill/>
                    </a:lnT>
                    <a:lnB w="0">
                      <a:noFill/>
                    </a:lnB>
                    <a:solidFill>
                      <a:schemeClr val="bg1"/>
                    </a:solidFill>
                  </a:tcPr>
                </a:tc>
                <a:tc>
                  <a:txBody>
                    <a:bodyPr/>
                    <a:lstStyle/>
                    <a:p>
                      <a:pPr lvl="0">
                        <a:buNone/>
                      </a:pPr>
                      <a:r>
                        <a:rPr lang="en-US" sz="1400" dirty="0"/>
                        <a:t>AR</a:t>
                      </a:r>
                    </a:p>
                  </a:txBody>
                  <a:tcPr>
                    <a:lnL w="0">
                      <a:noFill/>
                    </a:lnL>
                    <a:lnR w="0">
                      <a:noFill/>
                    </a:lnR>
                    <a:lnT w="0">
                      <a:noFill/>
                    </a:lnT>
                    <a:lnB w="0">
                      <a:noFill/>
                    </a:lnB>
                    <a:solidFill>
                      <a:schemeClr val="bg1"/>
                    </a:solidFill>
                  </a:tcPr>
                </a:tc>
                <a:extLst>
                  <a:ext uri="{0D108BD9-81ED-4DB2-BD59-A6C34878D82A}">
                    <a16:rowId xmlns:a16="http://schemas.microsoft.com/office/drawing/2014/main" val="259750932"/>
                  </a:ext>
                </a:extLst>
              </a:tr>
              <a:tr h="264440">
                <a:tc>
                  <a:txBody>
                    <a:bodyPr/>
                    <a:lstStyle/>
                    <a:p>
                      <a:r>
                        <a:rPr lang="en-US" sz="1400" dirty="0"/>
                        <a:t>KS</a:t>
                      </a:r>
                    </a:p>
                  </a:txBody>
                  <a:tcPr>
                    <a:lnL w="0">
                      <a:noFill/>
                    </a:lnL>
                    <a:lnR w="0">
                      <a:noFill/>
                    </a:lnR>
                    <a:lnT w="0">
                      <a:noFill/>
                    </a:lnT>
                    <a:lnB w="0">
                      <a:noFill/>
                    </a:lnB>
                    <a:solidFill>
                      <a:schemeClr val="bg1"/>
                    </a:solidFill>
                  </a:tcPr>
                </a:tc>
                <a:tc>
                  <a:txBody>
                    <a:bodyPr/>
                    <a:lstStyle/>
                    <a:p>
                      <a:r>
                        <a:rPr lang="en-US" sz="1400" dirty="0"/>
                        <a:t>UT</a:t>
                      </a:r>
                    </a:p>
                  </a:txBody>
                  <a:tcPr>
                    <a:lnL w="0">
                      <a:noFill/>
                    </a:lnL>
                    <a:lnR w="0">
                      <a:noFill/>
                    </a:lnR>
                    <a:lnT w="0">
                      <a:noFill/>
                    </a:lnT>
                    <a:lnB w="0">
                      <a:noFill/>
                    </a:lnB>
                    <a:solidFill>
                      <a:schemeClr val="bg1"/>
                    </a:solidFill>
                  </a:tcPr>
                </a:tc>
                <a:tc>
                  <a:txBody>
                    <a:bodyPr/>
                    <a:lstStyle/>
                    <a:p>
                      <a:r>
                        <a:rPr lang="en-US" sz="1400" dirty="0"/>
                        <a:t>LA</a:t>
                      </a:r>
                    </a:p>
                  </a:txBody>
                  <a:tcPr>
                    <a:lnL w="0">
                      <a:noFill/>
                    </a:lnL>
                    <a:lnR w="0">
                      <a:noFill/>
                    </a:lnR>
                    <a:lnT w="0">
                      <a:noFill/>
                    </a:lnT>
                    <a:lnB w="0">
                      <a:noFill/>
                    </a:lnB>
                    <a:solidFill>
                      <a:schemeClr val="bg1"/>
                    </a:solidFill>
                  </a:tcPr>
                </a:tc>
                <a:tc>
                  <a:txBody>
                    <a:bodyPr/>
                    <a:lstStyle/>
                    <a:p>
                      <a:pPr lvl="0">
                        <a:buNone/>
                      </a:pPr>
                      <a:r>
                        <a:rPr lang="en-US" sz="1400" dirty="0"/>
                        <a:t>OK</a:t>
                      </a:r>
                    </a:p>
                  </a:txBody>
                  <a:tcPr>
                    <a:lnL w="0">
                      <a:noFill/>
                    </a:lnL>
                    <a:lnR w="0">
                      <a:noFill/>
                    </a:lnR>
                    <a:lnT w="0">
                      <a:noFill/>
                    </a:lnT>
                    <a:lnB w="0">
                      <a:noFill/>
                    </a:lnB>
                    <a:solidFill>
                      <a:schemeClr val="bg1"/>
                    </a:solidFill>
                  </a:tcPr>
                </a:tc>
                <a:extLst>
                  <a:ext uri="{0D108BD9-81ED-4DB2-BD59-A6C34878D82A}">
                    <a16:rowId xmlns:a16="http://schemas.microsoft.com/office/drawing/2014/main" val="1236538451"/>
                  </a:ext>
                </a:extLst>
              </a:tr>
              <a:tr h="264440">
                <a:tc>
                  <a:txBody>
                    <a:bodyPr/>
                    <a:lstStyle/>
                    <a:p>
                      <a:pPr lvl="0">
                        <a:buNone/>
                      </a:pPr>
                      <a:r>
                        <a:rPr lang="en-US" sz="1400" dirty="0"/>
                        <a:t>MD</a:t>
                      </a:r>
                    </a:p>
                  </a:txBody>
                  <a:tcPr>
                    <a:lnL w="0">
                      <a:noFill/>
                    </a:lnL>
                    <a:lnR w="0">
                      <a:noFill/>
                    </a:lnR>
                    <a:lnT w="0">
                      <a:noFill/>
                    </a:lnT>
                    <a:lnB w="0">
                      <a:noFill/>
                    </a:lnB>
                    <a:solidFill>
                      <a:schemeClr val="bg1"/>
                    </a:solidFill>
                  </a:tcPr>
                </a:tc>
                <a:tc>
                  <a:txBody>
                    <a:bodyPr/>
                    <a:lstStyle/>
                    <a:p>
                      <a:pPr lvl="0">
                        <a:buNone/>
                      </a:pPr>
                      <a:endParaRPr lang="en-US" sz="1400" dirty="0"/>
                    </a:p>
                  </a:txBody>
                  <a:tcPr>
                    <a:lnL w="0">
                      <a:noFill/>
                    </a:lnL>
                    <a:lnR w="0">
                      <a:noFill/>
                    </a:lnR>
                    <a:lnT w="0">
                      <a:noFill/>
                    </a:lnT>
                    <a:lnB w="0">
                      <a:noFill/>
                    </a:lnB>
                    <a:solidFill>
                      <a:schemeClr val="bg1"/>
                    </a:solidFill>
                  </a:tcPr>
                </a:tc>
                <a:tc>
                  <a:txBody>
                    <a:bodyPr/>
                    <a:lstStyle/>
                    <a:p>
                      <a:pPr lvl="0">
                        <a:buNone/>
                      </a:pPr>
                      <a:endParaRPr lang="en-US" sz="1400" dirty="0"/>
                    </a:p>
                  </a:txBody>
                  <a:tcPr>
                    <a:lnL w="0">
                      <a:noFill/>
                    </a:lnL>
                    <a:lnR w="0">
                      <a:noFill/>
                    </a:lnR>
                    <a:lnT w="0">
                      <a:noFill/>
                    </a:lnT>
                    <a:lnB w="0">
                      <a:noFill/>
                    </a:lnB>
                    <a:solidFill>
                      <a:schemeClr val="bg1"/>
                    </a:solidFill>
                  </a:tcPr>
                </a:tc>
                <a:tc>
                  <a:txBody>
                    <a:bodyPr/>
                    <a:lstStyle/>
                    <a:p>
                      <a:pPr lvl="0">
                        <a:buNone/>
                      </a:pPr>
                      <a:endParaRPr lang="en-US" sz="1400" dirty="0"/>
                    </a:p>
                  </a:txBody>
                  <a:tcPr>
                    <a:lnL w="0">
                      <a:noFill/>
                    </a:lnL>
                    <a:lnR w="0">
                      <a:noFill/>
                    </a:lnR>
                    <a:lnT w="0">
                      <a:noFill/>
                    </a:lnT>
                    <a:lnB w="0">
                      <a:noFill/>
                    </a:lnB>
                    <a:solidFill>
                      <a:schemeClr val="bg1"/>
                    </a:solidFill>
                  </a:tcPr>
                </a:tc>
                <a:extLst>
                  <a:ext uri="{0D108BD9-81ED-4DB2-BD59-A6C34878D82A}">
                    <a16:rowId xmlns:a16="http://schemas.microsoft.com/office/drawing/2014/main" val="4158755220"/>
                  </a:ext>
                </a:extLst>
              </a:tr>
            </a:tbl>
          </a:graphicData>
        </a:graphic>
      </p:graphicFrame>
    </p:spTree>
    <p:extLst>
      <p:ext uri="{BB962C8B-B14F-4D97-AF65-F5344CB8AC3E}">
        <p14:creationId xmlns:p14="http://schemas.microsoft.com/office/powerpoint/2010/main" val="16419137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hteck 49"/>
          <p:cNvSpPr/>
          <p:nvPr/>
        </p:nvSpPr>
        <p:spPr>
          <a:xfrm>
            <a:off x="848100" y="3726914"/>
            <a:ext cx="10504800" cy="641880"/>
          </a:xfrm>
          <a:prstGeom prst="rect">
            <a:avLst/>
          </a:prstGeom>
          <a:solidFill>
            <a:srgbClr val="66CC33"/>
          </a:solidFill>
          <a:ln w="28575">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89" name="Rechteck 88"/>
          <p:cNvSpPr/>
          <p:nvPr/>
        </p:nvSpPr>
        <p:spPr>
          <a:xfrm>
            <a:off x="849203" y="4370843"/>
            <a:ext cx="10503010" cy="1864800"/>
          </a:xfrm>
          <a:prstGeom prst="rect">
            <a:avLst/>
          </a:prstGeom>
          <a:solidFill>
            <a:schemeClr val="bg1"/>
          </a:solidFill>
          <a:ln w="25400">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Rechteck 2"/>
          <p:cNvSpPr/>
          <p:nvPr/>
        </p:nvSpPr>
        <p:spPr>
          <a:xfrm>
            <a:off x="849618" y="923148"/>
            <a:ext cx="10504800" cy="641404"/>
          </a:xfrm>
          <a:prstGeom prst="rect">
            <a:avLst/>
          </a:prstGeom>
          <a:solidFill>
            <a:srgbClr val="66CC33"/>
          </a:solidFill>
          <a:ln w="25400">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54" name="Rechteck 53"/>
          <p:cNvSpPr/>
          <p:nvPr/>
        </p:nvSpPr>
        <p:spPr>
          <a:xfrm>
            <a:off x="839099" y="1662716"/>
            <a:ext cx="10504800" cy="1864449"/>
          </a:xfrm>
          <a:prstGeom prst="rect">
            <a:avLst/>
          </a:prstGeom>
          <a:solidFill>
            <a:schemeClr val="bg1"/>
          </a:solidFill>
          <a:ln w="25400">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50000"/>
              </a:spcBef>
              <a:buClr>
                <a:schemeClr val="bg1"/>
              </a:buClr>
            </a:pPr>
            <a:r>
              <a:rPr lang="en-US" b="1"/>
              <a:t>Environmental node sensor</a:t>
            </a:r>
            <a:endParaRPr lang="en-US" b="1" baseline="30000"/>
          </a:p>
        </p:txBody>
      </p:sp>
      <p:sp>
        <p:nvSpPr>
          <p:cNvPr id="9" name="Rechteck 8"/>
          <p:cNvSpPr/>
          <p:nvPr/>
        </p:nvSpPr>
        <p:spPr>
          <a:xfrm>
            <a:off x="1348187" y="1068104"/>
            <a:ext cx="8579583" cy="351173"/>
          </a:xfrm>
          <a:prstGeom prst="rect">
            <a:avLst/>
          </a:prstGeom>
          <a:noFill/>
        </p:spPr>
        <p:txBody>
          <a:bodyPr wrap="square" lIns="0" tIns="0" rIns="0" bIns="0" rtlCol="0" anchor="t">
            <a:noAutofit/>
          </a:bodyPr>
          <a:lstStyle/>
          <a:p>
            <a:pPr marL="0" marR="0" lvl="0" indent="0" algn="l" defTabSz="914400" rtl="0" eaLnBrk="1" fontAlgn="base" latinLnBrk="0" hangingPunct="1">
              <a:lnSpc>
                <a:spcPct val="100000"/>
              </a:lnSpc>
              <a:spcBef>
                <a:spcPct val="50000"/>
              </a:spcBef>
              <a:spcAft>
                <a:spcPct val="0"/>
              </a:spcAft>
              <a:buClr>
                <a:srgbClr val="FFFFFF"/>
              </a:buClr>
              <a:buSzTx/>
              <a:buFontTx/>
              <a:buNone/>
              <a:tabLst/>
              <a:defRPr/>
            </a:pPr>
            <a:r>
              <a:rPr kumimoji="0" lang="en-US" sz="2400" b="1" i="0" u="none" strike="noStrike" kern="1200" cap="none" spc="0" normalizeH="0" baseline="0" noProof="0">
                <a:ln>
                  <a:noFill/>
                </a:ln>
                <a:solidFill>
                  <a:srgbClr val="FFFFFF"/>
                </a:solidFill>
                <a:effectLst/>
                <a:uLnTx/>
                <a:uFillTx/>
                <a:latin typeface="Arial Narrow" panose="020B0606020202030204" pitchFamily="34" charset="0"/>
                <a:ea typeface="+mn-ea"/>
                <a:cs typeface="Arial" charset="0"/>
              </a:rPr>
              <a:t>Environmental Sensors and Modules</a:t>
            </a:r>
            <a:endParaRPr kumimoji="0" lang="en-US" sz="2400" b="1" i="0" u="none" strike="noStrike" kern="1200" cap="none" spc="0" normalizeH="0" baseline="0" noProof="0">
              <a:ln>
                <a:noFill/>
              </a:ln>
              <a:effectLst/>
              <a:uLnTx/>
              <a:uFillTx/>
              <a:latin typeface="Arial Narrow" panose="020B0606020202030204" pitchFamily="34" charset="0"/>
              <a:ea typeface="+mn-ea"/>
              <a:cs typeface="Arial" charset="0"/>
            </a:endParaRPr>
          </a:p>
        </p:txBody>
      </p:sp>
      <p:sp>
        <p:nvSpPr>
          <p:cNvPr id="6" name="Titel 5"/>
          <p:cNvSpPr>
            <a:spLocks noGrp="1"/>
          </p:cNvSpPr>
          <p:nvPr>
            <p:ph type="title"/>
          </p:nvPr>
        </p:nvSpPr>
        <p:spPr/>
        <p:txBody>
          <a:bodyPr/>
          <a:lstStyle/>
          <a:p>
            <a:r>
              <a:rPr lang="en-US"/>
              <a:t>Sensirion Product Lines</a:t>
            </a:r>
          </a:p>
        </p:txBody>
      </p:sp>
      <p:grpSp>
        <p:nvGrpSpPr>
          <p:cNvPr id="12" name="Gruppieren 11"/>
          <p:cNvGrpSpPr/>
          <p:nvPr/>
        </p:nvGrpSpPr>
        <p:grpSpPr>
          <a:xfrm>
            <a:off x="4690256" y="2080406"/>
            <a:ext cx="1287575" cy="989594"/>
            <a:chOff x="5594745" y="2130246"/>
            <a:chExt cx="1350130" cy="1228213"/>
          </a:xfrm>
        </p:grpSpPr>
        <p:sp>
          <p:nvSpPr>
            <p:cNvPr id="75" name="Rechteck 74"/>
            <p:cNvSpPr/>
            <p:nvPr/>
          </p:nvSpPr>
          <p:spPr>
            <a:xfrm>
              <a:off x="5594745" y="3050024"/>
              <a:ext cx="1350130" cy="308435"/>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800" b="1" i="0" u="none" strike="noStrike" kern="1200" cap="none" spc="0" normalizeH="0" baseline="0" noProof="0">
                  <a:ln>
                    <a:noFill/>
                  </a:ln>
                  <a:solidFill>
                    <a:srgbClr val="000000"/>
                  </a:solidFill>
                  <a:effectLst/>
                  <a:uLnTx/>
                  <a:uFillTx/>
                  <a:latin typeface="Arial Narrow" pitchFamily="34" charset="0"/>
                  <a:ea typeface="+mn-ea"/>
                  <a:cs typeface="Arial" charset="0"/>
                </a:rPr>
                <a:t>Gas</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30000" noProof="0">
                  <a:ln>
                    <a:noFill/>
                  </a:ln>
                  <a:solidFill>
                    <a:srgbClr val="000000"/>
                  </a:solidFill>
                  <a:effectLst/>
                  <a:uLnTx/>
                  <a:uFillTx/>
                  <a:latin typeface="Arial Narrow" pitchFamily="34" charset="0"/>
                  <a:ea typeface="+mn-ea"/>
                  <a:cs typeface="Arial" charset="0"/>
                </a:rPr>
                <a:t>(</a:t>
              </a:r>
              <a:r>
                <a:rPr kumimoji="0" lang="en-US" sz="2000" b="1" i="0" u="none" strike="noStrike" kern="1200" cap="none" spc="0" normalizeH="0" baseline="30000" noProof="0" err="1">
                  <a:ln>
                    <a:noFill/>
                  </a:ln>
                  <a:solidFill>
                    <a:srgbClr val="000000"/>
                  </a:solidFill>
                  <a:effectLst/>
                  <a:uLnTx/>
                  <a:uFillTx/>
                  <a:latin typeface="Arial Narrow" pitchFamily="34" charset="0"/>
                  <a:ea typeface="+mn-ea"/>
                  <a:cs typeface="Arial" charset="0"/>
                </a:rPr>
                <a:t>tVOC</a:t>
              </a:r>
              <a:r>
                <a:rPr kumimoji="0" lang="en-US" sz="2000" b="1" i="0" u="none" strike="noStrike" kern="1200" cap="none" spc="0" normalizeH="0" baseline="30000" noProof="0">
                  <a:ln>
                    <a:noFill/>
                  </a:ln>
                  <a:solidFill>
                    <a:srgbClr val="000000"/>
                  </a:solidFill>
                  <a:effectLst/>
                  <a:uLnTx/>
                  <a:uFillTx/>
                  <a:latin typeface="Arial Narrow" pitchFamily="34" charset="0"/>
                  <a:ea typeface="+mn-ea"/>
                  <a:cs typeface="Arial" charset="0"/>
                </a:rPr>
                <a:t>, CO2eq(N))</a:t>
              </a:r>
            </a:p>
          </p:txBody>
        </p:sp>
        <p:pic>
          <p:nvPicPr>
            <p:cNvPr id="83" name="Grafik 82"/>
            <p:cNvPicPr>
              <a:picLocks noChangeAspect="1"/>
            </p:cNvPicPr>
            <p:nvPr/>
          </p:nvPicPr>
          <p:blipFill rotWithShape="1">
            <a:blip r:embed="rId2" cstate="print">
              <a:extLst>
                <a:ext uri="{28A0092B-C50C-407E-A947-70E740481C1C}">
                  <a14:useLocalDpi xmlns:a14="http://schemas.microsoft.com/office/drawing/2010/main" val="0"/>
                </a:ext>
              </a:extLst>
            </a:blip>
            <a:srcRect l="12197" r="11089"/>
            <a:stretch/>
          </p:blipFill>
          <p:spPr>
            <a:xfrm>
              <a:off x="5728277" y="2130246"/>
              <a:ext cx="943133" cy="614714"/>
            </a:xfrm>
            <a:prstGeom prst="rect">
              <a:avLst/>
            </a:prstGeom>
          </p:spPr>
        </p:pic>
      </p:grpSp>
      <p:sp>
        <p:nvSpPr>
          <p:cNvPr id="39" name="Rechteck 38"/>
          <p:cNvSpPr/>
          <p:nvPr/>
        </p:nvSpPr>
        <p:spPr>
          <a:xfrm>
            <a:off x="5992680" y="5573688"/>
            <a:ext cx="3247699" cy="298279"/>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0" noProof="0">
                <a:ln>
                  <a:noFill/>
                </a:ln>
                <a:solidFill>
                  <a:srgbClr val="000000"/>
                </a:solidFill>
                <a:effectLst/>
                <a:uLnTx/>
                <a:uFillTx/>
                <a:latin typeface="Arial Narrow" pitchFamily="34" charset="0"/>
                <a:ea typeface="+mn-ea"/>
                <a:cs typeface="Arial" charset="0"/>
              </a:rPr>
              <a:t>Gas Flow</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200" b="1" i="0" u="none" strike="noStrike" kern="1200" cap="none" spc="0" normalizeH="0" baseline="0" noProof="0">
                <a:ln>
                  <a:noFill/>
                </a:ln>
                <a:solidFill>
                  <a:srgbClr val="000000"/>
                </a:solidFill>
                <a:effectLst/>
                <a:uLnTx/>
                <a:uFillTx/>
                <a:latin typeface="Arial Narrow" pitchFamily="34" charset="0"/>
                <a:ea typeface="+mn-ea"/>
                <a:cs typeface="Arial" charset="0"/>
              </a:rPr>
              <a:t>(Air, N2, O2, etc. +/- 250slm)</a:t>
            </a:r>
          </a:p>
        </p:txBody>
      </p:sp>
      <p:sp>
        <p:nvSpPr>
          <p:cNvPr id="42" name="Rechteck 41"/>
          <p:cNvSpPr/>
          <p:nvPr/>
        </p:nvSpPr>
        <p:spPr>
          <a:xfrm>
            <a:off x="4337689" y="5554605"/>
            <a:ext cx="1557597" cy="308435"/>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0" noProof="0">
                <a:ln>
                  <a:noFill/>
                </a:ln>
                <a:solidFill>
                  <a:srgbClr val="000000"/>
                </a:solidFill>
                <a:effectLst/>
                <a:uLnTx/>
                <a:uFillTx/>
                <a:latin typeface="Arial Narrow" pitchFamily="34" charset="0"/>
                <a:ea typeface="+mn-ea"/>
                <a:cs typeface="Arial" charset="0"/>
              </a:rPr>
              <a:t>Liquid Flow</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200" b="1" i="0" u="none" strike="noStrike" kern="1200" cap="none" spc="0" normalizeH="0" baseline="0" noProof="0">
                <a:ln>
                  <a:noFill/>
                </a:ln>
                <a:solidFill>
                  <a:srgbClr val="000000"/>
                </a:solidFill>
                <a:effectLst/>
                <a:uLnTx/>
                <a:uFillTx/>
                <a:latin typeface="Arial Narrow" pitchFamily="34" charset="0"/>
                <a:ea typeface="+mn-ea"/>
                <a:cs typeface="Arial" charset="0"/>
              </a:rPr>
              <a:t>(microfluidics </a:t>
            </a:r>
            <a:r>
              <a:rPr kumimoji="0" lang="en-US" sz="1200" b="1" i="0" u="none" strike="noStrike" kern="1200" cap="none" spc="0" normalizeH="0" baseline="0" noProof="0" err="1">
                <a:ln>
                  <a:noFill/>
                </a:ln>
                <a:solidFill>
                  <a:srgbClr val="000000"/>
                </a:solidFill>
                <a:effectLst/>
                <a:uLnTx/>
                <a:uFillTx/>
                <a:latin typeface="Arial Narrow" pitchFamily="34" charset="0"/>
                <a:ea typeface="+mn-ea"/>
                <a:cs typeface="Arial" charset="0"/>
              </a:rPr>
              <a:t>nl</a:t>
            </a:r>
            <a:r>
              <a:rPr kumimoji="0" lang="en-US" sz="1200" b="1" i="0" u="none" strike="noStrike" kern="1200" cap="none" spc="0" normalizeH="0" baseline="0" noProof="0">
                <a:ln>
                  <a:noFill/>
                </a:ln>
                <a:solidFill>
                  <a:srgbClr val="000000"/>
                </a:solidFill>
                <a:effectLst/>
                <a:uLnTx/>
                <a:uFillTx/>
                <a:latin typeface="Arial Narrow" pitchFamily="34" charset="0"/>
                <a:ea typeface="+mn-ea"/>
                <a:cs typeface="Arial" charset="0"/>
              </a:rPr>
              <a:t>-ml/min)</a:t>
            </a:r>
          </a:p>
        </p:txBody>
      </p:sp>
      <p:sp>
        <p:nvSpPr>
          <p:cNvPr id="44" name="Rechteck 43"/>
          <p:cNvSpPr/>
          <p:nvPr/>
        </p:nvSpPr>
        <p:spPr>
          <a:xfrm>
            <a:off x="1232673" y="5563532"/>
            <a:ext cx="2266952" cy="308435"/>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0" noProof="0">
                <a:ln>
                  <a:noFill/>
                </a:ln>
                <a:solidFill>
                  <a:srgbClr val="000000"/>
                </a:solidFill>
                <a:effectLst/>
                <a:uLnTx/>
                <a:uFillTx/>
                <a:latin typeface="Arial Narrow" pitchFamily="34" charset="0"/>
                <a:ea typeface="+mn-ea"/>
                <a:cs typeface="Arial" charset="0"/>
              </a:rPr>
              <a:t>Differential Pressure</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200" b="1" i="0" u="none" strike="noStrike" kern="1200" cap="none" spc="0" normalizeH="0" baseline="0" noProof="0">
                <a:ln>
                  <a:noFill/>
                </a:ln>
                <a:solidFill>
                  <a:srgbClr val="000000"/>
                </a:solidFill>
                <a:effectLst/>
                <a:uLnTx/>
                <a:uFillTx/>
                <a:latin typeface="Arial Narrow" pitchFamily="34" charset="0"/>
                <a:ea typeface="+mn-ea"/>
                <a:cs typeface="Arial" charset="0"/>
              </a:rPr>
              <a:t>(Mass flow DP, +/-500Pa, +3500Pa*)</a:t>
            </a:r>
          </a:p>
        </p:txBody>
      </p:sp>
      <p:sp>
        <p:nvSpPr>
          <p:cNvPr id="60" name="Rechteck 59"/>
          <p:cNvSpPr/>
          <p:nvPr/>
        </p:nvSpPr>
        <p:spPr>
          <a:xfrm>
            <a:off x="848101" y="2859060"/>
            <a:ext cx="2343216" cy="308214"/>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800" b="1" i="0" u="none" strike="noStrike" kern="1200" cap="none" spc="0" normalizeH="0" baseline="0" noProof="0">
                <a:ln>
                  <a:noFill/>
                </a:ln>
                <a:solidFill>
                  <a:srgbClr val="000000"/>
                </a:solidFill>
                <a:effectLst/>
                <a:uLnTx/>
                <a:uFillTx/>
                <a:latin typeface="Arial Narrow" pitchFamily="34" charset="0"/>
                <a:ea typeface="+mn-ea"/>
                <a:cs typeface="Arial" charset="0"/>
              </a:rPr>
              <a:t>Humidity &amp; Temperature</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30000" noProof="0">
                <a:ln>
                  <a:noFill/>
                </a:ln>
                <a:solidFill>
                  <a:srgbClr val="000000"/>
                </a:solidFill>
                <a:effectLst/>
                <a:uLnTx/>
                <a:uFillTx/>
                <a:latin typeface="Arial Narrow" pitchFamily="34" charset="0"/>
                <a:ea typeface="+mn-ea"/>
                <a:cs typeface="Arial" charset="0"/>
              </a:rPr>
              <a:t>(RH + T)</a:t>
            </a:r>
          </a:p>
        </p:txBody>
      </p:sp>
      <p:sp>
        <p:nvSpPr>
          <p:cNvPr id="64" name="Rechteck 63"/>
          <p:cNvSpPr/>
          <p:nvPr/>
        </p:nvSpPr>
        <p:spPr>
          <a:xfrm>
            <a:off x="3262359" y="2849833"/>
            <a:ext cx="1350130" cy="290342"/>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800" b="1" i="0" u="none" strike="noStrike" kern="1200" cap="none" spc="0" normalizeH="0" baseline="0" noProof="0">
                <a:ln>
                  <a:noFill/>
                </a:ln>
                <a:solidFill>
                  <a:srgbClr val="000000"/>
                </a:solidFill>
                <a:effectLst/>
                <a:uLnTx/>
                <a:uFillTx/>
                <a:latin typeface="Arial Narrow" pitchFamily="34" charset="0"/>
                <a:ea typeface="+mn-ea"/>
                <a:cs typeface="Arial" charset="0"/>
              </a:rPr>
              <a:t>Temperature</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30000" noProof="0">
                <a:ln>
                  <a:noFill/>
                </a:ln>
                <a:solidFill>
                  <a:srgbClr val="000000"/>
                </a:solidFill>
                <a:effectLst/>
                <a:uLnTx/>
                <a:uFillTx/>
                <a:latin typeface="Arial Narrow" pitchFamily="34" charset="0"/>
                <a:ea typeface="+mn-ea"/>
                <a:cs typeface="Arial" charset="0"/>
              </a:rPr>
              <a:t>(T-only)</a:t>
            </a:r>
          </a:p>
        </p:txBody>
      </p:sp>
      <p:pic>
        <p:nvPicPr>
          <p:cNvPr id="28" name="Bild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69844" y="2093366"/>
            <a:ext cx="697263" cy="401556"/>
          </a:xfrm>
          <a:prstGeom prst="rect">
            <a:avLst/>
          </a:prstGeom>
          <a:effectLst>
            <a:outerShdw blurRad="50800" dist="165100" dir="5400000" algn="t" rotWithShape="0">
              <a:schemeClr val="bg1">
                <a:lumMod val="65000"/>
                <a:alpha val="24000"/>
              </a:schemeClr>
            </a:outerShdw>
          </a:effectLst>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927" t="14499" r="2386" b="18537"/>
          <a:stretch/>
        </p:blipFill>
        <p:spPr>
          <a:xfrm>
            <a:off x="4133621" y="4756134"/>
            <a:ext cx="1354975" cy="723207"/>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80119" y="4684800"/>
            <a:ext cx="1217230" cy="918664"/>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71410" y="4636279"/>
            <a:ext cx="1800000" cy="900000"/>
          </a:xfrm>
          <a:prstGeom prst="rect">
            <a:avLst/>
          </a:prstGeom>
        </p:spPr>
      </p:pic>
      <p:sp>
        <p:nvSpPr>
          <p:cNvPr id="36" name="Rechteck 8"/>
          <p:cNvSpPr/>
          <p:nvPr/>
        </p:nvSpPr>
        <p:spPr>
          <a:xfrm>
            <a:off x="1348188" y="3865706"/>
            <a:ext cx="7003332" cy="351173"/>
          </a:xfrm>
          <a:prstGeom prst="rect">
            <a:avLst/>
          </a:prstGeom>
          <a:noFill/>
        </p:spPr>
        <p:txBody>
          <a:bodyPr wrap="square" lIns="0" tIns="0" rIns="0" bIns="0" rtlCol="0" anchor="t">
            <a:noAutofit/>
          </a:bodyPr>
          <a:lstStyle/>
          <a:p>
            <a:pPr marL="0" marR="0" lvl="0" indent="0" algn="l" defTabSz="914400" rtl="0" eaLnBrk="1" fontAlgn="base" latinLnBrk="0" hangingPunct="1">
              <a:lnSpc>
                <a:spcPct val="100000"/>
              </a:lnSpc>
              <a:spcBef>
                <a:spcPct val="50000"/>
              </a:spcBef>
              <a:spcAft>
                <a:spcPct val="0"/>
              </a:spcAft>
              <a:buClr>
                <a:srgbClr val="FFFFFF"/>
              </a:buClr>
              <a:buSzTx/>
              <a:buFontTx/>
              <a:buNone/>
              <a:tabLst/>
              <a:defRPr/>
            </a:pPr>
            <a:r>
              <a:rPr kumimoji="0" lang="en-US" sz="2400" b="1" i="0" u="none" strike="noStrike" kern="1200" cap="none" spc="0" normalizeH="0" baseline="0" noProof="0">
                <a:ln>
                  <a:noFill/>
                </a:ln>
                <a:solidFill>
                  <a:srgbClr val="FFFFFF"/>
                </a:solidFill>
                <a:effectLst/>
                <a:uLnTx/>
                <a:uFillTx/>
                <a:latin typeface="Arial Narrow" panose="020B0606020202030204" pitchFamily="34" charset="0"/>
                <a:ea typeface="+mn-ea"/>
                <a:cs typeface="Arial" charset="0"/>
              </a:rPr>
              <a:t>Flow Sensors and Modules </a:t>
            </a:r>
          </a:p>
        </p:txBody>
      </p:sp>
      <p:sp>
        <p:nvSpPr>
          <p:cNvPr id="34" name="Rechteck 33"/>
          <p:cNvSpPr/>
          <p:nvPr/>
        </p:nvSpPr>
        <p:spPr>
          <a:xfrm>
            <a:off x="7803297" y="2826812"/>
            <a:ext cx="1852353" cy="308435"/>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800" b="1" i="0" u="none" strike="noStrike" kern="1200" cap="none" spc="0" normalizeH="0" baseline="0" noProof="0">
                <a:ln>
                  <a:noFill/>
                </a:ln>
                <a:solidFill>
                  <a:srgbClr val="000000"/>
                </a:solidFill>
                <a:effectLst/>
                <a:uLnTx/>
                <a:uFillTx/>
                <a:latin typeface="Arial Narrow" pitchFamily="34" charset="0"/>
                <a:ea typeface="+mn-ea"/>
                <a:cs typeface="Arial" charset="0"/>
              </a:rPr>
              <a:t>Particulate Matter</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30000" noProof="0">
                <a:ln>
                  <a:noFill/>
                </a:ln>
                <a:solidFill>
                  <a:srgbClr val="000000"/>
                </a:solidFill>
                <a:effectLst/>
                <a:uLnTx/>
                <a:uFillTx/>
                <a:latin typeface="Arial Narrow" pitchFamily="34" charset="0"/>
                <a:ea typeface="+mn-ea"/>
                <a:cs typeface="Arial" charset="0"/>
              </a:rPr>
              <a:t>(PM2.5-10)</a:t>
            </a:r>
          </a:p>
        </p:txBody>
      </p:sp>
      <p:sp>
        <p:nvSpPr>
          <p:cNvPr id="35" name="Rechteck 74"/>
          <p:cNvSpPr/>
          <p:nvPr/>
        </p:nvSpPr>
        <p:spPr>
          <a:xfrm>
            <a:off x="6140902" y="2830208"/>
            <a:ext cx="1677838" cy="316666"/>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800" b="1" i="0" u="none" strike="noStrike" kern="1200" cap="none" spc="0" normalizeH="0" baseline="0" noProof="0">
                <a:ln>
                  <a:noFill/>
                </a:ln>
                <a:solidFill>
                  <a:srgbClr val="000000"/>
                </a:solidFill>
                <a:effectLst/>
                <a:uLnTx/>
                <a:uFillTx/>
                <a:latin typeface="Arial Narrow" pitchFamily="34" charset="0"/>
                <a:ea typeface="+mn-ea"/>
                <a:cs typeface="Arial" charset="0"/>
              </a:rPr>
              <a:t>Carbon Dioxide</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30000" noProof="0">
                <a:ln>
                  <a:noFill/>
                </a:ln>
                <a:solidFill>
                  <a:srgbClr val="000000"/>
                </a:solidFill>
                <a:effectLst/>
                <a:uLnTx/>
                <a:uFillTx/>
                <a:latin typeface="Arial Narrow" pitchFamily="34" charset="0"/>
                <a:ea typeface="+mn-ea"/>
                <a:cs typeface="Arial" charset="0"/>
              </a:rPr>
              <a:t>(CO2 + RH + T)</a:t>
            </a:r>
          </a:p>
        </p:txBody>
      </p:sp>
      <p:pic>
        <p:nvPicPr>
          <p:cNvPr id="29"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448" t="4478" r="19934" b="7753"/>
          <a:stretch/>
        </p:blipFill>
        <p:spPr bwMode="auto">
          <a:xfrm>
            <a:off x="1202599" y="5018222"/>
            <a:ext cx="448223" cy="34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202599" y="1669483"/>
            <a:ext cx="1119217"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 </a:t>
            </a:r>
            <a:r>
              <a:rPr kumimoji="0" lang="en-US" sz="1200" b="0" i="0" u="none" strike="noStrike" kern="1200" cap="none" spc="0" normalizeH="0" baseline="0" noProof="0" err="1">
                <a:ln>
                  <a:noFill/>
                </a:ln>
                <a:solidFill>
                  <a:srgbClr val="000000"/>
                </a:solidFill>
                <a:effectLst/>
                <a:uLnTx/>
                <a:uFillTx/>
                <a:latin typeface="Arial Narrow" pitchFamily="34" charset="0"/>
                <a:ea typeface="+mn-ea"/>
                <a:cs typeface="Arial" charset="0"/>
              </a:rPr>
              <a:t>SHTCx</a:t>
            </a: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 SHT3x</a:t>
            </a:r>
          </a:p>
        </p:txBody>
      </p:sp>
      <p:sp>
        <p:nvSpPr>
          <p:cNvPr id="32" name="TextBox 31"/>
          <p:cNvSpPr txBox="1"/>
          <p:nvPr/>
        </p:nvSpPr>
        <p:spPr>
          <a:xfrm>
            <a:off x="3494474" y="1668258"/>
            <a:ext cx="979755"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STS3x,STS4x</a:t>
            </a:r>
          </a:p>
        </p:txBody>
      </p:sp>
      <p:sp>
        <p:nvSpPr>
          <p:cNvPr id="33" name="TextBox 32"/>
          <p:cNvSpPr txBox="1"/>
          <p:nvPr/>
        </p:nvSpPr>
        <p:spPr>
          <a:xfrm>
            <a:off x="4727305" y="1680509"/>
            <a:ext cx="585417"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SGP4x</a:t>
            </a:r>
          </a:p>
        </p:txBody>
      </p:sp>
      <p:sp>
        <p:nvSpPr>
          <p:cNvPr id="37" name="TextBox 36"/>
          <p:cNvSpPr txBox="1"/>
          <p:nvPr/>
        </p:nvSpPr>
        <p:spPr>
          <a:xfrm>
            <a:off x="6423424" y="1667910"/>
            <a:ext cx="1149674"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SCD30 &amp; SCD4x</a:t>
            </a:r>
          </a:p>
        </p:txBody>
      </p:sp>
      <p:sp>
        <p:nvSpPr>
          <p:cNvPr id="38" name="TextBox 37"/>
          <p:cNvSpPr txBox="1"/>
          <p:nvPr/>
        </p:nvSpPr>
        <p:spPr>
          <a:xfrm>
            <a:off x="8212097" y="1684713"/>
            <a:ext cx="572593"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SPS3x</a:t>
            </a:r>
          </a:p>
        </p:txBody>
      </p:sp>
      <p:sp>
        <p:nvSpPr>
          <p:cNvPr id="41" name="TextBox 40"/>
          <p:cNvSpPr txBox="1"/>
          <p:nvPr/>
        </p:nvSpPr>
        <p:spPr>
          <a:xfrm>
            <a:off x="1786955" y="4359280"/>
            <a:ext cx="1707519"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SDP3x, SDP8x, SDP2000*</a:t>
            </a:r>
          </a:p>
        </p:txBody>
      </p:sp>
      <p:sp>
        <p:nvSpPr>
          <p:cNvPr id="43" name="TextBox 42"/>
          <p:cNvSpPr txBox="1"/>
          <p:nvPr/>
        </p:nvSpPr>
        <p:spPr>
          <a:xfrm>
            <a:off x="4606753" y="4363364"/>
            <a:ext cx="952505"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LD20, LPG10</a:t>
            </a:r>
          </a:p>
        </p:txBody>
      </p:sp>
      <p:sp>
        <p:nvSpPr>
          <p:cNvPr id="46" name="TextBox 45"/>
          <p:cNvSpPr txBox="1"/>
          <p:nvPr/>
        </p:nvSpPr>
        <p:spPr>
          <a:xfrm>
            <a:off x="7160079" y="4368918"/>
            <a:ext cx="822661"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SFM series</a:t>
            </a:r>
          </a:p>
        </p:txBody>
      </p:sp>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07444" y="2080297"/>
            <a:ext cx="561053" cy="563558"/>
          </a:xfrm>
          <a:prstGeom prst="rect">
            <a:avLst/>
          </a:prstGeom>
        </p:spPr>
      </p:pic>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06508" y="2046874"/>
            <a:ext cx="1309479" cy="691703"/>
          </a:xfrm>
          <a:prstGeom prst="rect">
            <a:avLst/>
          </a:prstGeom>
        </p:spPr>
      </p:pic>
      <p:pic>
        <p:nvPicPr>
          <p:cNvPr id="17" name="Picture 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10381" y="2020520"/>
            <a:ext cx="1229428" cy="614714"/>
          </a:xfrm>
          <a:prstGeom prst="rect">
            <a:avLst/>
          </a:prstGeom>
        </p:spPr>
      </p:pic>
      <p:pic>
        <p:nvPicPr>
          <p:cNvPr id="18" name="Picture 17"/>
          <p:cNvPicPr>
            <a:picLocks noChangeAspect="1"/>
          </p:cNvPicPr>
          <p:nvPr/>
        </p:nvPicPr>
        <p:blipFill rotWithShape="1">
          <a:blip r:embed="rId11" cstate="print">
            <a:extLst>
              <a:ext uri="{28A0092B-C50C-407E-A947-70E740481C1C}">
                <a14:useLocalDpi xmlns:a14="http://schemas.microsoft.com/office/drawing/2010/main" val="0"/>
              </a:ext>
            </a:extLst>
          </a:blip>
          <a:srcRect l="17599" t="6213" r="21160" b="14640"/>
          <a:stretch/>
        </p:blipFill>
        <p:spPr>
          <a:xfrm>
            <a:off x="8072076" y="2038125"/>
            <a:ext cx="949084" cy="613290"/>
          </a:xfrm>
          <a:prstGeom prst="rect">
            <a:avLst/>
          </a:prstGeom>
        </p:spPr>
      </p:pic>
      <p:pic>
        <p:nvPicPr>
          <p:cNvPr id="19" name="Picture 18"/>
          <p:cNvPicPr>
            <a:picLocks noChangeAspect="1"/>
          </p:cNvPicPr>
          <p:nvPr/>
        </p:nvPicPr>
        <p:blipFill rotWithShape="1">
          <a:blip r:embed="rId12" cstate="print">
            <a:extLst>
              <a:ext uri="{28A0092B-C50C-407E-A947-70E740481C1C}">
                <a14:useLocalDpi xmlns:a14="http://schemas.microsoft.com/office/drawing/2010/main" val="0"/>
              </a:ext>
            </a:extLst>
          </a:blip>
          <a:srcRect l="31592" t="12232" r="30489" b="18552"/>
          <a:stretch/>
        </p:blipFill>
        <p:spPr>
          <a:xfrm>
            <a:off x="5558152" y="4786848"/>
            <a:ext cx="634380" cy="578997"/>
          </a:xfrm>
          <a:prstGeom prst="rect">
            <a:avLst/>
          </a:prstGeom>
        </p:spPr>
      </p:pic>
      <p:pic>
        <p:nvPicPr>
          <p:cNvPr id="20" name="Picture 19"/>
          <p:cNvPicPr>
            <a:picLocks noChangeAspect="1"/>
          </p:cNvPicPr>
          <p:nvPr/>
        </p:nvPicPr>
        <p:blipFill rotWithShape="1">
          <a:blip r:embed="rId13" cstate="print">
            <a:extLst>
              <a:ext uri="{28A0092B-C50C-407E-A947-70E740481C1C}">
                <a14:useLocalDpi xmlns:a14="http://schemas.microsoft.com/office/drawing/2010/main" val="0"/>
              </a:ext>
            </a:extLst>
          </a:blip>
          <a:srcRect l="30088" t="3505" r="33649" b="7417"/>
          <a:stretch/>
        </p:blipFill>
        <p:spPr>
          <a:xfrm>
            <a:off x="2912227" y="4648292"/>
            <a:ext cx="764436" cy="938892"/>
          </a:xfrm>
          <a:prstGeom prst="rect">
            <a:avLst/>
          </a:prstGeom>
        </p:spPr>
      </p:pic>
      <p:pic>
        <p:nvPicPr>
          <p:cNvPr id="21" name="Picture 20"/>
          <p:cNvPicPr>
            <a:picLocks noChangeAspect="1"/>
          </p:cNvPicPr>
          <p:nvPr/>
        </p:nvPicPr>
        <p:blipFill rotWithShape="1">
          <a:blip r:embed="rId14" cstate="print">
            <a:extLst>
              <a:ext uri="{28A0092B-C50C-407E-A947-70E740481C1C}">
                <a14:useLocalDpi xmlns:a14="http://schemas.microsoft.com/office/drawing/2010/main" val="0"/>
              </a:ext>
            </a:extLst>
          </a:blip>
          <a:srcRect l="25179" t="12346" r="25617" b="10012"/>
          <a:stretch/>
        </p:blipFill>
        <p:spPr>
          <a:xfrm>
            <a:off x="9021160" y="4740828"/>
            <a:ext cx="955419" cy="753818"/>
          </a:xfrm>
          <a:prstGeom prst="rect">
            <a:avLst/>
          </a:prstGeom>
        </p:spPr>
      </p:pic>
      <p:pic>
        <p:nvPicPr>
          <p:cNvPr id="23" name="Picture 22"/>
          <p:cNvPicPr>
            <a:picLocks noChangeAspect="1"/>
          </p:cNvPicPr>
          <p:nvPr/>
        </p:nvPicPr>
        <p:blipFill rotWithShape="1">
          <a:blip r:embed="rId15" cstate="print">
            <a:extLst>
              <a:ext uri="{28A0092B-C50C-407E-A947-70E740481C1C}">
                <a14:useLocalDpi xmlns:a14="http://schemas.microsoft.com/office/drawing/2010/main" val="0"/>
              </a:ext>
            </a:extLst>
          </a:blip>
          <a:srcRect l="34752" t="5912" r="35906" b="27279"/>
          <a:stretch/>
        </p:blipFill>
        <p:spPr>
          <a:xfrm>
            <a:off x="10223961" y="4740828"/>
            <a:ext cx="604736" cy="688469"/>
          </a:xfrm>
          <a:prstGeom prst="rect">
            <a:avLst/>
          </a:prstGeom>
        </p:spPr>
      </p:pic>
      <p:sp>
        <p:nvSpPr>
          <p:cNvPr id="47" name="Rechteck 38"/>
          <p:cNvSpPr/>
          <p:nvPr/>
        </p:nvSpPr>
        <p:spPr>
          <a:xfrm>
            <a:off x="8770565" y="5576083"/>
            <a:ext cx="2354696" cy="298279"/>
          </a:xfrm>
          <a:prstGeom prst="rect">
            <a:avLst/>
          </a:prstGeom>
          <a:noFill/>
        </p:spPr>
        <p:txBody>
          <a:bodyPr wrap="square" lIns="27000" tIns="0" rIns="67500" bIns="67500" rtlCol="0" anchor="t">
            <a:no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000" b="1" i="0" u="none" strike="noStrike" kern="1200" cap="none" spc="0" normalizeH="0" baseline="0" noProof="0">
                <a:ln>
                  <a:noFill/>
                </a:ln>
                <a:solidFill>
                  <a:srgbClr val="000000"/>
                </a:solidFill>
                <a:effectLst/>
                <a:uLnTx/>
                <a:uFillTx/>
                <a:latin typeface="Arial Narrow" pitchFamily="34" charset="0"/>
                <a:ea typeface="+mn-ea"/>
                <a:cs typeface="Arial" charset="0"/>
              </a:rPr>
              <a:t>Mass Flow Controller</a:t>
            </a:r>
          </a:p>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1200" b="1" i="0" u="none" strike="noStrike" kern="1200" cap="none" spc="0" normalizeH="0" baseline="0" noProof="0">
                <a:ln>
                  <a:noFill/>
                </a:ln>
                <a:solidFill>
                  <a:srgbClr val="000000"/>
                </a:solidFill>
                <a:effectLst/>
                <a:uLnTx/>
                <a:uFillTx/>
                <a:latin typeface="Arial Narrow" pitchFamily="34" charset="0"/>
                <a:ea typeface="+mn-ea"/>
                <a:cs typeface="Arial" charset="0"/>
              </a:rPr>
              <a:t>(</a:t>
            </a:r>
            <a:r>
              <a:rPr kumimoji="0" lang="pt-BR" sz="1200" b="1" i="0" u="none" strike="noStrike" kern="1200" cap="none" spc="0" normalizeH="0" baseline="0" noProof="0">
                <a:ln>
                  <a:noFill/>
                </a:ln>
                <a:solidFill>
                  <a:srgbClr val="000000"/>
                </a:solidFill>
                <a:effectLst/>
                <a:uLnTx/>
                <a:uFillTx/>
                <a:latin typeface="Arial Narrow" pitchFamily="34" charset="0"/>
                <a:ea typeface="+mn-ea"/>
                <a:cs typeface="Arial" charset="0"/>
              </a:rPr>
              <a:t>Air/N</a:t>
            </a:r>
            <a:r>
              <a:rPr kumimoji="0" lang="pt-BR" sz="1200" b="1" i="0" u="none" strike="noStrike" kern="1200" cap="none" spc="0" normalizeH="0" baseline="-25000" noProof="0">
                <a:ln>
                  <a:noFill/>
                </a:ln>
                <a:solidFill>
                  <a:srgbClr val="000000"/>
                </a:solidFill>
                <a:effectLst/>
                <a:uLnTx/>
                <a:uFillTx/>
                <a:latin typeface="Arial Narrow" pitchFamily="34" charset="0"/>
                <a:ea typeface="+mn-ea"/>
                <a:cs typeface="Arial" charset="0"/>
              </a:rPr>
              <a:t>2</a:t>
            </a:r>
            <a:r>
              <a:rPr kumimoji="0" lang="pt-BR" sz="1200" b="1" i="0" u="none" strike="noStrike" kern="1200" cap="none" spc="0" normalizeH="0" baseline="0" noProof="0">
                <a:ln>
                  <a:noFill/>
                </a:ln>
                <a:solidFill>
                  <a:srgbClr val="000000"/>
                </a:solidFill>
                <a:effectLst/>
                <a:uLnTx/>
                <a:uFillTx/>
                <a:latin typeface="Arial Narrow" pitchFamily="34" charset="0"/>
                <a:ea typeface="+mn-ea"/>
                <a:cs typeface="Arial" charset="0"/>
              </a:rPr>
              <a:t>, H</a:t>
            </a:r>
            <a:r>
              <a:rPr kumimoji="0" lang="pt-BR" sz="1200" b="1" i="0" u="none" strike="noStrike" kern="1200" cap="none" spc="0" normalizeH="0" baseline="-25000" noProof="0">
                <a:ln>
                  <a:noFill/>
                </a:ln>
                <a:solidFill>
                  <a:srgbClr val="000000"/>
                </a:solidFill>
                <a:effectLst/>
                <a:uLnTx/>
                <a:uFillTx/>
                <a:latin typeface="Arial Narrow" pitchFamily="34" charset="0"/>
                <a:ea typeface="+mn-ea"/>
                <a:cs typeface="Arial" charset="0"/>
              </a:rPr>
              <a:t>2</a:t>
            </a:r>
            <a:r>
              <a:rPr kumimoji="0" lang="pt-BR" sz="1200" b="1" i="0" u="none" strike="noStrike" kern="1200" cap="none" spc="0" normalizeH="0" baseline="0" noProof="0">
                <a:ln>
                  <a:noFill/>
                </a:ln>
                <a:solidFill>
                  <a:srgbClr val="000000"/>
                </a:solidFill>
                <a:effectLst/>
                <a:uLnTx/>
                <a:uFillTx/>
                <a:latin typeface="Arial Narrow" pitchFamily="34" charset="0"/>
                <a:ea typeface="+mn-ea"/>
                <a:cs typeface="Arial" charset="0"/>
              </a:rPr>
              <a:t>, O</a:t>
            </a:r>
            <a:r>
              <a:rPr kumimoji="0" lang="pt-BR" sz="1200" b="1" i="0" u="none" strike="noStrike" kern="1200" cap="none" spc="0" normalizeH="0" baseline="-25000" noProof="0">
                <a:ln>
                  <a:noFill/>
                </a:ln>
                <a:solidFill>
                  <a:srgbClr val="000000"/>
                </a:solidFill>
                <a:effectLst/>
                <a:uLnTx/>
                <a:uFillTx/>
                <a:latin typeface="Arial Narrow" pitchFamily="34" charset="0"/>
                <a:ea typeface="+mn-ea"/>
                <a:cs typeface="Arial" charset="0"/>
              </a:rPr>
              <a:t>2</a:t>
            </a:r>
            <a:r>
              <a:rPr kumimoji="0" lang="pt-BR" sz="1200" b="1" i="0" u="none" strike="noStrike" kern="1200" cap="none" spc="0" normalizeH="0" baseline="0" noProof="0">
                <a:ln>
                  <a:noFill/>
                </a:ln>
                <a:solidFill>
                  <a:srgbClr val="000000"/>
                </a:solidFill>
                <a:effectLst/>
                <a:uLnTx/>
                <a:uFillTx/>
                <a:latin typeface="Arial Narrow" pitchFamily="34" charset="0"/>
                <a:ea typeface="+mn-ea"/>
                <a:cs typeface="Arial" charset="0"/>
              </a:rPr>
              <a:t>, He, Ar, CO</a:t>
            </a:r>
            <a:r>
              <a:rPr kumimoji="0" lang="pt-BR" sz="1200" b="1" i="0" u="none" strike="noStrike" kern="1200" cap="none" spc="0" normalizeH="0" baseline="-25000" noProof="0">
                <a:ln>
                  <a:noFill/>
                </a:ln>
                <a:solidFill>
                  <a:srgbClr val="000000"/>
                </a:solidFill>
                <a:effectLst/>
                <a:uLnTx/>
                <a:uFillTx/>
                <a:latin typeface="Arial Narrow" pitchFamily="34" charset="0"/>
                <a:ea typeface="+mn-ea"/>
                <a:cs typeface="Arial" charset="0"/>
              </a:rPr>
              <a:t>2)</a:t>
            </a:r>
          </a:p>
        </p:txBody>
      </p:sp>
      <p:sp>
        <p:nvSpPr>
          <p:cNvPr id="48" name="TextBox 47"/>
          <p:cNvSpPr txBox="1"/>
          <p:nvPr/>
        </p:nvSpPr>
        <p:spPr>
          <a:xfrm>
            <a:off x="9256319" y="4371313"/>
            <a:ext cx="1326004"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SFC5400, SFC5300</a:t>
            </a:r>
          </a:p>
        </p:txBody>
      </p:sp>
      <p:pic>
        <p:nvPicPr>
          <p:cNvPr id="49" name="Picture 48" descr="A picture containing green, dishware, tableware&#10;&#10;Description automatically generated">
            <a:extLst>
              <a:ext uri="{FF2B5EF4-FFF2-40B4-BE49-F238E27FC236}">
                <a16:creationId xmlns:a16="http://schemas.microsoft.com/office/drawing/2014/main" id="{9C5BD774-EC66-23A8-C769-8FEEEE2F41C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028761" y="2058589"/>
            <a:ext cx="733746" cy="544733"/>
          </a:xfrm>
          <a:prstGeom prst="rect">
            <a:avLst/>
          </a:prstGeom>
        </p:spPr>
      </p:pic>
      <p:pic>
        <p:nvPicPr>
          <p:cNvPr id="51" name="Picture 50" descr="A picture containing text, electronics&#10;&#10;Description automatically generated">
            <a:extLst>
              <a:ext uri="{FF2B5EF4-FFF2-40B4-BE49-F238E27FC236}">
                <a16:creationId xmlns:a16="http://schemas.microsoft.com/office/drawing/2014/main" id="{29761B7F-A041-0911-6946-EEF49E753A68}"/>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709080" y="1962213"/>
            <a:ext cx="1317023" cy="740825"/>
          </a:xfrm>
          <a:prstGeom prst="rect">
            <a:avLst/>
          </a:prstGeom>
        </p:spPr>
      </p:pic>
      <p:sp>
        <p:nvSpPr>
          <p:cNvPr id="52" name="Rechteck 59">
            <a:extLst>
              <a:ext uri="{FF2B5EF4-FFF2-40B4-BE49-F238E27FC236}">
                <a16:creationId xmlns:a16="http://schemas.microsoft.com/office/drawing/2014/main" id="{FA3E24AC-DFDA-2320-F9F3-D0CA7FF46BBC}"/>
              </a:ext>
            </a:extLst>
          </p:cNvPr>
          <p:cNvSpPr/>
          <p:nvPr/>
        </p:nvSpPr>
        <p:spPr>
          <a:xfrm>
            <a:off x="9407976" y="2799143"/>
            <a:ext cx="2098994" cy="315226"/>
          </a:xfrm>
          <a:prstGeom prst="rect">
            <a:avLst/>
          </a:prstGeom>
          <a:noFill/>
        </p:spPr>
        <p:txBody>
          <a:bodyPr wrap="square" lIns="27000" tIns="0" rIns="67500" bIns="67500" rtlCol="0" anchor="t">
            <a:noAutofit/>
          </a:bodyPr>
          <a:lstStyle/>
          <a:p>
            <a:pPr algn="ctr">
              <a:spcBef>
                <a:spcPct val="50000"/>
              </a:spcBef>
              <a:buClr>
                <a:schemeClr val="bg1"/>
              </a:buClr>
            </a:pPr>
            <a:r>
              <a:rPr lang="en-US" sz="1800" b="1"/>
              <a:t>Environmental</a:t>
            </a:r>
            <a:r>
              <a:rPr lang="en-US" b="1"/>
              <a:t> </a:t>
            </a:r>
          </a:p>
        </p:txBody>
      </p:sp>
      <p:sp>
        <p:nvSpPr>
          <p:cNvPr id="7" name="TextBox 6">
            <a:extLst>
              <a:ext uri="{FF2B5EF4-FFF2-40B4-BE49-F238E27FC236}">
                <a16:creationId xmlns:a16="http://schemas.microsoft.com/office/drawing/2014/main" id="{FBBB7081-4068-70A1-A2ED-F3FFB57C5EFF}"/>
              </a:ext>
            </a:extLst>
          </p:cNvPr>
          <p:cNvSpPr txBox="1"/>
          <p:nvPr/>
        </p:nvSpPr>
        <p:spPr>
          <a:xfrm>
            <a:off x="9731930" y="2994806"/>
            <a:ext cx="1353256" cy="369332"/>
          </a:xfrm>
          <a:prstGeom prst="rect">
            <a:avLst/>
          </a:prstGeom>
          <a:noFill/>
        </p:spPr>
        <p:txBody>
          <a:bodyPr wrap="none" rtlCol="0">
            <a:spAutoFit/>
          </a:bodyPr>
          <a:lstStyle/>
          <a:p>
            <a:pPr algn="ctr">
              <a:spcBef>
                <a:spcPct val="50000"/>
              </a:spcBef>
              <a:buClr>
                <a:schemeClr val="bg1"/>
              </a:buClr>
            </a:pPr>
            <a:r>
              <a:rPr lang="en-US" sz="1800" b="1"/>
              <a:t>Node Sensor</a:t>
            </a:r>
            <a:endParaRPr lang="en-US" sz="1800" b="1" baseline="30000"/>
          </a:p>
        </p:txBody>
      </p:sp>
      <p:sp>
        <p:nvSpPr>
          <p:cNvPr id="53" name="TextBox 52">
            <a:extLst>
              <a:ext uri="{FF2B5EF4-FFF2-40B4-BE49-F238E27FC236}">
                <a16:creationId xmlns:a16="http://schemas.microsoft.com/office/drawing/2014/main" id="{586479E7-A4E6-C4ED-E9C7-D854A38710EC}"/>
              </a:ext>
            </a:extLst>
          </p:cNvPr>
          <p:cNvSpPr txBox="1"/>
          <p:nvPr/>
        </p:nvSpPr>
        <p:spPr>
          <a:xfrm>
            <a:off x="9976579" y="1655902"/>
            <a:ext cx="579005" cy="276999"/>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rPr>
              <a:t>SEN5x</a:t>
            </a:r>
          </a:p>
        </p:txBody>
      </p:sp>
    </p:spTree>
    <p:extLst>
      <p:ext uri="{BB962C8B-B14F-4D97-AF65-F5344CB8AC3E}">
        <p14:creationId xmlns:p14="http://schemas.microsoft.com/office/powerpoint/2010/main" val="35686999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nsirion Partner Portal</a:t>
            </a:r>
          </a:p>
        </p:txBody>
      </p:sp>
      <p:sp>
        <p:nvSpPr>
          <p:cNvPr id="3" name="Content Placeholder 2"/>
          <p:cNvSpPr>
            <a:spLocks noGrp="1"/>
          </p:cNvSpPr>
          <p:nvPr>
            <p:ph idx="1"/>
          </p:nvPr>
        </p:nvSpPr>
        <p:spPr>
          <a:xfrm>
            <a:off x="1002535" y="899698"/>
            <a:ext cx="10349679" cy="3341796"/>
          </a:xfrm>
        </p:spPr>
        <p:txBody>
          <a:bodyPr vert="horz" lIns="0" tIns="0" rIns="91440" bIns="0" rtlCol="0" anchor="t">
            <a:noAutofit/>
          </a:bodyPr>
          <a:lstStyle/>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1062355" lvl="2" indent="-342900"/>
            <a:r>
              <a:rPr lang="en-US">
                <a:latin typeface="Arial Narrow"/>
              </a:rPr>
              <a:t>Latest news, online trainings, NPIs, </a:t>
            </a:r>
            <a:r>
              <a:rPr lang="en-US" err="1">
                <a:latin typeface="Arial Narrow"/>
              </a:rPr>
              <a:t>leadtime</a:t>
            </a:r>
            <a:r>
              <a:rPr lang="en-US">
                <a:latin typeface="Arial Narrow"/>
              </a:rPr>
              <a:t> updates, documents, FAQ’s and more</a:t>
            </a:r>
          </a:p>
          <a:p>
            <a:pPr marL="1422355" lvl="3" indent="-342900"/>
            <a:r>
              <a:rPr lang="en-US"/>
              <a:t>partners.sensirion.com </a:t>
            </a:r>
          </a:p>
          <a:p>
            <a:endParaRPr lang="en-US" b="1"/>
          </a:p>
          <a:p>
            <a:r>
              <a:rPr lang="en-US" b="1">
                <a:latin typeface="Arial Narrow"/>
              </a:rPr>
              <a:t>Please register now to get the latest updates on Sensirion </a:t>
            </a:r>
          </a:p>
        </p:txBody>
      </p:sp>
      <p:pic>
        <p:nvPicPr>
          <p:cNvPr id="6" name="Picture 5">
            <a:extLst>
              <a:ext uri="{FF2B5EF4-FFF2-40B4-BE49-F238E27FC236}">
                <a16:creationId xmlns:a16="http://schemas.microsoft.com/office/drawing/2014/main" id="{BAAB2E83-9AF9-440E-86E8-9B4D2E027F29}"/>
              </a:ext>
            </a:extLst>
          </p:cNvPr>
          <p:cNvPicPr>
            <a:picLocks noChangeAspect="1"/>
          </p:cNvPicPr>
          <p:nvPr/>
        </p:nvPicPr>
        <p:blipFill>
          <a:blip r:embed="rId2"/>
          <a:stretch>
            <a:fillRect/>
          </a:stretch>
        </p:blipFill>
        <p:spPr>
          <a:xfrm>
            <a:off x="839786" y="1130975"/>
            <a:ext cx="8688158" cy="3110519"/>
          </a:xfrm>
          <a:prstGeom prst="rect">
            <a:avLst/>
          </a:prstGeom>
        </p:spPr>
      </p:pic>
    </p:spTree>
    <p:extLst>
      <p:ext uri="{BB962C8B-B14F-4D97-AF65-F5344CB8AC3E}">
        <p14:creationId xmlns:p14="http://schemas.microsoft.com/office/powerpoint/2010/main" val="305008511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a:t>Take-</a:t>
            </a:r>
            <a:r>
              <a:rPr lang="de-CH" err="1"/>
              <a:t>home</a:t>
            </a:r>
            <a:r>
              <a:rPr lang="de-CH"/>
              <a:t> Messages</a:t>
            </a:r>
          </a:p>
        </p:txBody>
      </p:sp>
      <p:sp>
        <p:nvSpPr>
          <p:cNvPr id="6" name="TextBox 5"/>
          <p:cNvSpPr txBox="1"/>
          <p:nvPr/>
        </p:nvSpPr>
        <p:spPr>
          <a:xfrm>
            <a:off x="839786" y="934478"/>
            <a:ext cx="11260477" cy="2631490"/>
          </a:xfrm>
          <a:prstGeom prst="rect">
            <a:avLst/>
          </a:prstGeom>
          <a:noFill/>
        </p:spPr>
        <p:txBody>
          <a:bodyPr wrap="square" lIns="91440" tIns="45720" rIns="91440" bIns="45720" rtlCol="0" anchor="t">
            <a:spAutoFit/>
          </a:bodyPr>
          <a:lstStyle/>
          <a:p>
            <a:pPr marL="342900" indent="-342900">
              <a:spcAft>
                <a:spcPts val="600"/>
              </a:spcAft>
              <a:buClr>
                <a:srgbClr val="66CC33"/>
              </a:buClr>
              <a:buFont typeface="Wingdings" panose="05000000000000000000" pitchFamily="2" charset="2"/>
              <a:buChar char="§"/>
            </a:pPr>
            <a:r>
              <a:rPr lang="en-US" b="1">
                <a:sym typeface="Wingdings" panose="05000000000000000000" pitchFamily="2" charset="2"/>
              </a:rPr>
              <a:t>Door-opener:		</a:t>
            </a:r>
            <a:r>
              <a:rPr lang="en-US" b="1">
                <a:solidFill>
                  <a:srgbClr val="66CC33"/>
                </a:solidFill>
                <a:sym typeface="Wingdings" panose="05000000000000000000" pitchFamily="2" charset="2"/>
              </a:rPr>
              <a:t>Humidity and temperature </a:t>
            </a:r>
            <a:r>
              <a:rPr lang="en-US">
                <a:sym typeface="Wingdings" panose="05000000000000000000" pitchFamily="2" charset="2"/>
              </a:rPr>
              <a:t>opens the Sensor-door at customers</a:t>
            </a:r>
          </a:p>
          <a:p>
            <a:pPr marL="342900" indent="-342900">
              <a:spcAft>
                <a:spcPts val="600"/>
              </a:spcAft>
              <a:buClr>
                <a:srgbClr val="66CC33"/>
              </a:buClr>
              <a:buFont typeface="Wingdings" panose="05000000000000000000" pitchFamily="2" charset="2"/>
              <a:buChar char="§"/>
            </a:pPr>
            <a:r>
              <a:rPr lang="en-US" b="1">
                <a:sym typeface="Wingdings" panose="05000000000000000000" pitchFamily="2" charset="2"/>
              </a:rPr>
              <a:t>Focus</a:t>
            </a:r>
            <a:r>
              <a:rPr lang="en-US">
                <a:sym typeface="Wingdings" panose="05000000000000000000" pitchFamily="2" charset="2"/>
              </a:rPr>
              <a:t>: 		Focus and sell </a:t>
            </a:r>
            <a:r>
              <a:rPr lang="en-US" b="1">
                <a:solidFill>
                  <a:srgbClr val="66CC33"/>
                </a:solidFill>
                <a:sym typeface="Wingdings" panose="05000000000000000000" pitchFamily="2" charset="2"/>
              </a:rPr>
              <a:t>Sensirion modules/CO2/Differential Pressure</a:t>
            </a:r>
            <a:r>
              <a:rPr lang="en-US">
                <a:sym typeface="Wingdings" panose="05000000000000000000" pitchFamily="2" charset="2"/>
              </a:rPr>
              <a:t>: SEN5x, SCD, SDP</a:t>
            </a:r>
          </a:p>
          <a:p>
            <a:pPr marL="342900" indent="-342900">
              <a:spcAft>
                <a:spcPts val="600"/>
              </a:spcAft>
              <a:buClr>
                <a:srgbClr val="66CC33"/>
              </a:buClr>
              <a:buFont typeface="Wingdings" panose="05000000000000000000" pitchFamily="2" charset="2"/>
              <a:buChar char="§"/>
            </a:pPr>
            <a:r>
              <a:rPr lang="en-US" b="1">
                <a:sym typeface="Wingdings" panose="05000000000000000000" pitchFamily="2" charset="2"/>
              </a:rPr>
              <a:t>Trend:		</a:t>
            </a:r>
            <a:r>
              <a:rPr lang="en-US">
                <a:sym typeface="Wingdings" panose="05000000000000000000" pitchFamily="2" charset="2"/>
              </a:rPr>
              <a:t>The White House</a:t>
            </a:r>
            <a:r>
              <a:rPr lang="en-US">
                <a:solidFill>
                  <a:schemeClr val="tx2"/>
                </a:solidFill>
                <a:sym typeface="Wingdings" panose="05000000000000000000" pitchFamily="2" charset="2"/>
              </a:rPr>
              <a:t> </a:t>
            </a:r>
            <a:r>
              <a:rPr lang="en-US" b="1">
                <a:solidFill>
                  <a:srgbClr val="66CC33"/>
                </a:solidFill>
                <a:sym typeface="Wingdings" panose="05000000000000000000" pitchFamily="2" charset="2"/>
              </a:rPr>
              <a:t>Clean-Air initiative </a:t>
            </a:r>
            <a:r>
              <a:rPr lang="en-US">
                <a:solidFill>
                  <a:schemeClr val="tx2"/>
                </a:solidFill>
                <a:sym typeface="Wingdings" panose="05000000000000000000" pitchFamily="2" charset="2"/>
              </a:rPr>
              <a:t>is the next trend</a:t>
            </a:r>
          </a:p>
          <a:p>
            <a:pPr marL="342900" indent="-342900">
              <a:spcAft>
                <a:spcPts val="600"/>
              </a:spcAft>
              <a:buClr>
                <a:srgbClr val="66CC33"/>
              </a:buClr>
              <a:buFont typeface="Wingdings" panose="05000000000000000000" pitchFamily="2" charset="2"/>
              <a:buChar char="§"/>
            </a:pPr>
            <a:r>
              <a:rPr lang="en-US" b="1">
                <a:sym typeface="Wingdings" panose="05000000000000000000" pitchFamily="2" charset="2"/>
              </a:rPr>
              <a:t>Protection: </a:t>
            </a:r>
            <a:r>
              <a:rPr lang="en-US">
                <a:sym typeface="Wingdings" panose="05000000000000000000" pitchFamily="2" charset="2"/>
              </a:rPr>
              <a:t>	 	</a:t>
            </a:r>
            <a:r>
              <a:rPr lang="en-US" b="1">
                <a:solidFill>
                  <a:schemeClr val="accent1"/>
                </a:solidFill>
                <a:sym typeface="Wingdings" panose="05000000000000000000" pitchFamily="2" charset="2"/>
              </a:rPr>
              <a:t>All</a:t>
            </a:r>
            <a:r>
              <a:rPr lang="en-US">
                <a:sym typeface="Wingdings" panose="05000000000000000000" pitchFamily="2" charset="2"/>
              </a:rPr>
              <a:t> Sensirion </a:t>
            </a:r>
            <a:r>
              <a:rPr lang="en-US" b="1">
                <a:solidFill>
                  <a:schemeClr val="accent1"/>
                </a:solidFill>
                <a:sym typeface="Wingdings" panose="05000000000000000000" pitchFamily="2" charset="2"/>
              </a:rPr>
              <a:t>components and modules </a:t>
            </a:r>
            <a:r>
              <a:rPr lang="en-US">
                <a:sym typeface="Wingdings" panose="05000000000000000000" pitchFamily="2" charset="2"/>
              </a:rPr>
              <a:t>are </a:t>
            </a:r>
            <a:r>
              <a:rPr lang="en-US" b="1">
                <a:solidFill>
                  <a:schemeClr val="accent1"/>
                </a:solidFill>
                <a:sym typeface="Wingdings" panose="05000000000000000000" pitchFamily="2" charset="2"/>
              </a:rPr>
              <a:t>registerable</a:t>
            </a:r>
          </a:p>
          <a:p>
            <a:pPr marL="342900" indent="-342900">
              <a:spcAft>
                <a:spcPts val="600"/>
              </a:spcAft>
              <a:buClr>
                <a:srgbClr val="66CC33"/>
              </a:buClr>
              <a:buFont typeface="Wingdings" panose="05000000000000000000" pitchFamily="2" charset="2"/>
              <a:buChar char="§"/>
            </a:pPr>
            <a:r>
              <a:rPr lang="en-US" b="1">
                <a:latin typeface="Arial Narrow"/>
                <a:cs typeface="Arial"/>
                <a:sym typeface="Wingdings" panose="05000000000000000000" pitchFamily="2" charset="2"/>
              </a:rPr>
              <a:t>Top Applications: 	</a:t>
            </a:r>
            <a:r>
              <a:rPr lang="en-US" b="1">
                <a:solidFill>
                  <a:srgbClr val="66CC33"/>
                </a:solidFill>
                <a:latin typeface="Arial Narrow"/>
                <a:cs typeface="Arial"/>
                <a:sym typeface="Wingdings" panose="05000000000000000000" pitchFamily="2" charset="2"/>
              </a:rPr>
              <a:t>Hunt these applications</a:t>
            </a:r>
            <a:r>
              <a:rPr lang="en-US">
                <a:solidFill>
                  <a:schemeClr val="tx2"/>
                </a:solidFill>
                <a:latin typeface="Arial Narrow"/>
                <a:cs typeface="Arial"/>
                <a:sym typeface="Wingdings" panose="05000000000000000000" pitchFamily="2" charset="2"/>
              </a:rPr>
              <a:t>: CO2 Monitors, </a:t>
            </a:r>
            <a:r>
              <a:rPr lang="en-US" b="1">
                <a:solidFill>
                  <a:srgbClr val="66CC33"/>
                </a:solidFill>
                <a:latin typeface="Arial Narrow"/>
                <a:cs typeface="Arial"/>
                <a:sym typeface="Wingdings" panose="05000000000000000000" pitchFamily="2" charset="2"/>
              </a:rPr>
              <a:t>IAQ</a:t>
            </a:r>
            <a:r>
              <a:rPr lang="en-US">
                <a:solidFill>
                  <a:schemeClr val="tx2"/>
                </a:solidFill>
                <a:latin typeface="Arial Narrow"/>
                <a:cs typeface="Arial"/>
                <a:sym typeface="Wingdings" panose="05000000000000000000" pitchFamily="2" charset="2"/>
              </a:rPr>
              <a:t>, Smart Thermostats/ Room Controller, 				Variable Air Ventilation/ HVAC, Air Purification, Datalogging, Cold Chain tracking</a:t>
            </a:r>
            <a:endParaRPr lang="en-US">
              <a:solidFill>
                <a:schemeClr val="tx2"/>
              </a:solidFill>
            </a:endParaRPr>
          </a:p>
          <a:p>
            <a:pPr marL="342900" indent="-342900">
              <a:spcAft>
                <a:spcPts val="600"/>
              </a:spcAft>
              <a:buClr>
                <a:srgbClr val="66CC33"/>
              </a:buClr>
              <a:buFont typeface="Wingdings" panose="05000000000000000000" pitchFamily="2" charset="2"/>
              <a:buChar char="§"/>
            </a:pPr>
            <a:r>
              <a:rPr lang="en-US" b="1">
                <a:sym typeface="Wingdings" panose="05000000000000000000" pitchFamily="2" charset="2"/>
              </a:rPr>
              <a:t>Together: 	</a:t>
            </a:r>
            <a:r>
              <a:rPr lang="en-US">
                <a:sym typeface="Wingdings" panose="05000000000000000000" pitchFamily="2" charset="2"/>
              </a:rPr>
              <a:t>	</a:t>
            </a:r>
            <a:r>
              <a:rPr lang="en-US">
                <a:solidFill>
                  <a:schemeClr val="tx2"/>
                </a:solidFill>
                <a:sym typeface="Wingdings" panose="05000000000000000000" pitchFamily="2" charset="2"/>
              </a:rPr>
              <a:t>Prepare for a </a:t>
            </a:r>
            <a:r>
              <a:rPr lang="en-US" b="1">
                <a:solidFill>
                  <a:srgbClr val="66CC33"/>
                </a:solidFill>
                <a:sym typeface="Wingdings" panose="05000000000000000000" pitchFamily="2" charset="2"/>
              </a:rPr>
              <a:t>“stormy economic sea”</a:t>
            </a:r>
            <a:r>
              <a:rPr lang="en-US">
                <a:solidFill>
                  <a:schemeClr val="tx2"/>
                </a:solidFill>
                <a:sym typeface="Wingdings" panose="05000000000000000000" pitchFamily="2" charset="2"/>
              </a:rPr>
              <a:t> </a:t>
            </a:r>
            <a:r>
              <a:rPr lang="en-US" b="1">
                <a:solidFill>
                  <a:srgbClr val="66CC33"/>
                </a:solidFill>
                <a:sym typeface="Wingdings" panose="05000000000000000000" pitchFamily="2" charset="2"/>
              </a:rPr>
              <a:t>(Know-How, Inventory, Funnel)</a:t>
            </a:r>
            <a:endParaRPr lang="en-US">
              <a:sym typeface="Wingdings" panose="05000000000000000000" pitchFamily="2" charset="2"/>
            </a:endParaRPr>
          </a:p>
        </p:txBody>
      </p:sp>
      <p:grpSp>
        <p:nvGrpSpPr>
          <p:cNvPr id="9" name="Group 8">
            <a:extLst>
              <a:ext uri="{FF2B5EF4-FFF2-40B4-BE49-F238E27FC236}">
                <a16:creationId xmlns:a16="http://schemas.microsoft.com/office/drawing/2014/main" id="{9EF6643E-AC95-3119-4FEA-F3734742E657}"/>
              </a:ext>
            </a:extLst>
          </p:cNvPr>
          <p:cNvGrpSpPr/>
          <p:nvPr/>
        </p:nvGrpSpPr>
        <p:grpSpPr>
          <a:xfrm>
            <a:off x="0" y="3857924"/>
            <a:ext cx="12191999" cy="2486025"/>
            <a:chOff x="0" y="3857924"/>
            <a:chExt cx="12191999" cy="2486025"/>
          </a:xfrm>
        </p:grpSpPr>
        <p:pic>
          <p:nvPicPr>
            <p:cNvPr id="5" name="Picture 4">
              <a:extLst>
                <a:ext uri="{FF2B5EF4-FFF2-40B4-BE49-F238E27FC236}">
                  <a16:creationId xmlns:a16="http://schemas.microsoft.com/office/drawing/2014/main" id="{0C3B1496-D4CA-29E9-4C6F-F28C2A1FA5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3857924"/>
              <a:ext cx="4419600" cy="2486025"/>
            </a:xfrm>
            <a:prstGeom prst="rect">
              <a:avLst/>
            </a:prstGeom>
          </p:spPr>
        </p:pic>
        <p:pic>
          <p:nvPicPr>
            <p:cNvPr id="7" name="Picture 6">
              <a:extLst>
                <a:ext uri="{FF2B5EF4-FFF2-40B4-BE49-F238E27FC236}">
                  <a16:creationId xmlns:a16="http://schemas.microsoft.com/office/drawing/2014/main" id="{6918E590-B57F-A15F-B103-ECD1619225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60332" y="3858351"/>
              <a:ext cx="3736181" cy="2485598"/>
            </a:xfrm>
            <a:prstGeom prst="rect">
              <a:avLst/>
            </a:prstGeom>
          </p:spPr>
        </p:pic>
        <p:pic>
          <p:nvPicPr>
            <p:cNvPr id="8" name="Picture 7">
              <a:extLst>
                <a:ext uri="{FF2B5EF4-FFF2-40B4-BE49-F238E27FC236}">
                  <a16:creationId xmlns:a16="http://schemas.microsoft.com/office/drawing/2014/main" id="{9959306D-4CEA-10A9-8698-FBD13B829E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7042" y="3858350"/>
              <a:ext cx="4144957" cy="2485597"/>
            </a:xfrm>
            <a:prstGeom prst="rect">
              <a:avLst/>
            </a:prstGeom>
          </p:spPr>
        </p:pic>
      </p:grpSp>
      <p:pic>
        <p:nvPicPr>
          <p:cNvPr id="10" name="Picture 9">
            <a:extLst>
              <a:ext uri="{FF2B5EF4-FFF2-40B4-BE49-F238E27FC236}">
                <a16:creationId xmlns:a16="http://schemas.microsoft.com/office/drawing/2014/main" id="{A2CA0B9E-E404-EC97-27A8-235BDB0BBAE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08778" y="514053"/>
            <a:ext cx="2124405" cy="860518"/>
          </a:xfrm>
          <a:prstGeom prst="rect">
            <a:avLst/>
          </a:prstGeom>
          <a:ln>
            <a:noFill/>
          </a:ln>
          <a:effectLst>
            <a:softEdge rad="112500"/>
          </a:effectLst>
        </p:spPr>
      </p:pic>
      <p:pic>
        <p:nvPicPr>
          <p:cNvPr id="11" name="Picture 10" descr="A picture containing text, sky, outdoor, silhouette&#10;&#10;Description automatically generated">
            <a:extLst>
              <a:ext uri="{FF2B5EF4-FFF2-40B4-BE49-F238E27FC236}">
                <a16:creationId xmlns:a16="http://schemas.microsoft.com/office/drawing/2014/main" id="{FA8CABA5-1C19-8791-5C36-C0564F112DD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10430" y="1652722"/>
            <a:ext cx="1381570" cy="769231"/>
          </a:xfrm>
          <a:prstGeom prst="rect">
            <a:avLst/>
          </a:prstGeom>
          <a:ln>
            <a:noFill/>
          </a:ln>
          <a:effectLst>
            <a:softEdge rad="112500"/>
          </a:effectLst>
        </p:spPr>
      </p:pic>
      <p:pic>
        <p:nvPicPr>
          <p:cNvPr id="12" name="Picture 11">
            <a:extLst>
              <a:ext uri="{FF2B5EF4-FFF2-40B4-BE49-F238E27FC236}">
                <a16:creationId xmlns:a16="http://schemas.microsoft.com/office/drawing/2014/main" id="{002229C1-6581-FDA9-B0CD-B0B825ECB75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214" y="2296614"/>
            <a:ext cx="843537" cy="843537"/>
          </a:xfrm>
          <a:prstGeom prst="rect">
            <a:avLst/>
          </a:prstGeom>
          <a:ln>
            <a:noFill/>
          </a:ln>
          <a:effectLst>
            <a:softEdge rad="112500"/>
          </a:effectLst>
        </p:spPr>
      </p:pic>
    </p:spTree>
    <p:extLst>
      <p:ext uri="{BB962C8B-B14F-4D97-AF65-F5344CB8AC3E}">
        <p14:creationId xmlns:p14="http://schemas.microsoft.com/office/powerpoint/2010/main" val="170325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500"/>
                                        <p:tgtEl>
                                          <p:spTgt spid="6">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
                                            <p:txEl>
                                              <p:pRg st="3" end="3"/>
                                            </p:txEl>
                                          </p:spTgt>
                                        </p:tgtEl>
                                        <p:attrNameLst>
                                          <p:attrName>style.visibility</p:attrName>
                                        </p:attrNameLst>
                                      </p:cBhvr>
                                      <p:to>
                                        <p:strVal val="visible"/>
                                      </p:to>
                                    </p:set>
                                    <p:animEffect transition="in" filter="fade">
                                      <p:cBhvr>
                                        <p:cTn id="28" dur="500"/>
                                        <p:tgtEl>
                                          <p:spTgt spid="6">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xEl>
                                              <p:pRg st="4" end="4"/>
                                            </p:txEl>
                                          </p:spTgt>
                                        </p:tgtEl>
                                        <p:attrNameLst>
                                          <p:attrName>style.visibility</p:attrName>
                                        </p:attrNameLst>
                                      </p:cBhvr>
                                      <p:to>
                                        <p:strVal val="visible"/>
                                      </p:to>
                                    </p:set>
                                    <p:animEffect transition="in" filter="fade">
                                      <p:cBhvr>
                                        <p:cTn id="33" dur="500"/>
                                        <p:tgtEl>
                                          <p:spTgt spid="6">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
                                        <p:tgtEl>
                                          <p:spTgt spid="1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
                                            <p:txEl>
                                              <p:pRg st="5" end="5"/>
                                            </p:txEl>
                                          </p:spTgt>
                                        </p:tgtEl>
                                        <p:attrNameLst>
                                          <p:attrName>style.visibility</p:attrName>
                                        </p:attrNameLst>
                                      </p:cBhvr>
                                      <p:to>
                                        <p:strVal val="visible"/>
                                      </p:to>
                                    </p:set>
                                    <p:animEffect transition="in" filter="fade">
                                      <p:cBhvr>
                                        <p:cTn id="41" dur="500"/>
                                        <p:tgtEl>
                                          <p:spTgt spid="6">
                                            <p:txEl>
                                              <p:pRg st="5" end="5"/>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17071" y="283464"/>
            <a:ext cx="6018549" cy="505939"/>
          </a:xfrm>
        </p:spPr>
        <p:txBody>
          <a:bodyPr/>
          <a:lstStyle/>
          <a:p>
            <a:r>
              <a:rPr lang="en-US" sz="2400" dirty="0"/>
              <a:t>Closing Note:  Sensirion Has the …..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95759" y="1505776"/>
            <a:ext cx="4025352" cy="4025352"/>
          </a:xfrm>
          <a:prstGeom prst="rect">
            <a:avLst/>
          </a:prstGeom>
        </p:spPr>
      </p:pic>
      <p:sp>
        <p:nvSpPr>
          <p:cNvPr id="6" name="TextBox 5"/>
          <p:cNvSpPr txBox="1"/>
          <p:nvPr/>
        </p:nvSpPr>
        <p:spPr>
          <a:xfrm>
            <a:off x="4655023" y="1105666"/>
            <a:ext cx="3170981" cy="400110"/>
          </a:xfrm>
          <a:prstGeom prst="rect">
            <a:avLst/>
          </a:prstGeom>
          <a:noFill/>
        </p:spPr>
        <p:txBody>
          <a:bodyPr wrap="square" rtlCol="0">
            <a:spAutoFit/>
          </a:bodyPr>
          <a:lstStyle/>
          <a:p>
            <a:pPr algn="ctr"/>
            <a:r>
              <a:rPr lang="en-US" b="1" dirty="0"/>
              <a:t>Product Development</a:t>
            </a:r>
          </a:p>
        </p:txBody>
      </p:sp>
      <p:sp>
        <p:nvSpPr>
          <p:cNvPr id="7" name="TextBox 6"/>
          <p:cNvSpPr txBox="1"/>
          <p:nvPr/>
        </p:nvSpPr>
        <p:spPr>
          <a:xfrm>
            <a:off x="745875" y="2941608"/>
            <a:ext cx="3170981" cy="400110"/>
          </a:xfrm>
          <a:prstGeom prst="rect">
            <a:avLst/>
          </a:prstGeom>
          <a:noFill/>
        </p:spPr>
        <p:txBody>
          <a:bodyPr wrap="square" rtlCol="0">
            <a:spAutoFit/>
          </a:bodyPr>
          <a:lstStyle/>
          <a:p>
            <a:pPr algn="r"/>
            <a:r>
              <a:rPr lang="en-US" b="1" dirty="0"/>
              <a:t>Industrialization</a:t>
            </a:r>
          </a:p>
        </p:txBody>
      </p:sp>
      <p:sp>
        <p:nvSpPr>
          <p:cNvPr id="8" name="TextBox 7"/>
          <p:cNvSpPr txBox="1"/>
          <p:nvPr/>
        </p:nvSpPr>
        <p:spPr>
          <a:xfrm>
            <a:off x="2331365" y="5493923"/>
            <a:ext cx="3170981" cy="400110"/>
          </a:xfrm>
          <a:prstGeom prst="rect">
            <a:avLst/>
          </a:prstGeom>
          <a:noFill/>
        </p:spPr>
        <p:txBody>
          <a:bodyPr wrap="square" rtlCol="0">
            <a:spAutoFit/>
          </a:bodyPr>
          <a:lstStyle/>
          <a:p>
            <a:r>
              <a:rPr lang="en-US" b="1" dirty="0"/>
              <a:t>Application Development</a:t>
            </a:r>
          </a:p>
        </p:txBody>
      </p:sp>
      <p:sp>
        <p:nvSpPr>
          <p:cNvPr id="9" name="TextBox 8"/>
          <p:cNvSpPr txBox="1"/>
          <p:nvPr/>
        </p:nvSpPr>
        <p:spPr>
          <a:xfrm>
            <a:off x="6535620" y="5493923"/>
            <a:ext cx="3170981" cy="400110"/>
          </a:xfrm>
          <a:prstGeom prst="rect">
            <a:avLst/>
          </a:prstGeom>
          <a:noFill/>
        </p:spPr>
        <p:txBody>
          <a:bodyPr wrap="square" rtlCol="0">
            <a:spAutoFit/>
          </a:bodyPr>
          <a:lstStyle/>
          <a:p>
            <a:pPr algn="ctr"/>
            <a:r>
              <a:rPr lang="en-US" b="1" dirty="0"/>
              <a:t>Algorithms</a:t>
            </a:r>
          </a:p>
        </p:txBody>
      </p:sp>
      <p:sp>
        <p:nvSpPr>
          <p:cNvPr id="10" name="TextBox 9"/>
          <p:cNvSpPr txBox="1"/>
          <p:nvPr/>
        </p:nvSpPr>
        <p:spPr>
          <a:xfrm>
            <a:off x="8300013" y="2960210"/>
            <a:ext cx="3170981" cy="400110"/>
          </a:xfrm>
          <a:prstGeom prst="rect">
            <a:avLst/>
          </a:prstGeom>
          <a:noFill/>
        </p:spPr>
        <p:txBody>
          <a:bodyPr wrap="square" rtlCol="0">
            <a:spAutoFit/>
          </a:bodyPr>
          <a:lstStyle/>
          <a:p>
            <a:r>
              <a:rPr lang="en-US" b="1" dirty="0"/>
              <a:t>Product Design-In</a:t>
            </a:r>
          </a:p>
        </p:txBody>
      </p:sp>
      <p:sp>
        <p:nvSpPr>
          <p:cNvPr id="3" name="TextBox 2">
            <a:extLst>
              <a:ext uri="{FF2B5EF4-FFF2-40B4-BE49-F238E27FC236}">
                <a16:creationId xmlns:a16="http://schemas.microsoft.com/office/drawing/2014/main" id="{F869A03A-5173-281F-54BE-A9195809A9C4}"/>
              </a:ext>
            </a:extLst>
          </p:cNvPr>
          <p:cNvSpPr txBox="1"/>
          <p:nvPr/>
        </p:nvSpPr>
        <p:spPr>
          <a:xfrm>
            <a:off x="4947558" y="230138"/>
            <a:ext cx="6523436" cy="615553"/>
          </a:xfrm>
          <a:prstGeom prst="rect">
            <a:avLst/>
          </a:prstGeom>
          <a:noFill/>
        </p:spPr>
        <p:txBody>
          <a:bodyPr wrap="square" rtlCol="0">
            <a:spAutoFit/>
          </a:bodyPr>
          <a:lstStyle/>
          <a:p>
            <a:r>
              <a:rPr lang="en-US" sz="3400" b="1" dirty="0">
                <a:solidFill>
                  <a:srgbClr val="66CC33"/>
                </a:solidFill>
                <a:ea typeface="+mj-ea"/>
                <a:cs typeface="+mj-cs"/>
              </a:rPr>
              <a:t>For Sensor </a:t>
            </a:r>
            <a:r>
              <a:rPr lang="en-US" sz="3400" b="1" dirty="0">
                <a:solidFill>
                  <a:srgbClr val="66CC33"/>
                </a:solidFill>
              </a:rPr>
              <a:t>Technology and </a:t>
            </a:r>
            <a:r>
              <a:rPr lang="en-US" sz="3400" b="1" dirty="0">
                <a:solidFill>
                  <a:srgbClr val="66CC33"/>
                </a:solidFill>
                <a:ea typeface="+mj-ea"/>
                <a:cs typeface="+mj-cs"/>
              </a:rPr>
              <a:t>Products</a:t>
            </a:r>
          </a:p>
        </p:txBody>
      </p:sp>
    </p:spTree>
    <p:extLst>
      <p:ext uri="{BB962C8B-B14F-4D97-AF65-F5344CB8AC3E}">
        <p14:creationId xmlns:p14="http://schemas.microsoft.com/office/powerpoint/2010/main" val="2721936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anim calcmode="lin" valueType="num">
                                      <p:cBhvr>
                                        <p:cTn id="16" dur="1000" fill="hold"/>
                                        <p:tgtEl>
                                          <p:spTgt spid="6"/>
                                        </p:tgtEl>
                                        <p:attrNameLst>
                                          <p:attrName>ppt_x</p:attrName>
                                        </p:attrNameLst>
                                      </p:cBhvr>
                                      <p:tavLst>
                                        <p:tav tm="0">
                                          <p:val>
                                            <p:strVal val="#ppt_x"/>
                                          </p:val>
                                        </p:tav>
                                        <p:tav tm="100000">
                                          <p:val>
                                            <p:strVal val="#ppt_x"/>
                                          </p:val>
                                        </p:tav>
                                      </p:tavLst>
                                    </p:anim>
                                    <p:anim calcmode="lin" valueType="num">
                                      <p:cBhvr>
                                        <p:cTn id="17"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1000"/>
                                        <p:tgtEl>
                                          <p:spTgt spid="9"/>
                                        </p:tgtEl>
                                      </p:cBhvr>
                                    </p:animEffect>
                                    <p:anim calcmode="lin" valueType="num">
                                      <p:cBhvr>
                                        <p:cTn id="30" dur="1000" fill="hold"/>
                                        <p:tgtEl>
                                          <p:spTgt spid="9"/>
                                        </p:tgtEl>
                                        <p:attrNameLst>
                                          <p:attrName>ppt_x</p:attrName>
                                        </p:attrNameLst>
                                      </p:cBhvr>
                                      <p:tavLst>
                                        <p:tav tm="0">
                                          <p:val>
                                            <p:strVal val="#ppt_x"/>
                                          </p:val>
                                        </p:tav>
                                        <p:tav tm="100000">
                                          <p:val>
                                            <p:strVal val="#ppt_x"/>
                                          </p:val>
                                        </p:tav>
                                      </p:tavLst>
                                    </p:anim>
                                    <p:anim calcmode="lin" valueType="num">
                                      <p:cBhvr>
                                        <p:cTn id="3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1000"/>
                                        <p:tgtEl>
                                          <p:spTgt spid="8"/>
                                        </p:tgtEl>
                                      </p:cBhvr>
                                    </p:animEffect>
                                    <p:anim calcmode="lin" valueType="num">
                                      <p:cBhvr>
                                        <p:cTn id="37" dur="1000" fill="hold"/>
                                        <p:tgtEl>
                                          <p:spTgt spid="8"/>
                                        </p:tgtEl>
                                        <p:attrNameLst>
                                          <p:attrName>ppt_x</p:attrName>
                                        </p:attrNameLst>
                                      </p:cBhvr>
                                      <p:tavLst>
                                        <p:tav tm="0">
                                          <p:val>
                                            <p:strVal val="#ppt_x"/>
                                          </p:val>
                                        </p:tav>
                                        <p:tav tm="100000">
                                          <p:val>
                                            <p:strVal val="#ppt_x"/>
                                          </p:val>
                                        </p:tav>
                                      </p:tavLst>
                                    </p:anim>
                                    <p:anim calcmode="lin" valueType="num">
                                      <p:cBhvr>
                                        <p:cTn id="3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1000"/>
                                        <p:tgtEl>
                                          <p:spTgt spid="7"/>
                                        </p:tgtEl>
                                      </p:cBhvr>
                                    </p:animEffect>
                                    <p:anim calcmode="lin" valueType="num">
                                      <p:cBhvr>
                                        <p:cTn id="44" dur="1000" fill="hold"/>
                                        <p:tgtEl>
                                          <p:spTgt spid="7"/>
                                        </p:tgtEl>
                                        <p:attrNameLst>
                                          <p:attrName>ppt_x</p:attrName>
                                        </p:attrNameLst>
                                      </p:cBhvr>
                                      <p:tavLst>
                                        <p:tav tm="0">
                                          <p:val>
                                            <p:strVal val="#ppt_x"/>
                                          </p:val>
                                        </p:tav>
                                        <p:tav tm="100000">
                                          <p:val>
                                            <p:strVal val="#ppt_x"/>
                                          </p:val>
                                        </p:tav>
                                      </p:tavLst>
                                    </p:anim>
                                    <p:anim calcmode="lin" valueType="num">
                                      <p:cBhvr>
                                        <p:cTn id="4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nodeType="clickEffect">
                                  <p:stCondLst>
                                    <p:cond delay="0"/>
                                  </p:stCondLst>
                                  <p:childTnLst>
                                    <p:set>
                                      <p:cBhvr>
                                        <p:cTn id="49" dur="1" fill="hold">
                                          <p:stCondLst>
                                            <p:cond delay="0"/>
                                          </p:stCondLst>
                                        </p:cTn>
                                        <p:tgtEl>
                                          <p:spTgt spid="3">
                                            <p:txEl>
                                              <p:pRg st="0" end="0"/>
                                            </p:txEl>
                                          </p:spTgt>
                                        </p:tgtEl>
                                        <p:attrNameLst>
                                          <p:attrName>style.visibility</p:attrName>
                                        </p:attrNameLst>
                                      </p:cBhvr>
                                      <p:to>
                                        <p:strVal val="visible"/>
                                      </p:to>
                                    </p:set>
                                    <p:animEffect transition="in" filter="wipe(down)">
                                      <p:cBhvr>
                                        <p:cTn id="5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4"/>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l="1124" r="1124"/>
          <a:stretch>
            <a:fillRect/>
          </a:stretch>
        </p:blipFill>
        <p:spPr/>
      </p:pic>
      <p:sp>
        <p:nvSpPr>
          <p:cNvPr id="6" name="Text Placeholder 5"/>
          <p:cNvSpPr>
            <a:spLocks noGrp="1"/>
          </p:cNvSpPr>
          <p:nvPr>
            <p:ph type="body" sz="quarter" idx="13"/>
          </p:nvPr>
        </p:nvSpPr>
        <p:spPr/>
        <p:txBody>
          <a:bodyPr/>
          <a:lstStyle/>
          <a:p>
            <a:r>
              <a:rPr lang="en-US"/>
              <a:t>Questions?</a:t>
            </a:r>
          </a:p>
        </p:txBody>
      </p:sp>
      <p:sp>
        <p:nvSpPr>
          <p:cNvPr id="3" name="Text Placeholder 2"/>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54473704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563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A2F7B-E8D6-4BEE-A6DF-88A488B5BE25}"/>
              </a:ext>
            </a:extLst>
          </p:cNvPr>
          <p:cNvSpPr>
            <a:spLocks noGrp="1"/>
          </p:cNvSpPr>
          <p:nvPr>
            <p:ph type="title"/>
          </p:nvPr>
        </p:nvSpPr>
        <p:spPr/>
        <p:txBody>
          <a:bodyPr/>
          <a:lstStyle/>
          <a:p>
            <a:r>
              <a:rPr lang="en-US"/>
              <a:t>Gas &amp; Liquid Flow NPIs</a:t>
            </a:r>
          </a:p>
        </p:txBody>
      </p:sp>
      <p:sp>
        <p:nvSpPr>
          <p:cNvPr id="3" name="Slide Number Placeholder 2">
            <a:extLst>
              <a:ext uri="{FF2B5EF4-FFF2-40B4-BE49-F238E27FC236}">
                <a16:creationId xmlns:a16="http://schemas.microsoft.com/office/drawing/2014/main" id="{1BB445AE-7975-4DB1-AF27-FF3B41B27183}"/>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25</a:t>
            </a:fld>
            <a:endParaRPr lang="de-CH"/>
          </a:p>
        </p:txBody>
      </p:sp>
      <p:graphicFrame>
        <p:nvGraphicFramePr>
          <p:cNvPr id="13" name="Table 12">
            <a:extLst>
              <a:ext uri="{FF2B5EF4-FFF2-40B4-BE49-F238E27FC236}">
                <a16:creationId xmlns:a16="http://schemas.microsoft.com/office/drawing/2014/main" id="{CEBE3D26-1888-5A2F-B9EF-07EB8F01D827}"/>
              </a:ext>
            </a:extLst>
          </p:cNvPr>
          <p:cNvGraphicFramePr>
            <a:graphicFrameLocks noGrp="1"/>
          </p:cNvGraphicFramePr>
          <p:nvPr/>
        </p:nvGraphicFramePr>
        <p:xfrm>
          <a:off x="905522" y="905522"/>
          <a:ext cx="10197734" cy="5330177"/>
        </p:xfrm>
        <a:graphic>
          <a:graphicData uri="http://schemas.openxmlformats.org/drawingml/2006/table">
            <a:tbl>
              <a:tblPr/>
              <a:tblGrid>
                <a:gridCol w="1123413">
                  <a:extLst>
                    <a:ext uri="{9D8B030D-6E8A-4147-A177-3AD203B41FA5}">
                      <a16:colId xmlns:a16="http://schemas.microsoft.com/office/drawing/2014/main" val="3583823587"/>
                    </a:ext>
                  </a:extLst>
                </a:gridCol>
                <a:gridCol w="1123413">
                  <a:extLst>
                    <a:ext uri="{9D8B030D-6E8A-4147-A177-3AD203B41FA5}">
                      <a16:colId xmlns:a16="http://schemas.microsoft.com/office/drawing/2014/main" val="4075109493"/>
                    </a:ext>
                  </a:extLst>
                </a:gridCol>
                <a:gridCol w="791135">
                  <a:extLst>
                    <a:ext uri="{9D8B030D-6E8A-4147-A177-3AD203B41FA5}">
                      <a16:colId xmlns:a16="http://schemas.microsoft.com/office/drawing/2014/main" val="1389166670"/>
                    </a:ext>
                  </a:extLst>
                </a:gridCol>
                <a:gridCol w="680376">
                  <a:extLst>
                    <a:ext uri="{9D8B030D-6E8A-4147-A177-3AD203B41FA5}">
                      <a16:colId xmlns:a16="http://schemas.microsoft.com/office/drawing/2014/main" val="3030004121"/>
                    </a:ext>
                  </a:extLst>
                </a:gridCol>
                <a:gridCol w="680376">
                  <a:extLst>
                    <a:ext uri="{9D8B030D-6E8A-4147-A177-3AD203B41FA5}">
                      <a16:colId xmlns:a16="http://schemas.microsoft.com/office/drawing/2014/main" val="2940347991"/>
                    </a:ext>
                  </a:extLst>
                </a:gridCol>
                <a:gridCol w="1131323">
                  <a:extLst>
                    <a:ext uri="{9D8B030D-6E8A-4147-A177-3AD203B41FA5}">
                      <a16:colId xmlns:a16="http://schemas.microsoft.com/office/drawing/2014/main" val="1364803153"/>
                    </a:ext>
                  </a:extLst>
                </a:gridCol>
                <a:gridCol w="1131323">
                  <a:extLst>
                    <a:ext uri="{9D8B030D-6E8A-4147-A177-3AD203B41FA5}">
                      <a16:colId xmlns:a16="http://schemas.microsoft.com/office/drawing/2014/main" val="798648187"/>
                    </a:ext>
                  </a:extLst>
                </a:gridCol>
                <a:gridCol w="1202526">
                  <a:extLst>
                    <a:ext uri="{9D8B030D-6E8A-4147-A177-3AD203B41FA5}">
                      <a16:colId xmlns:a16="http://schemas.microsoft.com/office/drawing/2014/main" val="3828800408"/>
                    </a:ext>
                  </a:extLst>
                </a:gridCol>
                <a:gridCol w="1202526">
                  <a:extLst>
                    <a:ext uri="{9D8B030D-6E8A-4147-A177-3AD203B41FA5}">
                      <a16:colId xmlns:a16="http://schemas.microsoft.com/office/drawing/2014/main" val="1524874731"/>
                    </a:ext>
                  </a:extLst>
                </a:gridCol>
                <a:gridCol w="1131323">
                  <a:extLst>
                    <a:ext uri="{9D8B030D-6E8A-4147-A177-3AD203B41FA5}">
                      <a16:colId xmlns:a16="http://schemas.microsoft.com/office/drawing/2014/main" val="824044914"/>
                    </a:ext>
                  </a:extLst>
                </a:gridCol>
              </a:tblGrid>
              <a:tr h="336571">
                <a:tc>
                  <a:txBody>
                    <a:bodyPr/>
                    <a:lstStyle/>
                    <a:p>
                      <a:pPr algn="l" rtl="0" fontAlgn="ctr"/>
                      <a:r>
                        <a:rPr lang="en-US" sz="1000" b="1" i="0" u="none" strike="noStrike">
                          <a:solidFill>
                            <a:srgbClr val="000000"/>
                          </a:solidFill>
                          <a:effectLst/>
                          <a:latin typeface="Arial Narrow" panose="020B0606020202030204" pitchFamily="34" charset="0"/>
                        </a:rPr>
                        <a:t>Sensirion Platform Series</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Part Name</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Product photo</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Sensing</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Technology</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Typical Applications</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Eval Kit</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Lead Time</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Launched</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1000" b="1" i="0" u="none" strike="noStrike">
                          <a:solidFill>
                            <a:srgbClr val="000000"/>
                          </a:solidFill>
                          <a:effectLst/>
                          <a:latin typeface="Arial Narrow" panose="020B0606020202030204" pitchFamily="34" charset="0"/>
                        </a:rPr>
                        <a:t>Selling point notes:</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2051669051"/>
                  </a:ext>
                </a:extLst>
              </a:tr>
              <a:tr h="686879">
                <a:tc rowSpan="7">
                  <a:txBody>
                    <a:bodyPr/>
                    <a:lstStyle/>
                    <a:p>
                      <a:pPr algn="l" rtl="0" fontAlgn="ctr"/>
                      <a:r>
                        <a:rPr lang="en-US" sz="900" b="1" i="0" u="none" strike="noStrike">
                          <a:solidFill>
                            <a:srgbClr val="000000"/>
                          </a:solidFill>
                          <a:effectLst/>
                          <a:latin typeface="Arial Narrow" panose="020B0606020202030204" pitchFamily="34" charset="0"/>
                        </a:rPr>
                        <a:t>SLF3</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5">
                  <a:txBody>
                    <a:bodyPr/>
                    <a:lstStyle/>
                    <a:p>
                      <a:pPr algn="l" rtl="0" fontAlgn="ctr"/>
                      <a:r>
                        <a:rPr lang="en-US" sz="1000" b="1" i="0" u="none" strike="noStrike">
                          <a:solidFill>
                            <a:srgbClr val="4D9926"/>
                          </a:solidFill>
                          <a:effectLst/>
                          <a:latin typeface="Arial Narrow" panose="020B0606020202030204" pitchFamily="34" charset="0"/>
                        </a:rPr>
                        <a:t>SLF3S-4000B</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5">
                  <a:txBody>
                    <a:bodyPr/>
                    <a:lstStyle/>
                    <a:p>
                      <a:pPr algn="l" fontAlgn="ctr"/>
                      <a:r>
                        <a:rPr lang="en-US" sz="1300" b="0" i="0" u="none" strike="noStrike">
                          <a:solidFill>
                            <a:srgbClr val="000000"/>
                          </a:solidFill>
                          <a:effectLst/>
                          <a:latin typeface="Arial" panose="020B060402020202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Liquid Flow</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5">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a:txBody>
                    <a:bodyPr/>
                    <a:lstStyle/>
                    <a:p>
                      <a:pPr algn="l" fontAlgn="b"/>
                      <a:r>
                        <a:rPr lang="en-US" sz="800" b="0" i="0" u="sng" strike="noStrike">
                          <a:solidFill>
                            <a:srgbClr val="0563C1"/>
                          </a:solidFill>
                          <a:effectLst/>
                          <a:latin typeface="Calibri" panose="020F0502020204030204" pitchFamily="34" charset="0"/>
                          <a:hlinkClick r:id="rId3"/>
                        </a:rPr>
                        <a:t>EK-SLF3S-4000B - Liquid flow evaluation kit SLF3S-4000B (sensirion.com)</a:t>
                      </a:r>
                      <a:endParaRPr lang="en-US" sz="800" b="0" i="0" u="sng" strike="noStrike">
                        <a:solidFill>
                          <a:srgbClr val="0563C1"/>
                        </a:solidFill>
                        <a:effectLst/>
                        <a:latin typeface="Calibri" panose="020F0502020204030204" pitchFamily="34" charset="0"/>
                      </a:endParaRPr>
                    </a:p>
                  </a:txBody>
                  <a:tcPr marL="6866" marR="6866" marT="686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5">
                  <a:txBody>
                    <a:bodyPr/>
                    <a:lstStyle/>
                    <a:p>
                      <a:pPr algn="l" rtl="0" fontAlgn="ctr"/>
                      <a:r>
                        <a:rPr lang="en-US" sz="1400" b="1" i="0" u="none" strike="noStrike">
                          <a:solidFill>
                            <a:srgbClr val="4D9926"/>
                          </a:solidFill>
                          <a:effectLst/>
                          <a:latin typeface="Arial Narrow" panose="020B0606020202030204" pitchFamily="34" charset="0"/>
                        </a:rPr>
                        <a:t> 16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5">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Arial Narrow" panose="020B0606020202030204" pitchFamily="34" charset="0"/>
                        </a:rPr>
                        <a:t> </a:t>
                      </a:r>
                      <a:r>
                        <a:rPr lang="en-US" sz="1400" b="1" i="0" u="none" strike="noStrike">
                          <a:solidFill>
                            <a:schemeClr val="accent1">
                              <a:lumMod val="75000"/>
                            </a:schemeClr>
                          </a:solidFill>
                          <a:effectLst/>
                          <a:latin typeface="Arial Narrow" panose="020B0606020202030204" pitchFamily="34" charset="0"/>
                        </a:rPr>
                        <a:t>May-22</a:t>
                      </a:r>
                    </a:p>
                    <a:p>
                      <a:pPr algn="l" rtl="0" fontAlgn="ctr"/>
                      <a:endParaRPr lang="en-US" sz="1400" b="0" i="0" u="none" strike="noStrike">
                        <a:solidFill>
                          <a:srgbClr val="000000"/>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High flow sensing up to +/-1000 ml/min</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extLst>
                  <a:ext uri="{0D108BD9-81ED-4DB2-BD59-A6C34878D82A}">
                    <a16:rowId xmlns:a16="http://schemas.microsoft.com/office/drawing/2014/main" val="2274741069"/>
                  </a:ext>
                </a:extLst>
              </a:tr>
              <a:tr h="13737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Chemical dispensing</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Calibrated for H20 and IPA</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27950455"/>
                  </a:ext>
                </a:extLst>
              </a:tr>
              <a:tr h="13737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Lab automation</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No moving parts inside flow path</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198925703"/>
                  </a:ext>
                </a:extLst>
              </a:tr>
              <a:tr h="13737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Coolant monitoring</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930233322"/>
                  </a:ext>
                </a:extLst>
              </a:tr>
              <a:tr h="1442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3638696645"/>
                  </a:ext>
                </a:extLst>
              </a:tr>
              <a:tr h="686879">
                <a:tc vMerge="1">
                  <a:txBody>
                    <a:bodyPr/>
                    <a:lstStyle/>
                    <a:p>
                      <a:endParaRPr lang="en-US"/>
                    </a:p>
                  </a:txBody>
                  <a:tcPr/>
                </a:tc>
                <a:tc rowSpan="2">
                  <a:txBody>
                    <a:bodyPr/>
                    <a:lstStyle/>
                    <a:p>
                      <a:pPr algn="l" rtl="0" fontAlgn="ctr"/>
                      <a:r>
                        <a:rPr lang="en-US" sz="1000" b="1" i="0" u="none" strike="noStrike">
                          <a:solidFill>
                            <a:srgbClr val="4D9926"/>
                          </a:solidFill>
                          <a:effectLst/>
                          <a:latin typeface="Arial Narrow" panose="020B0606020202030204" pitchFamily="34" charset="0"/>
                        </a:rPr>
                        <a:t>SLF3C-1300F</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fontAlgn="ctr"/>
                      <a:r>
                        <a:rPr lang="en-US" sz="1300" b="0" i="0" u="none" strike="noStrike">
                          <a:solidFill>
                            <a:srgbClr val="000000"/>
                          </a:solidFill>
                          <a:effectLst/>
                          <a:latin typeface="Arial" panose="020B060402020202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Liquid Flow</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rtl="0" fontAlgn="ctr"/>
                      <a:r>
                        <a:rPr lang="fr-FR" sz="700" b="0" i="0" u="none" strike="noStrike">
                          <a:solidFill>
                            <a:srgbClr val="000000"/>
                          </a:solidFill>
                          <a:effectLst/>
                          <a:latin typeface="Arial Narrow" panose="020B0606020202030204" pitchFamily="34" charset="0"/>
                        </a:rPr>
                        <a:t>Lab automation       Concentration monitor Lab instrumentation</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l" fontAlgn="b"/>
                      <a:r>
                        <a:rPr lang="en-US" sz="800" b="0" i="0" u="sng" strike="noStrike">
                          <a:solidFill>
                            <a:srgbClr val="0563C1"/>
                          </a:solidFill>
                          <a:effectLst/>
                          <a:latin typeface="Calibri" panose="020F0502020204030204" pitchFamily="34" charset="0"/>
                          <a:hlinkClick r:id="rId4"/>
                        </a:rPr>
                        <a:t>EK-SLF3S-1300F - Liquid flow evaluation kit SLF3S-1300F (sensirion.com)</a:t>
                      </a:r>
                      <a:endParaRPr lang="en-US" sz="800" b="0" i="0" u="sng" strike="noStrike">
                        <a:solidFill>
                          <a:srgbClr val="0563C1"/>
                        </a:solidFill>
                        <a:effectLst/>
                        <a:latin typeface="Calibri" panose="020F0502020204030204" pitchFamily="34" charset="0"/>
                      </a:endParaRPr>
                    </a:p>
                  </a:txBody>
                  <a:tcPr marL="6866" marR="6866" marT="686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1400" b="1" i="0" u="none" strike="noStrike">
                          <a:solidFill>
                            <a:srgbClr val="4D9926"/>
                          </a:solidFill>
                          <a:effectLst/>
                          <a:latin typeface="Arial Narrow" panose="020B0606020202030204" pitchFamily="34" charset="0"/>
                        </a:rPr>
                        <a:t>16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Arial Narrow" panose="020B0606020202030204" pitchFamily="34" charset="0"/>
                        </a:rPr>
                        <a:t> </a:t>
                      </a:r>
                      <a:r>
                        <a:rPr lang="en-US" sz="1400" b="1" i="0" u="none" strike="noStrike">
                          <a:solidFill>
                            <a:schemeClr val="accent1">
                              <a:lumMod val="75000"/>
                            </a:schemeClr>
                          </a:solidFill>
                          <a:effectLst/>
                          <a:latin typeface="Arial Narrow" panose="020B0606020202030204" pitchFamily="34" charset="0"/>
                        </a:rPr>
                        <a:t>May-22</a:t>
                      </a:r>
                    </a:p>
                    <a:p>
                      <a:pPr algn="l" rtl="0" fontAlgn="ctr"/>
                      <a:endParaRPr lang="en-US" sz="1400" b="0" i="0" u="none" strike="noStrike">
                        <a:solidFill>
                          <a:srgbClr val="000000"/>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t"/>
                      <a:r>
                        <a:rPr lang="en-US" sz="700" b="0" i="0" u="none" strike="noStrike">
                          <a:solidFill>
                            <a:srgbClr val="000000"/>
                          </a:solidFill>
                          <a:effectLst/>
                          <a:latin typeface="Arial Narrow" panose="020B0606020202030204" pitchFamily="34" charset="0"/>
                        </a:rPr>
                        <a:t>Thermal conductivity measurement  Low Flow sensirng up to +/-40ml/min Compact lightweight form factor       Response time below 20 ms</a:t>
                      </a:r>
                    </a:p>
                  </a:txBody>
                  <a:tcPr marL="6866" marR="6866" marT="686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extLst>
                  <a:ext uri="{0D108BD9-81ED-4DB2-BD59-A6C34878D82A}">
                    <a16:rowId xmlns:a16="http://schemas.microsoft.com/office/drawing/2014/main" val="2362933242"/>
                  </a:ext>
                </a:extLst>
              </a:tr>
              <a:tr h="1442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258627690"/>
                  </a:ext>
                </a:extLst>
              </a:tr>
              <a:tr h="226670">
                <a:tc rowSpan="2">
                  <a:txBody>
                    <a:bodyPr/>
                    <a:lstStyle/>
                    <a:p>
                      <a:pPr algn="l" rtl="0" fontAlgn="ctr"/>
                      <a:r>
                        <a:rPr lang="en-US" sz="900" b="1" i="0" u="none" strike="noStrike">
                          <a:solidFill>
                            <a:srgbClr val="000000"/>
                          </a:solidFill>
                          <a:effectLst/>
                          <a:latin typeface="Arial Narrow" panose="020B0606020202030204" pitchFamily="34" charset="0"/>
                        </a:rPr>
                        <a:t>SLQ</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rtl="0" fontAlgn="ctr"/>
                      <a:r>
                        <a:rPr lang="en-US" sz="1000" b="1" i="0" u="none" strike="noStrike">
                          <a:solidFill>
                            <a:srgbClr val="4D9926"/>
                          </a:solidFill>
                          <a:effectLst/>
                          <a:latin typeface="Arial Narrow" panose="020B0606020202030204" pitchFamily="34" charset="0"/>
                        </a:rPr>
                        <a:t>SLQ-QT105</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fontAlgn="ctr"/>
                      <a:r>
                        <a:rPr lang="en-US" sz="1300" b="0" i="0" u="none" strike="noStrike">
                          <a:solidFill>
                            <a:srgbClr val="000000"/>
                          </a:solidFill>
                          <a:effectLst/>
                          <a:latin typeface="Arial" panose="020B060402020202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Liquid Flow</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rtl="0" fontAlgn="ctr"/>
                      <a:r>
                        <a:rPr lang="en-US" sz="1400" b="1" i="0" u="none" strike="noStrike">
                          <a:solidFill>
                            <a:srgbClr val="4D9926"/>
                          </a:solidFill>
                          <a:effectLst/>
                          <a:latin typeface="Arial Narrow" panose="020B0606020202030204" pitchFamily="34" charset="0"/>
                        </a:rPr>
                        <a:t>17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rtl="0" fontAlgn="ctr"/>
                      <a:r>
                        <a:rPr lang="en-US" sz="1400" b="1" i="0" u="none" strike="noStrike">
                          <a:solidFill>
                            <a:schemeClr val="accent1">
                              <a:lumMod val="75000"/>
                            </a:schemeClr>
                          </a:solidFill>
                          <a:effectLst/>
                          <a:latin typeface="Arial Narrow" panose="020B0606020202030204" pitchFamily="34" charset="0"/>
                        </a:rPr>
                        <a:t>Mar-22</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fontAlgn="ctr"/>
                      <a:r>
                        <a:rPr lang="en-US" sz="700" b="0" i="0" u="none" strike="noStrike">
                          <a:solidFill>
                            <a:srgbClr val="000000"/>
                          </a:solidFill>
                          <a:effectLst/>
                          <a:latin typeface="Arial Narrow" panose="020B0606020202030204" pitchFamily="34" charset="0"/>
                        </a:rPr>
                        <a:t>Full scale flow rate (IPA): 120ml/min</a:t>
                      </a:r>
                    </a:p>
                  </a:txBody>
                  <a:tcPr marL="61790" marR="6866" marT="686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E2EFDA"/>
                    </a:solidFill>
                  </a:tcPr>
                </a:tc>
                <a:extLst>
                  <a:ext uri="{0D108BD9-81ED-4DB2-BD59-A6C34878D82A}">
                    <a16:rowId xmlns:a16="http://schemas.microsoft.com/office/drawing/2014/main" val="1081428414"/>
                  </a:ext>
                </a:extLst>
              </a:tr>
              <a:tr h="384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Semiconductor</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700" b="0" i="0" u="none" strike="noStrike">
                          <a:solidFill>
                            <a:srgbClr val="000000"/>
                          </a:solidFill>
                          <a:effectLst/>
                          <a:latin typeface="Arial Narrow" panose="020B0606020202030204" pitchFamily="34" charset="0"/>
                        </a:rPr>
                        <a:t>Repeatability (IPA): 2%         Maximum operating pressure: 12 bar Supply voltage 4.5-5.5V</a:t>
                      </a:r>
                    </a:p>
                  </a:txBody>
                  <a:tcPr marL="61790" marR="6866" marT="6866" marB="0" anchor="ctr">
                    <a:lnL w="12700" cap="flat" cmpd="sng" algn="ctr">
                      <a:solidFill>
                        <a:srgbClr val="FFFFFF"/>
                      </a:solidFill>
                      <a:prstDash val="solid"/>
                      <a:round/>
                      <a:headEnd type="none" w="med" len="med"/>
                      <a:tailEnd type="none" w="med" len="med"/>
                    </a:lnL>
                    <a:lnR>
                      <a:noFill/>
                    </a:lnR>
                    <a:lnT>
                      <a:noFill/>
                    </a:lnT>
                    <a:lnB>
                      <a:noFill/>
                    </a:lnB>
                    <a:solidFill>
                      <a:srgbClr val="E2EFDA"/>
                    </a:solidFill>
                  </a:tcPr>
                </a:tc>
                <a:extLst>
                  <a:ext uri="{0D108BD9-81ED-4DB2-BD59-A6C34878D82A}">
                    <a16:rowId xmlns:a16="http://schemas.microsoft.com/office/drawing/2014/main" val="2037288068"/>
                  </a:ext>
                </a:extLst>
              </a:tr>
              <a:tr h="824254">
                <a:tc rowSpan="6">
                  <a:txBody>
                    <a:bodyPr/>
                    <a:lstStyle/>
                    <a:p>
                      <a:pPr algn="l" rtl="0" fontAlgn="ctr"/>
                      <a:r>
                        <a:rPr lang="en-US" sz="900" b="1" i="0" u="none" strike="noStrike">
                          <a:solidFill>
                            <a:srgbClr val="000000"/>
                          </a:solidFill>
                          <a:effectLst/>
                          <a:latin typeface="Arial Narrow" panose="020B0606020202030204" pitchFamily="34" charset="0"/>
                        </a:rPr>
                        <a:t>SFM/SFC</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1000" b="1" i="0" u="none" strike="noStrike">
                          <a:solidFill>
                            <a:srgbClr val="4D9926"/>
                          </a:solidFill>
                          <a:effectLst/>
                          <a:latin typeface="Arial Narrow" panose="020B0606020202030204" pitchFamily="34" charset="0"/>
                        </a:rPr>
                        <a:t>SFM3003</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fontAlgn="ctr"/>
                      <a:r>
                        <a:rPr lang="en-US" sz="1300" b="0" i="0" u="none" strike="noStrike">
                          <a:solidFill>
                            <a:srgbClr val="000000"/>
                          </a:solidFill>
                          <a:effectLst/>
                          <a:latin typeface="Arial" panose="020B060402020202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Gas Flow</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Medical</a:t>
                      </a:r>
                    </a:p>
                  </a:txBody>
                  <a:tcPr marL="6866" marR="6866" marT="686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E2EFDA"/>
                    </a:solidFill>
                  </a:tcPr>
                </a:tc>
                <a:tc>
                  <a:txBody>
                    <a:bodyPr/>
                    <a:lstStyle/>
                    <a:p>
                      <a:pPr algn="l" fontAlgn="b"/>
                      <a:r>
                        <a:rPr lang="en-US" sz="800" b="0" i="0" u="sng" strike="noStrike">
                          <a:solidFill>
                            <a:srgbClr val="0563C1"/>
                          </a:solidFill>
                          <a:effectLst/>
                          <a:latin typeface="Calibri" panose="020F0502020204030204" pitchFamily="34" charset="0"/>
                          <a:hlinkClick r:id="rId5"/>
                        </a:rPr>
                        <a:t>SEK-SFM3003 - Gas flow sensors evaluation kit SFM3003 (sensirion.com)</a:t>
                      </a:r>
                      <a:endParaRPr lang="en-US" sz="800" b="0" i="0" u="sng" strike="noStrike">
                        <a:solidFill>
                          <a:srgbClr val="0563C1"/>
                        </a:solidFill>
                        <a:effectLst/>
                        <a:latin typeface="Calibri" panose="020F0502020204030204" pitchFamily="34" charset="0"/>
                      </a:endParaRPr>
                    </a:p>
                  </a:txBody>
                  <a:tcPr marL="6866" marR="6866" marT="6866" marB="0" anchor="b">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1400" b="1" i="0" u="none" strike="noStrike">
                          <a:solidFill>
                            <a:srgbClr val="4D9926"/>
                          </a:solidFill>
                          <a:effectLst/>
                          <a:latin typeface="Arial Narrow" panose="020B0606020202030204" pitchFamily="34" charset="0"/>
                        </a:rPr>
                        <a:t>8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Arial Narrow" panose="020B0606020202030204" pitchFamily="34" charset="0"/>
                        </a:rPr>
                        <a:t> </a:t>
                      </a:r>
                      <a:r>
                        <a:rPr lang="en-US" sz="1400" b="1" i="0" u="none" strike="noStrike">
                          <a:solidFill>
                            <a:schemeClr val="accent1">
                              <a:lumMod val="75000"/>
                            </a:schemeClr>
                          </a:solidFill>
                          <a:effectLst/>
                          <a:latin typeface="Arial Narrow" panose="020B0606020202030204" pitchFamily="34" charset="0"/>
                        </a:rPr>
                        <a:t>Aug-22</a:t>
                      </a:r>
                    </a:p>
                    <a:p>
                      <a:pPr algn="l" rtl="0" fontAlgn="ctr"/>
                      <a:endParaRPr lang="en-US" sz="1400" b="0" i="0" u="none" strike="noStrike">
                        <a:solidFill>
                          <a:srgbClr val="000000"/>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fontAlgn="ctr"/>
                      <a:r>
                        <a:rPr lang="en-US" sz="700" b="0" i="0" u="none" strike="noStrike">
                          <a:solidFill>
                            <a:srgbClr val="000000"/>
                          </a:solidFill>
                          <a:effectLst/>
                          <a:latin typeface="Arial Narrow" panose="020B0606020202030204" pitchFamily="34" charset="0"/>
                        </a:rPr>
                        <a:t>Flow range up to 300slm  </a:t>
                      </a:r>
                    </a:p>
                  </a:txBody>
                  <a:tcPr marL="61790" marR="6866" marT="6866" marB="0" anchor="ctr">
                    <a:lnL w="12700" cap="flat" cmpd="sng" algn="ctr">
                      <a:solidFill>
                        <a:srgbClr val="FFFFFF"/>
                      </a:solidFill>
                      <a:prstDash val="solid"/>
                      <a:round/>
                      <a:headEnd type="none" w="med" len="med"/>
                      <a:tailEnd type="none" w="med" len="med"/>
                    </a:lnL>
                    <a:lnR>
                      <a:noFill/>
                    </a:lnR>
                    <a:lnT>
                      <a:noFill/>
                    </a:lnT>
                    <a:lnB>
                      <a:noFill/>
                    </a:lnB>
                    <a:solidFill>
                      <a:srgbClr val="E2EFDA"/>
                    </a:solidFill>
                  </a:tcPr>
                </a:tc>
                <a:extLst>
                  <a:ext uri="{0D108BD9-81ED-4DB2-BD59-A6C34878D82A}">
                    <a16:rowId xmlns:a16="http://schemas.microsoft.com/office/drawing/2014/main" val="3735469148"/>
                  </a:ext>
                </a:extLst>
              </a:tr>
              <a:tr h="1442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Process automation</a:t>
                      </a:r>
                    </a:p>
                  </a:txBody>
                  <a:tcPr marL="6866" marR="6866" marT="6866"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Calibrated for o2,air and more</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395941758"/>
                  </a:ext>
                </a:extLst>
              </a:tr>
              <a:tr h="824254">
                <a:tc vMerge="1">
                  <a:txBody>
                    <a:bodyPr/>
                    <a:lstStyle/>
                    <a:p>
                      <a:endParaRPr lang="en-US"/>
                    </a:p>
                  </a:txBody>
                  <a:tcPr/>
                </a:tc>
                <a:tc rowSpan="2">
                  <a:txBody>
                    <a:bodyPr/>
                    <a:lstStyle/>
                    <a:p>
                      <a:pPr algn="l" rtl="0" fontAlgn="ctr"/>
                      <a:r>
                        <a:rPr lang="en-US" sz="1000" b="1" i="0" u="none" strike="noStrike">
                          <a:solidFill>
                            <a:srgbClr val="4D9926"/>
                          </a:solidFill>
                          <a:effectLst/>
                          <a:latin typeface="Arial Narrow" panose="020B0606020202030204" pitchFamily="34" charset="0"/>
                        </a:rPr>
                        <a:t>SFM4300</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fontAlgn="ctr"/>
                      <a:r>
                        <a:rPr lang="en-US" sz="1300" b="0" i="0" u="none" strike="noStrike">
                          <a:solidFill>
                            <a:srgbClr val="000000"/>
                          </a:solidFill>
                          <a:effectLst/>
                          <a:latin typeface="Arial" panose="020B060402020202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Gas Flow</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Medical gas mixing</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a:txBody>
                    <a:bodyPr/>
                    <a:lstStyle/>
                    <a:p>
                      <a:pPr algn="l" fontAlgn="b"/>
                      <a:r>
                        <a:rPr lang="en-US" sz="800" b="0" i="0" u="sng" strike="noStrike">
                          <a:solidFill>
                            <a:srgbClr val="0563C1"/>
                          </a:solidFill>
                          <a:effectLst/>
                          <a:latin typeface="Calibri" panose="020F0502020204030204" pitchFamily="34" charset="0"/>
                          <a:hlinkClick r:id="rId6"/>
                        </a:rPr>
                        <a:t>SEK-SFM4300-20-P - Gas flow sensors evaluation kit SFM4300 (sensirion.com)</a:t>
                      </a:r>
                      <a:endParaRPr lang="en-US" sz="800" b="0" i="0" u="sng" strike="noStrike">
                        <a:solidFill>
                          <a:srgbClr val="0563C1"/>
                        </a:solidFill>
                        <a:effectLst/>
                        <a:latin typeface="Calibri" panose="020F0502020204030204" pitchFamily="34" charset="0"/>
                      </a:endParaRPr>
                    </a:p>
                  </a:txBody>
                  <a:tcPr marL="6866" marR="6866" marT="686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1400" b="1" i="0" u="none" strike="noStrike">
                          <a:solidFill>
                            <a:srgbClr val="4D9926"/>
                          </a:solidFill>
                          <a:effectLst/>
                          <a:latin typeface="Arial Narrow" panose="020B0606020202030204" pitchFamily="34" charset="0"/>
                        </a:rPr>
                        <a:t>12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1" i="0" u="none" strike="noStrike">
                          <a:solidFill>
                            <a:schemeClr val="accent1">
                              <a:lumMod val="75000"/>
                            </a:schemeClr>
                          </a:solidFill>
                          <a:effectLst/>
                          <a:latin typeface="Arial Narrow" panose="020B0606020202030204" pitchFamily="34" charset="0"/>
                        </a:rPr>
                        <a:t>Jun-22</a:t>
                      </a:r>
                    </a:p>
                    <a:p>
                      <a:pPr algn="l" rtl="0" fontAlgn="ctr"/>
                      <a:r>
                        <a:rPr lang="en-US" sz="14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Fully callibrated and temp compensated</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extLst>
                  <a:ext uri="{0D108BD9-81ED-4DB2-BD59-A6C34878D82A}">
                    <a16:rowId xmlns:a16="http://schemas.microsoft.com/office/drawing/2014/main" val="3321916384"/>
                  </a:ext>
                </a:extLst>
              </a:tr>
              <a:tr h="1442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Industrial gas mixing</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high precision and sensitivity</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971763771"/>
                  </a:ext>
                </a:extLst>
              </a:tr>
              <a:tr h="226670">
                <a:tc vMerge="1">
                  <a:txBody>
                    <a:bodyPr/>
                    <a:lstStyle/>
                    <a:p>
                      <a:endParaRPr lang="en-US"/>
                    </a:p>
                  </a:txBody>
                  <a:tcPr/>
                </a:tc>
                <a:tc rowSpan="2">
                  <a:txBody>
                    <a:bodyPr/>
                    <a:lstStyle/>
                    <a:p>
                      <a:pPr algn="l" rtl="0" fontAlgn="ctr"/>
                      <a:r>
                        <a:rPr lang="en-US" sz="1000" b="1" i="0" u="none" strike="noStrike">
                          <a:solidFill>
                            <a:srgbClr val="4D9926"/>
                          </a:solidFill>
                          <a:effectLst/>
                          <a:latin typeface="Arial Narrow" panose="020B0606020202030204" pitchFamily="34" charset="0"/>
                        </a:rPr>
                        <a:t>SFM5500/SFC5500</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fontAlgn="ctr"/>
                      <a:r>
                        <a:rPr lang="en-US" sz="1300" b="0" i="0" u="none" strike="noStrike">
                          <a:solidFill>
                            <a:srgbClr val="000000"/>
                          </a:solidFill>
                          <a:effectLst/>
                          <a:latin typeface="Arial" panose="020B060402020202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Gas Flow</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Gas mixing</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tc rowSpan="2">
                  <a:txBody>
                    <a:bodyPr/>
                    <a:lstStyle/>
                    <a:p>
                      <a:pPr algn="l" rtl="0" fontAlgn="ctr"/>
                      <a:r>
                        <a:rPr lang="en-US" sz="800" b="0" i="0" u="sng" strike="noStrike">
                          <a:solidFill>
                            <a:srgbClr val="0563C1"/>
                          </a:solidFill>
                          <a:effectLst/>
                          <a:latin typeface="Calibri" panose="020F0502020204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algn="l" rtl="0" fontAlgn="ctr"/>
                      <a:r>
                        <a:rPr lang="en-US" sz="1400" b="1" i="0" u="none" strike="noStrike">
                          <a:solidFill>
                            <a:srgbClr val="4D9926"/>
                          </a:solidFill>
                          <a:effectLst/>
                          <a:latin typeface="Arial Narrow" panose="020B0606020202030204" pitchFamily="34" charset="0"/>
                        </a:rPr>
                        <a:t>12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1" i="0" u="none" strike="noStrike">
                          <a:solidFill>
                            <a:schemeClr val="accent1">
                              <a:lumMod val="75000"/>
                            </a:schemeClr>
                          </a:solidFill>
                          <a:effectLst/>
                          <a:latin typeface="Arial Narrow" panose="020B0606020202030204" pitchFamily="34" charset="0"/>
                        </a:rPr>
                        <a:t>Apr-22</a:t>
                      </a:r>
                    </a:p>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A"/>
                    </a:solidFill>
                  </a:tcPr>
                </a:tc>
                <a:tc>
                  <a:txBody>
                    <a:bodyPr/>
                    <a:lstStyle/>
                    <a:p>
                      <a:pPr algn="l" rtl="0" fontAlgn="ctr"/>
                      <a:r>
                        <a:rPr lang="en-US" sz="700" b="0" i="0" u="none" strike="noStrike">
                          <a:solidFill>
                            <a:srgbClr val="000000"/>
                          </a:solidFill>
                          <a:effectLst/>
                          <a:latin typeface="Arial Narrow" panose="020B0606020202030204" pitchFamily="34" charset="0"/>
                        </a:rPr>
                        <a:t>Wide control range(&lt;0.1% -100%)</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2EFDA"/>
                    </a:solidFill>
                  </a:tcPr>
                </a:tc>
                <a:extLst>
                  <a:ext uri="{0D108BD9-81ED-4DB2-BD59-A6C34878D82A}">
                    <a16:rowId xmlns:a16="http://schemas.microsoft.com/office/drawing/2014/main" val="3282970766"/>
                  </a:ext>
                </a:extLst>
              </a:tr>
              <a:tr h="1442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Flow Control</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Calibrated for multiple gasses</a:t>
                      </a:r>
                    </a:p>
                  </a:txBody>
                  <a:tcPr marL="6866" marR="6866" marT="686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3826303806"/>
                  </a:ext>
                </a:extLst>
              </a:tr>
            </a:tbl>
          </a:graphicData>
        </a:graphic>
      </p:graphicFrame>
      <p:pic>
        <p:nvPicPr>
          <p:cNvPr id="15" name="Picture 14" descr="A picture containing graphical user interface&#10;&#10;Description automatically generated">
            <a:extLst>
              <a:ext uri="{FF2B5EF4-FFF2-40B4-BE49-F238E27FC236}">
                <a16:creationId xmlns:a16="http://schemas.microsoft.com/office/drawing/2014/main" id="{DB3A31FA-C337-17F2-8260-B1F8B151B23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91270" y="5859248"/>
            <a:ext cx="602521" cy="376452"/>
          </a:xfrm>
          <a:prstGeom prst="rect">
            <a:avLst/>
          </a:prstGeom>
        </p:spPr>
      </p:pic>
      <p:pic>
        <p:nvPicPr>
          <p:cNvPr id="2051" name="Picture 3">
            <a:extLst>
              <a:ext uri="{FF2B5EF4-FFF2-40B4-BE49-F238E27FC236}">
                <a16:creationId xmlns:a16="http://schemas.microsoft.com/office/drawing/2014/main" id="{38183BD9-2817-B094-9564-1304C706396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53414" y="2836638"/>
            <a:ext cx="540377" cy="29587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A picture containing cable, connector&#10;&#10;Description automatically generated">
            <a:extLst>
              <a:ext uri="{FF2B5EF4-FFF2-40B4-BE49-F238E27FC236}">
                <a16:creationId xmlns:a16="http://schemas.microsoft.com/office/drawing/2014/main" id="{02D90AB5-7803-2D08-268B-F261F8BAF80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38898" y="1740023"/>
            <a:ext cx="888057" cy="554854"/>
          </a:xfrm>
          <a:prstGeom prst="rect">
            <a:avLst/>
          </a:prstGeom>
        </p:spPr>
      </p:pic>
      <p:pic>
        <p:nvPicPr>
          <p:cNvPr id="2056" name="Picture 8">
            <a:extLst>
              <a:ext uri="{FF2B5EF4-FFF2-40B4-BE49-F238E27FC236}">
                <a16:creationId xmlns:a16="http://schemas.microsoft.com/office/drawing/2014/main" id="{0CBB3CA4-DD7D-D33D-0FB0-20710EE91C0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72352" y="3355346"/>
            <a:ext cx="1021148" cy="63784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EE44C515-E5F8-20F2-77EE-C0D40F1D7D7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11048" y="4267254"/>
            <a:ext cx="844887" cy="47491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4FAF8636-077C-C514-35A8-10E3CDAE43F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69750" y="5152169"/>
            <a:ext cx="820006" cy="4749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81510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A2F7B-E8D6-4BEE-A6DF-88A488B5BE25}"/>
              </a:ext>
            </a:extLst>
          </p:cNvPr>
          <p:cNvSpPr>
            <a:spLocks noGrp="1"/>
          </p:cNvSpPr>
          <p:nvPr>
            <p:ph type="title"/>
          </p:nvPr>
        </p:nvSpPr>
        <p:spPr/>
        <p:txBody>
          <a:bodyPr/>
          <a:lstStyle/>
          <a:p>
            <a:r>
              <a:rPr lang="en-US"/>
              <a:t>Humidity &amp; Temp NPIs</a:t>
            </a:r>
          </a:p>
        </p:txBody>
      </p:sp>
      <p:sp>
        <p:nvSpPr>
          <p:cNvPr id="3" name="Slide Number Placeholder 2">
            <a:extLst>
              <a:ext uri="{FF2B5EF4-FFF2-40B4-BE49-F238E27FC236}">
                <a16:creationId xmlns:a16="http://schemas.microsoft.com/office/drawing/2014/main" id="{1BB445AE-7975-4DB1-AF27-FF3B41B27183}"/>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26</a:t>
            </a:fld>
            <a:endParaRPr lang="de-CH"/>
          </a:p>
        </p:txBody>
      </p:sp>
      <p:graphicFrame>
        <p:nvGraphicFramePr>
          <p:cNvPr id="7" name="Table 6">
            <a:extLst>
              <a:ext uri="{FF2B5EF4-FFF2-40B4-BE49-F238E27FC236}">
                <a16:creationId xmlns:a16="http://schemas.microsoft.com/office/drawing/2014/main" id="{D41B8367-3343-FF99-2E75-5A5DA707D2F5}"/>
              </a:ext>
            </a:extLst>
          </p:cNvPr>
          <p:cNvGraphicFramePr>
            <a:graphicFrameLocks noGrp="1"/>
          </p:cNvGraphicFramePr>
          <p:nvPr/>
        </p:nvGraphicFramePr>
        <p:xfrm>
          <a:off x="839788" y="1010159"/>
          <a:ext cx="10512426" cy="5123432"/>
        </p:xfrm>
        <a:graphic>
          <a:graphicData uri="http://schemas.openxmlformats.org/drawingml/2006/table">
            <a:tbl>
              <a:tblPr/>
              <a:tblGrid>
                <a:gridCol w="835230">
                  <a:extLst>
                    <a:ext uri="{9D8B030D-6E8A-4147-A177-3AD203B41FA5}">
                      <a16:colId xmlns:a16="http://schemas.microsoft.com/office/drawing/2014/main" val="2804839566"/>
                    </a:ext>
                  </a:extLst>
                </a:gridCol>
                <a:gridCol w="835230">
                  <a:extLst>
                    <a:ext uri="{9D8B030D-6E8A-4147-A177-3AD203B41FA5}">
                      <a16:colId xmlns:a16="http://schemas.microsoft.com/office/drawing/2014/main" val="265498844"/>
                    </a:ext>
                  </a:extLst>
                </a:gridCol>
                <a:gridCol w="588190">
                  <a:extLst>
                    <a:ext uri="{9D8B030D-6E8A-4147-A177-3AD203B41FA5}">
                      <a16:colId xmlns:a16="http://schemas.microsoft.com/office/drawing/2014/main" val="545389918"/>
                    </a:ext>
                  </a:extLst>
                </a:gridCol>
                <a:gridCol w="1370483">
                  <a:extLst>
                    <a:ext uri="{9D8B030D-6E8A-4147-A177-3AD203B41FA5}">
                      <a16:colId xmlns:a16="http://schemas.microsoft.com/office/drawing/2014/main" val="1015272137"/>
                    </a:ext>
                  </a:extLst>
                </a:gridCol>
                <a:gridCol w="505843">
                  <a:extLst>
                    <a:ext uri="{9D8B030D-6E8A-4147-A177-3AD203B41FA5}">
                      <a16:colId xmlns:a16="http://schemas.microsoft.com/office/drawing/2014/main" val="2716105325"/>
                    </a:ext>
                  </a:extLst>
                </a:gridCol>
                <a:gridCol w="1370483">
                  <a:extLst>
                    <a:ext uri="{9D8B030D-6E8A-4147-A177-3AD203B41FA5}">
                      <a16:colId xmlns:a16="http://schemas.microsoft.com/office/drawing/2014/main" val="31496952"/>
                    </a:ext>
                  </a:extLst>
                </a:gridCol>
                <a:gridCol w="1370483">
                  <a:extLst>
                    <a:ext uri="{9D8B030D-6E8A-4147-A177-3AD203B41FA5}">
                      <a16:colId xmlns:a16="http://schemas.microsoft.com/office/drawing/2014/main" val="405157933"/>
                    </a:ext>
                  </a:extLst>
                </a:gridCol>
                <a:gridCol w="894048">
                  <a:extLst>
                    <a:ext uri="{9D8B030D-6E8A-4147-A177-3AD203B41FA5}">
                      <a16:colId xmlns:a16="http://schemas.microsoft.com/office/drawing/2014/main" val="942828797"/>
                    </a:ext>
                  </a:extLst>
                </a:gridCol>
                <a:gridCol w="1370483">
                  <a:extLst>
                    <a:ext uri="{9D8B030D-6E8A-4147-A177-3AD203B41FA5}">
                      <a16:colId xmlns:a16="http://schemas.microsoft.com/office/drawing/2014/main" val="1127811385"/>
                    </a:ext>
                  </a:extLst>
                </a:gridCol>
                <a:gridCol w="1371953">
                  <a:extLst>
                    <a:ext uri="{9D8B030D-6E8A-4147-A177-3AD203B41FA5}">
                      <a16:colId xmlns:a16="http://schemas.microsoft.com/office/drawing/2014/main" val="3740144658"/>
                    </a:ext>
                  </a:extLst>
                </a:gridCol>
              </a:tblGrid>
              <a:tr h="336526">
                <a:tc>
                  <a:txBody>
                    <a:bodyPr/>
                    <a:lstStyle/>
                    <a:p>
                      <a:pPr algn="l" rtl="0" fontAlgn="ctr"/>
                      <a:r>
                        <a:rPr lang="en-US" sz="1000" b="1" i="0" u="none" strike="noStrike">
                          <a:solidFill>
                            <a:srgbClr val="000000"/>
                          </a:solidFill>
                          <a:effectLst/>
                          <a:latin typeface="Arial Narrow" panose="020B0606020202030204" pitchFamily="34" charset="0"/>
                        </a:rPr>
                        <a:t>Sensirion Platform Serie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Part Name</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Product photo</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Sensing</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Technolog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Typical Application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Eval Kit</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Lead Time</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Launched</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Selling point note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extLst>
                  <a:ext uri="{0D108BD9-81ED-4DB2-BD59-A6C34878D82A}">
                    <a16:rowId xmlns:a16="http://schemas.microsoft.com/office/drawing/2014/main" val="675680261"/>
                  </a:ext>
                </a:extLst>
              </a:tr>
              <a:tr h="164829">
                <a:tc rowSpan="13">
                  <a:txBody>
                    <a:bodyPr/>
                    <a:lstStyle/>
                    <a:p>
                      <a:pPr algn="l" rtl="0" fontAlgn="ctr"/>
                      <a:r>
                        <a:rPr lang="en-US" sz="900" b="1" i="0" u="none" strike="noStrike">
                          <a:solidFill>
                            <a:srgbClr val="000000"/>
                          </a:solidFill>
                          <a:effectLst/>
                          <a:latin typeface="Arial Narrow" panose="020B0606020202030204" pitchFamily="34" charset="0"/>
                        </a:rPr>
                        <a:t>SHT4x</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000" b="1" i="0" u="none" strike="noStrike">
                          <a:solidFill>
                            <a:srgbClr val="000000"/>
                          </a:solidFill>
                          <a:effectLst/>
                          <a:latin typeface="Arial Narrow" panose="020B0606020202030204" pitchFamily="34" charset="0"/>
                        </a:rPr>
                        <a:t>SHT4x-DIS-F</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tc rowSpan="5">
                  <a:txBody>
                    <a:bodyPr/>
                    <a:lstStyle/>
                    <a:p>
                      <a:pPr algn="l" fontAlgn="ctr"/>
                      <a:endParaRPr lang="en-US" sz="1000" b="0" i="0" u="none" strike="noStrike">
                        <a:solidFill>
                          <a:srgbClr val="000000"/>
                        </a:solidFill>
                        <a:effectLst/>
                        <a:latin typeface="Arial" panose="020B060402020202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Relative Humidit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tc rowSpan="5">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700" b="0" i="0" u="none" strike="noStrike">
                          <a:solidFill>
                            <a:srgbClr val="000000"/>
                          </a:solidFill>
                          <a:effectLst/>
                          <a:latin typeface="Arial Narrow" panose="020B0606020202030204" pitchFamily="34" charset="0"/>
                        </a:rPr>
                        <a:t>Apps requiring 2.3V to 5.5V suppl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800" b="0" i="0" u="sng" strike="noStrike">
                          <a:solidFill>
                            <a:srgbClr val="0563C1"/>
                          </a:solidFill>
                          <a:effectLst/>
                          <a:latin typeface="Calibri" panose="020F0502020204030204" pitchFamily="34" charset="0"/>
                          <a:hlinkClick r:id="rId3"/>
                        </a:rPr>
                        <a:t>SEK-SHT41</a:t>
                      </a:r>
                      <a:endParaRPr lang="en-US" sz="800" b="0" i="0" u="sng" strike="noStrike">
                        <a:solidFill>
                          <a:srgbClr val="0563C1"/>
                        </a:solidFill>
                        <a:effectLst/>
                        <a:latin typeface="Calibri" panose="020F0502020204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1000" b="0" i="0" u="none" strike="noStrike">
                          <a:solidFill>
                            <a:srgbClr val="000000"/>
                          </a:solidFill>
                          <a:effectLst/>
                          <a:latin typeface="Arial Narrow" panose="020B0606020202030204" pitchFamily="34" charset="0"/>
                        </a:rPr>
                        <a:t>Coming soon</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1400" b="1" i="0" u="none" strike="noStrike">
                          <a:solidFill>
                            <a:srgbClr val="000000"/>
                          </a:solidFill>
                          <a:effectLst/>
                          <a:latin typeface="Arial Narrow" panose="020B0606020202030204" pitchFamily="34" charset="0"/>
                        </a:rPr>
                        <a:t>Q4</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Filter membrane included</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extLst>
                  <a:ext uri="{0D108BD9-81ED-4DB2-BD59-A6C34878D82A}">
                    <a16:rowId xmlns:a16="http://schemas.microsoft.com/office/drawing/2014/main" val="2324458304"/>
                  </a:ext>
                </a:extLst>
              </a:tr>
              <a:tr h="164829">
                <a:tc vMerge="1">
                  <a:txBody>
                    <a:bodyPr/>
                    <a:lstStyle/>
                    <a:p>
                      <a:endParaRPr lang="en-US"/>
                    </a:p>
                  </a:txBody>
                  <a:tcPr/>
                </a:tc>
                <a:tc>
                  <a:txBody>
                    <a:bodyPr/>
                    <a:lstStyle/>
                    <a:p>
                      <a:pPr algn="l" rtl="0" fontAlgn="ctr"/>
                      <a:r>
                        <a:rPr lang="en-US" sz="1000" b="1" i="0" u="none" strike="noStrike">
                          <a:solidFill>
                            <a:srgbClr val="000000"/>
                          </a:solidFill>
                          <a:effectLst/>
                          <a:latin typeface="Arial Narrow" panose="020B0606020202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Temperature</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2411414501"/>
                  </a:ext>
                </a:extLst>
              </a:tr>
              <a:tr h="137357">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2424798576"/>
                  </a:ext>
                </a:extLst>
              </a:tr>
              <a:tr h="137357">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1717381994"/>
                  </a:ext>
                </a:extLst>
              </a:tr>
              <a:tr h="144225">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extLst>
                  <a:ext uri="{0D108BD9-81ED-4DB2-BD59-A6C34878D82A}">
                    <a16:rowId xmlns:a16="http://schemas.microsoft.com/office/drawing/2014/main" val="394036572"/>
                  </a:ext>
                </a:extLst>
              </a:tr>
              <a:tr h="233508">
                <a:tc vMerge="1">
                  <a:txBody>
                    <a:bodyPr/>
                    <a:lstStyle/>
                    <a:p>
                      <a:endParaRPr lang="en-US"/>
                    </a:p>
                  </a:txBody>
                  <a:tcPr/>
                </a:tc>
                <a:tc rowSpan="5">
                  <a:txBody>
                    <a:bodyPr/>
                    <a:lstStyle/>
                    <a:p>
                      <a:pPr algn="l" rtl="0" fontAlgn="ctr"/>
                      <a:r>
                        <a:rPr lang="en-US" sz="1000" b="1" i="0" u="none" strike="noStrike">
                          <a:solidFill>
                            <a:srgbClr val="4D9926"/>
                          </a:solidFill>
                          <a:effectLst/>
                          <a:latin typeface="Arial Narrow" panose="020B0606020202030204" pitchFamily="34" charset="0"/>
                        </a:rPr>
                        <a:t>SHT45</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fontAlgn="ctr"/>
                      <a:r>
                        <a:rPr lang="en-US" sz="1300" b="0" i="0" u="none" strike="noStrike">
                          <a:solidFill>
                            <a:srgbClr val="000000"/>
                          </a:solidFill>
                          <a:effectLst/>
                          <a:latin typeface="Arial" panose="020B060402020202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Relative Humidit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tc rowSpan="5">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Smart Farming / Indoor Grow Farm</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tc rowSpan="5">
                  <a:txBody>
                    <a:bodyPr/>
                    <a:lstStyle/>
                    <a:p>
                      <a:pPr algn="l" rtl="0" fontAlgn="ctr"/>
                      <a:r>
                        <a:rPr lang="en-US" sz="800" b="0" i="0" u="sng" strike="noStrike">
                          <a:solidFill>
                            <a:srgbClr val="0563C1"/>
                          </a:solidFill>
                          <a:effectLst/>
                          <a:latin typeface="Calibri" panose="020F0502020204030204" pitchFamily="34" charset="0"/>
                          <a:hlinkClick r:id="rId4"/>
                        </a:rPr>
                        <a:t>SEK-SHT45 - Humidity and temperature evaluation kit SHT45 (sensirion.com)</a:t>
                      </a:r>
                      <a:endParaRPr lang="en-US" sz="800" b="0" i="0" u="sng" strike="noStrike">
                        <a:solidFill>
                          <a:srgbClr val="0563C1"/>
                        </a:solidFill>
                        <a:effectLst/>
                        <a:latin typeface="Calibri" panose="020F0502020204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1400" b="1" i="0" u="none" strike="noStrike">
                          <a:solidFill>
                            <a:srgbClr val="4D9926"/>
                          </a:solidFill>
                          <a:effectLst/>
                          <a:latin typeface="Arial Narrow" panose="020B0606020202030204" pitchFamily="34" charset="0"/>
                        </a:rPr>
                        <a:t> 8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1400" b="1" i="0" u="none" strike="noStrike">
                          <a:solidFill>
                            <a:schemeClr val="accent1">
                              <a:lumMod val="75000"/>
                            </a:schemeClr>
                          </a:solidFill>
                          <a:effectLst/>
                          <a:latin typeface="Arial Narrow" panose="020B0606020202030204" pitchFamily="34" charset="0"/>
                        </a:rPr>
                        <a:t>Mar-22</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Highest RH Accuracy application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extLst>
                  <a:ext uri="{0D108BD9-81ED-4DB2-BD59-A6C34878D82A}">
                    <a16:rowId xmlns:a16="http://schemas.microsoft.com/office/drawing/2014/main" val="3004305142"/>
                  </a:ext>
                </a:extLst>
              </a:tr>
              <a:tr h="23350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Temperature</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Data Acquisition (DAQ), Logger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RH Accuracy (%RH): ±1 (typ.) ±2 (max.) @0-90% RH</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1566217421"/>
                  </a:ext>
                </a:extLst>
              </a:tr>
              <a:tr h="23350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Smart speakers / thermostat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pl-PL" sz="700" b="0" i="0" u="none" strike="noStrike">
                          <a:solidFill>
                            <a:srgbClr val="000000"/>
                          </a:solidFill>
                          <a:effectLst/>
                          <a:latin typeface="Arial Narrow" panose="020B0606020202030204" pitchFamily="34" charset="0"/>
                        </a:rPr>
                        <a:t>Temp Accuracy (°C): ±0.1 (typ.) ±0.2 (max.) @5-60°C</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3550703834"/>
                  </a:ext>
                </a:extLst>
              </a:tr>
              <a:tr h="137357">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Medical device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VDD Range: 1.08 V to 3.6 V</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4252905204"/>
                  </a:ext>
                </a:extLst>
              </a:tr>
              <a:tr h="24037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Inkjet and laser printer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extLst>
                  <a:ext uri="{0D108BD9-81ED-4DB2-BD59-A6C34878D82A}">
                    <a16:rowId xmlns:a16="http://schemas.microsoft.com/office/drawing/2014/main" val="1490060270"/>
                  </a:ext>
                </a:extLst>
              </a:tr>
              <a:tr h="137357">
                <a:tc vMerge="1">
                  <a:txBody>
                    <a:bodyPr/>
                    <a:lstStyle/>
                    <a:p>
                      <a:endParaRPr lang="en-US"/>
                    </a:p>
                  </a:txBody>
                  <a:tcPr/>
                </a:tc>
                <a:tc rowSpan="2">
                  <a:txBody>
                    <a:bodyPr/>
                    <a:lstStyle/>
                    <a:p>
                      <a:pPr algn="l" rtl="0" fontAlgn="ctr"/>
                      <a:r>
                        <a:rPr lang="en-US" sz="1000" b="1" i="0" u="none" strike="noStrike">
                          <a:solidFill>
                            <a:srgbClr val="4D9926"/>
                          </a:solidFill>
                          <a:effectLst/>
                          <a:latin typeface="Arial Narrow" panose="020B0606020202030204" pitchFamily="34" charset="0"/>
                        </a:rPr>
                        <a:t>SHT4xA</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2">
                  <a:txBody>
                    <a:bodyPr/>
                    <a:lstStyle/>
                    <a:p>
                      <a:pPr algn="l" fontAlgn="ctr"/>
                      <a:r>
                        <a:rPr lang="en-US" sz="1300" b="0" i="0" u="none" strike="noStrike">
                          <a:solidFill>
                            <a:srgbClr val="000000"/>
                          </a:solidFill>
                          <a:effectLst/>
                          <a:latin typeface="Arial" panose="020B060402020202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Relative Humidit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tc rowSpan="2">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Mobilit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tc rowSpan="2">
                  <a:txBody>
                    <a:bodyPr/>
                    <a:lstStyle/>
                    <a:p>
                      <a:pPr algn="l" rtl="0" fontAlgn="ctr"/>
                      <a:r>
                        <a:rPr lang="en-US" sz="800" b="0" i="0" u="sng" strike="noStrike">
                          <a:solidFill>
                            <a:srgbClr val="0563C1"/>
                          </a:solidFill>
                          <a:effectLst/>
                          <a:latin typeface="Calibri" panose="020F0502020204030204" pitchFamily="34" charset="0"/>
                          <a:hlinkClick r:id="rId5"/>
                        </a:rPr>
                        <a:t>SEK-SHT41A - Temperature evaluation kit SHT41A (sensirion.com)</a:t>
                      </a:r>
                      <a:endParaRPr lang="en-US" sz="800" b="0" i="0" u="sng" strike="noStrike">
                        <a:solidFill>
                          <a:srgbClr val="0563C1"/>
                        </a:solidFill>
                        <a:effectLst/>
                        <a:latin typeface="Calibri" panose="020F0502020204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2">
                  <a:txBody>
                    <a:bodyPr/>
                    <a:lstStyle/>
                    <a:p>
                      <a:pPr algn="l" rtl="0" fontAlgn="ctr"/>
                      <a:r>
                        <a:rPr lang="en-US" sz="1400" b="1" i="0" u="none" strike="noStrike">
                          <a:solidFill>
                            <a:srgbClr val="4D9926"/>
                          </a:solidFill>
                          <a:effectLst/>
                          <a:latin typeface="Arial Narrow" panose="020B0606020202030204" pitchFamily="34" charset="0"/>
                        </a:rPr>
                        <a:t>8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2">
                  <a:txBody>
                    <a:bodyPr/>
                    <a:lstStyle/>
                    <a:p>
                      <a:pPr algn="l" rtl="0" fontAlgn="ctr"/>
                      <a:r>
                        <a:rPr lang="en-US" sz="1400" b="1" i="0" u="none" strike="noStrike">
                          <a:solidFill>
                            <a:schemeClr val="accent1">
                              <a:lumMod val="75000"/>
                            </a:schemeClr>
                          </a:solidFill>
                          <a:effectLst/>
                          <a:latin typeface="Arial Narrow" panose="020B0606020202030204" pitchFamily="34" charset="0"/>
                        </a:rPr>
                        <a:t>Apr-22</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4th Generation Automotive RH/T Sensor</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extLst>
                  <a:ext uri="{0D108BD9-81ED-4DB2-BD59-A6C34878D82A}">
                    <a16:rowId xmlns:a16="http://schemas.microsoft.com/office/drawing/2014/main" val="507418056"/>
                  </a:ext>
                </a:extLst>
              </a:tr>
              <a:tr h="24037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Temperature</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Auto applications (AEC-Q100)</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Advanced automotive grade sensor (AEC-Q100)</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extLst>
                  <a:ext uri="{0D108BD9-81ED-4DB2-BD59-A6C34878D82A}">
                    <a16:rowId xmlns:a16="http://schemas.microsoft.com/office/drawing/2014/main" val="1104960996"/>
                  </a:ext>
                </a:extLst>
              </a:tr>
              <a:tr h="357129">
                <a:tc vMerge="1">
                  <a:txBody>
                    <a:bodyPr/>
                    <a:lstStyle/>
                    <a:p>
                      <a:endParaRPr lang="en-US"/>
                    </a:p>
                  </a:txBody>
                  <a:tcPr/>
                </a:tc>
                <a:tc>
                  <a:txBody>
                    <a:bodyPr/>
                    <a:lstStyle/>
                    <a:p>
                      <a:pPr algn="l" rtl="0" fontAlgn="ctr"/>
                      <a:r>
                        <a:rPr lang="en-US" sz="1000" b="1" i="0" u="none" strike="noStrike">
                          <a:solidFill>
                            <a:srgbClr val="4D9926"/>
                          </a:solidFill>
                          <a:effectLst/>
                          <a:latin typeface="Arial Narrow" panose="020B0606020202030204" pitchFamily="34" charset="0"/>
                        </a:rPr>
                        <a:t>SHT4xI-Analog</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fontAlgn="ctr"/>
                      <a:r>
                        <a:rPr lang="en-US" sz="1300" b="0" i="0" u="none" strike="noStrike">
                          <a:solidFill>
                            <a:srgbClr val="000000"/>
                          </a:solidFill>
                          <a:effectLst/>
                          <a:latin typeface="Arial" panose="020B060402020202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Relative Humidity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800" b="0" i="0" u="sng" strike="noStrike">
                          <a:solidFill>
                            <a:srgbClr val="0563C1"/>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Whitegoods    Refrigeration              Air Conditioning</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800" b="0" i="0" u="sng" strike="noStrike">
                          <a:solidFill>
                            <a:srgbClr val="0563C1"/>
                          </a:solidFill>
                          <a:effectLst/>
                          <a:latin typeface="Calibri" panose="020F0502020204030204" pitchFamily="34" charset="0"/>
                        </a:rPr>
                        <a:t>Coming soon</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400" b="1" i="0" u="none" strike="noStrike">
                          <a:solidFill>
                            <a:srgbClr val="4D9926"/>
                          </a:solidFill>
                          <a:effectLst/>
                          <a:latin typeface="Arial Narrow" panose="020B0606020202030204" pitchFamily="34" charset="0"/>
                        </a:rPr>
                        <a:t>14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1400" b="1" i="0" u="none" strike="noStrike">
                          <a:solidFill>
                            <a:schemeClr val="accent1">
                              <a:lumMod val="75000"/>
                            </a:schemeClr>
                          </a:solidFill>
                          <a:effectLst/>
                          <a:latin typeface="Arial Narrow" panose="020B0606020202030204" pitchFamily="34" charset="0"/>
                        </a:rPr>
                        <a:t>Sep-22</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Analog Voltage Output</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extLst>
                  <a:ext uri="{0D108BD9-81ED-4DB2-BD59-A6C34878D82A}">
                    <a16:rowId xmlns:a16="http://schemas.microsoft.com/office/drawing/2014/main" val="4197581433"/>
                  </a:ext>
                </a:extLst>
              </a:tr>
              <a:tr h="350261">
                <a:tc rowSpan="5">
                  <a:txBody>
                    <a:bodyPr/>
                    <a:lstStyle/>
                    <a:p>
                      <a:pPr algn="l" rtl="0" fontAlgn="ctr"/>
                      <a:r>
                        <a:rPr lang="en-US" sz="900" b="1" i="0" u="none" strike="noStrike">
                          <a:solidFill>
                            <a:srgbClr val="000000"/>
                          </a:solidFill>
                          <a:effectLst/>
                          <a:latin typeface="Arial Narrow" panose="020B0606020202030204" pitchFamily="34" charset="0"/>
                        </a:rPr>
                        <a:t>STS4x</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1000" b="1" i="0" u="none" strike="noStrike">
                          <a:solidFill>
                            <a:srgbClr val="4D9926"/>
                          </a:solidFill>
                          <a:effectLst/>
                          <a:latin typeface="Arial Narrow" panose="020B0606020202030204" pitchFamily="34" charset="0"/>
                        </a:rPr>
                        <a:t>STS40</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fontAlgn="ctr"/>
                      <a:r>
                        <a:rPr lang="en-US" sz="1300" b="0" i="0" u="none" strike="noStrike">
                          <a:solidFill>
                            <a:srgbClr val="000000"/>
                          </a:solidFill>
                          <a:effectLst/>
                          <a:latin typeface="Arial" panose="020B060402020202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700" b="0" i="0" u="none" strike="noStrike">
                          <a:solidFill>
                            <a:srgbClr val="000000"/>
                          </a:solidFill>
                          <a:effectLst/>
                          <a:latin typeface="Arial Narrow" panose="020B0606020202030204" pitchFamily="34" charset="0"/>
                        </a:rPr>
                        <a:t>Temp Onl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800" b="0" i="0" u="sng" strike="noStrike">
                          <a:solidFill>
                            <a:srgbClr val="0563C1"/>
                          </a:solidFill>
                          <a:effectLst/>
                          <a:latin typeface="Calibri" panose="020F0502020204030204" pitchFamily="34" charset="0"/>
                          <a:hlinkClick r:id="rId2"/>
                        </a:rPr>
                        <a:t>CMOSens®</a:t>
                      </a:r>
                      <a:endParaRPr lang="en-US" sz="800" b="0" i="0" u="sng" strike="noStrike">
                        <a:solidFill>
                          <a:srgbClr val="0563C1"/>
                        </a:solidFill>
                        <a:effectLst/>
                        <a:latin typeface="Calibri" panose="020F0502020204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700" b="0" i="0" u="none" strike="noStrike">
                          <a:solidFill>
                            <a:srgbClr val="000000"/>
                          </a:solidFill>
                          <a:effectLst/>
                          <a:latin typeface="Arial Narrow" panose="020B0606020202030204" pitchFamily="34" charset="0"/>
                        </a:rPr>
                        <a:t>Anywhere TI, or other low-cost, digit, Temp Sensors can be found!</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sng" strike="noStrike">
                          <a:solidFill>
                            <a:srgbClr val="000000"/>
                          </a:solidFill>
                          <a:effectLst/>
                          <a:latin typeface="Arial Narrow" panose="020B0606020202030204" pitchFamily="34" charset="0"/>
                        </a:rPr>
                        <a:t>SEK-STS40-CD1B</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tc rowSpan="5">
                  <a:txBody>
                    <a:bodyPr/>
                    <a:lstStyle/>
                    <a:p>
                      <a:pPr algn="l" rtl="0" fontAlgn="ctr"/>
                      <a:r>
                        <a:rPr lang="en-US" sz="1400" b="1" i="0" u="none" strike="noStrike">
                          <a:solidFill>
                            <a:srgbClr val="4D9926"/>
                          </a:solidFill>
                          <a:effectLst/>
                          <a:latin typeface="Arial Narrow" panose="020B0606020202030204" pitchFamily="34" charset="0"/>
                        </a:rPr>
                        <a:t>14 </a:t>
                      </a:r>
                      <a:r>
                        <a:rPr lang="en-US" sz="1400" b="1" i="0" u="none" strike="noStrike" err="1">
                          <a:solidFill>
                            <a:srgbClr val="4D9926"/>
                          </a:solidFill>
                          <a:effectLst/>
                          <a:latin typeface="Arial Narrow" panose="020B0606020202030204" pitchFamily="34" charset="0"/>
                        </a:rPr>
                        <a:t>wks</a:t>
                      </a:r>
                      <a:endParaRPr lang="en-US" sz="1400" b="1" i="0" u="none" strike="noStrike">
                        <a:solidFill>
                          <a:srgbClr val="4D9926"/>
                        </a:solidFill>
                        <a:effectLst/>
                        <a:latin typeface="Arial Narrow" panose="020B0606020202030204" pitchFamily="34" charset="0"/>
                      </a:endParaRP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rowSpan="5">
                  <a:txBody>
                    <a:bodyPr/>
                    <a:lstStyle/>
                    <a:p>
                      <a:pPr algn="l" rtl="0" fontAlgn="ctr"/>
                      <a:r>
                        <a:rPr lang="en-US" sz="1400" b="1" i="0" u="none" strike="noStrike">
                          <a:solidFill>
                            <a:schemeClr val="accent1">
                              <a:lumMod val="75000"/>
                            </a:schemeClr>
                          </a:solidFill>
                          <a:effectLst/>
                          <a:latin typeface="Arial Narrow" panose="020B0606020202030204" pitchFamily="34" charset="0"/>
                        </a:rPr>
                        <a:t>Mar-22</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F6E8"/>
                    </a:solidFill>
                  </a:tcPr>
                </a:tc>
                <a:tc>
                  <a:txBody>
                    <a:bodyPr/>
                    <a:lstStyle/>
                    <a:p>
                      <a:pPr algn="l" rtl="0" fontAlgn="ctr"/>
                      <a:r>
                        <a:rPr lang="en-US" sz="700" b="0" i="0" u="none" strike="noStrike">
                          <a:solidFill>
                            <a:srgbClr val="000000"/>
                          </a:solidFill>
                          <a:effectLst/>
                          <a:latin typeface="Arial Narrow" panose="020B0606020202030204" pitchFamily="34" charset="0"/>
                        </a:rPr>
                        <a:t>High-Accuracy ±0.2 °C, Ultra-Low-Power, 16-bit</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AF6E8"/>
                    </a:solidFill>
                  </a:tcPr>
                </a:tc>
                <a:extLst>
                  <a:ext uri="{0D108BD9-81ED-4DB2-BD59-A6C34878D82A}">
                    <a16:rowId xmlns:a16="http://schemas.microsoft.com/office/drawing/2014/main" val="2968167742"/>
                  </a:ext>
                </a:extLst>
              </a:tr>
              <a:tr h="70052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ctr"/>
                      <a:r>
                        <a:rPr lang="en-US" sz="700" b="0" i="0" u="sng" strike="noStrike">
                          <a:solidFill>
                            <a:srgbClr val="000000"/>
                          </a:solidFill>
                          <a:effectLst/>
                          <a:latin typeface="Arial Narrow" panose="020B0606020202030204" pitchFamily="34" charset="0"/>
                        </a:rPr>
                        <a:t>(SEK-SensorBridge not included. Purchase separatel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Avg current: 0.4 µA (at meas. rate 1 Hz)</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3923747757"/>
                  </a:ext>
                </a:extLst>
              </a:tr>
              <a:tr h="46701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Available with multiple I2C addresses</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896148348"/>
                  </a:ext>
                </a:extLst>
              </a:tr>
              <a:tr h="23350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tc vMerge="1">
                  <a:txBody>
                    <a:bodyPr/>
                    <a:lstStyle/>
                    <a:p>
                      <a:endParaRPr lang="en-US"/>
                    </a:p>
                  </a:txBody>
                  <a:tcPr/>
                </a:tc>
                <a:tc vMerge="1">
                  <a:txBody>
                    <a:bodyPr/>
                    <a:lstStyle/>
                    <a:p>
                      <a:endParaRPr lang="en-US"/>
                    </a:p>
                  </a:txBody>
                  <a:tcPr/>
                </a:tc>
                <a:tc>
                  <a:txBody>
                    <a:bodyPr/>
                    <a:lstStyle/>
                    <a:p>
                      <a:pPr algn="l" rtl="0" fontAlgn="ctr"/>
                      <a:r>
                        <a:rPr lang="en-US" sz="700" b="0" i="0" u="none" strike="noStrike">
                          <a:solidFill>
                            <a:srgbClr val="000000"/>
                          </a:solidFill>
                          <a:effectLst/>
                          <a:latin typeface="Arial Narrow" panose="020B0606020202030204" pitchFamily="34" charset="0"/>
                        </a:rPr>
                        <a:t>NIST traceability</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AF6E8"/>
                    </a:solidFill>
                  </a:tcPr>
                </a:tc>
                <a:extLst>
                  <a:ext uri="{0D108BD9-81ED-4DB2-BD59-A6C34878D82A}">
                    <a16:rowId xmlns:a16="http://schemas.microsoft.com/office/drawing/2014/main" val="3763118678"/>
                  </a:ext>
                </a:extLst>
              </a:tr>
              <a:tr h="47388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b="0" i="0" u="none" strike="noStrike">
                          <a:solidFill>
                            <a:srgbClr val="000000"/>
                          </a:solidFill>
                          <a:effectLst/>
                          <a:latin typeface="Calibri" panose="020F0502020204030204" pitchFamily="34" charset="0"/>
                        </a:rPr>
                        <a:t> </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tc vMerge="1">
                  <a:txBody>
                    <a:bodyPr/>
                    <a:lstStyle/>
                    <a:p>
                      <a:endParaRPr lang="en-US"/>
                    </a:p>
                  </a:txBody>
                  <a:tcPr/>
                </a:tc>
                <a:tc vMerge="1">
                  <a:txBody>
                    <a:bodyPr/>
                    <a:lstStyle/>
                    <a:p>
                      <a:endParaRPr lang="en-US"/>
                    </a:p>
                  </a:txBody>
                  <a:tcPr/>
                </a:tc>
                <a:tc>
                  <a:txBody>
                    <a:bodyPr/>
                    <a:lstStyle/>
                    <a:p>
                      <a:pPr algn="l" rtl="0" fontAlgn="ctr"/>
                      <a:r>
                        <a:rPr lang="fr-FR" sz="700" b="0" i="0" u="none" strike="noStrike">
                          <a:solidFill>
                            <a:srgbClr val="000000"/>
                          </a:solidFill>
                          <a:effectLst/>
                          <a:latin typeface="Arial Narrow" panose="020B0606020202030204" pitchFamily="34" charset="0"/>
                        </a:rPr>
                        <a:t>I2C fast mode plus, CRC checksum</a:t>
                      </a:r>
                    </a:p>
                  </a:txBody>
                  <a:tcPr marL="6868" marR="6868" marT="686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AF6E8"/>
                    </a:solidFill>
                  </a:tcPr>
                </a:tc>
                <a:extLst>
                  <a:ext uri="{0D108BD9-81ED-4DB2-BD59-A6C34878D82A}">
                    <a16:rowId xmlns:a16="http://schemas.microsoft.com/office/drawing/2014/main" val="3953326159"/>
                  </a:ext>
                </a:extLst>
              </a:tr>
            </a:tbl>
          </a:graphicData>
        </a:graphic>
      </p:graphicFrame>
      <p:pic>
        <p:nvPicPr>
          <p:cNvPr id="8" name="Picture 7">
            <a:extLst>
              <a:ext uri="{FF2B5EF4-FFF2-40B4-BE49-F238E27FC236}">
                <a16:creationId xmlns:a16="http://schemas.microsoft.com/office/drawing/2014/main" id="{07547ED4-DEAC-24E4-6470-86286392D127}"/>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267" t="18637" r="19916" b="18755"/>
          <a:stretch/>
        </p:blipFill>
        <p:spPr bwMode="auto">
          <a:xfrm>
            <a:off x="2539012" y="2591828"/>
            <a:ext cx="363745" cy="3177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A picture containing text, electronics&#10;&#10;Description automatically generated">
            <a:extLst>
              <a:ext uri="{FF2B5EF4-FFF2-40B4-BE49-F238E27FC236}">
                <a16:creationId xmlns:a16="http://schemas.microsoft.com/office/drawing/2014/main" id="{560316FA-D16E-30D5-45D1-04CCDAF1A6A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36901" y="3613405"/>
            <a:ext cx="265856" cy="24148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picture containing text&#10;&#10;Description automatically generated">
            <a:extLst>
              <a:ext uri="{FF2B5EF4-FFF2-40B4-BE49-F238E27FC236}">
                <a16:creationId xmlns:a16="http://schemas.microsoft.com/office/drawing/2014/main" id="{AED03B20-DE2A-5181-CECA-360F169676D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19322" y="1511159"/>
            <a:ext cx="542762" cy="305782"/>
          </a:xfrm>
          <a:prstGeom prst="rect">
            <a:avLst/>
          </a:prstGeom>
        </p:spPr>
      </p:pic>
      <p:pic>
        <p:nvPicPr>
          <p:cNvPr id="1027" name="Picture 3">
            <a:extLst>
              <a:ext uri="{FF2B5EF4-FFF2-40B4-BE49-F238E27FC236}">
                <a16:creationId xmlns:a16="http://schemas.microsoft.com/office/drawing/2014/main" id="{9C12C734-F433-734A-AD86-C69CCBC866B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09795" y="3209324"/>
            <a:ext cx="292962" cy="265714"/>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62BCF4F8-A95A-9479-433E-6C3752754BB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69364" y="4665479"/>
            <a:ext cx="600929" cy="3755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2421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A2F7B-E8D6-4BEE-A6DF-88A488B5BE25}"/>
              </a:ext>
            </a:extLst>
          </p:cNvPr>
          <p:cNvSpPr>
            <a:spLocks noGrp="1"/>
          </p:cNvSpPr>
          <p:nvPr>
            <p:ph type="title"/>
          </p:nvPr>
        </p:nvSpPr>
        <p:spPr/>
        <p:txBody>
          <a:bodyPr/>
          <a:lstStyle/>
          <a:p>
            <a:r>
              <a:rPr lang="en-US"/>
              <a:t>Combo Module NPIs</a:t>
            </a:r>
          </a:p>
        </p:txBody>
      </p:sp>
      <p:sp>
        <p:nvSpPr>
          <p:cNvPr id="3" name="Slide Number Placeholder 2">
            <a:extLst>
              <a:ext uri="{FF2B5EF4-FFF2-40B4-BE49-F238E27FC236}">
                <a16:creationId xmlns:a16="http://schemas.microsoft.com/office/drawing/2014/main" id="{1BB445AE-7975-4DB1-AF27-FF3B41B27183}"/>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27</a:t>
            </a:fld>
            <a:endParaRPr lang="de-CH"/>
          </a:p>
        </p:txBody>
      </p:sp>
      <p:graphicFrame>
        <p:nvGraphicFramePr>
          <p:cNvPr id="4" name="Table 3">
            <a:extLst>
              <a:ext uri="{FF2B5EF4-FFF2-40B4-BE49-F238E27FC236}">
                <a16:creationId xmlns:a16="http://schemas.microsoft.com/office/drawing/2014/main" id="{421698A4-3DB3-43BD-8DF8-8691830C8393}"/>
              </a:ext>
            </a:extLst>
          </p:cNvPr>
          <p:cNvGraphicFramePr>
            <a:graphicFrameLocks noGrp="1"/>
          </p:cNvGraphicFramePr>
          <p:nvPr/>
        </p:nvGraphicFramePr>
        <p:xfrm>
          <a:off x="319759" y="1057275"/>
          <a:ext cx="11516953" cy="4662985"/>
        </p:xfrm>
        <a:graphic>
          <a:graphicData uri="http://schemas.openxmlformats.org/drawingml/2006/table">
            <a:tbl>
              <a:tblPr>
                <a:tableStyleId>{5C22544A-7EE6-4342-B048-85BDC9FD1C3A}</a:tableStyleId>
              </a:tblPr>
              <a:tblGrid>
                <a:gridCol w="824643">
                  <a:extLst>
                    <a:ext uri="{9D8B030D-6E8A-4147-A177-3AD203B41FA5}">
                      <a16:colId xmlns:a16="http://schemas.microsoft.com/office/drawing/2014/main" val="3864009490"/>
                    </a:ext>
                  </a:extLst>
                </a:gridCol>
                <a:gridCol w="1384436">
                  <a:extLst>
                    <a:ext uri="{9D8B030D-6E8A-4147-A177-3AD203B41FA5}">
                      <a16:colId xmlns:a16="http://schemas.microsoft.com/office/drawing/2014/main" val="1651440888"/>
                    </a:ext>
                  </a:extLst>
                </a:gridCol>
                <a:gridCol w="1013290">
                  <a:extLst>
                    <a:ext uri="{9D8B030D-6E8A-4147-A177-3AD203B41FA5}">
                      <a16:colId xmlns:a16="http://schemas.microsoft.com/office/drawing/2014/main" val="1648057683"/>
                    </a:ext>
                  </a:extLst>
                </a:gridCol>
                <a:gridCol w="955717">
                  <a:extLst>
                    <a:ext uri="{9D8B030D-6E8A-4147-A177-3AD203B41FA5}">
                      <a16:colId xmlns:a16="http://schemas.microsoft.com/office/drawing/2014/main" val="2199685219"/>
                    </a:ext>
                  </a:extLst>
                </a:gridCol>
                <a:gridCol w="1238764">
                  <a:extLst>
                    <a:ext uri="{9D8B030D-6E8A-4147-A177-3AD203B41FA5}">
                      <a16:colId xmlns:a16="http://schemas.microsoft.com/office/drawing/2014/main" val="556948238"/>
                    </a:ext>
                  </a:extLst>
                </a:gridCol>
                <a:gridCol w="1669624">
                  <a:extLst>
                    <a:ext uri="{9D8B030D-6E8A-4147-A177-3AD203B41FA5}">
                      <a16:colId xmlns:a16="http://schemas.microsoft.com/office/drawing/2014/main" val="1817981128"/>
                    </a:ext>
                  </a:extLst>
                </a:gridCol>
                <a:gridCol w="852084">
                  <a:extLst>
                    <a:ext uri="{9D8B030D-6E8A-4147-A177-3AD203B41FA5}">
                      <a16:colId xmlns:a16="http://schemas.microsoft.com/office/drawing/2014/main" val="2264586020"/>
                    </a:ext>
                  </a:extLst>
                </a:gridCol>
                <a:gridCol w="621792">
                  <a:extLst>
                    <a:ext uri="{9D8B030D-6E8A-4147-A177-3AD203B41FA5}">
                      <a16:colId xmlns:a16="http://schemas.microsoft.com/office/drawing/2014/main" val="1437679582"/>
                    </a:ext>
                  </a:extLst>
                </a:gridCol>
                <a:gridCol w="729506">
                  <a:extLst>
                    <a:ext uri="{9D8B030D-6E8A-4147-A177-3AD203B41FA5}">
                      <a16:colId xmlns:a16="http://schemas.microsoft.com/office/drawing/2014/main" val="55500791"/>
                    </a:ext>
                  </a:extLst>
                </a:gridCol>
                <a:gridCol w="2227097">
                  <a:extLst>
                    <a:ext uri="{9D8B030D-6E8A-4147-A177-3AD203B41FA5}">
                      <a16:colId xmlns:a16="http://schemas.microsoft.com/office/drawing/2014/main" val="1427072778"/>
                    </a:ext>
                  </a:extLst>
                </a:gridCol>
              </a:tblGrid>
              <a:tr h="643170">
                <a:tc>
                  <a:txBody>
                    <a:bodyPr/>
                    <a:lstStyle/>
                    <a:p>
                      <a:pPr algn="l" fontAlgn="ctr"/>
                      <a:r>
                        <a:rPr lang="en-US" sz="1400" b="1" u="none" strike="noStrike">
                          <a:effectLst/>
                        </a:rPr>
                        <a:t>Sensirion Platform Series</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Part Name</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Product photo</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Sensing</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Technology</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Typical Applications</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Eval Kit</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Lead Time</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Launched</a:t>
                      </a:r>
                      <a:endParaRPr lang="en-US" sz="1400" b="1"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effectLst/>
                        </a:rPr>
                        <a:t>Selling point notes:</a:t>
                      </a:r>
                      <a:endParaRPr lang="en-US" sz="1400" b="1"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2840154070"/>
                  </a:ext>
                </a:extLst>
              </a:tr>
              <a:tr h="1286341">
                <a:tc rowSpan="3">
                  <a:txBody>
                    <a:bodyPr/>
                    <a:lstStyle/>
                    <a:p>
                      <a:pPr algn="l" fontAlgn="ctr"/>
                      <a:r>
                        <a:rPr lang="en-US" sz="1400" u="none" strike="noStrike">
                          <a:effectLst/>
                        </a:rPr>
                        <a:t>SEN5x</a:t>
                      </a:r>
                      <a:endParaRPr lang="en-US" sz="1400" b="0" i="0" u="none" strike="noStrike">
                        <a:solidFill>
                          <a:srgbClr val="000000"/>
                        </a:solidFill>
                        <a:effectLst/>
                        <a:latin typeface="Arial Narrow" panose="020B0606020202030204" pitchFamily="34" charset="0"/>
                      </a:endParaRPr>
                    </a:p>
                  </a:txBody>
                  <a:tcPr marL="0" marR="0" marT="0" marB="0" anchor="ctr"/>
                </a:tc>
                <a:tc>
                  <a:txBody>
                    <a:bodyPr/>
                    <a:lstStyle/>
                    <a:p>
                      <a:pPr algn="l" fontAlgn="b"/>
                      <a:r>
                        <a:rPr lang="en-US" sz="1400" b="1" u="none" strike="noStrike">
                          <a:solidFill>
                            <a:schemeClr val="accent1">
                              <a:lumMod val="75000"/>
                            </a:schemeClr>
                          </a:solidFill>
                          <a:effectLst/>
                        </a:rPr>
                        <a:t>SEN54</a:t>
                      </a:r>
                      <a:endParaRPr lang="en-US" sz="1400" b="1" i="0" u="none" strike="noStrike">
                        <a:solidFill>
                          <a:schemeClr val="accent1">
                            <a:lumMod val="75000"/>
                          </a:schemeClr>
                        </a:solidFill>
                        <a:effectLst/>
                        <a:latin typeface="Arial Narrow" panose="020B0606020202030204" pitchFamily="34" charset="0"/>
                      </a:endParaRPr>
                    </a:p>
                  </a:txBody>
                  <a:tcPr marL="0" marR="0" marT="0" marB="0" anchor="ctr"/>
                </a:tc>
                <a:tc>
                  <a:txBody>
                    <a:bodyPr/>
                    <a:lstStyle/>
                    <a:p>
                      <a:pPr algn="l" fontAlgn="ctr"/>
                      <a:r>
                        <a:rPr lang="en-US" sz="1100" u="none" strike="noStrike">
                          <a:effectLst/>
                        </a:rPr>
                        <a:t> </a:t>
                      </a:r>
                      <a:endParaRPr lang="en-US" sz="11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fr-FR" sz="1100" u="none" strike="noStrike">
                          <a:effectLst/>
                        </a:rPr>
                        <a:t>Combo module RH/T, VOC, PM2.5</a:t>
                      </a:r>
                      <a:endParaRPr lang="fr-FR" sz="11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sng" strike="noStrike">
                          <a:effectLst/>
                        </a:rPr>
                        <a:t>CMOSens®</a:t>
                      </a:r>
                      <a:br>
                        <a:rPr lang="en-US" sz="1100" u="sng" strike="noStrike">
                          <a:effectLst/>
                        </a:rPr>
                      </a:br>
                      <a:r>
                        <a:rPr lang="en-US" sz="1100" u="sng" strike="noStrike">
                          <a:effectLst/>
                        </a:rPr>
                        <a:t>MOXSens®</a:t>
                      </a:r>
                      <a:br>
                        <a:rPr lang="en-US" sz="1100" u="sng" strike="noStrike">
                          <a:effectLst/>
                        </a:rPr>
                      </a:br>
                      <a:r>
                        <a:rPr lang="en-US" sz="1100" u="sng" strike="noStrike">
                          <a:effectLst/>
                        </a:rPr>
                        <a:t>Optical Laser based</a:t>
                      </a:r>
                      <a:endParaRPr lang="en-US" sz="1100" b="0" i="0" u="sng"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none" strike="noStrike">
                          <a:effectLst/>
                        </a:rPr>
                        <a:t>Indoor Air Quality applications</a:t>
                      </a:r>
                      <a:br>
                        <a:rPr lang="en-US" sz="1100" u="none" strike="noStrike">
                          <a:effectLst/>
                        </a:rPr>
                      </a:br>
                      <a:r>
                        <a:rPr lang="en-US" sz="1100" u="none" strike="noStrike">
                          <a:effectLst/>
                        </a:rPr>
                        <a:t>Air Purifiers</a:t>
                      </a:r>
                      <a:br>
                        <a:rPr lang="en-US" sz="1100" u="none" strike="noStrike">
                          <a:effectLst/>
                        </a:rPr>
                      </a:br>
                      <a:r>
                        <a:rPr lang="en-US" sz="1100" u="none" strike="noStrike">
                          <a:effectLst/>
                        </a:rPr>
                        <a:t>Air Quality Devices / Monitors</a:t>
                      </a:r>
                      <a:br>
                        <a:rPr lang="en-US" sz="1100" u="none" strike="noStrike">
                          <a:effectLst/>
                        </a:rPr>
                      </a:br>
                      <a:r>
                        <a:rPr lang="en-US" sz="1100" u="none" strike="noStrike">
                          <a:effectLst/>
                        </a:rPr>
                        <a:t>Commercial / Residential HVAC</a:t>
                      </a:r>
                      <a:br>
                        <a:rPr lang="en-US" sz="1100" u="none" strike="noStrike">
                          <a:effectLst/>
                        </a:rPr>
                      </a:br>
                      <a:r>
                        <a:rPr lang="en-US" sz="1100" u="none" strike="noStrike">
                          <a:effectLst/>
                        </a:rPr>
                        <a:t>Fume Hoods</a:t>
                      </a:r>
                      <a:endParaRPr lang="en-US" sz="11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sng" strike="noStrike">
                          <a:effectLst/>
                          <a:hlinkClick r:id="rId2"/>
                        </a:rPr>
                        <a:t>SEK-SEN5x</a:t>
                      </a:r>
                      <a:endParaRPr lang="en-US" sz="1100" b="0" i="0" u="sng"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solidFill>
                            <a:schemeClr val="accent4">
                              <a:lumMod val="75000"/>
                            </a:schemeClr>
                          </a:solidFill>
                          <a:effectLst/>
                        </a:rPr>
                        <a:t>16wks</a:t>
                      </a:r>
                      <a:endParaRPr lang="en-US" sz="1400" b="1" i="0" u="none" strike="noStrike">
                        <a:solidFill>
                          <a:schemeClr val="accent4">
                            <a:lumMod val="75000"/>
                          </a:schemeClr>
                        </a:solidFill>
                        <a:effectLst/>
                        <a:latin typeface="Arial Narrow" panose="020B0606020202030204" pitchFamily="34" charset="0"/>
                      </a:endParaRPr>
                    </a:p>
                  </a:txBody>
                  <a:tcPr marL="0" marR="0" marT="0" marB="0" anchor="ctr"/>
                </a:tc>
                <a:tc>
                  <a:txBody>
                    <a:bodyPr/>
                    <a:lstStyle/>
                    <a:p>
                      <a:pPr algn="l" fontAlgn="ctr"/>
                      <a:r>
                        <a:rPr lang="en-US" sz="1400" b="1" u="none" strike="noStrike">
                          <a:solidFill>
                            <a:schemeClr val="accent1">
                              <a:lumMod val="75000"/>
                            </a:schemeClr>
                          </a:solidFill>
                          <a:effectLst/>
                        </a:rPr>
                        <a:t>Jan-2022</a:t>
                      </a:r>
                      <a:endParaRPr lang="en-US" sz="1400" b="1" i="0" u="none" strike="noStrike">
                        <a:solidFill>
                          <a:schemeClr val="accent1">
                            <a:lumMod val="75000"/>
                          </a:schemeClr>
                        </a:solidFill>
                        <a:effectLst/>
                        <a:latin typeface="Arial Narrow" panose="020B0606020202030204" pitchFamily="34" charset="0"/>
                      </a:endParaRPr>
                    </a:p>
                  </a:txBody>
                  <a:tcPr marL="0" marR="0" marT="0" marB="0" anchor="ctr"/>
                </a:tc>
                <a:tc>
                  <a:txBody>
                    <a:bodyPr/>
                    <a:lstStyle/>
                    <a:p>
                      <a:pPr algn="l" fontAlgn="ctr"/>
                      <a:r>
                        <a:rPr lang="en-US" sz="1100" u="none" strike="noStrike">
                          <a:effectLst/>
                        </a:rPr>
                        <a:t> </a:t>
                      </a:r>
                      <a:endParaRPr lang="en-US" sz="11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1879610947"/>
                  </a:ext>
                </a:extLst>
              </a:tr>
              <a:tr h="1447133">
                <a:tc vMerge="1">
                  <a:txBody>
                    <a:bodyPr/>
                    <a:lstStyle/>
                    <a:p>
                      <a:endParaRPr lang="en-US"/>
                    </a:p>
                  </a:txBody>
                  <a:tcPr/>
                </a:tc>
                <a:tc>
                  <a:txBody>
                    <a:bodyPr/>
                    <a:lstStyle/>
                    <a:p>
                      <a:pPr algn="l" fontAlgn="ctr"/>
                      <a:r>
                        <a:rPr lang="en-US" sz="1400" b="1" u="none" strike="noStrike">
                          <a:solidFill>
                            <a:schemeClr val="accent4">
                              <a:lumMod val="75000"/>
                            </a:schemeClr>
                          </a:solidFill>
                          <a:effectLst/>
                        </a:rPr>
                        <a:t>SEN55</a:t>
                      </a:r>
                      <a:endParaRPr lang="en-US" sz="1400" b="1" i="0" u="none" strike="noStrike">
                        <a:solidFill>
                          <a:schemeClr val="accent4">
                            <a:lumMod val="75000"/>
                          </a:schemeClr>
                        </a:solidFill>
                        <a:effectLst/>
                        <a:latin typeface="Arial Narrow" panose="020B0606020202030204" pitchFamily="34" charset="0"/>
                      </a:endParaRPr>
                    </a:p>
                  </a:txBody>
                  <a:tcPr marL="0" marR="0" marT="0" marB="0" anchor="ctr"/>
                </a:tc>
                <a:tc>
                  <a:txBody>
                    <a:bodyPr/>
                    <a:lstStyle/>
                    <a:p>
                      <a:pPr algn="l" fontAlgn="ctr"/>
                      <a:endParaRPr lang="en-US" sz="11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fr-FR" sz="1100" u="none" strike="noStrike">
                          <a:effectLst/>
                        </a:rPr>
                        <a:t>Combo module RH/T, VOC</a:t>
                      </a:r>
                      <a:r>
                        <a:rPr lang="fr-FR" sz="1100" b="1" u="none" strike="noStrike">
                          <a:solidFill>
                            <a:schemeClr val="accent4">
                              <a:lumMod val="75000"/>
                            </a:schemeClr>
                          </a:solidFill>
                          <a:effectLst/>
                        </a:rPr>
                        <a:t>, NOx </a:t>
                      </a:r>
                      <a:r>
                        <a:rPr lang="fr-FR" sz="1100" u="none" strike="noStrike">
                          <a:effectLst/>
                        </a:rPr>
                        <a:t>PM2.5</a:t>
                      </a:r>
                      <a:endParaRPr lang="fr-FR" sz="11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sng" strike="noStrike">
                          <a:effectLst/>
                        </a:rPr>
                        <a:t>CMOSens®</a:t>
                      </a:r>
                      <a:br>
                        <a:rPr lang="en-US" sz="1100" u="sng" strike="noStrike">
                          <a:effectLst/>
                        </a:rPr>
                      </a:br>
                      <a:r>
                        <a:rPr lang="en-US" sz="1100" u="sng" strike="noStrike">
                          <a:effectLst/>
                        </a:rPr>
                        <a:t>MOXSens®</a:t>
                      </a:r>
                      <a:br>
                        <a:rPr lang="en-US" sz="1100" u="sng" strike="noStrike">
                          <a:effectLst/>
                        </a:rPr>
                      </a:br>
                      <a:r>
                        <a:rPr lang="en-US" sz="1100" u="sng" strike="noStrike">
                          <a:effectLst/>
                        </a:rPr>
                        <a:t>Optical Laser based</a:t>
                      </a:r>
                      <a:endParaRPr lang="en-US" sz="1100" b="0" i="0" u="sng"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none" strike="noStrike">
                          <a:effectLst/>
                        </a:rPr>
                        <a:t>Indoor Air Quality applications</a:t>
                      </a:r>
                      <a:br>
                        <a:rPr lang="en-US" sz="1100" u="none" strike="noStrike">
                          <a:effectLst/>
                        </a:rPr>
                      </a:br>
                      <a:r>
                        <a:rPr lang="en-US" sz="1100" u="none" strike="noStrike">
                          <a:effectLst/>
                        </a:rPr>
                        <a:t>Air Purifiers</a:t>
                      </a:r>
                      <a:br>
                        <a:rPr lang="en-US" sz="1100" u="none" strike="noStrike">
                          <a:effectLst/>
                        </a:rPr>
                      </a:br>
                      <a:r>
                        <a:rPr lang="en-US" sz="1100" u="none" strike="noStrike">
                          <a:effectLst/>
                        </a:rPr>
                        <a:t>Air Quality Devices / Monitors</a:t>
                      </a:r>
                      <a:br>
                        <a:rPr lang="en-US" sz="1100" u="none" strike="noStrike">
                          <a:effectLst/>
                        </a:rPr>
                      </a:br>
                      <a:r>
                        <a:rPr lang="en-US" sz="1100" u="none" strike="noStrike">
                          <a:effectLst/>
                        </a:rPr>
                        <a:t>Natural Gas burning applications</a:t>
                      </a:r>
                      <a:br>
                        <a:rPr lang="en-US" sz="1100" u="none" strike="noStrike">
                          <a:effectLst/>
                        </a:rPr>
                      </a:br>
                      <a:r>
                        <a:rPr lang="en-US" sz="1100" u="none" strike="noStrike">
                          <a:effectLst/>
                        </a:rPr>
                        <a:t>Auto gas fumes in garage</a:t>
                      </a:r>
                      <a:br>
                        <a:rPr lang="en-US" sz="1100" u="none" strike="noStrike">
                          <a:effectLst/>
                        </a:rPr>
                      </a:br>
                      <a:r>
                        <a:rPr lang="en-US" sz="1100" u="none" strike="noStrike">
                          <a:effectLst/>
                        </a:rPr>
                        <a:t>Fume Hoods - Range</a:t>
                      </a:r>
                      <a:endParaRPr lang="en-US" sz="11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sng" strike="noStrike">
                          <a:effectLst/>
                          <a:hlinkClick r:id="rId2"/>
                        </a:rPr>
                        <a:t>SEK-SEN5x</a:t>
                      </a:r>
                      <a:endParaRPr lang="en-US" sz="1100" b="0" i="0" u="sng"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solidFill>
                            <a:schemeClr val="accent4">
                              <a:lumMod val="75000"/>
                            </a:schemeClr>
                          </a:solidFill>
                          <a:effectLst/>
                        </a:rPr>
                        <a:t>16wks</a:t>
                      </a:r>
                      <a:endParaRPr lang="en-US" sz="1400" b="1" i="0" u="none" strike="noStrike">
                        <a:solidFill>
                          <a:schemeClr val="accent4">
                            <a:lumMod val="75000"/>
                          </a:schemeClr>
                        </a:solidFill>
                        <a:effectLst/>
                        <a:latin typeface="Arial Narrow" panose="020B0606020202030204" pitchFamily="34" charset="0"/>
                      </a:endParaRPr>
                    </a:p>
                  </a:txBody>
                  <a:tcPr marL="0" marR="0" marT="0" marB="0" anchor="ctr"/>
                </a:tc>
                <a:tc>
                  <a:txBody>
                    <a:bodyPr/>
                    <a:lstStyle/>
                    <a:p>
                      <a:pPr algn="l" fontAlgn="ctr"/>
                      <a:r>
                        <a:rPr lang="en-US" sz="1400" b="1" u="none" strike="noStrike">
                          <a:solidFill>
                            <a:schemeClr val="accent4">
                              <a:lumMod val="75000"/>
                            </a:schemeClr>
                          </a:solidFill>
                          <a:effectLst/>
                        </a:rPr>
                        <a:t>Mar-2022</a:t>
                      </a:r>
                      <a:endParaRPr lang="en-US" sz="1400" b="1" i="0" u="none" strike="noStrike">
                        <a:solidFill>
                          <a:schemeClr val="accent4">
                            <a:lumMod val="75000"/>
                          </a:schemeClr>
                        </a:solidFill>
                        <a:effectLst/>
                        <a:latin typeface="Arial Narrow" panose="020B0606020202030204" pitchFamily="34" charset="0"/>
                      </a:endParaRPr>
                    </a:p>
                  </a:txBody>
                  <a:tcPr marL="0" marR="0" marT="0" marB="0" anchor="ctr"/>
                </a:tc>
                <a:tc>
                  <a:txBody>
                    <a:bodyPr/>
                    <a:lstStyle/>
                    <a:p>
                      <a:pPr algn="l" fontAlgn="ctr"/>
                      <a:r>
                        <a:rPr lang="en-US" sz="1100" u="none" strike="noStrike">
                          <a:effectLst/>
                        </a:rPr>
                        <a:t> </a:t>
                      </a:r>
                      <a:endParaRPr lang="en-US" sz="11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774812900"/>
                  </a:ext>
                </a:extLst>
              </a:tr>
              <a:tr h="1286341">
                <a:tc vMerge="1">
                  <a:txBody>
                    <a:bodyPr/>
                    <a:lstStyle/>
                    <a:p>
                      <a:endParaRPr lang="en-US"/>
                    </a:p>
                  </a:txBody>
                  <a:tcPr/>
                </a:tc>
                <a:tc>
                  <a:txBody>
                    <a:bodyPr/>
                    <a:lstStyle/>
                    <a:p>
                      <a:pPr algn="l" fontAlgn="ctr"/>
                      <a:r>
                        <a:rPr lang="en-US" sz="1400" b="1" u="none" strike="noStrike">
                          <a:solidFill>
                            <a:schemeClr val="accent4">
                              <a:lumMod val="75000"/>
                            </a:schemeClr>
                          </a:solidFill>
                          <a:effectLst/>
                        </a:rPr>
                        <a:t>SEN50</a:t>
                      </a:r>
                      <a:endParaRPr lang="en-US" sz="1400" b="1" i="0" u="none" strike="noStrike">
                        <a:solidFill>
                          <a:schemeClr val="accent4">
                            <a:lumMod val="75000"/>
                          </a:schemeClr>
                        </a:solidFill>
                        <a:effectLst/>
                        <a:latin typeface="Arial Narrow" panose="020B0606020202030204" pitchFamily="34" charset="0"/>
                      </a:endParaRPr>
                    </a:p>
                  </a:txBody>
                  <a:tcPr marL="0" marR="0" marT="0" marB="0" anchor="ctr"/>
                </a:tc>
                <a:tc>
                  <a:txBody>
                    <a:bodyPr/>
                    <a:lstStyle/>
                    <a:p>
                      <a:pPr algn="l" fontAlgn="ctr"/>
                      <a:endParaRPr lang="en-US" sz="11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none" strike="noStrike">
                          <a:effectLst/>
                        </a:rPr>
                        <a:t>PM2.5 </a:t>
                      </a:r>
                      <a:r>
                        <a:rPr lang="en-US" sz="1100" b="1" u="none" strike="noStrike">
                          <a:solidFill>
                            <a:schemeClr val="accent4">
                              <a:lumMod val="75000"/>
                            </a:schemeClr>
                          </a:solidFill>
                          <a:effectLst/>
                        </a:rPr>
                        <a:t>only</a:t>
                      </a:r>
                      <a:endParaRPr lang="en-US" sz="1100" b="1" i="0" u="none" strike="noStrike">
                        <a:solidFill>
                          <a:schemeClr val="accent4">
                            <a:lumMod val="75000"/>
                          </a:schemeClr>
                        </a:solidFill>
                        <a:effectLst/>
                        <a:latin typeface="Arial Narrow" panose="020B0606020202030204" pitchFamily="34" charset="0"/>
                      </a:endParaRPr>
                    </a:p>
                  </a:txBody>
                  <a:tcPr marL="0" marR="0" marT="0" marB="0" anchor="ctr"/>
                </a:tc>
                <a:tc>
                  <a:txBody>
                    <a:bodyPr/>
                    <a:lstStyle/>
                    <a:p>
                      <a:pPr algn="l" fontAlgn="ctr"/>
                      <a:r>
                        <a:rPr lang="en-US" sz="1100" u="sng" strike="noStrike">
                          <a:effectLst/>
                        </a:rPr>
                        <a:t>Optical Laser based</a:t>
                      </a:r>
                      <a:endParaRPr lang="en-US" sz="1100" b="0" i="0" u="sng"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none" strike="noStrike">
                          <a:effectLst/>
                        </a:rPr>
                        <a:t>Indoor Air Quality applications</a:t>
                      </a:r>
                      <a:br>
                        <a:rPr lang="en-US" sz="1100" u="none" strike="noStrike">
                          <a:effectLst/>
                        </a:rPr>
                      </a:br>
                      <a:r>
                        <a:rPr lang="en-US" sz="1100" u="none" strike="noStrike">
                          <a:effectLst/>
                        </a:rPr>
                        <a:t>Air Purifiers</a:t>
                      </a:r>
                      <a:br>
                        <a:rPr lang="en-US" sz="1100" u="none" strike="noStrike">
                          <a:effectLst/>
                        </a:rPr>
                      </a:br>
                      <a:r>
                        <a:rPr lang="en-US" sz="1100" u="none" strike="noStrike">
                          <a:effectLst/>
                        </a:rPr>
                        <a:t>Air Quality Devices / Monitors</a:t>
                      </a:r>
                      <a:br>
                        <a:rPr lang="en-US" sz="1100" u="none" strike="noStrike">
                          <a:effectLst/>
                        </a:rPr>
                      </a:br>
                      <a:r>
                        <a:rPr lang="en-US" sz="1100" u="none" strike="noStrike">
                          <a:effectLst/>
                        </a:rPr>
                        <a:t>Commercial / Residential HVAC</a:t>
                      </a:r>
                      <a:br>
                        <a:rPr lang="en-US" sz="1100" u="none" strike="noStrike">
                          <a:effectLst/>
                        </a:rPr>
                      </a:br>
                      <a:r>
                        <a:rPr lang="en-US" sz="1100" u="none" strike="noStrike">
                          <a:effectLst/>
                        </a:rPr>
                        <a:t>Fume Hoods</a:t>
                      </a:r>
                      <a:endParaRPr lang="en-US" sz="11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100" u="sng" strike="noStrike">
                          <a:effectLst/>
                          <a:hlinkClick r:id="rId2"/>
                        </a:rPr>
                        <a:t>SEK-SEN5x</a:t>
                      </a:r>
                      <a:endParaRPr lang="en-US" sz="1100" b="0" i="0" u="sng"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400" b="1" u="none" strike="noStrike">
                          <a:solidFill>
                            <a:schemeClr val="accent4">
                              <a:lumMod val="75000"/>
                            </a:schemeClr>
                          </a:solidFill>
                          <a:effectLst/>
                        </a:rPr>
                        <a:t>16wks</a:t>
                      </a:r>
                      <a:endParaRPr lang="en-US" sz="1400" b="1" i="0" u="none" strike="noStrike">
                        <a:solidFill>
                          <a:schemeClr val="accent4">
                            <a:lumMod val="75000"/>
                          </a:schemeClr>
                        </a:solidFill>
                        <a:effectLst/>
                        <a:latin typeface="Arial Narrow" panose="020B0606020202030204" pitchFamily="34" charset="0"/>
                      </a:endParaRPr>
                    </a:p>
                  </a:txBody>
                  <a:tcPr marL="0" marR="0" marT="0" marB="0" anchor="ctr"/>
                </a:tc>
                <a:tc>
                  <a:txBody>
                    <a:bodyPr/>
                    <a:lstStyle/>
                    <a:p>
                      <a:pPr algn="l" fontAlgn="ctr"/>
                      <a:r>
                        <a:rPr lang="en-US" sz="1400" b="1" u="none" strike="noStrike">
                          <a:solidFill>
                            <a:schemeClr val="accent4">
                              <a:lumMod val="75000"/>
                            </a:schemeClr>
                          </a:solidFill>
                          <a:effectLst/>
                        </a:rPr>
                        <a:t>Mar-2022</a:t>
                      </a:r>
                      <a:endParaRPr lang="en-US" sz="1400" b="1" i="0" u="none" strike="noStrike">
                        <a:solidFill>
                          <a:schemeClr val="accent4">
                            <a:lumMod val="75000"/>
                          </a:schemeClr>
                        </a:solidFill>
                        <a:effectLst/>
                        <a:latin typeface="Arial Narrow" panose="020B0606020202030204" pitchFamily="34" charset="0"/>
                      </a:endParaRPr>
                    </a:p>
                  </a:txBody>
                  <a:tcPr marL="0" marR="0" marT="0" marB="0" anchor="ctr"/>
                </a:tc>
                <a:tc>
                  <a:txBody>
                    <a:bodyPr/>
                    <a:lstStyle/>
                    <a:p>
                      <a:pPr algn="l" fontAlgn="ctr"/>
                      <a:r>
                        <a:rPr lang="en-US" sz="1100" u="none" strike="noStrike">
                          <a:effectLst/>
                        </a:rPr>
                        <a:t>Next Gen Particulate Matter Only sensor</a:t>
                      </a:r>
                      <a:endParaRPr lang="en-US" sz="11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2817696702"/>
                  </a:ext>
                </a:extLst>
              </a:tr>
            </a:tbl>
          </a:graphicData>
        </a:graphic>
      </p:graphicFrame>
      <p:pic>
        <p:nvPicPr>
          <p:cNvPr id="10" name="Picture 9">
            <a:extLst>
              <a:ext uri="{FF2B5EF4-FFF2-40B4-BE49-F238E27FC236}">
                <a16:creationId xmlns:a16="http://schemas.microsoft.com/office/drawing/2014/main" id="{A5BF9122-0C6A-4ABC-8952-084585F854F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0551" y="1960034"/>
            <a:ext cx="1004888" cy="6985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381BF8C-90DC-4095-94A3-5F97D6D936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0551" y="3388767"/>
            <a:ext cx="1004888" cy="6985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0CD23E8A-DC87-4B18-8017-67A25D17E6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8094" y="4716599"/>
            <a:ext cx="1004888" cy="69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09643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y Sensirion?</a:t>
            </a:r>
          </a:p>
        </p:txBody>
      </p:sp>
      <p:sp>
        <p:nvSpPr>
          <p:cNvPr id="3" name="Content Placeholder 2"/>
          <p:cNvSpPr>
            <a:spLocks noGrp="1"/>
          </p:cNvSpPr>
          <p:nvPr>
            <p:ph idx="1"/>
          </p:nvPr>
        </p:nvSpPr>
        <p:spPr>
          <a:xfrm>
            <a:off x="839787" y="784226"/>
            <a:ext cx="10537297" cy="5453063"/>
          </a:xfrm>
        </p:spPr>
        <p:txBody>
          <a:bodyPr vert="horz" lIns="0" tIns="0" rIns="91440" bIns="0" rtlCol="0" anchor="t">
            <a:noAutofit/>
          </a:bodyPr>
          <a:lstStyle/>
          <a:p>
            <a:pPr marL="342900" lvl="0" indent="-342900" defTabSz="914400" fontAlgn="base">
              <a:spcBef>
                <a:spcPts val="2400"/>
              </a:spcBef>
              <a:spcAft>
                <a:spcPts val="900"/>
              </a:spcAft>
              <a:buSzTx/>
              <a:buFont typeface="Arial" panose="020B0604020202020204" pitchFamily="34" charset="0"/>
              <a:buChar char="•"/>
              <a:tabLst>
                <a:tab pos="0" algn="l"/>
                <a:tab pos="323850" algn="l"/>
                <a:tab pos="654050" algn="l"/>
                <a:tab pos="927100" algn="l"/>
                <a:tab pos="1174750" algn="l"/>
              </a:tabLst>
            </a:pPr>
            <a:r>
              <a:rPr lang="en-US" kern="0">
                <a:solidFill>
                  <a:srgbClr val="7B7373"/>
                </a:solidFill>
                <a:latin typeface="Arial Narrow"/>
              </a:rPr>
              <a:t>Innovative Products- NPIs/IAQ Trend	</a:t>
            </a:r>
          </a:p>
          <a:p>
            <a:pPr marL="558800" lvl="1" indent="-342900" fontAlgn="base">
              <a:spcBef>
                <a:spcPts val="2400"/>
              </a:spcBef>
              <a:spcAft>
                <a:spcPts val="900"/>
              </a:spcAft>
              <a:buSzTx/>
              <a:buFont typeface="Arial" panose="020B0604020202020204" pitchFamily="34" charset="0"/>
              <a:buChar char="•"/>
              <a:tabLst>
                <a:tab pos="0" algn="l"/>
                <a:tab pos="323850" algn="l"/>
                <a:tab pos="654050" algn="l"/>
                <a:tab pos="927100" algn="l"/>
                <a:tab pos="1174750" algn="l"/>
              </a:tabLst>
            </a:pPr>
            <a:r>
              <a:rPr lang="en-US" sz="1800" kern="0">
                <a:solidFill>
                  <a:srgbClr val="7B7373"/>
                </a:solidFill>
                <a:latin typeface="Arial Narrow"/>
              </a:rPr>
              <a:t>~26 product </a:t>
            </a:r>
            <a:r>
              <a:rPr lang="en-US" sz="1800" kern="0" err="1">
                <a:solidFill>
                  <a:srgbClr val="7B7373"/>
                </a:solidFill>
                <a:latin typeface="Arial Narrow"/>
              </a:rPr>
              <a:t>sku’s</a:t>
            </a:r>
            <a:r>
              <a:rPr lang="en-US" sz="1800" kern="0">
                <a:solidFill>
                  <a:srgbClr val="7B7373"/>
                </a:solidFill>
                <a:latin typeface="Arial Narrow"/>
              </a:rPr>
              <a:t> launched into distribution for 2021, 21 planned NPI’s for 2022</a:t>
            </a:r>
          </a:p>
          <a:p>
            <a:pPr marL="342900" lvl="0" indent="-342900" defTabSz="914400" fontAlgn="base">
              <a:spcBef>
                <a:spcPts val="2400"/>
              </a:spcBef>
              <a:spcAft>
                <a:spcPts val="900"/>
              </a:spcAft>
              <a:buSzTx/>
              <a:buFont typeface="Arial" panose="020B0604020202020204" pitchFamily="34" charset="0"/>
              <a:buChar char="•"/>
              <a:tabLst>
                <a:tab pos="0" algn="l"/>
                <a:tab pos="323850" algn="l"/>
                <a:tab pos="654050" algn="l"/>
                <a:tab pos="927100" algn="l"/>
                <a:tab pos="1174750" algn="l"/>
              </a:tabLst>
            </a:pPr>
            <a:r>
              <a:rPr lang="en-US" kern="0">
                <a:solidFill>
                  <a:srgbClr val="7B7373"/>
                </a:solidFill>
                <a:latin typeface="Arial Narrow"/>
              </a:rPr>
              <a:t>Protection</a:t>
            </a:r>
          </a:p>
          <a:p>
            <a:pPr marL="654050" lvl="2" indent="-273050" fontAlgn="base">
              <a:spcBef>
                <a:spcPts val="300"/>
              </a:spcBef>
              <a:spcAft>
                <a:spcPct val="0"/>
              </a:spcAft>
              <a:buClr>
                <a:srgbClr val="7B7373"/>
              </a:buClr>
              <a:buSzPct val="95000"/>
              <a:buFont typeface="Arial" panose="020B0604020202020204" pitchFamily="34" charset="0"/>
              <a:buChar char="•"/>
              <a:tabLst>
                <a:tab pos="0" algn="l"/>
                <a:tab pos="323850" algn="l"/>
                <a:tab pos="654050" algn="l"/>
                <a:tab pos="927100" algn="l"/>
                <a:tab pos="1174750" algn="l"/>
              </a:tabLst>
            </a:pPr>
            <a:r>
              <a:rPr lang="en-US" sz="1800" kern="0">
                <a:solidFill>
                  <a:srgbClr val="7B7373"/>
                </a:solidFill>
                <a:latin typeface="Arial Narrow"/>
              </a:rPr>
              <a:t>Global partnership with tools for tracking registrations from discovery through production</a:t>
            </a:r>
          </a:p>
          <a:p>
            <a:pPr marL="927100" lvl="3" indent="-209550" fontAlgn="base">
              <a:spcBef>
                <a:spcPts val="100"/>
              </a:spcBef>
              <a:spcAft>
                <a:spcPct val="0"/>
              </a:spcAft>
              <a:buClr>
                <a:srgbClr val="7B7373"/>
              </a:buClr>
              <a:buSzPct val="85000"/>
              <a:buFont typeface="Arial" panose="020B0604020202020204" pitchFamily="34" charset="0"/>
              <a:buChar char="•"/>
              <a:tabLst>
                <a:tab pos="0" algn="l"/>
                <a:tab pos="323850" algn="l"/>
                <a:tab pos="654050" algn="l"/>
                <a:tab pos="927100" algn="l"/>
                <a:tab pos="1174750" algn="l"/>
              </a:tabLst>
            </a:pPr>
            <a:r>
              <a:rPr lang="en-US" sz="1800" kern="0">
                <a:solidFill>
                  <a:srgbClr val="7B7373"/>
                </a:solidFill>
                <a:latin typeface="Arial Narrow"/>
              </a:rPr>
              <a:t>Security that your project will be protected, even if it goes to a CM or to Offshore production</a:t>
            </a:r>
            <a:endParaRPr lang="en-US" sz="1800" kern="0">
              <a:solidFill>
                <a:srgbClr val="000000"/>
              </a:solidFill>
              <a:latin typeface="Arial Narrow"/>
            </a:endParaRPr>
          </a:p>
          <a:p>
            <a:pPr marL="342900" indent="-342900" defTabSz="914400" fontAlgn="base">
              <a:spcBef>
                <a:spcPts val="2400"/>
              </a:spcBef>
              <a:spcAft>
                <a:spcPts val="900"/>
              </a:spcAft>
              <a:buSzTx/>
              <a:buFont typeface="Arial" panose="020B0604020202020204" pitchFamily="34" charset="0"/>
              <a:buChar char="•"/>
              <a:tabLst>
                <a:tab pos="0" algn="l"/>
                <a:tab pos="323850" algn="l"/>
                <a:tab pos="654050" algn="l"/>
                <a:tab pos="927100" algn="l"/>
                <a:tab pos="1174750" algn="l"/>
              </a:tabLst>
            </a:pPr>
            <a:r>
              <a:rPr lang="en-US" kern="0">
                <a:solidFill>
                  <a:srgbClr val="7B7373"/>
                </a:solidFill>
                <a:latin typeface="Arial Narrow"/>
              </a:rPr>
              <a:t> Margin</a:t>
            </a:r>
          </a:p>
          <a:p>
            <a:pPr marL="654050" lvl="2" indent="-273050" fontAlgn="base">
              <a:spcBef>
                <a:spcPts val="300"/>
              </a:spcBef>
              <a:spcAft>
                <a:spcPct val="0"/>
              </a:spcAft>
              <a:buClr>
                <a:srgbClr val="7B7373"/>
              </a:buClr>
              <a:buSzPct val="95000"/>
              <a:buFont typeface="Arial" panose="020B0604020202020204" pitchFamily="34" charset="0"/>
              <a:buChar char="•"/>
              <a:tabLst>
                <a:tab pos="0" algn="l"/>
                <a:tab pos="323850" algn="l"/>
                <a:tab pos="654050" algn="l"/>
                <a:tab pos="927100" algn="l"/>
                <a:tab pos="1174750" algn="l"/>
              </a:tabLst>
            </a:pPr>
            <a:r>
              <a:rPr lang="en-US" sz="1800" kern="0">
                <a:solidFill>
                  <a:srgbClr val="7B7373"/>
                </a:solidFill>
                <a:latin typeface="Arial Narrow"/>
              </a:rPr>
              <a:t>Registration program with typical margins of 20-25% for demand creation wins</a:t>
            </a:r>
          </a:p>
          <a:p>
            <a:pPr marL="342900" lvl="0" indent="-342900" defTabSz="914400" fontAlgn="base">
              <a:spcBef>
                <a:spcPts val="2400"/>
              </a:spcBef>
              <a:spcAft>
                <a:spcPts val="900"/>
              </a:spcAft>
              <a:buSzTx/>
              <a:buFont typeface="Arial" panose="020B0604020202020204" pitchFamily="34" charset="0"/>
              <a:buChar char="•"/>
              <a:tabLst>
                <a:tab pos="0" algn="l"/>
                <a:tab pos="323850" algn="l"/>
                <a:tab pos="654050" algn="l"/>
                <a:tab pos="927100" algn="l"/>
                <a:tab pos="1174750" algn="l"/>
              </a:tabLst>
            </a:pPr>
            <a:r>
              <a:rPr lang="en-US" kern="0">
                <a:solidFill>
                  <a:srgbClr val="7B7373"/>
                </a:solidFill>
                <a:latin typeface="Arial Narrow"/>
              </a:rPr>
              <a:t>Support</a:t>
            </a:r>
          </a:p>
          <a:p>
            <a:pPr marL="654050" lvl="2" indent="-273050" fontAlgn="base">
              <a:spcBef>
                <a:spcPts val="300"/>
              </a:spcBef>
              <a:spcAft>
                <a:spcPct val="0"/>
              </a:spcAft>
              <a:buClr>
                <a:srgbClr val="7B7373"/>
              </a:buClr>
              <a:buSzPct val="95000"/>
              <a:buFont typeface="Arial" panose="020B0604020202020204" pitchFamily="34" charset="0"/>
              <a:buChar char="•"/>
              <a:tabLst>
                <a:tab pos="0" algn="l"/>
                <a:tab pos="323850" algn="l"/>
                <a:tab pos="654050" algn="l"/>
                <a:tab pos="927100" algn="l"/>
                <a:tab pos="1174750" algn="l"/>
              </a:tabLst>
            </a:pPr>
            <a:r>
              <a:rPr lang="en-US" sz="1800" kern="0">
                <a:solidFill>
                  <a:srgbClr val="7B7373"/>
                </a:solidFill>
                <a:latin typeface="Arial Narrow"/>
              </a:rPr>
              <a:t>Leader in innovation and technology </a:t>
            </a:r>
            <a:endParaRPr lang="en-US" sz="1800" kern="0">
              <a:solidFill>
                <a:srgbClr val="7B7373"/>
              </a:solidFill>
            </a:endParaRPr>
          </a:p>
          <a:p>
            <a:pPr marL="654050" lvl="2" indent="-273050" fontAlgn="base">
              <a:spcBef>
                <a:spcPts val="300"/>
              </a:spcBef>
              <a:spcAft>
                <a:spcPct val="0"/>
              </a:spcAft>
              <a:buClr>
                <a:srgbClr val="7B7373"/>
              </a:buClr>
              <a:buSzPct val="95000"/>
              <a:buFont typeface="Arial" panose="020B0604020202020204" pitchFamily="34" charset="0"/>
              <a:buChar char="•"/>
              <a:tabLst>
                <a:tab pos="0" algn="l"/>
                <a:tab pos="323850" algn="l"/>
                <a:tab pos="654050" algn="l"/>
                <a:tab pos="927100" algn="l"/>
                <a:tab pos="1174750" algn="l"/>
              </a:tabLst>
            </a:pPr>
            <a:r>
              <a:rPr lang="en-US" sz="1800" kern="0">
                <a:solidFill>
                  <a:srgbClr val="7B7373"/>
                </a:solidFill>
                <a:latin typeface="Arial Narrow"/>
              </a:rPr>
              <a:t>Tech support line providing support for you and your customers in a 24 hour time frame</a:t>
            </a:r>
          </a:p>
          <a:p>
            <a:pPr marL="654050" lvl="2" indent="-273050" fontAlgn="base">
              <a:spcBef>
                <a:spcPts val="300"/>
              </a:spcBef>
              <a:spcAft>
                <a:spcPct val="0"/>
              </a:spcAft>
              <a:buClr>
                <a:srgbClr val="7B7373"/>
              </a:buClr>
              <a:buSzPct val="95000"/>
              <a:buFont typeface="Arial" panose="020B0604020202020204" pitchFamily="34" charset="0"/>
              <a:buChar char="•"/>
              <a:tabLst>
                <a:tab pos="0" algn="l"/>
                <a:tab pos="323850" algn="l"/>
                <a:tab pos="654050" algn="l"/>
                <a:tab pos="927100" algn="l"/>
                <a:tab pos="1174750" algn="l"/>
              </a:tabLst>
            </a:pPr>
            <a:r>
              <a:rPr lang="en-US" sz="1800" kern="0">
                <a:solidFill>
                  <a:srgbClr val="7B7373"/>
                </a:solidFill>
                <a:latin typeface="Arial Narrow"/>
              </a:rPr>
              <a:t>Fully calibrated sensors which are stable (no-drifts) over time</a:t>
            </a:r>
          </a:p>
          <a:p>
            <a:pPr marL="654050" lvl="2" indent="-273050" fontAlgn="base">
              <a:spcBef>
                <a:spcPts val="300"/>
              </a:spcBef>
              <a:spcAft>
                <a:spcPct val="0"/>
              </a:spcAft>
              <a:buClr>
                <a:srgbClr val="7B7373"/>
              </a:buClr>
              <a:buSzPct val="95000"/>
              <a:buFont typeface="Arial" panose="020B0604020202020204" pitchFamily="34" charset="0"/>
              <a:buChar char="•"/>
              <a:tabLst>
                <a:tab pos="0" algn="l"/>
                <a:tab pos="323850" algn="l"/>
                <a:tab pos="654050" algn="l"/>
                <a:tab pos="927100" algn="l"/>
                <a:tab pos="1174750" algn="l"/>
              </a:tabLst>
            </a:pPr>
            <a:r>
              <a:rPr lang="en-US" sz="1800" kern="0">
                <a:solidFill>
                  <a:srgbClr val="7B7373"/>
                </a:solidFill>
                <a:latin typeface="Arial Narrow"/>
              </a:rPr>
              <a:t>Short lead times, 8-20 weeks with evaluation kits typical lead time at 2-5 weeks</a:t>
            </a:r>
            <a:endParaRPr lang="en-US" sz="1800" kern="0">
              <a:solidFill>
                <a:srgbClr val="7B7373"/>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10591" y="2403611"/>
            <a:ext cx="2124192" cy="1284361"/>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10591" y="3692877"/>
            <a:ext cx="1924522" cy="859022"/>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5210" y="5002729"/>
            <a:ext cx="1919287" cy="1277198"/>
          </a:xfrm>
          <a:prstGeom prst="rect">
            <a:avLst/>
          </a:prstGeom>
        </p:spPr>
      </p:pic>
      <p:pic>
        <p:nvPicPr>
          <p:cNvPr id="8" name="Picture 163"/>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a:xfrm>
            <a:off x="8892006" y="1853859"/>
            <a:ext cx="488830" cy="287547"/>
          </a:xfrm>
          <a:prstGeom prst="rect">
            <a:avLst/>
          </a:prstGeom>
          <a:noFill/>
        </p:spPr>
      </p:pic>
      <p:pic>
        <p:nvPicPr>
          <p:cNvPr id="9" name="Picture 8"/>
          <p:cNvPicPr>
            <a:picLocks noChangeAspect="1"/>
          </p:cNvPicPr>
          <p:nvPr/>
        </p:nvPicPr>
        <p:blipFill>
          <a:blip r:embed="rId6"/>
          <a:stretch>
            <a:fillRect/>
          </a:stretch>
        </p:blipFill>
        <p:spPr>
          <a:xfrm>
            <a:off x="8809197" y="1332054"/>
            <a:ext cx="393528" cy="403157"/>
          </a:xfrm>
          <a:prstGeom prst="rect">
            <a:avLst/>
          </a:prstGeom>
        </p:spPr>
      </p:pic>
      <p:pic>
        <p:nvPicPr>
          <p:cNvPr id="11" name="Picture 14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a:xfrm>
            <a:off x="10762577" y="1372328"/>
            <a:ext cx="560893" cy="311306"/>
          </a:xfrm>
          <a:prstGeom prst="rect">
            <a:avLst/>
          </a:prstGeom>
          <a:noFill/>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33374" y="1774152"/>
            <a:ext cx="987782" cy="724374"/>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71762" y="1177586"/>
            <a:ext cx="1010250" cy="505125"/>
          </a:xfrm>
          <a:prstGeom prst="rect">
            <a:avLst/>
          </a:prstGeom>
        </p:spPr>
      </p:pic>
      <p:pic>
        <p:nvPicPr>
          <p:cNvPr id="14" name="Picture 13"/>
          <p:cNvPicPr>
            <a:picLocks noChangeAspect="1"/>
          </p:cNvPicPr>
          <p:nvPr/>
        </p:nvPicPr>
        <p:blipFill>
          <a:blip r:embed="rId10">
            <a:clrChange>
              <a:clrFrom>
                <a:srgbClr val="FFFFFF"/>
              </a:clrFrom>
              <a:clrTo>
                <a:srgbClr val="FFFFFF">
                  <a:alpha val="0"/>
                </a:srgbClr>
              </a:clrTo>
            </a:clrChange>
          </a:blip>
          <a:stretch>
            <a:fillRect/>
          </a:stretch>
        </p:blipFill>
        <p:spPr>
          <a:xfrm>
            <a:off x="10673694" y="1860503"/>
            <a:ext cx="784679" cy="500675"/>
          </a:xfrm>
          <a:prstGeom prst="rect">
            <a:avLst/>
          </a:prstGeom>
        </p:spPr>
      </p:pic>
    </p:spTree>
    <p:extLst>
      <p:ext uri="{BB962C8B-B14F-4D97-AF65-F5344CB8AC3E}">
        <p14:creationId xmlns:p14="http://schemas.microsoft.com/office/powerpoint/2010/main" val="1970468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50780-374C-4862-A353-D770BEF1FB18}"/>
              </a:ext>
            </a:extLst>
          </p:cNvPr>
          <p:cNvSpPr>
            <a:spLocks noGrp="1"/>
          </p:cNvSpPr>
          <p:nvPr>
            <p:ph type="title"/>
          </p:nvPr>
        </p:nvSpPr>
        <p:spPr>
          <a:xfrm>
            <a:off x="839787" y="372194"/>
            <a:ext cx="10512000" cy="882570"/>
          </a:xfrm>
        </p:spPr>
        <p:txBody>
          <a:bodyPr/>
          <a:lstStyle/>
          <a:p>
            <a:r>
              <a:rPr lang="en-US" dirty="0"/>
              <a:t>Sensirion advantage: expertise across entire value chain</a:t>
            </a:r>
          </a:p>
        </p:txBody>
      </p:sp>
      <p:sp>
        <p:nvSpPr>
          <p:cNvPr id="3" name="Slide Number Placeholder 2">
            <a:extLst>
              <a:ext uri="{FF2B5EF4-FFF2-40B4-BE49-F238E27FC236}">
                <a16:creationId xmlns:a16="http://schemas.microsoft.com/office/drawing/2014/main" id="{BDC5F6F5-5FC8-4BC3-83F8-E718B018F309}"/>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3</a:t>
            </a:fld>
            <a:endParaRPr lang="en-US" dirty="0"/>
          </a:p>
        </p:txBody>
      </p:sp>
      <p:sp>
        <p:nvSpPr>
          <p:cNvPr id="4" name="Chevron 13">
            <a:extLst>
              <a:ext uri="{FF2B5EF4-FFF2-40B4-BE49-F238E27FC236}">
                <a16:creationId xmlns:a16="http://schemas.microsoft.com/office/drawing/2014/main" id="{22E37A70-C2BF-4AD7-BF02-DF9D0BC8774B}"/>
              </a:ext>
            </a:extLst>
          </p:cNvPr>
          <p:cNvSpPr/>
          <p:nvPr/>
        </p:nvSpPr>
        <p:spPr>
          <a:xfrm>
            <a:off x="1749548" y="4480021"/>
            <a:ext cx="1188001" cy="958320"/>
          </a:xfrm>
          <a:prstGeom prst="chevron">
            <a:avLst>
              <a:gd name="adj" fmla="val 17290"/>
            </a:avLst>
          </a:prstGeom>
          <a:gradFill flip="none" rotWithShape="1">
            <a:gsLst>
              <a:gs pos="50000">
                <a:srgbClr val="66CC33"/>
              </a:gs>
              <a:gs pos="51000">
                <a:schemeClr val="bg1">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a:r>
              <a:rPr lang="en-US" sz="1200" b="1" dirty="0">
                <a:solidFill>
                  <a:schemeClr val="bg1"/>
                </a:solidFill>
                <a:latin typeface="Arial Narrow" panose="020B0606020202030204" pitchFamily="34" charset="0"/>
              </a:rPr>
              <a:t>ASIC</a:t>
            </a:r>
            <a:endParaRPr lang="en-US" sz="900" b="1" baseline="30000" dirty="0">
              <a:solidFill>
                <a:schemeClr val="bg1"/>
              </a:solidFill>
              <a:latin typeface="Arial Narrow" panose="020B0606020202030204" pitchFamily="34" charset="0"/>
            </a:endParaRPr>
          </a:p>
        </p:txBody>
      </p:sp>
      <p:sp>
        <p:nvSpPr>
          <p:cNvPr id="5" name="Chevron 53">
            <a:extLst>
              <a:ext uri="{FF2B5EF4-FFF2-40B4-BE49-F238E27FC236}">
                <a16:creationId xmlns:a16="http://schemas.microsoft.com/office/drawing/2014/main" id="{6A50707C-A4A0-42A0-8BB3-2B36C6346A53}"/>
              </a:ext>
            </a:extLst>
          </p:cNvPr>
          <p:cNvSpPr/>
          <p:nvPr/>
        </p:nvSpPr>
        <p:spPr>
          <a:xfrm>
            <a:off x="2952664" y="4480021"/>
            <a:ext cx="1188000" cy="958320"/>
          </a:xfrm>
          <a:prstGeom prst="chevron">
            <a:avLst>
              <a:gd name="adj" fmla="val 17290"/>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bg1"/>
                </a:solidFill>
                <a:latin typeface="Arial Narrow" panose="020B0606020202030204" pitchFamily="34" charset="0"/>
              </a:rPr>
              <a:t>MEMS</a:t>
            </a:r>
          </a:p>
        </p:txBody>
      </p:sp>
      <p:sp>
        <p:nvSpPr>
          <p:cNvPr id="6" name="Chevron 55">
            <a:extLst>
              <a:ext uri="{FF2B5EF4-FFF2-40B4-BE49-F238E27FC236}">
                <a16:creationId xmlns:a16="http://schemas.microsoft.com/office/drawing/2014/main" id="{BAFFCDD4-FBEB-4CF2-84A2-3D2137E9832C}"/>
              </a:ext>
            </a:extLst>
          </p:cNvPr>
          <p:cNvSpPr/>
          <p:nvPr/>
        </p:nvSpPr>
        <p:spPr>
          <a:xfrm>
            <a:off x="5374304" y="4480021"/>
            <a:ext cx="1188000" cy="958320"/>
          </a:xfrm>
          <a:prstGeom prst="chevron">
            <a:avLst>
              <a:gd name="adj" fmla="val 17290"/>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160" b="1" dirty="0">
                <a:solidFill>
                  <a:schemeClr val="bg1"/>
                </a:solidFill>
                <a:latin typeface="Arial Narrow" panose="020B0606020202030204" pitchFamily="34" charset="0"/>
              </a:rPr>
              <a:t>Automation</a:t>
            </a:r>
            <a:endParaRPr lang="en-US" sz="900" b="1" dirty="0">
              <a:solidFill>
                <a:schemeClr val="bg1"/>
              </a:solidFill>
              <a:latin typeface="Arial Narrow" panose="020B0606020202030204" pitchFamily="34" charset="0"/>
            </a:endParaRPr>
          </a:p>
        </p:txBody>
      </p:sp>
      <p:sp>
        <p:nvSpPr>
          <p:cNvPr id="7" name="Chevron 56">
            <a:extLst>
              <a:ext uri="{FF2B5EF4-FFF2-40B4-BE49-F238E27FC236}">
                <a16:creationId xmlns:a16="http://schemas.microsoft.com/office/drawing/2014/main" id="{3F1AEFA3-949E-4C2C-BE0F-B91139F3BFD6}"/>
              </a:ext>
            </a:extLst>
          </p:cNvPr>
          <p:cNvSpPr/>
          <p:nvPr/>
        </p:nvSpPr>
        <p:spPr>
          <a:xfrm>
            <a:off x="6585124" y="4480021"/>
            <a:ext cx="1188000" cy="958320"/>
          </a:xfrm>
          <a:prstGeom prst="chevron">
            <a:avLst>
              <a:gd name="adj" fmla="val 17290"/>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bg1"/>
                </a:solidFill>
                <a:latin typeface="Arial Narrow" panose="020B0606020202030204" pitchFamily="34" charset="0"/>
              </a:rPr>
              <a:t>Hardware</a:t>
            </a:r>
            <a:endParaRPr lang="en-US" sz="900" b="1" dirty="0">
              <a:solidFill>
                <a:schemeClr val="bg1"/>
              </a:solidFill>
              <a:latin typeface="Arial Narrow" panose="020B0606020202030204" pitchFamily="34" charset="0"/>
            </a:endParaRPr>
          </a:p>
        </p:txBody>
      </p:sp>
      <p:sp>
        <p:nvSpPr>
          <p:cNvPr id="8" name="Chevron 57">
            <a:extLst>
              <a:ext uri="{FF2B5EF4-FFF2-40B4-BE49-F238E27FC236}">
                <a16:creationId xmlns:a16="http://schemas.microsoft.com/office/drawing/2014/main" id="{8444944A-F9C5-4950-8871-5D80CD296241}"/>
              </a:ext>
            </a:extLst>
          </p:cNvPr>
          <p:cNvSpPr/>
          <p:nvPr/>
        </p:nvSpPr>
        <p:spPr>
          <a:xfrm>
            <a:off x="7795944" y="4480021"/>
            <a:ext cx="1188000" cy="958320"/>
          </a:xfrm>
          <a:prstGeom prst="chevron">
            <a:avLst>
              <a:gd name="adj" fmla="val 17290"/>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bg1"/>
                </a:solidFill>
                <a:latin typeface="Arial Narrow" panose="020B0606020202030204" pitchFamily="34" charset="0"/>
              </a:rPr>
              <a:t>Software</a:t>
            </a:r>
          </a:p>
        </p:txBody>
      </p:sp>
      <p:sp>
        <p:nvSpPr>
          <p:cNvPr id="9" name="Chevron 60">
            <a:extLst>
              <a:ext uri="{FF2B5EF4-FFF2-40B4-BE49-F238E27FC236}">
                <a16:creationId xmlns:a16="http://schemas.microsoft.com/office/drawing/2014/main" id="{F2ABA4B4-F02E-49C3-A860-1BD01523D4D3}"/>
              </a:ext>
            </a:extLst>
          </p:cNvPr>
          <p:cNvSpPr/>
          <p:nvPr/>
        </p:nvSpPr>
        <p:spPr>
          <a:xfrm>
            <a:off x="9006762" y="4486003"/>
            <a:ext cx="1188000" cy="958320"/>
          </a:xfrm>
          <a:prstGeom prst="chevron">
            <a:avLst>
              <a:gd name="adj" fmla="val 17290"/>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bg1"/>
                </a:solidFill>
                <a:latin typeface="Arial Narrow" panose="020B0606020202030204" pitchFamily="34" charset="0"/>
              </a:rPr>
              <a:t>Market and Cloud Solutions</a:t>
            </a:r>
          </a:p>
        </p:txBody>
      </p:sp>
      <p:sp>
        <p:nvSpPr>
          <p:cNvPr id="10" name="Chevron 27">
            <a:extLst>
              <a:ext uri="{FF2B5EF4-FFF2-40B4-BE49-F238E27FC236}">
                <a16:creationId xmlns:a16="http://schemas.microsoft.com/office/drawing/2014/main" id="{23F2468E-A3D1-43F8-927F-C504B4132E71}"/>
              </a:ext>
            </a:extLst>
          </p:cNvPr>
          <p:cNvSpPr/>
          <p:nvPr/>
        </p:nvSpPr>
        <p:spPr>
          <a:xfrm>
            <a:off x="10191353" y="4486003"/>
            <a:ext cx="1188000" cy="958320"/>
          </a:xfrm>
          <a:prstGeom prst="chevron">
            <a:avLst>
              <a:gd name="adj" fmla="val 17290"/>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bg1"/>
                </a:solidFill>
                <a:latin typeface="Arial Narrow" panose="020B0606020202030204" pitchFamily="34" charset="0"/>
              </a:rPr>
              <a:t>Field application support</a:t>
            </a:r>
          </a:p>
        </p:txBody>
      </p:sp>
      <p:sp>
        <p:nvSpPr>
          <p:cNvPr id="11" name="Rechteck 11">
            <a:extLst>
              <a:ext uri="{FF2B5EF4-FFF2-40B4-BE49-F238E27FC236}">
                <a16:creationId xmlns:a16="http://schemas.microsoft.com/office/drawing/2014/main" id="{FCD9250F-59B8-4661-B57F-4CDEA2D3E482}"/>
              </a:ext>
            </a:extLst>
          </p:cNvPr>
          <p:cNvSpPr/>
          <p:nvPr/>
        </p:nvSpPr>
        <p:spPr>
          <a:xfrm>
            <a:off x="1775678" y="5481954"/>
            <a:ext cx="1060312" cy="276999"/>
          </a:xfrm>
          <a:prstGeom prst="rect">
            <a:avLst/>
          </a:prstGeom>
          <a:noFill/>
        </p:spPr>
        <p:txBody>
          <a:bodyPr wrap="square" lIns="0" tIns="0" rIns="0" bIns="0" rtlCol="0" anchor="t">
            <a:spAutoFit/>
          </a:bodyPr>
          <a:lstStyle/>
          <a:p>
            <a:pPr marL="0" lvl="1">
              <a:spcBef>
                <a:spcPts val="0"/>
              </a:spcBef>
            </a:pPr>
            <a:r>
              <a:rPr lang="en-US" sz="900" dirty="0">
                <a:solidFill>
                  <a:prstClr val="black"/>
                </a:solidFill>
              </a:rPr>
              <a:t>Wafer manufacturing is outsourced</a:t>
            </a:r>
          </a:p>
        </p:txBody>
      </p:sp>
      <p:sp>
        <p:nvSpPr>
          <p:cNvPr id="12" name="Chevron 30">
            <a:extLst>
              <a:ext uri="{FF2B5EF4-FFF2-40B4-BE49-F238E27FC236}">
                <a16:creationId xmlns:a16="http://schemas.microsoft.com/office/drawing/2014/main" id="{018D0E99-ABBB-4293-A71A-228F8F937553}"/>
              </a:ext>
            </a:extLst>
          </p:cNvPr>
          <p:cNvSpPr/>
          <p:nvPr/>
        </p:nvSpPr>
        <p:spPr>
          <a:xfrm>
            <a:off x="1749548" y="1780039"/>
            <a:ext cx="3601936" cy="1188000"/>
          </a:xfrm>
          <a:prstGeom prst="chevron">
            <a:avLst>
              <a:gd name="adj" fmla="val 17290"/>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latin typeface="Arial Narrow" panose="020B0606020202030204" pitchFamily="34" charset="0"/>
              </a:rPr>
              <a:t>Development of design and processes</a:t>
            </a:r>
          </a:p>
        </p:txBody>
      </p:sp>
      <p:sp>
        <p:nvSpPr>
          <p:cNvPr id="13" name="Chevron 31">
            <a:extLst>
              <a:ext uri="{FF2B5EF4-FFF2-40B4-BE49-F238E27FC236}">
                <a16:creationId xmlns:a16="http://schemas.microsoft.com/office/drawing/2014/main" id="{62219A50-3C6C-468B-A206-704171EE427C}"/>
              </a:ext>
            </a:extLst>
          </p:cNvPr>
          <p:cNvSpPr/>
          <p:nvPr/>
        </p:nvSpPr>
        <p:spPr>
          <a:xfrm>
            <a:off x="5351484" y="1780039"/>
            <a:ext cx="3038460" cy="1188000"/>
          </a:xfrm>
          <a:prstGeom prst="chevron">
            <a:avLst>
              <a:gd name="adj" fmla="val 17290"/>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latin typeface="Arial Narrow" panose="020B0606020202030204" pitchFamily="34" charset="0"/>
              </a:rPr>
              <a:t>Calibration</a:t>
            </a:r>
            <a:br>
              <a:rPr lang="en-US" sz="1800" b="1" dirty="0">
                <a:solidFill>
                  <a:schemeClr val="bg1"/>
                </a:solidFill>
                <a:latin typeface="Arial Narrow" panose="020B0606020202030204" pitchFamily="34" charset="0"/>
              </a:rPr>
            </a:br>
            <a:r>
              <a:rPr lang="en-US" sz="1800" b="1" dirty="0">
                <a:solidFill>
                  <a:schemeClr val="bg1"/>
                </a:solidFill>
                <a:latin typeface="Arial Narrow" panose="020B0606020202030204" pitchFamily="34" charset="0"/>
              </a:rPr>
              <a:t>expertise</a:t>
            </a:r>
          </a:p>
        </p:txBody>
      </p:sp>
      <p:sp>
        <p:nvSpPr>
          <p:cNvPr id="14" name="Chevron 32">
            <a:extLst>
              <a:ext uri="{FF2B5EF4-FFF2-40B4-BE49-F238E27FC236}">
                <a16:creationId xmlns:a16="http://schemas.microsoft.com/office/drawing/2014/main" id="{CEE6C8A9-9454-49DD-9C01-8295A549EC2A}"/>
              </a:ext>
            </a:extLst>
          </p:cNvPr>
          <p:cNvSpPr/>
          <p:nvPr/>
        </p:nvSpPr>
        <p:spPr>
          <a:xfrm>
            <a:off x="8389944" y="1780039"/>
            <a:ext cx="2989409" cy="1188000"/>
          </a:xfrm>
          <a:prstGeom prst="chevron">
            <a:avLst>
              <a:gd name="adj" fmla="val 17290"/>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latin typeface="Arial Narrow" panose="020B0606020202030204" pitchFamily="34" charset="0"/>
              </a:rPr>
              <a:t>Application </a:t>
            </a:r>
            <a:br>
              <a:rPr lang="en-US" sz="1800" b="1" dirty="0">
                <a:solidFill>
                  <a:schemeClr val="bg1"/>
                </a:solidFill>
                <a:latin typeface="Arial Narrow" panose="020B0606020202030204" pitchFamily="34" charset="0"/>
              </a:rPr>
            </a:br>
            <a:r>
              <a:rPr lang="en-US" sz="1800" b="1" dirty="0">
                <a:solidFill>
                  <a:schemeClr val="bg1"/>
                </a:solidFill>
                <a:latin typeface="Arial Narrow" panose="020B0606020202030204" pitchFamily="34" charset="0"/>
              </a:rPr>
              <a:t>expertise</a:t>
            </a:r>
          </a:p>
        </p:txBody>
      </p:sp>
      <p:sp>
        <p:nvSpPr>
          <p:cNvPr id="15" name="Chevron 26">
            <a:extLst>
              <a:ext uri="{FF2B5EF4-FFF2-40B4-BE49-F238E27FC236}">
                <a16:creationId xmlns:a16="http://schemas.microsoft.com/office/drawing/2014/main" id="{6BA1127F-5702-4ABF-B5DA-BDC249D5F799}"/>
              </a:ext>
            </a:extLst>
          </p:cNvPr>
          <p:cNvSpPr/>
          <p:nvPr/>
        </p:nvSpPr>
        <p:spPr>
          <a:xfrm>
            <a:off x="4163484" y="4480021"/>
            <a:ext cx="1188000" cy="958320"/>
          </a:xfrm>
          <a:prstGeom prst="chevron">
            <a:avLst>
              <a:gd name="adj" fmla="val 17290"/>
            </a:avLst>
          </a:prstGeom>
          <a:gradFill flip="none" rotWithShape="1">
            <a:gsLst>
              <a:gs pos="50000">
                <a:srgbClr val="66CC33"/>
              </a:gs>
              <a:gs pos="51000">
                <a:schemeClr val="bg1">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a:r>
              <a:rPr lang="en-US" sz="1200" b="1" dirty="0">
                <a:solidFill>
                  <a:schemeClr val="bg1"/>
                </a:solidFill>
                <a:latin typeface="Arial Narrow" panose="020B0606020202030204" pitchFamily="34" charset="0"/>
              </a:rPr>
              <a:t>Packaging</a:t>
            </a:r>
            <a:endParaRPr lang="en-US" sz="900" b="1" baseline="30000" dirty="0">
              <a:solidFill>
                <a:schemeClr val="tx1"/>
              </a:solidFill>
              <a:latin typeface="Arial Narrow" panose="020B0606020202030204" pitchFamily="34" charset="0"/>
            </a:endParaRPr>
          </a:p>
        </p:txBody>
      </p:sp>
      <p:pic>
        <p:nvPicPr>
          <p:cNvPr id="16" name="Picture 3" descr="N:\IBD_Regional_Documents_Repository_EMEA_Clients\Swiss B(S2M3)\Spider\X5ATUR\4. Company information\Pictures received\Pictures Overview\Logos\Sensirion_Logo_RGB_green.png">
            <a:extLst>
              <a:ext uri="{FF2B5EF4-FFF2-40B4-BE49-F238E27FC236}">
                <a16:creationId xmlns:a16="http://schemas.microsoft.com/office/drawing/2014/main" id="{935633F5-1FE0-42B6-BE29-EC545F0590F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3723" t="42368" r="23443" b="42522"/>
          <a:stretch/>
        </p:blipFill>
        <p:spPr bwMode="auto">
          <a:xfrm>
            <a:off x="426485" y="4839088"/>
            <a:ext cx="1350124" cy="272863"/>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DC0489A4-F7DF-4442-A58C-7BC683AF0BDF}"/>
              </a:ext>
            </a:extLst>
          </p:cNvPr>
          <p:cNvGrpSpPr/>
          <p:nvPr/>
        </p:nvGrpSpPr>
        <p:grpSpPr>
          <a:xfrm>
            <a:off x="1740602" y="3064416"/>
            <a:ext cx="9389382" cy="1389701"/>
            <a:chOff x="1740602" y="3064416"/>
            <a:chExt cx="9389382" cy="1389701"/>
          </a:xfrm>
        </p:grpSpPr>
        <p:pic>
          <p:nvPicPr>
            <p:cNvPr id="19" name="Picture 18">
              <a:extLst>
                <a:ext uri="{FF2B5EF4-FFF2-40B4-BE49-F238E27FC236}">
                  <a16:creationId xmlns:a16="http://schemas.microsoft.com/office/drawing/2014/main" id="{9DD30DF9-28D2-4A71-A064-498B60AA207A}"/>
                </a:ext>
              </a:extLst>
            </p:cNvPr>
            <p:cNvPicPr>
              <a:picLocks noChangeAspect="1"/>
            </p:cNvPicPr>
            <p:nvPr/>
          </p:nvPicPr>
          <p:blipFill>
            <a:blip r:embed="rId3" cstate="print">
              <a:alphaModFix/>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740602" y="3529656"/>
              <a:ext cx="1008000" cy="561120"/>
            </a:xfrm>
            <a:prstGeom prst="rect">
              <a:avLst/>
            </a:prstGeom>
          </p:spPr>
        </p:pic>
        <p:pic>
          <p:nvPicPr>
            <p:cNvPr id="20" name="Picture 19">
              <a:extLst>
                <a:ext uri="{FF2B5EF4-FFF2-40B4-BE49-F238E27FC236}">
                  <a16:creationId xmlns:a16="http://schemas.microsoft.com/office/drawing/2014/main" id="{97F7C540-FE1D-41B5-9669-6FAF745EE2C9}"/>
                </a:ext>
              </a:extLst>
            </p:cNvPr>
            <p:cNvPicPr>
              <a:picLocks noChangeAspect="1"/>
            </p:cNvPicPr>
            <p:nvPr/>
          </p:nvPicPr>
          <p:blipFill>
            <a:blip r:embed="rId5" cstate="print">
              <a:extLst>
                <a:ext uri="{BEBA8EAE-BF5A-486C-A8C5-ECC9F3942E4B}">
                  <a14:imgProps xmlns:a14="http://schemas.microsoft.com/office/drawing/2010/main">
                    <a14:imgLayer r:embed="rId6">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952664" y="3366248"/>
              <a:ext cx="1028674" cy="907976"/>
            </a:xfrm>
            <a:prstGeom prst="rect">
              <a:avLst/>
            </a:prstGeom>
          </p:spPr>
        </p:pic>
        <p:pic>
          <p:nvPicPr>
            <p:cNvPr id="21" name="Picture 20">
              <a:extLst>
                <a:ext uri="{FF2B5EF4-FFF2-40B4-BE49-F238E27FC236}">
                  <a16:creationId xmlns:a16="http://schemas.microsoft.com/office/drawing/2014/main" id="{860C8056-ECFE-46CB-84D0-95A588A1F31B}"/>
                </a:ext>
              </a:extLst>
            </p:cNvPr>
            <p:cNvPicPr>
              <a:picLocks noChangeAspect="1"/>
            </p:cNvPicPr>
            <p:nvPr/>
          </p:nvPicPr>
          <p:blipFill>
            <a:blip r:embed="rId7" cstate="print">
              <a:extLst>
                <a:ext uri="{BEBA8EAE-BF5A-486C-A8C5-ECC9F3942E4B}">
                  <a14:imgProps xmlns:a14="http://schemas.microsoft.com/office/drawing/2010/main">
                    <a14:imgLayer r:embed="rId8">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163484" y="3583889"/>
              <a:ext cx="1008000" cy="536256"/>
            </a:xfrm>
            <a:prstGeom prst="rect">
              <a:avLst/>
            </a:prstGeom>
          </p:spPr>
        </p:pic>
        <p:pic>
          <p:nvPicPr>
            <p:cNvPr id="22" name="Picture 21">
              <a:extLst>
                <a:ext uri="{FF2B5EF4-FFF2-40B4-BE49-F238E27FC236}">
                  <a16:creationId xmlns:a16="http://schemas.microsoft.com/office/drawing/2014/main" id="{AB4A7319-BF62-4DE4-B008-916845516D6C}"/>
                </a:ext>
              </a:extLst>
            </p:cNvPr>
            <p:cNvPicPr>
              <a:picLocks noChangeAspect="1"/>
            </p:cNvPicPr>
            <p:nvPr/>
          </p:nvPicPr>
          <p:blipFill>
            <a:blip r:embed="rId9" cstate="print">
              <a:alphaModFix/>
              <a:extLst>
                <a:ext uri="{BEBA8EAE-BF5A-486C-A8C5-ECC9F3942E4B}">
                  <a14:imgProps xmlns:a14="http://schemas.microsoft.com/office/drawing/2010/main">
                    <a14:imgLayer r:embed="rId10">
                      <a14:imgEffect>
                        <a14:sharpenSoften amount="500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5331094" y="3311503"/>
              <a:ext cx="1008000" cy="908979"/>
            </a:xfrm>
            <a:prstGeom prst="rect">
              <a:avLst/>
            </a:prstGeom>
          </p:spPr>
        </p:pic>
        <p:pic>
          <p:nvPicPr>
            <p:cNvPr id="23" name="Graphic 22">
              <a:extLst>
                <a:ext uri="{FF2B5EF4-FFF2-40B4-BE49-F238E27FC236}">
                  <a16:creationId xmlns:a16="http://schemas.microsoft.com/office/drawing/2014/main" id="{2921B2ED-8EF0-4FB1-B2D4-133542587AC5}"/>
                </a:ext>
              </a:extLst>
            </p:cNvPr>
            <p:cNvPicPr>
              <a:picLocks noChangeAspect="1"/>
            </p:cNvPicPr>
            <p:nvPr/>
          </p:nvPicPr>
          <p:blipFill>
            <a:blip r:embed="rId11" cstate="print">
              <a:lum/>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87732" y="3431712"/>
              <a:ext cx="1369300" cy="842512"/>
            </a:xfrm>
            <a:prstGeom prst="rect">
              <a:avLst/>
            </a:prstGeom>
          </p:spPr>
        </p:pic>
        <p:pic>
          <p:nvPicPr>
            <p:cNvPr id="24" name="Grafik 13">
              <a:extLst>
                <a:ext uri="{FF2B5EF4-FFF2-40B4-BE49-F238E27FC236}">
                  <a16:creationId xmlns:a16="http://schemas.microsoft.com/office/drawing/2014/main" id="{E5E613A5-2F92-48B5-8958-A379C678BF9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95182" y="3284942"/>
              <a:ext cx="791516" cy="936000"/>
            </a:xfrm>
            <a:prstGeom prst="rect">
              <a:avLst/>
            </a:prstGeom>
          </p:spPr>
        </p:pic>
        <p:pic>
          <p:nvPicPr>
            <p:cNvPr id="25" name="Picture 24">
              <a:extLst>
                <a:ext uri="{FF2B5EF4-FFF2-40B4-BE49-F238E27FC236}">
                  <a16:creationId xmlns:a16="http://schemas.microsoft.com/office/drawing/2014/main" id="{2227245E-95E5-44D0-95A2-34906ECD3AEE}"/>
                </a:ext>
              </a:extLst>
            </p:cNvPr>
            <p:cNvPicPr>
              <a:picLocks noChangeAspect="1"/>
            </p:cNvPicPr>
            <p:nvPr/>
          </p:nvPicPr>
          <p:blipFill>
            <a:blip r:embed="rId15" cstate="print">
              <a:biLevel thresh="50000"/>
              <a:extLst>
                <a:ext uri="{BEBA8EAE-BF5A-486C-A8C5-ECC9F3942E4B}">
                  <a14:imgProps xmlns:a14="http://schemas.microsoft.com/office/drawing/2010/main">
                    <a14:imgLayer r:embed="rId16">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239336" y="3403166"/>
              <a:ext cx="385463" cy="791482"/>
            </a:xfrm>
            <a:prstGeom prst="rect">
              <a:avLst/>
            </a:prstGeom>
          </p:spPr>
        </p:pic>
        <p:pic>
          <p:nvPicPr>
            <p:cNvPr id="26" name="Grafik 17">
              <a:extLst>
                <a:ext uri="{FF2B5EF4-FFF2-40B4-BE49-F238E27FC236}">
                  <a16:creationId xmlns:a16="http://schemas.microsoft.com/office/drawing/2014/main" id="{116356C9-17AD-4D94-A069-382DAA0F93A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094142" y="3064416"/>
              <a:ext cx="1035842" cy="1389701"/>
            </a:xfrm>
            <a:prstGeom prst="rect">
              <a:avLst/>
            </a:prstGeom>
          </p:spPr>
        </p:pic>
      </p:grpSp>
    </p:spTree>
    <p:extLst>
      <p:ext uri="{BB962C8B-B14F-4D97-AF65-F5344CB8AC3E}">
        <p14:creationId xmlns:p14="http://schemas.microsoft.com/office/powerpoint/2010/main" val="41821583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62B16-71B1-6D0F-56F9-9988E20833C5}"/>
              </a:ext>
            </a:extLst>
          </p:cNvPr>
          <p:cNvSpPr>
            <a:spLocks noGrp="1"/>
          </p:cNvSpPr>
          <p:nvPr>
            <p:ph type="title"/>
          </p:nvPr>
        </p:nvSpPr>
        <p:spPr/>
        <p:txBody>
          <a:bodyPr/>
          <a:lstStyle/>
          <a:p>
            <a:r>
              <a:rPr lang="en-US" dirty="0"/>
              <a:t>Sensirion has vast technology capabilities and expertise</a:t>
            </a:r>
          </a:p>
        </p:txBody>
      </p:sp>
      <p:sp>
        <p:nvSpPr>
          <p:cNvPr id="3" name="Slide Number Placeholder 2">
            <a:extLst>
              <a:ext uri="{FF2B5EF4-FFF2-40B4-BE49-F238E27FC236}">
                <a16:creationId xmlns:a16="http://schemas.microsoft.com/office/drawing/2014/main" id="{D7C8FFDC-C68F-65BC-B7DE-F51542B44EB8}"/>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4</a:t>
            </a:fld>
            <a:endParaRPr lang="de-CH" dirty="0"/>
          </a:p>
        </p:txBody>
      </p:sp>
      <p:pic>
        <p:nvPicPr>
          <p:cNvPr id="6" name="Picture 5">
            <a:extLst>
              <a:ext uri="{FF2B5EF4-FFF2-40B4-BE49-F238E27FC236}">
                <a16:creationId xmlns:a16="http://schemas.microsoft.com/office/drawing/2014/main" id="{C1B784FA-4D2D-8273-E425-F6B83A326A78}"/>
              </a:ext>
            </a:extLst>
          </p:cNvPr>
          <p:cNvPicPr>
            <a:picLocks noChangeAspect="1"/>
          </p:cNvPicPr>
          <p:nvPr/>
        </p:nvPicPr>
        <p:blipFill>
          <a:blip r:embed="rId2"/>
          <a:stretch>
            <a:fillRect/>
          </a:stretch>
        </p:blipFill>
        <p:spPr>
          <a:xfrm>
            <a:off x="839787" y="789403"/>
            <a:ext cx="9964054" cy="5625661"/>
          </a:xfrm>
          <a:prstGeom prst="rect">
            <a:avLst/>
          </a:prstGeom>
        </p:spPr>
      </p:pic>
    </p:spTree>
    <p:extLst>
      <p:ext uri="{BB962C8B-B14F-4D97-AF65-F5344CB8AC3E}">
        <p14:creationId xmlns:p14="http://schemas.microsoft.com/office/powerpoint/2010/main" val="17480598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62B16-71B1-6D0F-56F9-9988E20833C5}"/>
              </a:ext>
            </a:extLst>
          </p:cNvPr>
          <p:cNvSpPr>
            <a:spLocks noGrp="1"/>
          </p:cNvSpPr>
          <p:nvPr>
            <p:ph type="title"/>
          </p:nvPr>
        </p:nvSpPr>
        <p:spPr/>
        <p:txBody>
          <a:bodyPr/>
          <a:lstStyle/>
          <a:p>
            <a:r>
              <a:rPr lang="en-US" dirty="0"/>
              <a:t>Sensirion has vast technology capabilities and expertise</a:t>
            </a:r>
          </a:p>
        </p:txBody>
      </p:sp>
      <p:sp>
        <p:nvSpPr>
          <p:cNvPr id="3" name="Slide Number Placeholder 2">
            <a:extLst>
              <a:ext uri="{FF2B5EF4-FFF2-40B4-BE49-F238E27FC236}">
                <a16:creationId xmlns:a16="http://schemas.microsoft.com/office/drawing/2014/main" id="{D7C8FFDC-C68F-65BC-B7DE-F51542B44EB8}"/>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5</a:t>
            </a:fld>
            <a:endParaRPr lang="de-CH" dirty="0"/>
          </a:p>
        </p:txBody>
      </p:sp>
      <p:pic>
        <p:nvPicPr>
          <p:cNvPr id="4" name="Picture 3">
            <a:extLst>
              <a:ext uri="{FF2B5EF4-FFF2-40B4-BE49-F238E27FC236}">
                <a16:creationId xmlns:a16="http://schemas.microsoft.com/office/drawing/2014/main" id="{D8898DC1-AFD0-9CC4-79BF-DCF87AF3AF58}"/>
              </a:ext>
            </a:extLst>
          </p:cNvPr>
          <p:cNvPicPr>
            <a:picLocks noChangeAspect="1"/>
          </p:cNvPicPr>
          <p:nvPr/>
        </p:nvPicPr>
        <p:blipFill>
          <a:blip r:embed="rId2"/>
          <a:stretch>
            <a:fillRect/>
          </a:stretch>
        </p:blipFill>
        <p:spPr>
          <a:xfrm>
            <a:off x="1162843" y="789403"/>
            <a:ext cx="9865888" cy="5658016"/>
          </a:xfrm>
          <a:prstGeom prst="rect">
            <a:avLst/>
          </a:prstGeom>
        </p:spPr>
      </p:pic>
    </p:spTree>
    <p:extLst>
      <p:ext uri="{BB962C8B-B14F-4D97-AF65-F5344CB8AC3E}">
        <p14:creationId xmlns:p14="http://schemas.microsoft.com/office/powerpoint/2010/main" val="17350976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Indoor Air Quality</a:t>
            </a:r>
          </a:p>
        </p:txBody>
      </p:sp>
    </p:spTree>
    <p:extLst>
      <p:ext uri="{BB962C8B-B14F-4D97-AF65-F5344CB8AC3E}">
        <p14:creationId xmlns:p14="http://schemas.microsoft.com/office/powerpoint/2010/main" val="1711938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A47D-1D63-CF49-D5A6-C0A93A0DD14E}"/>
              </a:ext>
            </a:extLst>
          </p:cNvPr>
          <p:cNvSpPr>
            <a:spLocks noGrp="1"/>
          </p:cNvSpPr>
          <p:nvPr>
            <p:ph type="title"/>
          </p:nvPr>
        </p:nvSpPr>
        <p:spPr/>
        <p:txBody>
          <a:bodyPr/>
          <a:lstStyle/>
          <a:p>
            <a:r>
              <a:rPr lang="en-US"/>
              <a:t>Three reasons why we should care about Indoor Air Quality </a:t>
            </a:r>
          </a:p>
        </p:txBody>
      </p:sp>
      <p:sp>
        <p:nvSpPr>
          <p:cNvPr id="4" name="Slide Number Placeholder 3">
            <a:extLst>
              <a:ext uri="{FF2B5EF4-FFF2-40B4-BE49-F238E27FC236}">
                <a16:creationId xmlns:a16="http://schemas.microsoft.com/office/drawing/2014/main" id="{112849C6-3FF2-D849-1111-7046DBF8EC9A}"/>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7</a:t>
            </a:fld>
            <a:endParaRPr lang="de-CH"/>
          </a:p>
        </p:txBody>
      </p:sp>
      <p:sp>
        <p:nvSpPr>
          <p:cNvPr id="6" name="Slide Number Placeholder 2">
            <a:extLst>
              <a:ext uri="{FF2B5EF4-FFF2-40B4-BE49-F238E27FC236}">
                <a16:creationId xmlns:a16="http://schemas.microsoft.com/office/drawing/2014/main" id="{B52182B8-F80D-B8DA-07C7-52262E76255E}"/>
              </a:ext>
            </a:extLst>
          </p:cNvPr>
          <p:cNvSpPr txBox="1">
            <a:spLocks/>
          </p:cNvSpPr>
          <p:nvPr/>
        </p:nvSpPr>
        <p:spPr>
          <a:xfrm>
            <a:off x="11970609" y="9422478"/>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17</a:t>
            </a:fld>
            <a:endParaRPr lang="de-CH"/>
          </a:p>
        </p:txBody>
      </p:sp>
      <p:grpSp>
        <p:nvGrpSpPr>
          <p:cNvPr id="3" name="Group 2">
            <a:extLst>
              <a:ext uri="{FF2B5EF4-FFF2-40B4-BE49-F238E27FC236}">
                <a16:creationId xmlns:a16="http://schemas.microsoft.com/office/drawing/2014/main" id="{099E36E6-0DB9-E8EB-E3C9-F13A11727DA9}"/>
              </a:ext>
            </a:extLst>
          </p:cNvPr>
          <p:cNvGrpSpPr/>
          <p:nvPr/>
        </p:nvGrpSpPr>
        <p:grpSpPr>
          <a:xfrm>
            <a:off x="7966239" y="1108477"/>
            <a:ext cx="3745206" cy="5247590"/>
            <a:chOff x="7966239" y="1108477"/>
            <a:chExt cx="3745206" cy="5247590"/>
          </a:xfrm>
        </p:grpSpPr>
        <p:pic>
          <p:nvPicPr>
            <p:cNvPr id="10" name="Picture 10" descr="Flag of Germany - Wikipedia">
              <a:extLst>
                <a:ext uri="{FF2B5EF4-FFF2-40B4-BE49-F238E27FC236}">
                  <a16:creationId xmlns:a16="http://schemas.microsoft.com/office/drawing/2014/main" id="{E85683B1-4C7A-35C6-3AED-FA5BFC233FD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96658" y="5572392"/>
              <a:ext cx="727366" cy="48008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Belgium Flag Colours – Flags Web">
              <a:extLst>
                <a:ext uri="{FF2B5EF4-FFF2-40B4-BE49-F238E27FC236}">
                  <a16:creationId xmlns:a16="http://schemas.microsoft.com/office/drawing/2014/main" id="{48E15C8F-7289-E144-1440-CAE0773B1B3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00358" y="2145202"/>
              <a:ext cx="723666" cy="53062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a:extLst>
                <a:ext uri="{FF2B5EF4-FFF2-40B4-BE49-F238E27FC236}">
                  <a16:creationId xmlns:a16="http://schemas.microsoft.com/office/drawing/2014/main" id="{5C12054E-E56A-B327-745E-522BDC83726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92906" y="3051867"/>
              <a:ext cx="731118" cy="5359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a:extLst>
                <a:ext uri="{FF2B5EF4-FFF2-40B4-BE49-F238E27FC236}">
                  <a16:creationId xmlns:a16="http://schemas.microsoft.com/office/drawing/2014/main" id="{1FC10788-1AC9-2B56-83F6-E59A37E8874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66239" y="3906680"/>
              <a:ext cx="757785" cy="55573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a:extLst>
                <a:ext uri="{FF2B5EF4-FFF2-40B4-BE49-F238E27FC236}">
                  <a16:creationId xmlns:a16="http://schemas.microsoft.com/office/drawing/2014/main" id="{D7FBA2BA-BF9D-3300-96D2-E5217A3762F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96659" y="4787648"/>
              <a:ext cx="727365" cy="484910"/>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Connector 46">
              <a:extLst>
                <a:ext uri="{FF2B5EF4-FFF2-40B4-BE49-F238E27FC236}">
                  <a16:creationId xmlns:a16="http://schemas.microsoft.com/office/drawing/2014/main" id="{2A6A1695-56DD-A7A6-AB5F-194F8B483837}"/>
                </a:ext>
              </a:extLst>
            </p:cNvPr>
            <p:cNvCxnSpPr>
              <a:cxnSpLocks/>
            </p:cNvCxnSpPr>
            <p:nvPr/>
          </p:nvCxnSpPr>
          <p:spPr>
            <a:xfrm flipV="1">
              <a:off x="8919484" y="1213045"/>
              <a:ext cx="0" cy="65340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48" name="Picture 8" descr="Flag of the United States - Wikipedia">
              <a:extLst>
                <a:ext uri="{FF2B5EF4-FFF2-40B4-BE49-F238E27FC236}">
                  <a16:creationId xmlns:a16="http://schemas.microsoft.com/office/drawing/2014/main" id="{52F3C76F-75C2-E028-BD07-8B92FA7E774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14201" y="1303961"/>
              <a:ext cx="709823" cy="458855"/>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06448DEA-2293-66C9-4B35-82AF3B98FDFF}"/>
                </a:ext>
              </a:extLst>
            </p:cNvPr>
            <p:cNvSpPr txBox="1"/>
            <p:nvPr/>
          </p:nvSpPr>
          <p:spPr>
            <a:xfrm>
              <a:off x="8987296" y="1108477"/>
              <a:ext cx="2724149" cy="5247590"/>
            </a:xfrm>
            <a:prstGeom prst="rect">
              <a:avLst/>
            </a:prstGeom>
            <a:noFill/>
          </p:spPr>
          <p:txBody>
            <a:bodyPr wrap="square">
              <a:spAutoFit/>
            </a:bodyPr>
            <a:lstStyle/>
            <a:p>
              <a:pPr algn="l"/>
              <a:r>
                <a:rPr lang="en-US" sz="1600" b="1" i="0">
                  <a:effectLst/>
                  <a:latin typeface="+mj-lt"/>
                </a:rPr>
                <a:t>Hundreds of billions of dollars </a:t>
              </a:r>
              <a:r>
                <a:rPr lang="en-US" sz="1600" i="0">
                  <a:effectLst/>
                  <a:latin typeface="+mj-lt"/>
                </a:rPr>
                <a:t>in federal funds can be used </a:t>
              </a:r>
              <a:r>
                <a:rPr lang="en-US" sz="1600" b="1" i="0">
                  <a:effectLst/>
                  <a:latin typeface="+mj-lt"/>
                </a:rPr>
                <a:t>to improve indoor air quality</a:t>
              </a:r>
              <a:r>
                <a:rPr lang="en-US" sz="1600" i="0">
                  <a:effectLst/>
                  <a:latin typeface="+mj-lt"/>
                </a:rPr>
                <a:t>.</a:t>
              </a:r>
            </a:p>
            <a:p>
              <a:pPr algn="l"/>
              <a:endParaRPr lang="en-US" sz="1000">
                <a:latin typeface="+mj-lt"/>
              </a:endParaRPr>
            </a:p>
            <a:p>
              <a:r>
                <a:rPr lang="en-US" sz="1600"/>
                <a:t>Belgium’s “ventilation plan”: </a:t>
              </a:r>
              <a:r>
                <a:rPr lang="en-US" sz="1600" b="1"/>
                <a:t>CO</a:t>
              </a:r>
              <a:r>
                <a:rPr lang="en-US" sz="1600" b="1" baseline="-25000"/>
                <a:t>2</a:t>
              </a:r>
              <a:r>
                <a:rPr lang="en-US" sz="1600"/>
                <a:t> meters need to be placed in </a:t>
              </a:r>
              <a:r>
                <a:rPr lang="en-US" sz="1600" b="1"/>
                <a:t>every public room</a:t>
              </a:r>
              <a:r>
                <a:rPr lang="en-US" sz="1600"/>
                <a:t>.</a:t>
              </a:r>
            </a:p>
            <a:p>
              <a:endParaRPr lang="en-US" sz="1000"/>
            </a:p>
            <a:p>
              <a:r>
                <a:rPr lang="en-US" sz="1600">
                  <a:latin typeface="Arial Narrow"/>
                </a:rPr>
                <a:t>Classrooms are equipped with </a:t>
              </a:r>
              <a:r>
                <a:rPr lang="en-US" sz="1600" b="1">
                  <a:latin typeface="Arial Narrow"/>
                </a:rPr>
                <a:t>air purifiers including CO</a:t>
              </a:r>
              <a:r>
                <a:rPr lang="en-US" sz="1600" b="1" baseline="-25000">
                  <a:latin typeface="Arial Narrow"/>
                </a:rPr>
                <a:t>2</a:t>
              </a:r>
              <a:r>
                <a:rPr lang="en-US" sz="1600" b="1">
                  <a:latin typeface="Arial Narrow"/>
                </a:rPr>
                <a:t> monitoring</a:t>
              </a:r>
            </a:p>
            <a:p>
              <a:endParaRPr lang="en-US" sz="1000" b="1">
                <a:latin typeface="Arial Narrow"/>
              </a:endParaRPr>
            </a:p>
            <a:p>
              <a:r>
                <a:rPr lang="en-US" sz="1600" b="1">
                  <a:latin typeface="Arial Narrow"/>
                </a:rPr>
                <a:t>90,000 CO2 sensors </a:t>
              </a:r>
              <a:r>
                <a:rPr lang="en-US" sz="1600">
                  <a:latin typeface="Arial Narrow"/>
                </a:rPr>
                <a:t>were installed in classrooms across Quebec</a:t>
              </a:r>
            </a:p>
            <a:p>
              <a:endParaRPr lang="en-US" sz="1500" b="1">
                <a:latin typeface="Arial Narrow"/>
              </a:endParaRPr>
            </a:p>
            <a:p>
              <a:r>
                <a:rPr lang="en-US" sz="1600"/>
                <a:t>So far, schools have received </a:t>
              </a:r>
              <a:r>
                <a:rPr lang="en-US" sz="1600" b="1"/>
                <a:t>over 300,000 CO2 monitors</a:t>
              </a:r>
              <a:endParaRPr lang="en-US" sz="1600"/>
            </a:p>
            <a:p>
              <a:endParaRPr lang="en-US" sz="1800" b="1"/>
            </a:p>
            <a:p>
              <a:r>
                <a:rPr lang="en-US" sz="1600"/>
                <a:t>Investing</a:t>
              </a:r>
              <a:r>
                <a:rPr lang="en-US" sz="1600" b="1"/>
                <a:t> €500m </a:t>
              </a:r>
              <a:r>
                <a:rPr lang="en-US" sz="1600"/>
                <a:t>in improving </a:t>
              </a:r>
              <a:r>
                <a:rPr lang="en-US" sz="1600" b="1"/>
                <a:t>ventilation systems</a:t>
              </a:r>
            </a:p>
            <a:p>
              <a:endParaRPr lang="en-US" sz="1600" b="1"/>
            </a:p>
          </p:txBody>
        </p:sp>
        <p:cxnSp>
          <p:nvCxnSpPr>
            <p:cNvPr id="52" name="Straight Connector 51">
              <a:extLst>
                <a:ext uri="{FF2B5EF4-FFF2-40B4-BE49-F238E27FC236}">
                  <a16:creationId xmlns:a16="http://schemas.microsoft.com/office/drawing/2014/main" id="{FB67F96F-3823-8F37-3358-C37BFCF01303}"/>
                </a:ext>
              </a:extLst>
            </p:cNvPr>
            <p:cNvCxnSpPr>
              <a:cxnSpLocks/>
            </p:cNvCxnSpPr>
            <p:nvPr/>
          </p:nvCxnSpPr>
          <p:spPr>
            <a:xfrm flipV="1">
              <a:off x="8919484" y="2105831"/>
              <a:ext cx="0" cy="65340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8484158-10AD-A861-06A1-02F5A60FB9BC}"/>
                </a:ext>
              </a:extLst>
            </p:cNvPr>
            <p:cNvCxnSpPr>
              <a:cxnSpLocks/>
            </p:cNvCxnSpPr>
            <p:nvPr/>
          </p:nvCxnSpPr>
          <p:spPr>
            <a:xfrm flipV="1">
              <a:off x="8919484" y="2974487"/>
              <a:ext cx="0" cy="65340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AC1057C-E506-10A4-ED77-A2322DFD4265}"/>
                </a:ext>
              </a:extLst>
            </p:cNvPr>
            <p:cNvCxnSpPr>
              <a:cxnSpLocks/>
            </p:cNvCxnSpPr>
            <p:nvPr/>
          </p:nvCxnSpPr>
          <p:spPr>
            <a:xfrm flipV="1">
              <a:off x="8919484" y="3862193"/>
              <a:ext cx="0" cy="65340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3804B64-0C14-542E-B0E9-3CE56F06E5BF}"/>
                </a:ext>
              </a:extLst>
            </p:cNvPr>
            <p:cNvCxnSpPr>
              <a:cxnSpLocks/>
            </p:cNvCxnSpPr>
            <p:nvPr/>
          </p:nvCxnSpPr>
          <p:spPr>
            <a:xfrm flipV="1">
              <a:off x="8919484" y="4790054"/>
              <a:ext cx="0" cy="482504"/>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EB0CFF5-07A5-6ED1-0274-C5F50CC769A0}"/>
                </a:ext>
              </a:extLst>
            </p:cNvPr>
            <p:cNvCxnSpPr>
              <a:cxnSpLocks/>
            </p:cNvCxnSpPr>
            <p:nvPr/>
          </p:nvCxnSpPr>
          <p:spPr>
            <a:xfrm flipV="1">
              <a:off x="8919484" y="5572392"/>
              <a:ext cx="0" cy="480081"/>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6C7BC6DB-8F8B-193A-CAF5-3F845A26503A}"/>
              </a:ext>
            </a:extLst>
          </p:cNvPr>
          <p:cNvGrpSpPr/>
          <p:nvPr/>
        </p:nvGrpSpPr>
        <p:grpSpPr>
          <a:xfrm>
            <a:off x="853974" y="4912758"/>
            <a:ext cx="6310685" cy="1317874"/>
            <a:chOff x="674315" y="7387270"/>
            <a:chExt cx="6836339" cy="1427647"/>
          </a:xfrm>
        </p:grpSpPr>
        <p:sp>
          <p:nvSpPr>
            <p:cNvPr id="86" name="Rectangle: Rounded Corners 49">
              <a:extLst>
                <a:ext uri="{FF2B5EF4-FFF2-40B4-BE49-F238E27FC236}">
                  <a16:creationId xmlns:a16="http://schemas.microsoft.com/office/drawing/2014/main" id="{EC87AB1C-22C3-2429-94B1-55711AED5A4E}"/>
                </a:ext>
              </a:extLst>
            </p:cNvPr>
            <p:cNvSpPr/>
            <p:nvPr/>
          </p:nvSpPr>
          <p:spPr>
            <a:xfrm>
              <a:off x="4168967" y="7387270"/>
              <a:ext cx="3341687" cy="1427646"/>
            </a:xfrm>
            <a:prstGeom prst="roundRect">
              <a:avLst>
                <a:gd name="adj" fmla="val 8138"/>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7" name="Rectangle 86">
              <a:extLst>
                <a:ext uri="{FF2B5EF4-FFF2-40B4-BE49-F238E27FC236}">
                  <a16:creationId xmlns:a16="http://schemas.microsoft.com/office/drawing/2014/main" id="{2D537309-28A5-92C2-096F-BD10DE7C25CE}"/>
                </a:ext>
              </a:extLst>
            </p:cNvPr>
            <p:cNvSpPr/>
            <p:nvPr/>
          </p:nvSpPr>
          <p:spPr>
            <a:xfrm>
              <a:off x="5261350" y="7767523"/>
              <a:ext cx="2111981" cy="677108"/>
            </a:xfrm>
            <a:prstGeom prst="rect">
              <a:avLst/>
            </a:prstGeom>
          </p:spPr>
          <p:txBody>
            <a:bodyPr wrap="square" anchor="ctr">
              <a:spAutoFit/>
            </a:bodyPr>
            <a:lstStyle/>
            <a:p>
              <a:r>
                <a:rPr lang="en-US" sz="1400" b="0" i="0">
                  <a:solidFill>
                    <a:schemeClr val="bg1"/>
                  </a:solidFill>
                  <a:effectLst/>
                  <a:latin typeface="+mj-lt"/>
                </a:rPr>
                <a:t>Most people spend </a:t>
              </a:r>
            </a:p>
            <a:p>
              <a:r>
                <a:rPr lang="en-US" sz="2400" b="1">
                  <a:solidFill>
                    <a:schemeClr val="bg1"/>
                  </a:solidFill>
                </a:rPr>
                <a:t>90% </a:t>
              </a:r>
              <a:r>
                <a:rPr lang="en-US" sz="1400" b="0" i="0">
                  <a:solidFill>
                    <a:schemeClr val="bg1"/>
                  </a:solidFill>
                  <a:effectLst/>
                  <a:latin typeface="+mj-lt"/>
                </a:rPr>
                <a:t>of their time indoors </a:t>
              </a:r>
            </a:p>
          </p:txBody>
        </p:sp>
        <p:grpSp>
          <p:nvGrpSpPr>
            <p:cNvPr id="88" name="Group 87">
              <a:extLst>
                <a:ext uri="{FF2B5EF4-FFF2-40B4-BE49-F238E27FC236}">
                  <a16:creationId xmlns:a16="http://schemas.microsoft.com/office/drawing/2014/main" id="{A81A3220-21DD-E9CD-1F31-0303967ADF9C}"/>
                </a:ext>
              </a:extLst>
            </p:cNvPr>
            <p:cNvGrpSpPr/>
            <p:nvPr/>
          </p:nvGrpSpPr>
          <p:grpSpPr>
            <a:xfrm>
              <a:off x="4459267" y="7786037"/>
              <a:ext cx="640080" cy="640080"/>
              <a:chOff x="6661431" y="2189755"/>
              <a:chExt cx="640080" cy="640080"/>
            </a:xfrm>
          </p:grpSpPr>
          <p:sp>
            <p:nvSpPr>
              <p:cNvPr id="89" name="Oval 88">
                <a:extLst>
                  <a:ext uri="{FF2B5EF4-FFF2-40B4-BE49-F238E27FC236}">
                    <a16:creationId xmlns:a16="http://schemas.microsoft.com/office/drawing/2014/main" id="{274C42FF-EEF2-F8EC-DCE7-48182D9E1BDF}"/>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0" name="Oval 89">
                <a:extLst>
                  <a:ext uri="{FF2B5EF4-FFF2-40B4-BE49-F238E27FC236}">
                    <a16:creationId xmlns:a16="http://schemas.microsoft.com/office/drawing/2014/main" id="{2E950A05-192B-3858-268C-80BB3F42FBC3}"/>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91" name="Rectangle: Rounded Corners 49">
              <a:extLst>
                <a:ext uri="{FF2B5EF4-FFF2-40B4-BE49-F238E27FC236}">
                  <a16:creationId xmlns:a16="http://schemas.microsoft.com/office/drawing/2014/main" id="{21F743C8-0F09-8313-3DA8-3465090D5573}"/>
                </a:ext>
              </a:extLst>
            </p:cNvPr>
            <p:cNvSpPr/>
            <p:nvPr/>
          </p:nvSpPr>
          <p:spPr>
            <a:xfrm>
              <a:off x="674315" y="7387271"/>
              <a:ext cx="3341687" cy="1427646"/>
            </a:xfrm>
            <a:prstGeom prst="roundRect">
              <a:avLst>
                <a:gd name="adj" fmla="val 8138"/>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2" name="Rectangle 91">
              <a:extLst>
                <a:ext uri="{FF2B5EF4-FFF2-40B4-BE49-F238E27FC236}">
                  <a16:creationId xmlns:a16="http://schemas.microsoft.com/office/drawing/2014/main" id="{11C58832-6820-CF80-C16E-D3AF42487920}"/>
                </a:ext>
              </a:extLst>
            </p:cNvPr>
            <p:cNvSpPr/>
            <p:nvPr/>
          </p:nvSpPr>
          <p:spPr>
            <a:xfrm>
              <a:off x="1743463" y="7654818"/>
              <a:ext cx="2110064" cy="892552"/>
            </a:xfrm>
            <a:prstGeom prst="rect">
              <a:avLst/>
            </a:prstGeom>
          </p:spPr>
          <p:txBody>
            <a:bodyPr wrap="square" anchor="t">
              <a:spAutoFit/>
            </a:bodyPr>
            <a:lstStyle/>
            <a:p>
              <a:r>
                <a:rPr lang="en-US" sz="2400" b="1">
                  <a:solidFill>
                    <a:schemeClr val="bg1"/>
                  </a:solidFill>
                </a:rPr>
                <a:t>96% </a:t>
              </a:r>
            </a:p>
            <a:p>
              <a:r>
                <a:rPr lang="en-US" sz="1400" b="0" i="0">
                  <a:solidFill>
                    <a:schemeClr val="bg1"/>
                  </a:solidFill>
                  <a:effectLst/>
                  <a:latin typeface="+mj-lt"/>
                </a:rPr>
                <a:t>of homes have at least one indoor air quality problem </a:t>
              </a:r>
            </a:p>
          </p:txBody>
        </p:sp>
        <p:grpSp>
          <p:nvGrpSpPr>
            <p:cNvPr id="93" name="Group 92">
              <a:extLst>
                <a:ext uri="{FF2B5EF4-FFF2-40B4-BE49-F238E27FC236}">
                  <a16:creationId xmlns:a16="http://schemas.microsoft.com/office/drawing/2014/main" id="{C23E8126-4DEC-454A-3C54-0E3E7C2B9DFE}"/>
                </a:ext>
              </a:extLst>
            </p:cNvPr>
            <p:cNvGrpSpPr/>
            <p:nvPr/>
          </p:nvGrpSpPr>
          <p:grpSpPr>
            <a:xfrm>
              <a:off x="941380" y="7781054"/>
              <a:ext cx="640080" cy="640080"/>
              <a:chOff x="6661431" y="2189755"/>
              <a:chExt cx="640080" cy="640080"/>
            </a:xfrm>
          </p:grpSpPr>
          <p:sp>
            <p:nvSpPr>
              <p:cNvPr id="94" name="Oval 93">
                <a:extLst>
                  <a:ext uri="{FF2B5EF4-FFF2-40B4-BE49-F238E27FC236}">
                    <a16:creationId xmlns:a16="http://schemas.microsoft.com/office/drawing/2014/main" id="{268A8A21-48E0-3F5C-EB1F-FDE877FE145C}"/>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5" name="Oval 94">
                <a:extLst>
                  <a:ext uri="{FF2B5EF4-FFF2-40B4-BE49-F238E27FC236}">
                    <a16:creationId xmlns:a16="http://schemas.microsoft.com/office/drawing/2014/main" id="{03771C4C-D08A-FE93-08B9-3A69EF7740B8}"/>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pic>
          <p:nvPicPr>
            <p:cNvPr id="102" name="Graphic 101">
              <a:extLst>
                <a:ext uri="{FF2B5EF4-FFF2-40B4-BE49-F238E27FC236}">
                  <a16:creationId xmlns:a16="http://schemas.microsoft.com/office/drawing/2014/main" id="{5051CE1E-2815-4FFE-5267-47369FF7942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30547" y="7957317"/>
              <a:ext cx="297521" cy="297521"/>
            </a:xfrm>
            <a:prstGeom prst="rect">
              <a:avLst/>
            </a:prstGeom>
          </p:spPr>
        </p:pic>
        <p:pic>
          <p:nvPicPr>
            <p:cNvPr id="103" name="Graphic 102">
              <a:extLst>
                <a:ext uri="{FF2B5EF4-FFF2-40B4-BE49-F238E27FC236}">
                  <a16:creationId xmlns:a16="http://schemas.microsoft.com/office/drawing/2014/main" id="{7FB9A717-033D-CD93-2911-0F9698D50F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2309" y="7952334"/>
              <a:ext cx="305961" cy="297521"/>
            </a:xfrm>
            <a:prstGeom prst="rect">
              <a:avLst/>
            </a:prstGeom>
          </p:spPr>
        </p:pic>
      </p:grpSp>
      <p:sp>
        <p:nvSpPr>
          <p:cNvPr id="113" name="Rectangle: Rounded Corners 49">
            <a:extLst>
              <a:ext uri="{FF2B5EF4-FFF2-40B4-BE49-F238E27FC236}">
                <a16:creationId xmlns:a16="http://schemas.microsoft.com/office/drawing/2014/main" id="{2FA17D28-A441-DA3B-AE9D-7635C59F7F93}"/>
              </a:ext>
            </a:extLst>
          </p:cNvPr>
          <p:cNvSpPr/>
          <p:nvPr/>
        </p:nvSpPr>
        <p:spPr>
          <a:xfrm>
            <a:off x="866045" y="1092145"/>
            <a:ext cx="2225449" cy="1755103"/>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Rounded Corners 49">
            <a:extLst>
              <a:ext uri="{FF2B5EF4-FFF2-40B4-BE49-F238E27FC236}">
                <a16:creationId xmlns:a16="http://schemas.microsoft.com/office/drawing/2014/main" id="{2B900D33-5165-AA1D-6805-FB3CE59A41B6}"/>
              </a:ext>
            </a:extLst>
          </p:cNvPr>
          <p:cNvSpPr/>
          <p:nvPr/>
        </p:nvSpPr>
        <p:spPr>
          <a:xfrm>
            <a:off x="2868742" y="3069421"/>
            <a:ext cx="2225449" cy="1643170"/>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Rounded Corners 49">
            <a:extLst>
              <a:ext uri="{FF2B5EF4-FFF2-40B4-BE49-F238E27FC236}">
                <a16:creationId xmlns:a16="http://schemas.microsoft.com/office/drawing/2014/main" id="{FD50A7E3-7242-3D10-022E-66EE673DC5B2}"/>
              </a:ext>
            </a:extLst>
          </p:cNvPr>
          <p:cNvSpPr/>
          <p:nvPr/>
        </p:nvSpPr>
        <p:spPr>
          <a:xfrm>
            <a:off x="4879636" y="1112845"/>
            <a:ext cx="2225449" cy="1755103"/>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D9DB564A-4D5C-4C91-B956-7FC39478BE40}"/>
              </a:ext>
            </a:extLst>
          </p:cNvPr>
          <p:cNvSpPr/>
          <p:nvPr/>
        </p:nvSpPr>
        <p:spPr>
          <a:xfrm>
            <a:off x="5100505" y="1913314"/>
            <a:ext cx="1783710" cy="738664"/>
          </a:xfrm>
          <a:prstGeom prst="rect">
            <a:avLst/>
          </a:prstGeom>
        </p:spPr>
        <p:txBody>
          <a:bodyPr wrap="square" anchor="t">
            <a:spAutoFit/>
          </a:bodyPr>
          <a:lstStyle/>
          <a:p>
            <a:pPr marL="0" lvl="1">
              <a:defRPr/>
            </a:pPr>
            <a:r>
              <a:rPr lang="en-US" sz="1400"/>
              <a:t>people die each year as a result of indoor air </a:t>
            </a:r>
            <a:r>
              <a:rPr lang="en-US" sz="1400" b="1"/>
              <a:t>pollution exposure </a:t>
            </a:r>
          </a:p>
        </p:txBody>
      </p:sp>
      <p:grpSp>
        <p:nvGrpSpPr>
          <p:cNvPr id="71" name="Group 70">
            <a:extLst>
              <a:ext uri="{FF2B5EF4-FFF2-40B4-BE49-F238E27FC236}">
                <a16:creationId xmlns:a16="http://schemas.microsoft.com/office/drawing/2014/main" id="{F2D0A1C5-9AAF-247A-29F4-77C6B954F731}"/>
              </a:ext>
            </a:extLst>
          </p:cNvPr>
          <p:cNvGrpSpPr/>
          <p:nvPr/>
        </p:nvGrpSpPr>
        <p:grpSpPr>
          <a:xfrm>
            <a:off x="5024047" y="1208335"/>
            <a:ext cx="640080" cy="640080"/>
            <a:chOff x="6661431" y="2189755"/>
            <a:chExt cx="640080" cy="640080"/>
          </a:xfrm>
        </p:grpSpPr>
        <p:sp>
          <p:nvSpPr>
            <p:cNvPr id="72" name="Oval 71">
              <a:extLst>
                <a:ext uri="{FF2B5EF4-FFF2-40B4-BE49-F238E27FC236}">
                  <a16:creationId xmlns:a16="http://schemas.microsoft.com/office/drawing/2014/main" id="{09BF01C4-210F-52B4-57B1-90286A457A37}"/>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542A3FA7-25C1-6587-DA7E-A138AD32550A}"/>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4" name="Graphic 103">
            <a:extLst>
              <a:ext uri="{FF2B5EF4-FFF2-40B4-BE49-F238E27FC236}">
                <a16:creationId xmlns:a16="http://schemas.microsoft.com/office/drawing/2014/main" id="{0369402C-4B8C-9466-E3EC-8AEC05BC2DD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170382" y="1347125"/>
            <a:ext cx="360000" cy="360000"/>
          </a:xfrm>
          <a:prstGeom prst="rect">
            <a:avLst/>
          </a:prstGeom>
        </p:spPr>
      </p:pic>
      <p:sp>
        <p:nvSpPr>
          <p:cNvPr id="123" name="TextBox 122">
            <a:extLst>
              <a:ext uri="{FF2B5EF4-FFF2-40B4-BE49-F238E27FC236}">
                <a16:creationId xmlns:a16="http://schemas.microsoft.com/office/drawing/2014/main" id="{17D86B3D-684E-6EEB-E535-838E29E4C118}"/>
              </a:ext>
            </a:extLst>
          </p:cNvPr>
          <p:cNvSpPr txBox="1"/>
          <p:nvPr/>
        </p:nvSpPr>
        <p:spPr>
          <a:xfrm>
            <a:off x="5683466" y="1330212"/>
            <a:ext cx="1444977" cy="461665"/>
          </a:xfrm>
          <a:prstGeom prst="rect">
            <a:avLst/>
          </a:prstGeom>
          <a:noFill/>
        </p:spPr>
        <p:txBody>
          <a:bodyPr wrap="square">
            <a:spAutoFit/>
          </a:bodyPr>
          <a:lstStyle/>
          <a:p>
            <a:pPr marL="0" lvl="1">
              <a:defRPr/>
            </a:pPr>
            <a:r>
              <a:rPr lang="en-US" sz="2400" b="1">
                <a:solidFill>
                  <a:srgbClr val="66CC33"/>
                </a:solidFill>
                <a:sym typeface="Wingdings" panose="05000000000000000000" pitchFamily="2" charset="2"/>
              </a:rPr>
              <a:t>3.2 million </a:t>
            </a:r>
          </a:p>
        </p:txBody>
      </p:sp>
      <p:grpSp>
        <p:nvGrpSpPr>
          <p:cNvPr id="124" name="Group 123">
            <a:extLst>
              <a:ext uri="{FF2B5EF4-FFF2-40B4-BE49-F238E27FC236}">
                <a16:creationId xmlns:a16="http://schemas.microsoft.com/office/drawing/2014/main" id="{E16FC37F-B329-CFD4-CA02-1A231BC1566C}"/>
              </a:ext>
            </a:extLst>
          </p:cNvPr>
          <p:cNvGrpSpPr/>
          <p:nvPr/>
        </p:nvGrpSpPr>
        <p:grpSpPr>
          <a:xfrm>
            <a:off x="1026783" y="1240374"/>
            <a:ext cx="640080" cy="640080"/>
            <a:chOff x="6661431" y="2189755"/>
            <a:chExt cx="640080" cy="640080"/>
          </a:xfrm>
        </p:grpSpPr>
        <p:sp>
          <p:nvSpPr>
            <p:cNvPr id="125" name="Oval 124">
              <a:extLst>
                <a:ext uri="{FF2B5EF4-FFF2-40B4-BE49-F238E27FC236}">
                  <a16:creationId xmlns:a16="http://schemas.microsoft.com/office/drawing/2014/main" id="{B2B5DDEC-D805-EC3A-46E7-E26E962CB6D0}"/>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F12CF07C-8779-B9E2-6656-13A773BEA909}"/>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7" name="Rectangle 126">
            <a:extLst>
              <a:ext uri="{FF2B5EF4-FFF2-40B4-BE49-F238E27FC236}">
                <a16:creationId xmlns:a16="http://schemas.microsoft.com/office/drawing/2014/main" id="{15525BA3-C4D0-4C5C-0B24-02C67B44916E}"/>
              </a:ext>
            </a:extLst>
          </p:cNvPr>
          <p:cNvSpPr/>
          <p:nvPr/>
        </p:nvSpPr>
        <p:spPr>
          <a:xfrm>
            <a:off x="1026783" y="1960636"/>
            <a:ext cx="1850284" cy="738664"/>
          </a:xfrm>
          <a:prstGeom prst="rect">
            <a:avLst/>
          </a:prstGeom>
        </p:spPr>
        <p:txBody>
          <a:bodyPr wrap="square" anchor="t">
            <a:spAutoFit/>
          </a:bodyPr>
          <a:lstStyle/>
          <a:p>
            <a:pPr marL="0" lvl="1">
              <a:defRPr/>
            </a:pPr>
            <a:r>
              <a:rPr lang="en-US" sz="1400"/>
              <a:t>of </a:t>
            </a:r>
            <a:r>
              <a:rPr lang="en-US" sz="1400" b="1"/>
              <a:t>COVID-19 infections </a:t>
            </a:r>
            <a:r>
              <a:rPr lang="en-US" sz="1400"/>
              <a:t>are associated with bad indoor air quality</a:t>
            </a:r>
          </a:p>
        </p:txBody>
      </p:sp>
      <p:sp>
        <p:nvSpPr>
          <p:cNvPr id="128" name="Rectangle 127">
            <a:extLst>
              <a:ext uri="{FF2B5EF4-FFF2-40B4-BE49-F238E27FC236}">
                <a16:creationId xmlns:a16="http://schemas.microsoft.com/office/drawing/2014/main" id="{77804381-4032-14D1-2DD0-A56768536330}"/>
              </a:ext>
            </a:extLst>
          </p:cNvPr>
          <p:cNvSpPr/>
          <p:nvPr/>
        </p:nvSpPr>
        <p:spPr>
          <a:xfrm>
            <a:off x="3036041" y="3833320"/>
            <a:ext cx="1956180" cy="738664"/>
          </a:xfrm>
          <a:prstGeom prst="rect">
            <a:avLst/>
          </a:prstGeom>
        </p:spPr>
        <p:txBody>
          <a:bodyPr wrap="square" anchor="t">
            <a:spAutoFit/>
          </a:bodyPr>
          <a:lstStyle/>
          <a:p>
            <a:pPr marL="0" lvl="1">
              <a:defRPr/>
            </a:pPr>
            <a:r>
              <a:rPr lang="en-US" sz="1400" b="1"/>
              <a:t>Cognitive performance </a:t>
            </a:r>
            <a:r>
              <a:rPr lang="en-US" sz="1400"/>
              <a:t>increase</a:t>
            </a:r>
            <a:r>
              <a:rPr lang="en-US" sz="1400" b="1"/>
              <a:t> </a:t>
            </a:r>
            <a:r>
              <a:rPr lang="en-US" sz="1400"/>
              <a:t>in good vs. bad indoor air </a:t>
            </a:r>
          </a:p>
        </p:txBody>
      </p:sp>
      <p:sp>
        <p:nvSpPr>
          <p:cNvPr id="7" name="TextBox 6">
            <a:extLst>
              <a:ext uri="{FF2B5EF4-FFF2-40B4-BE49-F238E27FC236}">
                <a16:creationId xmlns:a16="http://schemas.microsoft.com/office/drawing/2014/main" id="{6D3B1980-EBFA-92C9-990A-24CD2BC31A71}"/>
              </a:ext>
            </a:extLst>
          </p:cNvPr>
          <p:cNvSpPr txBox="1"/>
          <p:nvPr/>
        </p:nvSpPr>
        <p:spPr>
          <a:xfrm>
            <a:off x="3695461" y="3277805"/>
            <a:ext cx="1260650" cy="461665"/>
          </a:xfrm>
          <a:prstGeom prst="rect">
            <a:avLst/>
          </a:prstGeom>
          <a:noFill/>
        </p:spPr>
        <p:txBody>
          <a:bodyPr wrap="square">
            <a:spAutoFit/>
          </a:bodyPr>
          <a:lstStyle/>
          <a:p>
            <a:pPr marL="0" lvl="1">
              <a:defRPr/>
            </a:pPr>
            <a:r>
              <a:rPr lang="en-US" sz="2400" b="1">
                <a:solidFill>
                  <a:srgbClr val="66CC33"/>
                </a:solidFill>
                <a:sym typeface="Wingdings" panose="05000000000000000000" pitchFamily="2" charset="2"/>
              </a:rPr>
              <a:t>+ 61 % </a:t>
            </a:r>
          </a:p>
        </p:txBody>
      </p:sp>
      <p:sp>
        <p:nvSpPr>
          <p:cNvPr id="8" name="TextBox 7">
            <a:extLst>
              <a:ext uri="{FF2B5EF4-FFF2-40B4-BE49-F238E27FC236}">
                <a16:creationId xmlns:a16="http://schemas.microsoft.com/office/drawing/2014/main" id="{B6DE5C4A-4257-9706-FBFC-F16CCB975A00}"/>
              </a:ext>
            </a:extLst>
          </p:cNvPr>
          <p:cNvSpPr txBox="1"/>
          <p:nvPr/>
        </p:nvSpPr>
        <p:spPr>
          <a:xfrm>
            <a:off x="1768458" y="1328608"/>
            <a:ext cx="1260650" cy="461665"/>
          </a:xfrm>
          <a:prstGeom prst="rect">
            <a:avLst/>
          </a:prstGeom>
          <a:noFill/>
        </p:spPr>
        <p:txBody>
          <a:bodyPr wrap="square">
            <a:spAutoFit/>
          </a:bodyPr>
          <a:lstStyle/>
          <a:p>
            <a:pPr marL="0" lvl="1">
              <a:defRPr/>
            </a:pPr>
            <a:r>
              <a:rPr lang="en-US" sz="2400" b="1">
                <a:solidFill>
                  <a:srgbClr val="66CC33"/>
                </a:solidFill>
                <a:sym typeface="Wingdings" panose="05000000000000000000" pitchFamily="2" charset="2"/>
              </a:rPr>
              <a:t>&gt; 50 %</a:t>
            </a:r>
          </a:p>
        </p:txBody>
      </p:sp>
      <p:grpSp>
        <p:nvGrpSpPr>
          <p:cNvPr id="11" name="Group 10">
            <a:extLst>
              <a:ext uri="{FF2B5EF4-FFF2-40B4-BE49-F238E27FC236}">
                <a16:creationId xmlns:a16="http://schemas.microsoft.com/office/drawing/2014/main" id="{A82BB883-DDD9-EF1E-5266-FF468CE5E77F}"/>
              </a:ext>
            </a:extLst>
          </p:cNvPr>
          <p:cNvGrpSpPr/>
          <p:nvPr/>
        </p:nvGrpSpPr>
        <p:grpSpPr>
          <a:xfrm>
            <a:off x="3036041" y="3168019"/>
            <a:ext cx="640080" cy="640080"/>
            <a:chOff x="6661431" y="2189755"/>
            <a:chExt cx="640080" cy="640080"/>
          </a:xfrm>
        </p:grpSpPr>
        <p:sp>
          <p:nvSpPr>
            <p:cNvPr id="12" name="Oval 11">
              <a:extLst>
                <a:ext uri="{FF2B5EF4-FFF2-40B4-BE49-F238E27FC236}">
                  <a16:creationId xmlns:a16="http://schemas.microsoft.com/office/drawing/2014/main" id="{1CB7B4C9-A117-F99C-0B85-F27D6F7733DA}"/>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856B18D5-E071-025E-04F1-50305D056B58}"/>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26" name="Picture 2" descr="Healthwatch Oldham Survey - Share your views on COVID 19">
            <a:extLst>
              <a:ext uri="{FF2B5EF4-FFF2-40B4-BE49-F238E27FC236}">
                <a16:creationId xmlns:a16="http://schemas.microsoft.com/office/drawing/2014/main" id="{D25D13B1-4920-843D-EA89-8D74D57EDD70}"/>
              </a:ext>
            </a:extLst>
          </p:cNvPr>
          <p:cNvPicPr>
            <a:picLocks noChangeAspect="1" noChangeArrowheads="1"/>
          </p:cNvPicPr>
          <p:nvPr/>
        </p:nvPicPr>
        <p:blipFill>
          <a:blip r:embed="rId1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2718" y="1331232"/>
            <a:ext cx="491067" cy="49106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gnitive Icon Vector Art, Icons, and Graphics for Free Download">
            <a:extLst>
              <a:ext uri="{FF2B5EF4-FFF2-40B4-BE49-F238E27FC236}">
                <a16:creationId xmlns:a16="http://schemas.microsoft.com/office/drawing/2014/main" id="{55370603-7E8A-930E-3445-87946CB0E316}"/>
              </a:ext>
            </a:extLst>
          </p:cNvPr>
          <p:cNvPicPr>
            <a:picLocks noChangeAspect="1" noChangeArrowheads="1"/>
          </p:cNvPicPr>
          <p:nvPr/>
        </p:nvPicPr>
        <p:blipFill>
          <a:blip r:embed="rId1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40917" y="3268394"/>
            <a:ext cx="428095" cy="428095"/>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9211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AB409-DBE6-ED3B-2709-7955584AE63B}"/>
              </a:ext>
            </a:extLst>
          </p:cNvPr>
          <p:cNvSpPr>
            <a:spLocks noGrp="1"/>
          </p:cNvSpPr>
          <p:nvPr>
            <p:ph type="title"/>
          </p:nvPr>
        </p:nvSpPr>
        <p:spPr/>
        <p:txBody>
          <a:bodyPr/>
          <a:lstStyle/>
          <a:p>
            <a:r>
              <a:rPr lang="en-US"/>
              <a:t>Indoor Air Quality Trend is a great business opportunity</a:t>
            </a:r>
          </a:p>
        </p:txBody>
      </p:sp>
      <p:sp>
        <p:nvSpPr>
          <p:cNvPr id="18" name="Rectangle: Rounded Corners 49">
            <a:extLst>
              <a:ext uri="{FF2B5EF4-FFF2-40B4-BE49-F238E27FC236}">
                <a16:creationId xmlns:a16="http://schemas.microsoft.com/office/drawing/2014/main" id="{1ADD8F5E-9894-A5ED-A7E2-15455BFA34C6}"/>
              </a:ext>
            </a:extLst>
          </p:cNvPr>
          <p:cNvSpPr/>
          <p:nvPr/>
        </p:nvSpPr>
        <p:spPr>
          <a:xfrm>
            <a:off x="1171551" y="4006851"/>
            <a:ext cx="4756210" cy="124355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Rectangle: Rounded Corners 49">
            <a:extLst>
              <a:ext uri="{FF2B5EF4-FFF2-40B4-BE49-F238E27FC236}">
                <a16:creationId xmlns:a16="http://schemas.microsoft.com/office/drawing/2014/main" id="{CD5F30CE-7B90-BA8A-CA10-7ABF78C25FBD}"/>
              </a:ext>
            </a:extLst>
          </p:cNvPr>
          <p:cNvSpPr/>
          <p:nvPr/>
        </p:nvSpPr>
        <p:spPr>
          <a:xfrm>
            <a:off x="1171551" y="2542250"/>
            <a:ext cx="4756210" cy="124355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Rectangle: Rounded Corners 49">
            <a:extLst>
              <a:ext uri="{FF2B5EF4-FFF2-40B4-BE49-F238E27FC236}">
                <a16:creationId xmlns:a16="http://schemas.microsoft.com/office/drawing/2014/main" id="{896513A2-4097-B803-0D80-1F2203F8DA74}"/>
              </a:ext>
            </a:extLst>
          </p:cNvPr>
          <p:cNvSpPr/>
          <p:nvPr/>
        </p:nvSpPr>
        <p:spPr>
          <a:xfrm>
            <a:off x="1159827" y="1054859"/>
            <a:ext cx="4756210" cy="124355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799105EB-0DD8-78AD-DC6F-AD4BBE0B6CDF}"/>
              </a:ext>
            </a:extLst>
          </p:cNvPr>
          <p:cNvSpPr/>
          <p:nvPr/>
        </p:nvSpPr>
        <p:spPr>
          <a:xfrm>
            <a:off x="1553902" y="1451408"/>
            <a:ext cx="3174786" cy="400110"/>
          </a:xfrm>
          <a:prstGeom prst="rect">
            <a:avLst/>
          </a:prstGeom>
        </p:spPr>
        <p:txBody>
          <a:bodyPr wrap="square">
            <a:spAutoFit/>
          </a:bodyPr>
          <a:lstStyle/>
          <a:p>
            <a:pPr marL="0" lvl="1">
              <a:defRPr/>
            </a:pPr>
            <a:r>
              <a:rPr lang="en-US" b="1"/>
              <a:t>Rapidly growing market. </a:t>
            </a:r>
            <a:endParaRPr lang="en-US"/>
          </a:p>
        </p:txBody>
      </p:sp>
      <p:grpSp>
        <p:nvGrpSpPr>
          <p:cNvPr id="3" name="Group 2">
            <a:extLst>
              <a:ext uri="{FF2B5EF4-FFF2-40B4-BE49-F238E27FC236}">
                <a16:creationId xmlns:a16="http://schemas.microsoft.com/office/drawing/2014/main" id="{2F7B730E-C4F8-D4F5-4C2D-A21EB076CB57}"/>
              </a:ext>
            </a:extLst>
          </p:cNvPr>
          <p:cNvGrpSpPr/>
          <p:nvPr/>
        </p:nvGrpSpPr>
        <p:grpSpPr>
          <a:xfrm>
            <a:off x="6596003" y="1479549"/>
            <a:ext cx="4756210" cy="3359151"/>
            <a:chOff x="6596003" y="1479549"/>
            <a:chExt cx="4756210" cy="3359151"/>
          </a:xfrm>
        </p:grpSpPr>
        <p:sp>
          <p:nvSpPr>
            <p:cNvPr id="21" name="Rectangle: Rounded Corners 49">
              <a:extLst>
                <a:ext uri="{FF2B5EF4-FFF2-40B4-BE49-F238E27FC236}">
                  <a16:creationId xmlns:a16="http://schemas.microsoft.com/office/drawing/2014/main" id="{7C343389-B5B4-30AA-29AD-0F91B593B958}"/>
                </a:ext>
              </a:extLst>
            </p:cNvPr>
            <p:cNvSpPr/>
            <p:nvPr/>
          </p:nvSpPr>
          <p:spPr>
            <a:xfrm>
              <a:off x="6596003" y="1479549"/>
              <a:ext cx="4756210" cy="3359151"/>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5810647C-953B-8C4D-54B5-CC3C247E59BF}"/>
                </a:ext>
              </a:extLst>
            </p:cNvPr>
            <p:cNvSpPr txBox="1"/>
            <p:nvPr/>
          </p:nvSpPr>
          <p:spPr>
            <a:xfrm>
              <a:off x="6745658" y="1629073"/>
              <a:ext cx="4569401" cy="3046988"/>
            </a:xfrm>
            <a:prstGeom prst="rect">
              <a:avLst/>
            </a:prstGeom>
            <a:noFill/>
          </p:spPr>
          <p:txBody>
            <a:bodyPr wrap="square">
              <a:spAutoFit/>
            </a:bodyPr>
            <a:lstStyle/>
            <a:p>
              <a:pPr marL="0" lvl="1">
                <a:defRPr/>
              </a:pPr>
              <a:r>
                <a:rPr lang="en-US"/>
                <a:t>Even ‘small’ projects can result in </a:t>
              </a:r>
              <a:r>
                <a:rPr lang="en-US" b="1"/>
                <a:t>large revenue </a:t>
              </a:r>
              <a:r>
                <a:rPr lang="en-US"/>
                <a:t>(illustrative Example):</a:t>
              </a:r>
            </a:p>
            <a:p>
              <a:pPr marL="0" lvl="1">
                <a:defRPr/>
              </a:pPr>
              <a:endParaRPr lang="en-US" b="1"/>
            </a:p>
            <a:p>
              <a:pPr marL="0" lvl="1">
                <a:defRPr/>
              </a:pPr>
              <a:endParaRPr lang="en-US" b="1"/>
            </a:p>
            <a:p>
              <a:pPr marL="0" lvl="1">
                <a:defRPr/>
              </a:pPr>
              <a:r>
                <a:rPr lang="en-US" sz="1600"/>
                <a:t>Application:		Air Purifier</a:t>
              </a:r>
            </a:p>
            <a:p>
              <a:pPr marL="0" lvl="1">
                <a:defRPr/>
              </a:pPr>
              <a:r>
                <a:rPr lang="en-US" sz="1600"/>
                <a:t>End customer:	Schools</a:t>
              </a:r>
            </a:p>
            <a:p>
              <a:pPr marL="0" lvl="1">
                <a:defRPr/>
              </a:pPr>
              <a:r>
                <a:rPr lang="en-US" sz="1600"/>
                <a:t>Annual volume:	5 k units</a:t>
              </a:r>
            </a:p>
            <a:p>
              <a:pPr marL="0" lvl="1">
                <a:defRPr/>
              </a:pPr>
              <a:r>
                <a:rPr lang="en-US" sz="1600"/>
                <a:t>Sensors:		SEN54 (sale price: USD 17.50)</a:t>
              </a:r>
            </a:p>
            <a:p>
              <a:pPr marL="0" lvl="1">
                <a:defRPr/>
              </a:pPr>
              <a:r>
                <a:rPr lang="en-US" sz="1600"/>
                <a:t>		SCD42 (sale price: USD 20.00)</a:t>
              </a:r>
            </a:p>
            <a:p>
              <a:pPr marL="0" lvl="1">
                <a:defRPr/>
              </a:pPr>
              <a:endParaRPr lang="en-US" sz="1600"/>
            </a:p>
            <a:p>
              <a:pPr marL="0" lvl="1">
                <a:defRPr/>
              </a:pPr>
              <a:r>
                <a:rPr lang="en-US" sz="1600" b="1"/>
                <a:t>Annual $: </a:t>
              </a:r>
              <a:r>
                <a:rPr lang="en-US" sz="1600"/>
                <a:t>	</a:t>
              </a:r>
              <a:r>
                <a:rPr lang="en-US" sz="1600" b="1" u="sng"/>
                <a:t>USD 187’500</a:t>
              </a:r>
            </a:p>
          </p:txBody>
        </p:sp>
      </p:grpSp>
      <p:sp>
        <p:nvSpPr>
          <p:cNvPr id="24" name="Rectangle 23">
            <a:extLst>
              <a:ext uri="{FF2B5EF4-FFF2-40B4-BE49-F238E27FC236}">
                <a16:creationId xmlns:a16="http://schemas.microsoft.com/office/drawing/2014/main" id="{D7DBD914-1939-7A20-CF6A-FFBE4BA7B7E7}"/>
              </a:ext>
            </a:extLst>
          </p:cNvPr>
          <p:cNvSpPr/>
          <p:nvPr/>
        </p:nvSpPr>
        <p:spPr>
          <a:xfrm>
            <a:off x="1523631" y="4425513"/>
            <a:ext cx="3174786" cy="400110"/>
          </a:xfrm>
          <a:prstGeom prst="rect">
            <a:avLst/>
          </a:prstGeom>
        </p:spPr>
        <p:txBody>
          <a:bodyPr wrap="square">
            <a:spAutoFit/>
          </a:bodyPr>
          <a:lstStyle/>
          <a:p>
            <a:pPr marL="0" lvl="1">
              <a:defRPr/>
            </a:pPr>
            <a:r>
              <a:rPr lang="en-US" b="1"/>
              <a:t>Short project support phase.</a:t>
            </a:r>
            <a:endParaRPr lang="en-US"/>
          </a:p>
        </p:txBody>
      </p:sp>
      <p:sp>
        <p:nvSpPr>
          <p:cNvPr id="25" name="Rectangle 24">
            <a:extLst>
              <a:ext uri="{FF2B5EF4-FFF2-40B4-BE49-F238E27FC236}">
                <a16:creationId xmlns:a16="http://schemas.microsoft.com/office/drawing/2014/main" id="{139E29B0-6134-423F-F3C0-C3DC4BDB8B1B}"/>
              </a:ext>
            </a:extLst>
          </p:cNvPr>
          <p:cNvSpPr/>
          <p:nvPr/>
        </p:nvSpPr>
        <p:spPr>
          <a:xfrm>
            <a:off x="1503837" y="2805181"/>
            <a:ext cx="3378790" cy="707886"/>
          </a:xfrm>
          <a:prstGeom prst="rect">
            <a:avLst/>
          </a:prstGeom>
        </p:spPr>
        <p:txBody>
          <a:bodyPr wrap="square">
            <a:spAutoFit/>
          </a:bodyPr>
          <a:lstStyle/>
          <a:p>
            <a:pPr marL="0" lvl="1">
              <a:defRPr/>
            </a:pPr>
            <a:r>
              <a:rPr lang="en-US" b="1"/>
              <a:t>Many new air quality sensor slots.</a:t>
            </a:r>
            <a:endParaRPr lang="en-US"/>
          </a:p>
        </p:txBody>
      </p:sp>
      <p:grpSp>
        <p:nvGrpSpPr>
          <p:cNvPr id="13" name="Group 12">
            <a:extLst>
              <a:ext uri="{FF2B5EF4-FFF2-40B4-BE49-F238E27FC236}">
                <a16:creationId xmlns:a16="http://schemas.microsoft.com/office/drawing/2014/main" id="{6D44825C-AD0E-1154-C77F-F8E0208D3D44}"/>
              </a:ext>
            </a:extLst>
          </p:cNvPr>
          <p:cNvGrpSpPr/>
          <p:nvPr/>
        </p:nvGrpSpPr>
        <p:grpSpPr>
          <a:xfrm>
            <a:off x="851511" y="1356595"/>
            <a:ext cx="640080" cy="640080"/>
            <a:chOff x="6661431" y="2189755"/>
            <a:chExt cx="640080" cy="640080"/>
          </a:xfrm>
        </p:grpSpPr>
        <p:sp>
          <p:nvSpPr>
            <p:cNvPr id="15" name="Oval 14">
              <a:extLst>
                <a:ext uri="{FF2B5EF4-FFF2-40B4-BE49-F238E27FC236}">
                  <a16:creationId xmlns:a16="http://schemas.microsoft.com/office/drawing/2014/main" id="{F26329FD-F265-38A6-CA54-D0972A584414}"/>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Oval 15">
              <a:extLst>
                <a:ext uri="{FF2B5EF4-FFF2-40B4-BE49-F238E27FC236}">
                  <a16:creationId xmlns:a16="http://schemas.microsoft.com/office/drawing/2014/main" id="{F1EDBD68-0FA2-EFE3-D02B-7CC4AA5C056A}"/>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27" name="Group 26">
            <a:extLst>
              <a:ext uri="{FF2B5EF4-FFF2-40B4-BE49-F238E27FC236}">
                <a16:creationId xmlns:a16="http://schemas.microsoft.com/office/drawing/2014/main" id="{17F84463-2925-0F88-6272-7B1E50B916DD}"/>
              </a:ext>
            </a:extLst>
          </p:cNvPr>
          <p:cNvGrpSpPr/>
          <p:nvPr/>
        </p:nvGrpSpPr>
        <p:grpSpPr>
          <a:xfrm>
            <a:off x="819471" y="2825749"/>
            <a:ext cx="640080" cy="640080"/>
            <a:chOff x="6661431" y="2189755"/>
            <a:chExt cx="640080" cy="640080"/>
          </a:xfrm>
        </p:grpSpPr>
        <p:sp>
          <p:nvSpPr>
            <p:cNvPr id="29" name="Oval 28">
              <a:extLst>
                <a:ext uri="{FF2B5EF4-FFF2-40B4-BE49-F238E27FC236}">
                  <a16:creationId xmlns:a16="http://schemas.microsoft.com/office/drawing/2014/main" id="{458A5C43-C52F-E828-AADF-8D20D388DA51}"/>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Oval 29">
              <a:extLst>
                <a:ext uri="{FF2B5EF4-FFF2-40B4-BE49-F238E27FC236}">
                  <a16:creationId xmlns:a16="http://schemas.microsoft.com/office/drawing/2014/main" id="{DED80597-FC6C-FF14-47A5-B384B132878F}"/>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32" name="Group 31">
            <a:extLst>
              <a:ext uri="{FF2B5EF4-FFF2-40B4-BE49-F238E27FC236}">
                <a16:creationId xmlns:a16="http://schemas.microsoft.com/office/drawing/2014/main" id="{3EDD6C68-61E8-7BDA-C91A-68D279364538}"/>
              </a:ext>
            </a:extLst>
          </p:cNvPr>
          <p:cNvGrpSpPr/>
          <p:nvPr/>
        </p:nvGrpSpPr>
        <p:grpSpPr>
          <a:xfrm>
            <a:off x="851511" y="4338540"/>
            <a:ext cx="640080" cy="640080"/>
            <a:chOff x="6661431" y="2189755"/>
            <a:chExt cx="640080" cy="640080"/>
          </a:xfrm>
        </p:grpSpPr>
        <p:sp>
          <p:nvSpPr>
            <p:cNvPr id="34" name="Oval 33">
              <a:extLst>
                <a:ext uri="{FF2B5EF4-FFF2-40B4-BE49-F238E27FC236}">
                  <a16:creationId xmlns:a16="http://schemas.microsoft.com/office/drawing/2014/main" id="{49E83385-2D70-DEA3-1DA4-A33E041CA2A9}"/>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5" name="Oval 34">
              <a:extLst>
                <a:ext uri="{FF2B5EF4-FFF2-40B4-BE49-F238E27FC236}">
                  <a16:creationId xmlns:a16="http://schemas.microsoft.com/office/drawing/2014/main" id="{BA10BB2F-1147-7EAE-CE10-9376EDF2C76E}"/>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36" name="Graphic 35">
            <a:extLst>
              <a:ext uri="{FF2B5EF4-FFF2-40B4-BE49-F238E27FC236}">
                <a16:creationId xmlns:a16="http://schemas.microsoft.com/office/drawing/2014/main" id="{067A59CD-18D5-6EAD-5982-74D1092C093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82366" y="3002642"/>
            <a:ext cx="304061" cy="304061"/>
          </a:xfrm>
          <a:prstGeom prst="rect">
            <a:avLst/>
          </a:prstGeom>
        </p:spPr>
      </p:pic>
      <p:pic>
        <p:nvPicPr>
          <p:cNvPr id="37" name="Graphic 36">
            <a:extLst>
              <a:ext uri="{FF2B5EF4-FFF2-40B4-BE49-F238E27FC236}">
                <a16:creationId xmlns:a16="http://schemas.microsoft.com/office/drawing/2014/main" id="{8D98D172-F05D-6AAC-582C-9422810C831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07243" y="1491724"/>
            <a:ext cx="325954" cy="325954"/>
          </a:xfrm>
          <a:prstGeom prst="rect">
            <a:avLst/>
          </a:prstGeom>
        </p:spPr>
      </p:pic>
      <p:pic>
        <p:nvPicPr>
          <p:cNvPr id="38" name="Graphic 37">
            <a:extLst>
              <a:ext uri="{FF2B5EF4-FFF2-40B4-BE49-F238E27FC236}">
                <a16:creationId xmlns:a16="http://schemas.microsoft.com/office/drawing/2014/main" id="{03325073-22C5-77B8-8E3C-88A4461F722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19435" y="4519365"/>
            <a:ext cx="278296" cy="278296"/>
          </a:xfrm>
          <a:prstGeom prst="rect">
            <a:avLst/>
          </a:prstGeom>
        </p:spPr>
      </p:pic>
      <p:grpSp>
        <p:nvGrpSpPr>
          <p:cNvPr id="4" name="Group 3">
            <a:extLst>
              <a:ext uri="{FF2B5EF4-FFF2-40B4-BE49-F238E27FC236}">
                <a16:creationId xmlns:a16="http://schemas.microsoft.com/office/drawing/2014/main" id="{B23E8E6F-5D94-34F1-17DA-5438257A9A4F}"/>
              </a:ext>
            </a:extLst>
          </p:cNvPr>
          <p:cNvGrpSpPr/>
          <p:nvPr/>
        </p:nvGrpSpPr>
        <p:grpSpPr>
          <a:xfrm>
            <a:off x="1159827" y="5406392"/>
            <a:ext cx="10155232" cy="850697"/>
            <a:chOff x="1159827" y="5406392"/>
            <a:chExt cx="10155232" cy="850697"/>
          </a:xfrm>
        </p:grpSpPr>
        <p:sp>
          <p:nvSpPr>
            <p:cNvPr id="39" name="Rectangle: Rounded Corners 38">
              <a:extLst>
                <a:ext uri="{FF2B5EF4-FFF2-40B4-BE49-F238E27FC236}">
                  <a16:creationId xmlns:a16="http://schemas.microsoft.com/office/drawing/2014/main" id="{CD86F480-EF51-C423-2A7C-B6029151C3F0}"/>
                </a:ext>
              </a:extLst>
            </p:cNvPr>
            <p:cNvSpPr/>
            <p:nvPr/>
          </p:nvSpPr>
          <p:spPr>
            <a:xfrm>
              <a:off x="1159827" y="5406392"/>
              <a:ext cx="10155232" cy="850697"/>
            </a:xfrm>
            <a:prstGeom prst="roundRect">
              <a:avLst/>
            </a:prstGeom>
            <a:solidFill>
              <a:schemeClr val="accent1"/>
            </a:solidFill>
            <a:ln w="28575">
              <a:solidFill>
                <a:srgbClr val="66CC33"/>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 name="TextBox 39">
              <a:extLst>
                <a:ext uri="{FF2B5EF4-FFF2-40B4-BE49-F238E27FC236}">
                  <a16:creationId xmlns:a16="http://schemas.microsoft.com/office/drawing/2014/main" id="{61FC6F1F-4058-19A4-56AF-A8F4C180389F}"/>
                </a:ext>
              </a:extLst>
            </p:cNvPr>
            <p:cNvSpPr txBox="1"/>
            <p:nvPr/>
          </p:nvSpPr>
          <p:spPr>
            <a:xfrm>
              <a:off x="1333197" y="5477797"/>
              <a:ext cx="9736192" cy="707886"/>
            </a:xfrm>
            <a:prstGeom prst="rect">
              <a:avLst/>
            </a:prstGeom>
            <a:noFill/>
          </p:spPr>
          <p:txBody>
            <a:bodyPr wrap="square">
              <a:spAutoFit/>
            </a:bodyPr>
            <a:lstStyle/>
            <a:p>
              <a:pPr algn="ctr"/>
              <a:r>
                <a:rPr lang="en-US">
                  <a:solidFill>
                    <a:schemeClr val="bg1"/>
                  </a:solidFill>
                </a:rPr>
                <a:t>“The megatrend towards clean indoor air combined with </a:t>
              </a:r>
              <a:r>
                <a:rPr lang="en-US" err="1">
                  <a:solidFill>
                    <a:schemeClr val="bg1"/>
                  </a:solidFill>
                </a:rPr>
                <a:t>Sensirion’s</a:t>
              </a:r>
              <a:r>
                <a:rPr lang="en-US">
                  <a:solidFill>
                    <a:schemeClr val="bg1"/>
                  </a:solidFill>
                </a:rPr>
                <a:t> competitive air quality sensor portfolio represents a </a:t>
              </a:r>
              <a:r>
                <a:rPr lang="en-US" b="1">
                  <a:solidFill>
                    <a:schemeClr val="bg1"/>
                  </a:solidFill>
                </a:rPr>
                <a:t>unique opportunity for large business grow in a short time</a:t>
              </a:r>
              <a:r>
                <a:rPr lang="en-US">
                  <a:solidFill>
                    <a:schemeClr val="bg1"/>
                  </a:solidFill>
                </a:rPr>
                <a:t>”</a:t>
              </a:r>
            </a:p>
          </p:txBody>
        </p:sp>
      </p:grpSp>
      <p:cxnSp>
        <p:nvCxnSpPr>
          <p:cNvPr id="41" name="Straight Connector 40">
            <a:extLst>
              <a:ext uri="{FF2B5EF4-FFF2-40B4-BE49-F238E27FC236}">
                <a16:creationId xmlns:a16="http://schemas.microsoft.com/office/drawing/2014/main" id="{8DF4DDC0-F8CA-876A-65A4-F618BA95F766}"/>
              </a:ext>
            </a:extLst>
          </p:cNvPr>
          <p:cNvCxnSpPr>
            <a:cxnSpLocks/>
          </p:cNvCxnSpPr>
          <p:nvPr/>
        </p:nvCxnSpPr>
        <p:spPr>
          <a:xfrm>
            <a:off x="-583612" y="3107004"/>
            <a:ext cx="0" cy="173169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074" name="Picture 2" descr="Miss one puzzle icon outline style Royalty Free Vector Image">
            <a:extLst>
              <a:ext uri="{FF2B5EF4-FFF2-40B4-BE49-F238E27FC236}">
                <a16:creationId xmlns:a16="http://schemas.microsoft.com/office/drawing/2014/main" id="{D3CEF399-3839-DC36-8473-15F4B1DC1E7E}"/>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b="8762"/>
          <a:stretch/>
        </p:blipFill>
        <p:spPr bwMode="auto">
          <a:xfrm>
            <a:off x="5027369" y="2786827"/>
            <a:ext cx="755650" cy="74459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1D1A5B54-5156-FC25-7072-CE43A984977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34625" y="4247743"/>
            <a:ext cx="755650" cy="75565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79B91F27-7A82-7FD0-8D64-6CA00AFF525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68671" y="1356595"/>
            <a:ext cx="658689" cy="6586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746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49">
            <a:extLst>
              <a:ext uri="{FF2B5EF4-FFF2-40B4-BE49-F238E27FC236}">
                <a16:creationId xmlns:a16="http://schemas.microsoft.com/office/drawing/2014/main" id="{7AFB246B-BAE7-D474-9400-1325803A227A}"/>
              </a:ext>
            </a:extLst>
          </p:cNvPr>
          <p:cNvSpPr/>
          <p:nvPr/>
        </p:nvSpPr>
        <p:spPr>
          <a:xfrm>
            <a:off x="874076" y="1028700"/>
            <a:ext cx="5615243" cy="5021580"/>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49">
            <a:extLst>
              <a:ext uri="{FF2B5EF4-FFF2-40B4-BE49-F238E27FC236}">
                <a16:creationId xmlns:a16="http://schemas.microsoft.com/office/drawing/2014/main" id="{0A3F8B37-9630-AFD7-47AB-2437BBFE8016}"/>
              </a:ext>
            </a:extLst>
          </p:cNvPr>
          <p:cNvSpPr/>
          <p:nvPr/>
        </p:nvSpPr>
        <p:spPr>
          <a:xfrm>
            <a:off x="7267318" y="954282"/>
            <a:ext cx="4084896" cy="5095998"/>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55223D8C-CE68-E5EE-08ED-0841E368FAD1}"/>
              </a:ext>
            </a:extLst>
          </p:cNvPr>
          <p:cNvSpPr txBox="1">
            <a:spLocks/>
          </p:cNvSpPr>
          <p:nvPr/>
        </p:nvSpPr>
        <p:spPr>
          <a:xfrm>
            <a:off x="839787" y="301781"/>
            <a:ext cx="10512426" cy="505939"/>
          </a:xfrm>
          <a:prstGeom prst="rect">
            <a:avLst/>
          </a:prstGeom>
        </p:spPr>
        <p:txBody>
          <a:bodyPr/>
          <a:lst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a:lstStyle>
          <a:p>
            <a:pPr fontAlgn="auto">
              <a:spcAft>
                <a:spcPts val="0"/>
              </a:spcAft>
            </a:pPr>
            <a:r>
              <a:rPr lang="en-US"/>
              <a:t>Indoor Air Quality: Sources, Pollutants, and how to improve </a:t>
            </a:r>
          </a:p>
        </p:txBody>
      </p:sp>
      <p:pic>
        <p:nvPicPr>
          <p:cNvPr id="1030" name="Picture 6" descr="Sofa - Kostenlose möbel und haushalt Icons">
            <a:extLst>
              <a:ext uri="{FF2B5EF4-FFF2-40B4-BE49-F238E27FC236}">
                <a16:creationId xmlns:a16="http://schemas.microsoft.com/office/drawing/2014/main" id="{DD881981-1781-1A0D-FCC9-23691C6B14B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74306" y="2753933"/>
            <a:ext cx="687266" cy="68726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leaning products - Free miscellaneous icons">
            <a:extLst>
              <a:ext uri="{FF2B5EF4-FFF2-40B4-BE49-F238E27FC236}">
                <a16:creationId xmlns:a16="http://schemas.microsoft.com/office/drawing/2014/main" id="{7C818C0B-AD43-224B-CB2A-57F274E355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16524" y="2261582"/>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Gas icon cooking stove hob or oven cooker symbol Vector Image">
            <a:extLst>
              <a:ext uri="{FF2B5EF4-FFF2-40B4-BE49-F238E27FC236}">
                <a16:creationId xmlns:a16="http://schemas.microsoft.com/office/drawing/2014/main" id="{285E468F-8E02-F3A4-A65D-1415403F82C6}"/>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397" t="23889" r="57107" b="31778"/>
          <a:stretch/>
        </p:blipFill>
        <p:spPr bwMode="auto">
          <a:xfrm>
            <a:off x="1306185" y="4158955"/>
            <a:ext cx="554566" cy="55595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Wasserdampf Icon im iOS Glyph Stil">
            <a:extLst>
              <a:ext uri="{FF2B5EF4-FFF2-40B4-BE49-F238E27FC236}">
                <a16:creationId xmlns:a16="http://schemas.microsoft.com/office/drawing/2014/main" id="{22D2AC27-DA42-6DDE-FA9F-0F97336628F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08619" y="3403865"/>
            <a:ext cx="418640" cy="41864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Open Window Icon">
            <a:extLst>
              <a:ext uri="{FF2B5EF4-FFF2-40B4-BE49-F238E27FC236}">
                <a16:creationId xmlns:a16="http://schemas.microsoft.com/office/drawing/2014/main" id="{A0056E12-0C59-7724-5F14-EF1941ECA67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06185" y="4976999"/>
            <a:ext cx="571366" cy="571366"/>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64AC780B-803F-6ED6-A4A7-AEDD5E15DD1B}"/>
              </a:ext>
            </a:extLst>
          </p:cNvPr>
          <p:cNvGrpSpPr/>
          <p:nvPr/>
        </p:nvGrpSpPr>
        <p:grpSpPr>
          <a:xfrm>
            <a:off x="1187304" y="1358428"/>
            <a:ext cx="915816" cy="783010"/>
            <a:chOff x="1126344" y="1416072"/>
            <a:chExt cx="915816" cy="783010"/>
          </a:xfrm>
        </p:grpSpPr>
        <p:pic>
          <p:nvPicPr>
            <p:cNvPr id="9" name="Grafik 2055">
              <a:extLst>
                <a:ext uri="{FF2B5EF4-FFF2-40B4-BE49-F238E27FC236}">
                  <a16:creationId xmlns:a16="http://schemas.microsoft.com/office/drawing/2014/main" id="{4B226EAF-C67B-4A72-938D-9D14939A1633}"/>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rcRect r="27189"/>
            <a:stretch/>
          </p:blipFill>
          <p:spPr>
            <a:xfrm>
              <a:off x="1126344" y="1416072"/>
              <a:ext cx="801516" cy="783010"/>
            </a:xfrm>
            <a:prstGeom prst="rect">
              <a:avLst/>
            </a:prstGeom>
          </p:spPr>
        </p:pic>
        <p:sp>
          <p:nvSpPr>
            <p:cNvPr id="11" name="Rectangle 10">
              <a:extLst>
                <a:ext uri="{FF2B5EF4-FFF2-40B4-BE49-F238E27FC236}">
                  <a16:creationId xmlns:a16="http://schemas.microsoft.com/office/drawing/2014/main" id="{7477E974-D0D5-AB53-DD9F-410DFA151734}"/>
                </a:ext>
              </a:extLst>
            </p:cNvPr>
            <p:cNvSpPr/>
            <p:nvPr/>
          </p:nvSpPr>
          <p:spPr>
            <a:xfrm>
              <a:off x="1817525" y="1493520"/>
              <a:ext cx="224635"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 name="Group 1">
            <a:extLst>
              <a:ext uri="{FF2B5EF4-FFF2-40B4-BE49-F238E27FC236}">
                <a16:creationId xmlns:a16="http://schemas.microsoft.com/office/drawing/2014/main" id="{28ECCEA9-F9ED-CB2E-52A2-DB720F9251DC}"/>
              </a:ext>
            </a:extLst>
          </p:cNvPr>
          <p:cNvGrpSpPr/>
          <p:nvPr/>
        </p:nvGrpSpPr>
        <p:grpSpPr>
          <a:xfrm>
            <a:off x="2453373" y="1219591"/>
            <a:ext cx="3907177" cy="4678241"/>
            <a:chOff x="2453373" y="1219591"/>
            <a:chExt cx="3907177" cy="4678241"/>
          </a:xfrm>
        </p:grpSpPr>
        <p:pic>
          <p:nvPicPr>
            <p:cNvPr id="13" name="Grafik 34">
              <a:extLst>
                <a:ext uri="{FF2B5EF4-FFF2-40B4-BE49-F238E27FC236}">
                  <a16:creationId xmlns:a16="http://schemas.microsoft.com/office/drawing/2014/main" id="{00840534-623B-D451-4271-67FA4D2DBE73}"/>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 r="24720" b="4504"/>
            <a:stretch/>
          </p:blipFill>
          <p:spPr>
            <a:xfrm>
              <a:off x="2515698" y="3472677"/>
              <a:ext cx="529107" cy="256275"/>
            </a:xfrm>
            <a:prstGeom prst="rect">
              <a:avLst/>
            </a:prstGeom>
          </p:spPr>
        </p:pic>
        <p:pic>
          <p:nvPicPr>
            <p:cNvPr id="14" name="Picture 2">
              <a:extLst>
                <a:ext uri="{FF2B5EF4-FFF2-40B4-BE49-F238E27FC236}">
                  <a16:creationId xmlns:a16="http://schemas.microsoft.com/office/drawing/2014/main" id="{32AE5B58-E045-6461-8015-2FB6062F8DF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2527170">
              <a:off x="2509345" y="1290064"/>
              <a:ext cx="472317" cy="31032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coelenterate, coral, stack&#10;&#10;Description automatically generated">
              <a:extLst>
                <a:ext uri="{FF2B5EF4-FFF2-40B4-BE49-F238E27FC236}">
                  <a16:creationId xmlns:a16="http://schemas.microsoft.com/office/drawing/2014/main" id="{7340D783-F9D9-1CB6-D67D-B8DA2197701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53373" y="4975190"/>
              <a:ext cx="571366" cy="389095"/>
            </a:xfrm>
            <a:prstGeom prst="rect">
              <a:avLst/>
            </a:prstGeom>
          </p:spPr>
        </p:pic>
        <p:grpSp>
          <p:nvGrpSpPr>
            <p:cNvPr id="16" name="Group 15">
              <a:extLst>
                <a:ext uri="{FF2B5EF4-FFF2-40B4-BE49-F238E27FC236}">
                  <a16:creationId xmlns:a16="http://schemas.microsoft.com/office/drawing/2014/main" id="{78CC78C8-11FB-13CA-72C5-39A80C69DE28}"/>
                </a:ext>
              </a:extLst>
            </p:cNvPr>
            <p:cNvGrpSpPr/>
            <p:nvPr/>
          </p:nvGrpSpPr>
          <p:grpSpPr>
            <a:xfrm rot="2437716">
              <a:off x="2608678" y="1804651"/>
              <a:ext cx="275929" cy="276299"/>
              <a:chOff x="5803369" y="2895080"/>
              <a:chExt cx="859867" cy="861018"/>
            </a:xfrm>
          </p:grpSpPr>
          <p:sp>
            <p:nvSpPr>
              <p:cNvPr id="17" name="Oval 16">
                <a:extLst>
                  <a:ext uri="{FF2B5EF4-FFF2-40B4-BE49-F238E27FC236}">
                    <a16:creationId xmlns:a16="http://schemas.microsoft.com/office/drawing/2014/main" id="{CC3AE87E-764C-D2CB-D296-0C2C73ACCA49}"/>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0" descr="Is COVID airborne? (Abstract Science, Aug. 30 – Sept. 5) | Charles River">
                <a:extLst>
                  <a:ext uri="{FF2B5EF4-FFF2-40B4-BE49-F238E27FC236}">
                    <a16:creationId xmlns:a16="http://schemas.microsoft.com/office/drawing/2014/main" id="{B7DEF1AD-FAB3-8F5E-4CB9-F4672D4DEA8F}"/>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19" name="Picture 10" descr="Is COVID airborne? (Abstract Science, Aug. 30 – Sept. 5) | Charles River">
                <a:extLst>
                  <a:ext uri="{FF2B5EF4-FFF2-40B4-BE49-F238E27FC236}">
                    <a16:creationId xmlns:a16="http://schemas.microsoft.com/office/drawing/2014/main" id="{94CE0C77-5E8A-CD87-8975-F8010B28E4AC}"/>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20" name="Picture 10" descr="Is COVID airborne? (Abstract Science, Aug. 30 – Sept. 5) | Charles River">
                <a:extLst>
                  <a:ext uri="{FF2B5EF4-FFF2-40B4-BE49-F238E27FC236}">
                    <a16:creationId xmlns:a16="http://schemas.microsoft.com/office/drawing/2014/main" id="{65E02C8D-26C0-7C24-A8D2-FF894AA20BA8}"/>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pic>
          <p:nvPicPr>
            <p:cNvPr id="21" name="Picture 8">
              <a:extLst>
                <a:ext uri="{FF2B5EF4-FFF2-40B4-BE49-F238E27FC236}">
                  <a16:creationId xmlns:a16="http://schemas.microsoft.com/office/drawing/2014/main" id="{717B5DF4-0F48-B9AE-D2B9-D45ECDC9153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30755" y="2298901"/>
              <a:ext cx="497257" cy="38936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5008F268-67D2-7062-4D2A-DAC5226325DD}"/>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80357" t="53849"/>
            <a:stretch/>
          </p:blipFill>
          <p:spPr>
            <a:xfrm>
              <a:off x="2530755" y="4450217"/>
              <a:ext cx="454484" cy="529395"/>
            </a:xfrm>
            <a:prstGeom prst="rect">
              <a:avLst/>
            </a:prstGeom>
          </p:spPr>
        </p:pic>
        <p:pic>
          <p:nvPicPr>
            <p:cNvPr id="23" name="Picture 10" descr="Formaldehyde - Wikipedia">
              <a:extLst>
                <a:ext uri="{FF2B5EF4-FFF2-40B4-BE49-F238E27FC236}">
                  <a16:creationId xmlns:a16="http://schemas.microsoft.com/office/drawing/2014/main" id="{A11D1532-6294-3340-3726-DC53D13BBED9}"/>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9323919">
              <a:off x="2540262" y="2864637"/>
              <a:ext cx="328017" cy="35031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A picture containing dark&#10;&#10;Description automatically generated">
              <a:extLst>
                <a:ext uri="{FF2B5EF4-FFF2-40B4-BE49-F238E27FC236}">
                  <a16:creationId xmlns:a16="http://schemas.microsoft.com/office/drawing/2014/main" id="{A52A62EB-65CA-6C56-8924-95045962BCB1}"/>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528163" y="5464022"/>
              <a:ext cx="434679" cy="433810"/>
            </a:xfrm>
            <a:prstGeom prst="rect">
              <a:avLst/>
            </a:prstGeom>
          </p:spPr>
        </p:pic>
        <p:pic>
          <p:nvPicPr>
            <p:cNvPr id="1042" name="Picture 18" descr="Carbon monoxide - Energy Education">
              <a:extLst>
                <a:ext uri="{FF2B5EF4-FFF2-40B4-BE49-F238E27FC236}">
                  <a16:creationId xmlns:a16="http://schemas.microsoft.com/office/drawing/2014/main" id="{0C7AE011-ACA7-024D-1621-CBDD2C65CEA6}"/>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551978" y="3922857"/>
              <a:ext cx="482917" cy="374971"/>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1D74A2EB-02DF-4882-8DAD-84EB2B4B008C}"/>
                </a:ext>
              </a:extLst>
            </p:cNvPr>
            <p:cNvSpPr txBox="1"/>
            <p:nvPr/>
          </p:nvSpPr>
          <p:spPr>
            <a:xfrm>
              <a:off x="3107159" y="1219591"/>
              <a:ext cx="2116285" cy="369332"/>
            </a:xfrm>
            <a:prstGeom prst="rect">
              <a:avLst/>
            </a:prstGeom>
            <a:noFill/>
          </p:spPr>
          <p:txBody>
            <a:bodyPr wrap="none" rtlCol="0">
              <a:spAutoFit/>
            </a:bodyPr>
            <a:lstStyle/>
            <a:p>
              <a:r>
                <a:rPr lang="en-US" sz="1800" b="1"/>
                <a:t>Carbon Dioxide (CO</a:t>
              </a:r>
              <a:r>
                <a:rPr lang="en-US" sz="1800" b="1" baseline="-25000"/>
                <a:t>2</a:t>
              </a:r>
              <a:r>
                <a:rPr lang="en-US" sz="1800" b="1"/>
                <a:t>)</a:t>
              </a:r>
            </a:p>
          </p:txBody>
        </p:sp>
        <p:sp>
          <p:nvSpPr>
            <p:cNvPr id="26" name="TextBox 25">
              <a:extLst>
                <a:ext uri="{FF2B5EF4-FFF2-40B4-BE49-F238E27FC236}">
                  <a16:creationId xmlns:a16="http://schemas.microsoft.com/office/drawing/2014/main" id="{4DE18BDC-11CC-DC29-A2C5-D6B58B3A9175}"/>
                </a:ext>
              </a:extLst>
            </p:cNvPr>
            <p:cNvSpPr txBox="1"/>
            <p:nvPr/>
          </p:nvSpPr>
          <p:spPr>
            <a:xfrm>
              <a:off x="3107159" y="2286509"/>
              <a:ext cx="3253391" cy="369332"/>
            </a:xfrm>
            <a:prstGeom prst="rect">
              <a:avLst/>
            </a:prstGeom>
            <a:noFill/>
          </p:spPr>
          <p:txBody>
            <a:bodyPr wrap="none" rtlCol="0">
              <a:spAutoFit/>
            </a:bodyPr>
            <a:lstStyle/>
            <a:p>
              <a:r>
                <a:rPr lang="en-US" sz="1800" b="1"/>
                <a:t>Volatile Organic Compound (VOC)</a:t>
              </a:r>
            </a:p>
          </p:txBody>
        </p:sp>
        <p:sp>
          <p:nvSpPr>
            <p:cNvPr id="27" name="TextBox 26">
              <a:extLst>
                <a:ext uri="{FF2B5EF4-FFF2-40B4-BE49-F238E27FC236}">
                  <a16:creationId xmlns:a16="http://schemas.microsoft.com/office/drawing/2014/main" id="{B5C4736F-4A8A-8F7B-133D-7CC7C01B43F9}"/>
                </a:ext>
              </a:extLst>
            </p:cNvPr>
            <p:cNvSpPr txBox="1"/>
            <p:nvPr/>
          </p:nvSpPr>
          <p:spPr>
            <a:xfrm>
              <a:off x="3107159" y="1753050"/>
              <a:ext cx="2175596" cy="369332"/>
            </a:xfrm>
            <a:prstGeom prst="rect">
              <a:avLst/>
            </a:prstGeom>
            <a:noFill/>
          </p:spPr>
          <p:txBody>
            <a:bodyPr wrap="none" rtlCol="0">
              <a:spAutoFit/>
            </a:bodyPr>
            <a:lstStyle/>
            <a:p>
              <a:r>
                <a:rPr lang="en-US" sz="1800" b="1"/>
                <a:t>Aerosols / Pathogens </a:t>
              </a:r>
            </a:p>
          </p:txBody>
        </p:sp>
        <p:sp>
          <p:nvSpPr>
            <p:cNvPr id="28" name="TextBox 27">
              <a:extLst>
                <a:ext uri="{FF2B5EF4-FFF2-40B4-BE49-F238E27FC236}">
                  <a16:creationId xmlns:a16="http://schemas.microsoft.com/office/drawing/2014/main" id="{26F83602-2ABE-5CDE-BAF5-69C88278344F}"/>
                </a:ext>
              </a:extLst>
            </p:cNvPr>
            <p:cNvSpPr txBox="1"/>
            <p:nvPr/>
          </p:nvSpPr>
          <p:spPr>
            <a:xfrm>
              <a:off x="3107159" y="2819968"/>
              <a:ext cx="1532792" cy="369332"/>
            </a:xfrm>
            <a:prstGeom prst="rect">
              <a:avLst/>
            </a:prstGeom>
            <a:noFill/>
          </p:spPr>
          <p:txBody>
            <a:bodyPr wrap="none" rtlCol="0">
              <a:spAutoFit/>
            </a:bodyPr>
            <a:lstStyle/>
            <a:p>
              <a:r>
                <a:rPr lang="en-US" sz="1800" b="1"/>
                <a:t>Formaldehyde </a:t>
              </a:r>
            </a:p>
          </p:txBody>
        </p:sp>
        <p:sp>
          <p:nvSpPr>
            <p:cNvPr id="29" name="TextBox 28">
              <a:extLst>
                <a:ext uri="{FF2B5EF4-FFF2-40B4-BE49-F238E27FC236}">
                  <a16:creationId xmlns:a16="http://schemas.microsoft.com/office/drawing/2014/main" id="{AF96A52F-6BD9-1304-2B2D-87AC84F26F39}"/>
                </a:ext>
              </a:extLst>
            </p:cNvPr>
            <p:cNvSpPr txBox="1"/>
            <p:nvPr/>
          </p:nvSpPr>
          <p:spPr>
            <a:xfrm>
              <a:off x="3107159" y="3353427"/>
              <a:ext cx="625492" cy="369332"/>
            </a:xfrm>
            <a:prstGeom prst="rect">
              <a:avLst/>
            </a:prstGeom>
            <a:noFill/>
          </p:spPr>
          <p:txBody>
            <a:bodyPr wrap="none" rtlCol="0">
              <a:spAutoFit/>
            </a:bodyPr>
            <a:lstStyle/>
            <a:p>
              <a:r>
                <a:rPr lang="en-US" sz="1800" b="1"/>
                <a:t>Mold</a:t>
              </a:r>
            </a:p>
          </p:txBody>
        </p:sp>
        <p:sp>
          <p:nvSpPr>
            <p:cNvPr id="30" name="TextBox 29">
              <a:extLst>
                <a:ext uri="{FF2B5EF4-FFF2-40B4-BE49-F238E27FC236}">
                  <a16:creationId xmlns:a16="http://schemas.microsoft.com/office/drawing/2014/main" id="{8EA22003-74E1-9B82-5845-D0E90425150C}"/>
                </a:ext>
              </a:extLst>
            </p:cNvPr>
            <p:cNvSpPr txBox="1"/>
            <p:nvPr/>
          </p:nvSpPr>
          <p:spPr>
            <a:xfrm>
              <a:off x="3107159" y="3886886"/>
              <a:ext cx="1782860" cy="369332"/>
            </a:xfrm>
            <a:prstGeom prst="rect">
              <a:avLst/>
            </a:prstGeom>
            <a:noFill/>
          </p:spPr>
          <p:txBody>
            <a:bodyPr wrap="none" rtlCol="0">
              <a:spAutoFit/>
            </a:bodyPr>
            <a:lstStyle/>
            <a:p>
              <a:r>
                <a:rPr lang="en-US" sz="1800" b="1"/>
                <a:t>Carbon Monoxide</a:t>
              </a:r>
            </a:p>
          </p:txBody>
        </p:sp>
        <p:sp>
          <p:nvSpPr>
            <p:cNvPr id="31" name="TextBox 30">
              <a:extLst>
                <a:ext uri="{FF2B5EF4-FFF2-40B4-BE49-F238E27FC236}">
                  <a16:creationId xmlns:a16="http://schemas.microsoft.com/office/drawing/2014/main" id="{1DBA7807-C504-136E-F911-82E023F6BE07}"/>
                </a:ext>
              </a:extLst>
            </p:cNvPr>
            <p:cNvSpPr txBox="1"/>
            <p:nvPr/>
          </p:nvSpPr>
          <p:spPr>
            <a:xfrm>
              <a:off x="3107159" y="4420345"/>
              <a:ext cx="2074607" cy="369332"/>
            </a:xfrm>
            <a:prstGeom prst="rect">
              <a:avLst/>
            </a:prstGeom>
            <a:noFill/>
          </p:spPr>
          <p:txBody>
            <a:bodyPr wrap="none" rtlCol="0">
              <a:spAutoFit/>
            </a:bodyPr>
            <a:lstStyle/>
            <a:p>
              <a:r>
                <a:rPr lang="en-US" sz="1800" b="1"/>
                <a:t>Nitrogen Oxide (NO</a:t>
              </a:r>
              <a:r>
                <a:rPr lang="en-US" sz="1800" b="1" baseline="-25000"/>
                <a:t>x</a:t>
              </a:r>
              <a:r>
                <a:rPr lang="en-US" sz="1800" b="1"/>
                <a:t>)</a:t>
              </a:r>
            </a:p>
          </p:txBody>
        </p:sp>
        <p:sp>
          <p:nvSpPr>
            <p:cNvPr id="1024" name="TextBox 1023">
              <a:extLst>
                <a:ext uri="{FF2B5EF4-FFF2-40B4-BE49-F238E27FC236}">
                  <a16:creationId xmlns:a16="http://schemas.microsoft.com/office/drawing/2014/main" id="{80BA7A61-EDF7-B767-695D-1A2C9D885B87}"/>
                </a:ext>
              </a:extLst>
            </p:cNvPr>
            <p:cNvSpPr txBox="1"/>
            <p:nvPr/>
          </p:nvSpPr>
          <p:spPr>
            <a:xfrm>
              <a:off x="3107159" y="4953804"/>
              <a:ext cx="2307042" cy="369332"/>
            </a:xfrm>
            <a:prstGeom prst="rect">
              <a:avLst/>
            </a:prstGeom>
            <a:noFill/>
          </p:spPr>
          <p:txBody>
            <a:bodyPr wrap="none" rtlCol="0">
              <a:spAutoFit/>
            </a:bodyPr>
            <a:lstStyle/>
            <a:p>
              <a:r>
                <a:rPr lang="en-US" sz="1800" b="1"/>
                <a:t>Particulate Matter (</a:t>
              </a:r>
              <a:r>
                <a:rPr lang="en-US" sz="1800" b="1" err="1"/>
                <a:t>PM</a:t>
              </a:r>
              <a:r>
                <a:rPr lang="en-US" sz="1800" b="1" baseline="-25000" err="1"/>
                <a:t>x</a:t>
              </a:r>
              <a:r>
                <a:rPr lang="en-US" sz="1800" b="1"/>
                <a:t>)</a:t>
              </a:r>
            </a:p>
          </p:txBody>
        </p:sp>
        <p:sp>
          <p:nvSpPr>
            <p:cNvPr id="1025" name="TextBox 1024">
              <a:extLst>
                <a:ext uri="{FF2B5EF4-FFF2-40B4-BE49-F238E27FC236}">
                  <a16:creationId xmlns:a16="http://schemas.microsoft.com/office/drawing/2014/main" id="{1F898A00-69C9-9F65-5BB4-7F8E7EFE70F4}"/>
                </a:ext>
              </a:extLst>
            </p:cNvPr>
            <p:cNvSpPr txBox="1"/>
            <p:nvPr/>
          </p:nvSpPr>
          <p:spPr>
            <a:xfrm>
              <a:off x="3107159" y="5487260"/>
              <a:ext cx="2354684" cy="369332"/>
            </a:xfrm>
            <a:prstGeom prst="rect">
              <a:avLst/>
            </a:prstGeom>
            <a:noFill/>
          </p:spPr>
          <p:txBody>
            <a:bodyPr wrap="none" rtlCol="0">
              <a:spAutoFit/>
            </a:bodyPr>
            <a:lstStyle/>
            <a:p>
              <a:r>
                <a:rPr lang="en-US" sz="1800" b="1"/>
                <a:t>Pollen / Allergens  (</a:t>
              </a:r>
              <a:r>
                <a:rPr lang="en-US" sz="1800" b="1" err="1"/>
                <a:t>PM</a:t>
              </a:r>
              <a:r>
                <a:rPr lang="en-US" sz="1800" b="1" baseline="-25000" err="1"/>
                <a:t>x</a:t>
              </a:r>
              <a:r>
                <a:rPr lang="en-US" sz="1800" b="1"/>
                <a:t>)</a:t>
              </a:r>
            </a:p>
          </p:txBody>
        </p:sp>
      </p:grpSp>
      <p:pic>
        <p:nvPicPr>
          <p:cNvPr id="1035" name="Picture 1034" descr="Icon&#10;&#10;Description automatically generated with medium confidence">
            <a:extLst>
              <a:ext uri="{FF2B5EF4-FFF2-40B4-BE49-F238E27FC236}">
                <a16:creationId xmlns:a16="http://schemas.microsoft.com/office/drawing/2014/main" id="{E21F8045-E3EA-9949-45D5-B7A8FFBD713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692010" y="4873497"/>
            <a:ext cx="902791" cy="902791"/>
          </a:xfrm>
          <a:prstGeom prst="rect">
            <a:avLst/>
          </a:prstGeom>
        </p:spPr>
      </p:pic>
      <p:pic>
        <p:nvPicPr>
          <p:cNvPr id="1039" name="Picture 1038" descr="A picture containing text&#10;&#10;Description automatically generated">
            <a:extLst>
              <a:ext uri="{FF2B5EF4-FFF2-40B4-BE49-F238E27FC236}">
                <a16:creationId xmlns:a16="http://schemas.microsoft.com/office/drawing/2014/main" id="{E2374A6A-5317-29FC-B401-D74F21F9C07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748079" y="2956005"/>
            <a:ext cx="1282786" cy="1282786"/>
          </a:xfrm>
          <a:prstGeom prst="rect">
            <a:avLst/>
          </a:prstGeom>
        </p:spPr>
      </p:pic>
      <p:pic>
        <p:nvPicPr>
          <p:cNvPr id="1043" name="Picture 1042" descr="A picture containing text, gallery, room, businesscard&#10;&#10;Description automatically generated">
            <a:extLst>
              <a:ext uri="{FF2B5EF4-FFF2-40B4-BE49-F238E27FC236}">
                <a16:creationId xmlns:a16="http://schemas.microsoft.com/office/drawing/2014/main" id="{890F6346-128C-8C2B-FDEE-0F01300799E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748079" y="4769539"/>
            <a:ext cx="1150261" cy="1150261"/>
          </a:xfrm>
          <a:prstGeom prst="rect">
            <a:avLst/>
          </a:prstGeom>
        </p:spPr>
      </p:pic>
      <p:sp>
        <p:nvSpPr>
          <p:cNvPr id="1044" name="TextBox 1043">
            <a:extLst>
              <a:ext uri="{FF2B5EF4-FFF2-40B4-BE49-F238E27FC236}">
                <a16:creationId xmlns:a16="http://schemas.microsoft.com/office/drawing/2014/main" id="{7E4A7AD4-08D0-8B36-D735-007C1CC1242E}"/>
              </a:ext>
            </a:extLst>
          </p:cNvPr>
          <p:cNvSpPr txBox="1"/>
          <p:nvPr/>
        </p:nvSpPr>
        <p:spPr>
          <a:xfrm>
            <a:off x="7578725" y="2674006"/>
            <a:ext cx="1601721" cy="369332"/>
          </a:xfrm>
          <a:prstGeom prst="rect">
            <a:avLst/>
          </a:prstGeom>
          <a:noFill/>
        </p:spPr>
        <p:txBody>
          <a:bodyPr wrap="none" rtlCol="0">
            <a:spAutoFit/>
          </a:bodyPr>
          <a:lstStyle/>
          <a:p>
            <a:r>
              <a:rPr lang="en-US" sz="1800" b="1"/>
              <a:t>Filter </a:t>
            </a:r>
            <a:r>
              <a:rPr lang="en-US" sz="1800" b="1">
                <a:sym typeface="Wingdings" panose="05000000000000000000" pitchFamily="2" charset="2"/>
              </a:rPr>
              <a:t></a:t>
            </a:r>
            <a:r>
              <a:rPr lang="en-US" sz="1800" b="1"/>
              <a:t> </a:t>
            </a:r>
            <a:r>
              <a:rPr lang="en-US" sz="1800" b="1">
                <a:solidFill>
                  <a:schemeClr val="accent1"/>
                </a:solidFill>
              </a:rPr>
              <a:t>Clean </a:t>
            </a:r>
          </a:p>
        </p:txBody>
      </p:sp>
      <p:sp>
        <p:nvSpPr>
          <p:cNvPr id="1045" name="TextBox 1044">
            <a:extLst>
              <a:ext uri="{FF2B5EF4-FFF2-40B4-BE49-F238E27FC236}">
                <a16:creationId xmlns:a16="http://schemas.microsoft.com/office/drawing/2014/main" id="{627839EF-0926-8453-727D-1E54A266354F}"/>
              </a:ext>
            </a:extLst>
          </p:cNvPr>
          <p:cNvSpPr txBox="1"/>
          <p:nvPr/>
        </p:nvSpPr>
        <p:spPr>
          <a:xfrm>
            <a:off x="7589043" y="4319499"/>
            <a:ext cx="1822165" cy="369332"/>
          </a:xfrm>
          <a:prstGeom prst="rect">
            <a:avLst/>
          </a:prstGeom>
          <a:noFill/>
        </p:spPr>
        <p:txBody>
          <a:bodyPr wrap="none" rtlCol="0">
            <a:spAutoFit/>
          </a:bodyPr>
          <a:lstStyle/>
          <a:p>
            <a:r>
              <a:rPr lang="en-US" sz="1800" b="1"/>
              <a:t>Ventilate </a:t>
            </a:r>
            <a:r>
              <a:rPr lang="en-US" sz="1800" b="1">
                <a:sym typeface="Wingdings" panose="05000000000000000000" pitchFamily="2" charset="2"/>
              </a:rPr>
              <a:t> </a:t>
            </a:r>
            <a:r>
              <a:rPr lang="en-US" sz="1800" b="1">
                <a:solidFill>
                  <a:schemeClr val="accent1"/>
                </a:solidFill>
                <a:sym typeface="Wingdings" panose="05000000000000000000" pitchFamily="2" charset="2"/>
              </a:rPr>
              <a:t>Dilute</a:t>
            </a:r>
            <a:endParaRPr lang="en-US" sz="1800" b="1">
              <a:solidFill>
                <a:schemeClr val="accent1"/>
              </a:solidFill>
            </a:endParaRPr>
          </a:p>
        </p:txBody>
      </p:sp>
      <p:sp>
        <p:nvSpPr>
          <p:cNvPr id="1046" name="TextBox 1045">
            <a:extLst>
              <a:ext uri="{FF2B5EF4-FFF2-40B4-BE49-F238E27FC236}">
                <a16:creationId xmlns:a16="http://schemas.microsoft.com/office/drawing/2014/main" id="{CDD9C2DB-98D9-C65C-28F8-882738015CAB}"/>
              </a:ext>
            </a:extLst>
          </p:cNvPr>
          <p:cNvSpPr txBox="1"/>
          <p:nvPr/>
        </p:nvSpPr>
        <p:spPr>
          <a:xfrm>
            <a:off x="7530584" y="1153648"/>
            <a:ext cx="2260555" cy="369332"/>
          </a:xfrm>
          <a:prstGeom prst="rect">
            <a:avLst/>
          </a:prstGeom>
          <a:noFill/>
        </p:spPr>
        <p:txBody>
          <a:bodyPr wrap="none" rtlCol="0">
            <a:spAutoFit/>
          </a:bodyPr>
          <a:lstStyle/>
          <a:p>
            <a:r>
              <a:rPr lang="en-US" sz="1800" b="1"/>
              <a:t>Monitor </a:t>
            </a:r>
            <a:r>
              <a:rPr lang="en-US" sz="1800" b="1">
                <a:sym typeface="Wingdings" panose="05000000000000000000" pitchFamily="2" charset="2"/>
              </a:rPr>
              <a:t></a:t>
            </a:r>
            <a:r>
              <a:rPr lang="en-US" sz="1800" b="1"/>
              <a:t> </a:t>
            </a:r>
            <a:r>
              <a:rPr lang="en-US" sz="1800" b="1">
                <a:solidFill>
                  <a:schemeClr val="accent1"/>
                </a:solidFill>
              </a:rPr>
              <a:t>Understand</a:t>
            </a:r>
          </a:p>
        </p:txBody>
      </p:sp>
      <p:pic>
        <p:nvPicPr>
          <p:cNvPr id="1048" name="Picture 1047" descr="A picture containing icon&#10;&#10;Description automatically generated">
            <a:extLst>
              <a:ext uri="{FF2B5EF4-FFF2-40B4-BE49-F238E27FC236}">
                <a16:creationId xmlns:a16="http://schemas.microsoft.com/office/drawing/2014/main" id="{43491F2F-A390-B54A-7D3D-29049836677A}"/>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512797" y="3187966"/>
            <a:ext cx="893034" cy="893034"/>
          </a:xfrm>
          <a:prstGeom prst="rect">
            <a:avLst/>
          </a:prstGeom>
        </p:spPr>
      </p:pic>
      <p:pic>
        <p:nvPicPr>
          <p:cNvPr id="1050" name="Picture 1049">
            <a:extLst>
              <a:ext uri="{FF2B5EF4-FFF2-40B4-BE49-F238E27FC236}">
                <a16:creationId xmlns:a16="http://schemas.microsoft.com/office/drawing/2014/main" id="{263FCFE1-F974-F295-1AE3-2C54E825D77A}"/>
              </a:ext>
            </a:extLst>
          </p:cNvPr>
          <p:cNvPicPr>
            <a:picLocks noChangeAspect="1"/>
          </p:cNvPicPr>
          <p:nvPr/>
        </p:nvPicPr>
        <p:blipFill>
          <a:blip r:embed="rId2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500126" y="1660253"/>
            <a:ext cx="710076" cy="710076"/>
          </a:xfrm>
          <a:prstGeom prst="rect">
            <a:avLst/>
          </a:prstGeom>
        </p:spPr>
      </p:pic>
      <p:pic>
        <p:nvPicPr>
          <p:cNvPr id="1052" name="Picture 1051" descr="Shape, circle&#10;&#10;Description automatically generated">
            <a:extLst>
              <a:ext uri="{FF2B5EF4-FFF2-40B4-BE49-F238E27FC236}">
                <a16:creationId xmlns:a16="http://schemas.microsoft.com/office/drawing/2014/main" id="{C4599139-5D03-3BA2-117A-6AC51DEEA26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504754" y="1628395"/>
            <a:ext cx="836044" cy="836044"/>
          </a:xfrm>
          <a:prstGeom prst="rect">
            <a:avLst/>
          </a:prstGeom>
        </p:spPr>
      </p:pic>
      <p:pic>
        <p:nvPicPr>
          <p:cNvPr id="1054" name="Picture 1053" descr="A picture containing text, microwave, kitchen appliance&#10;&#10;Description automatically generated">
            <a:extLst>
              <a:ext uri="{FF2B5EF4-FFF2-40B4-BE49-F238E27FC236}">
                <a16:creationId xmlns:a16="http://schemas.microsoft.com/office/drawing/2014/main" id="{A2BFA7B3-125D-B2F7-0C48-0268C15DA1B5}"/>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535719" y="1615873"/>
            <a:ext cx="965240" cy="965240"/>
          </a:xfrm>
          <a:prstGeom prst="rect">
            <a:avLst/>
          </a:prstGeom>
        </p:spPr>
      </p:pic>
      <p:pic>
        <p:nvPicPr>
          <p:cNvPr id="1056" name="Picture 1055" descr="A picture containing text, businesscard, vector graphics&#10;&#10;Description automatically generated">
            <a:extLst>
              <a:ext uri="{FF2B5EF4-FFF2-40B4-BE49-F238E27FC236}">
                <a16:creationId xmlns:a16="http://schemas.microsoft.com/office/drawing/2014/main" id="{73602CB8-4880-6090-CBCC-88F76823BA86}"/>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0030865" y="4873497"/>
            <a:ext cx="982961" cy="982961"/>
          </a:xfrm>
          <a:prstGeom prst="rect">
            <a:avLst/>
          </a:prstGeom>
        </p:spPr>
      </p:pic>
      <p:sp>
        <p:nvSpPr>
          <p:cNvPr id="1057" name="Chevron 88">
            <a:extLst>
              <a:ext uri="{FF2B5EF4-FFF2-40B4-BE49-F238E27FC236}">
                <a16:creationId xmlns:a16="http://schemas.microsoft.com/office/drawing/2014/main" id="{06E6001F-CB79-B4C5-4B9D-2C0FDF401445}"/>
              </a:ext>
            </a:extLst>
          </p:cNvPr>
          <p:cNvSpPr/>
          <p:nvPr/>
        </p:nvSpPr>
        <p:spPr>
          <a:xfrm>
            <a:off x="6627197" y="3187191"/>
            <a:ext cx="344105" cy="646331"/>
          </a:xfrm>
          <a:prstGeom prst="chevron">
            <a:avLst>
              <a:gd name="adj" fmla="val 73942"/>
            </a:avLst>
          </a:prstGeom>
          <a:gradFill>
            <a:gsLst>
              <a:gs pos="100000">
                <a:srgbClr val="66CC33">
                  <a:alpha val="63000"/>
                </a:srgbClr>
              </a:gs>
              <a:gs pos="0">
                <a:srgbClr val="E0F5D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a:solidFill>
                <a:schemeClr val="tx1"/>
              </a:solidFill>
            </a:endParaRPr>
          </a:p>
        </p:txBody>
      </p:sp>
      <p:sp>
        <p:nvSpPr>
          <p:cNvPr id="1058" name="Chevron 93">
            <a:extLst>
              <a:ext uri="{FF2B5EF4-FFF2-40B4-BE49-F238E27FC236}">
                <a16:creationId xmlns:a16="http://schemas.microsoft.com/office/drawing/2014/main" id="{E1AB6E15-95AC-3A8D-D3D5-38304A58A109}"/>
              </a:ext>
            </a:extLst>
          </p:cNvPr>
          <p:cNvSpPr/>
          <p:nvPr/>
        </p:nvSpPr>
        <p:spPr>
          <a:xfrm>
            <a:off x="6825160" y="3178360"/>
            <a:ext cx="344105" cy="646331"/>
          </a:xfrm>
          <a:prstGeom prst="chevron">
            <a:avLst>
              <a:gd name="adj" fmla="val 69413"/>
            </a:avLst>
          </a:prstGeom>
          <a:gradFill>
            <a:gsLst>
              <a:gs pos="100000">
                <a:srgbClr val="66CC33">
                  <a:alpha val="63000"/>
                </a:srgbClr>
              </a:gs>
              <a:gs pos="0">
                <a:srgbClr val="E0F5D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a:solidFill>
                <a:schemeClr val="tx1"/>
              </a:solidFill>
            </a:endParaRPr>
          </a:p>
        </p:txBody>
      </p:sp>
    </p:spTree>
    <p:extLst>
      <p:ext uri="{BB962C8B-B14F-4D97-AF65-F5344CB8AC3E}">
        <p14:creationId xmlns:p14="http://schemas.microsoft.com/office/powerpoint/2010/main" val="2224333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5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5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5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44" grpId="0"/>
      <p:bldP spid="1045" grpId="0"/>
      <p:bldP spid="1046" grpId="0"/>
      <p:bldP spid="1057" grpId="0" animBg="1"/>
      <p:bldP spid="1058"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30444" y="118449"/>
            <a:ext cx="10953830" cy="6200820"/>
          </a:xfrm>
          <a:prstGeom prst="rect">
            <a:avLst/>
          </a:prstGeom>
        </p:spPr>
      </p:pic>
    </p:spTree>
    <p:extLst>
      <p:ext uri="{BB962C8B-B14F-4D97-AF65-F5344CB8AC3E}">
        <p14:creationId xmlns:p14="http://schemas.microsoft.com/office/powerpoint/2010/main" val="35316774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A6D8C-C844-B6A6-6085-C7B2A20DB704}"/>
              </a:ext>
            </a:extLst>
          </p:cNvPr>
          <p:cNvSpPr>
            <a:spLocks noGrp="1"/>
          </p:cNvSpPr>
          <p:nvPr>
            <p:ph type="title"/>
          </p:nvPr>
        </p:nvSpPr>
        <p:spPr/>
        <p:txBody>
          <a:bodyPr/>
          <a:lstStyle/>
          <a:p>
            <a:r>
              <a:rPr lang="en-US"/>
              <a:t>What are the key parameters to evaluate air quality?</a:t>
            </a:r>
          </a:p>
        </p:txBody>
      </p:sp>
      <p:sp>
        <p:nvSpPr>
          <p:cNvPr id="3" name="Rectangle: Rounded Corners 49">
            <a:extLst>
              <a:ext uri="{FF2B5EF4-FFF2-40B4-BE49-F238E27FC236}">
                <a16:creationId xmlns:a16="http://schemas.microsoft.com/office/drawing/2014/main" id="{0F3B63FA-D1AD-7F74-2D80-7E044746FC38}"/>
              </a:ext>
            </a:extLst>
          </p:cNvPr>
          <p:cNvSpPr/>
          <p:nvPr/>
        </p:nvSpPr>
        <p:spPr>
          <a:xfrm>
            <a:off x="729174" y="904632"/>
            <a:ext cx="4563908" cy="2524367"/>
          </a:xfrm>
          <a:prstGeom prst="roundRect">
            <a:avLst>
              <a:gd name="adj" fmla="val 8138"/>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Rectangle: Rounded Corners 49">
            <a:extLst>
              <a:ext uri="{FF2B5EF4-FFF2-40B4-BE49-F238E27FC236}">
                <a16:creationId xmlns:a16="http://schemas.microsoft.com/office/drawing/2014/main" id="{0795871C-558E-DD95-E45B-7802E8E43E8B}"/>
              </a:ext>
            </a:extLst>
          </p:cNvPr>
          <p:cNvSpPr/>
          <p:nvPr/>
        </p:nvSpPr>
        <p:spPr>
          <a:xfrm>
            <a:off x="5437238" y="904632"/>
            <a:ext cx="4381142" cy="2524367"/>
          </a:xfrm>
          <a:prstGeom prst="roundRect">
            <a:avLst>
              <a:gd name="adj" fmla="val 8138"/>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Rounded Corners 49">
            <a:extLst>
              <a:ext uri="{FF2B5EF4-FFF2-40B4-BE49-F238E27FC236}">
                <a16:creationId xmlns:a16="http://schemas.microsoft.com/office/drawing/2014/main" id="{4611236B-B5B4-333E-CBC3-F87450F87B5A}"/>
              </a:ext>
            </a:extLst>
          </p:cNvPr>
          <p:cNvSpPr/>
          <p:nvPr/>
        </p:nvSpPr>
        <p:spPr>
          <a:xfrm>
            <a:off x="751116" y="3681320"/>
            <a:ext cx="4563909" cy="2524367"/>
          </a:xfrm>
          <a:prstGeom prst="roundRect">
            <a:avLst>
              <a:gd name="adj" fmla="val 8138"/>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Rectangle: Rounded Corners 49">
            <a:extLst>
              <a:ext uri="{FF2B5EF4-FFF2-40B4-BE49-F238E27FC236}">
                <a16:creationId xmlns:a16="http://schemas.microsoft.com/office/drawing/2014/main" id="{BC75E751-0C85-137D-1CFB-5BA82BFF3DB3}"/>
              </a:ext>
            </a:extLst>
          </p:cNvPr>
          <p:cNvSpPr/>
          <p:nvPr/>
        </p:nvSpPr>
        <p:spPr>
          <a:xfrm>
            <a:off x="5437238" y="3660122"/>
            <a:ext cx="4381142" cy="2524367"/>
          </a:xfrm>
          <a:prstGeom prst="roundRect">
            <a:avLst>
              <a:gd name="adj" fmla="val 8138"/>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Rectangle: Rounded Corners 49">
            <a:extLst>
              <a:ext uri="{FF2B5EF4-FFF2-40B4-BE49-F238E27FC236}">
                <a16:creationId xmlns:a16="http://schemas.microsoft.com/office/drawing/2014/main" id="{6D783FEE-78A4-2ACC-BB62-8F9CA6F0B9EB}"/>
              </a:ext>
            </a:extLst>
          </p:cNvPr>
          <p:cNvSpPr/>
          <p:nvPr/>
        </p:nvSpPr>
        <p:spPr>
          <a:xfrm>
            <a:off x="9962535" y="904632"/>
            <a:ext cx="1592825" cy="5279857"/>
          </a:xfrm>
          <a:prstGeom prst="roundRect">
            <a:avLst>
              <a:gd name="adj" fmla="val 8138"/>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8" name="Group 7">
            <a:extLst>
              <a:ext uri="{FF2B5EF4-FFF2-40B4-BE49-F238E27FC236}">
                <a16:creationId xmlns:a16="http://schemas.microsoft.com/office/drawing/2014/main" id="{FBB4DFB0-2EE9-560D-7385-FB3CA5F4CB18}"/>
              </a:ext>
            </a:extLst>
          </p:cNvPr>
          <p:cNvGrpSpPr/>
          <p:nvPr/>
        </p:nvGrpSpPr>
        <p:grpSpPr>
          <a:xfrm>
            <a:off x="954178" y="2385124"/>
            <a:ext cx="4113898" cy="921103"/>
            <a:chOff x="4754288" y="3722678"/>
            <a:chExt cx="6736078" cy="1878561"/>
          </a:xfrm>
        </p:grpSpPr>
        <p:grpSp>
          <p:nvGrpSpPr>
            <p:cNvPr id="9" name="Group 8">
              <a:extLst>
                <a:ext uri="{FF2B5EF4-FFF2-40B4-BE49-F238E27FC236}">
                  <a16:creationId xmlns:a16="http://schemas.microsoft.com/office/drawing/2014/main" id="{4FDCDE18-8554-60B3-EBCF-75DC9326DAD6}"/>
                </a:ext>
              </a:extLst>
            </p:cNvPr>
            <p:cNvGrpSpPr/>
            <p:nvPr/>
          </p:nvGrpSpPr>
          <p:grpSpPr>
            <a:xfrm>
              <a:off x="4754288" y="3722678"/>
              <a:ext cx="6736078" cy="1878561"/>
              <a:chOff x="4784768" y="3722678"/>
              <a:chExt cx="6736078" cy="1878561"/>
            </a:xfrm>
          </p:grpSpPr>
          <p:pic>
            <p:nvPicPr>
              <p:cNvPr id="25" name="Picture 24">
                <a:extLst>
                  <a:ext uri="{FF2B5EF4-FFF2-40B4-BE49-F238E27FC236}">
                    <a16:creationId xmlns:a16="http://schemas.microsoft.com/office/drawing/2014/main" id="{478A2E7D-7D74-BE26-1801-F813B9735335}"/>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3000" contrast="6000"/>
                        </a14:imgEffect>
                      </a14:imgLayer>
                    </a14:imgProps>
                  </a:ext>
                </a:extLst>
              </a:blip>
              <a:srcRect l="688" t="9842" r="75394" b="27638"/>
              <a:stretch/>
            </p:blipFill>
            <p:spPr>
              <a:xfrm>
                <a:off x="4784768" y="3722678"/>
                <a:ext cx="1592578" cy="1878561"/>
              </a:xfrm>
              <a:prstGeom prst="rect">
                <a:avLst/>
              </a:prstGeom>
            </p:spPr>
          </p:pic>
          <p:pic>
            <p:nvPicPr>
              <p:cNvPr id="23" name="Picture 22">
                <a:extLst>
                  <a:ext uri="{FF2B5EF4-FFF2-40B4-BE49-F238E27FC236}">
                    <a16:creationId xmlns:a16="http://schemas.microsoft.com/office/drawing/2014/main" id="{9AEDA885-50DD-728B-CADD-97AA133AD3D7}"/>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3000" contrast="6000"/>
                        </a14:imgEffect>
                      </a14:imgLayer>
                    </a14:imgProps>
                  </a:ext>
                </a:extLst>
              </a:blip>
              <a:srcRect l="25749" t="9842" r="50333" b="27638"/>
              <a:stretch/>
            </p:blipFill>
            <p:spPr>
              <a:xfrm>
                <a:off x="6499268" y="3722678"/>
                <a:ext cx="1592578" cy="1878561"/>
              </a:xfrm>
              <a:prstGeom prst="rect">
                <a:avLst/>
              </a:prstGeom>
            </p:spPr>
          </p:pic>
          <p:pic>
            <p:nvPicPr>
              <p:cNvPr id="21" name="Picture 20">
                <a:extLst>
                  <a:ext uri="{FF2B5EF4-FFF2-40B4-BE49-F238E27FC236}">
                    <a16:creationId xmlns:a16="http://schemas.microsoft.com/office/drawing/2014/main" id="{12C44C66-FC26-FE41-1C19-22F3A6F47BD7}"/>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3000" contrast="6000"/>
                        </a14:imgEffect>
                      </a14:imgLayer>
                    </a14:imgProps>
                  </a:ext>
                </a:extLst>
              </a:blip>
              <a:srcRect l="50456" t="9842" r="25626" b="27638"/>
              <a:stretch/>
            </p:blipFill>
            <p:spPr>
              <a:xfrm>
                <a:off x="8213767" y="3722678"/>
                <a:ext cx="1592578" cy="1878561"/>
              </a:xfrm>
              <a:prstGeom prst="rect">
                <a:avLst/>
              </a:prstGeom>
            </p:spPr>
          </p:pic>
          <p:pic>
            <p:nvPicPr>
              <p:cNvPr id="19" name="Picture 18">
                <a:extLst>
                  <a:ext uri="{FF2B5EF4-FFF2-40B4-BE49-F238E27FC236}">
                    <a16:creationId xmlns:a16="http://schemas.microsoft.com/office/drawing/2014/main" id="{C4A0278B-0D17-46E7-300B-9ED08DF95F76}"/>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3000" contrast="6000"/>
                        </a14:imgEffect>
                      </a14:imgLayer>
                    </a14:imgProps>
                  </a:ext>
                </a:extLst>
              </a:blip>
              <a:srcRect l="75483" t="9842" r="599" b="27638"/>
              <a:stretch/>
            </p:blipFill>
            <p:spPr>
              <a:xfrm>
                <a:off x="9928266" y="3722678"/>
                <a:ext cx="1592580" cy="1878561"/>
              </a:xfrm>
              <a:prstGeom prst="rect">
                <a:avLst/>
              </a:prstGeom>
            </p:spPr>
          </p:pic>
        </p:grpSp>
        <p:grpSp>
          <p:nvGrpSpPr>
            <p:cNvPr id="10" name="Group 9">
              <a:extLst>
                <a:ext uri="{FF2B5EF4-FFF2-40B4-BE49-F238E27FC236}">
                  <a16:creationId xmlns:a16="http://schemas.microsoft.com/office/drawing/2014/main" id="{44025337-93B9-73B5-B0CD-55F2E5716533}"/>
                </a:ext>
              </a:extLst>
            </p:cNvPr>
            <p:cNvGrpSpPr/>
            <p:nvPr/>
          </p:nvGrpSpPr>
          <p:grpSpPr>
            <a:xfrm>
              <a:off x="4754288" y="5158942"/>
              <a:ext cx="6736078" cy="442297"/>
              <a:chOff x="6208289" y="10387543"/>
              <a:chExt cx="6736078" cy="442297"/>
            </a:xfrm>
            <a:noFill/>
          </p:grpSpPr>
          <p:sp>
            <p:nvSpPr>
              <p:cNvPr id="11" name="Rectangle: Rounded Corners 10">
                <a:extLst>
                  <a:ext uri="{FF2B5EF4-FFF2-40B4-BE49-F238E27FC236}">
                    <a16:creationId xmlns:a16="http://schemas.microsoft.com/office/drawing/2014/main" id="{6DD69608-7FD1-BA31-55DC-EDE83B5111A0}"/>
                  </a:ext>
                </a:extLst>
              </p:cNvPr>
              <p:cNvSpPr/>
              <p:nvPr/>
            </p:nvSpPr>
            <p:spPr>
              <a:xfrm>
                <a:off x="6208289" y="10387880"/>
                <a:ext cx="1592580" cy="4419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effectLst/>
                    <a:latin typeface="+mj-lt"/>
                  </a:rPr>
                  <a:t>PM10</a:t>
                </a:r>
                <a:endParaRPr lang="en-US" sz="1600" b="1">
                  <a:solidFill>
                    <a:schemeClr val="tx1"/>
                  </a:solidFill>
                  <a:latin typeface="+mj-lt"/>
                </a:endParaRPr>
              </a:p>
            </p:txBody>
          </p:sp>
          <p:sp>
            <p:nvSpPr>
              <p:cNvPr id="12" name="Rectangle: Rounded Corners 11">
                <a:extLst>
                  <a:ext uri="{FF2B5EF4-FFF2-40B4-BE49-F238E27FC236}">
                    <a16:creationId xmlns:a16="http://schemas.microsoft.com/office/drawing/2014/main" id="{85008859-6614-D8DD-A6B4-1E011ABC3CFC}"/>
                  </a:ext>
                </a:extLst>
              </p:cNvPr>
              <p:cNvSpPr/>
              <p:nvPr/>
            </p:nvSpPr>
            <p:spPr>
              <a:xfrm>
                <a:off x="7922788" y="10387543"/>
                <a:ext cx="1592580" cy="44196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effectLst/>
                    <a:latin typeface="+mj-lt"/>
                  </a:rPr>
                  <a:t>PM2.5</a:t>
                </a:r>
                <a:endParaRPr lang="en-US" sz="1600" b="1">
                  <a:solidFill>
                    <a:schemeClr val="tx1"/>
                  </a:solidFill>
                  <a:latin typeface="+mj-lt"/>
                </a:endParaRPr>
              </a:p>
            </p:txBody>
          </p:sp>
          <p:sp>
            <p:nvSpPr>
              <p:cNvPr id="13" name="Rectangle: Rounded Corners 12">
                <a:extLst>
                  <a:ext uri="{FF2B5EF4-FFF2-40B4-BE49-F238E27FC236}">
                    <a16:creationId xmlns:a16="http://schemas.microsoft.com/office/drawing/2014/main" id="{1DF2E9CA-9E59-B627-5C9B-AC2DC57C84D5}"/>
                  </a:ext>
                </a:extLst>
              </p:cNvPr>
              <p:cNvSpPr/>
              <p:nvPr/>
            </p:nvSpPr>
            <p:spPr>
              <a:xfrm>
                <a:off x="9637288" y="10387543"/>
                <a:ext cx="1592580" cy="44196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effectLst/>
                    <a:latin typeface="+mj-lt"/>
                  </a:rPr>
                  <a:t>PM1</a:t>
                </a:r>
                <a:endParaRPr lang="en-US" sz="1600" b="1">
                  <a:solidFill>
                    <a:schemeClr val="tx1"/>
                  </a:solidFill>
                  <a:latin typeface="+mj-lt"/>
                </a:endParaRPr>
              </a:p>
            </p:txBody>
          </p:sp>
          <p:sp>
            <p:nvSpPr>
              <p:cNvPr id="14" name="Rectangle: Rounded Corners 13">
                <a:extLst>
                  <a:ext uri="{FF2B5EF4-FFF2-40B4-BE49-F238E27FC236}">
                    <a16:creationId xmlns:a16="http://schemas.microsoft.com/office/drawing/2014/main" id="{D538B918-FA32-41DD-B30C-B7D4315E9DDC}"/>
                  </a:ext>
                </a:extLst>
              </p:cNvPr>
              <p:cNvSpPr/>
              <p:nvPr/>
            </p:nvSpPr>
            <p:spPr>
              <a:xfrm>
                <a:off x="11351787" y="10387543"/>
                <a:ext cx="1592580" cy="44196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effectLst/>
                    <a:latin typeface="+mj-lt"/>
                  </a:rPr>
                  <a:t>PM0.1</a:t>
                </a:r>
              </a:p>
            </p:txBody>
          </p:sp>
        </p:grpSp>
      </p:grpSp>
      <p:sp>
        <p:nvSpPr>
          <p:cNvPr id="27" name="TextBox 26">
            <a:extLst>
              <a:ext uri="{FF2B5EF4-FFF2-40B4-BE49-F238E27FC236}">
                <a16:creationId xmlns:a16="http://schemas.microsoft.com/office/drawing/2014/main" id="{7FF33033-5435-B8FD-6DA1-C8A0120E78A9}"/>
              </a:ext>
            </a:extLst>
          </p:cNvPr>
          <p:cNvSpPr txBox="1"/>
          <p:nvPr/>
        </p:nvSpPr>
        <p:spPr>
          <a:xfrm>
            <a:off x="933883" y="1368347"/>
            <a:ext cx="4381142" cy="1477328"/>
          </a:xfrm>
          <a:prstGeom prst="rect">
            <a:avLst/>
          </a:prstGeom>
          <a:noFill/>
        </p:spPr>
        <p:txBody>
          <a:bodyPr wrap="square" rtlCol="0">
            <a:spAutoFit/>
          </a:bodyPr>
          <a:lstStyle/>
          <a:p>
            <a:r>
              <a:rPr lang="en-US" sz="1800">
                <a:latin typeface="Arial Narrow"/>
              </a:rPr>
              <a:t>- Mixture</a:t>
            </a:r>
            <a:r>
              <a:rPr lang="en-US" sz="1800" noProof="0">
                <a:latin typeface="Arial Narrow"/>
              </a:rPr>
              <a:t> of solid particles and liquid droplets</a:t>
            </a:r>
          </a:p>
          <a:p>
            <a:r>
              <a:rPr lang="en-US" sz="1800">
                <a:latin typeface="Arial Narrow"/>
              </a:rPr>
              <a:t>- They can be inhaled and cause serious health problems. </a:t>
            </a:r>
          </a:p>
          <a:p>
            <a:pPr marL="285750" indent="-285750">
              <a:buFontTx/>
              <a:buChar char="-"/>
            </a:pPr>
            <a:endParaRPr lang="en-US" sz="1800">
              <a:latin typeface="Arial Narrow"/>
            </a:endParaRPr>
          </a:p>
          <a:p>
            <a:endParaRPr lang="en-US"/>
          </a:p>
        </p:txBody>
      </p:sp>
      <p:sp>
        <p:nvSpPr>
          <p:cNvPr id="29" name="TextBox 28">
            <a:extLst>
              <a:ext uri="{FF2B5EF4-FFF2-40B4-BE49-F238E27FC236}">
                <a16:creationId xmlns:a16="http://schemas.microsoft.com/office/drawing/2014/main" id="{D50C237D-AC9C-EC60-FC95-0BDE38E0562E}"/>
              </a:ext>
            </a:extLst>
          </p:cNvPr>
          <p:cNvSpPr txBox="1"/>
          <p:nvPr/>
        </p:nvSpPr>
        <p:spPr>
          <a:xfrm>
            <a:off x="973601" y="956525"/>
            <a:ext cx="3671135" cy="400110"/>
          </a:xfrm>
          <a:prstGeom prst="rect">
            <a:avLst/>
          </a:prstGeom>
          <a:noFill/>
        </p:spPr>
        <p:txBody>
          <a:bodyPr wrap="square">
            <a:spAutoFit/>
          </a:bodyPr>
          <a:lstStyle/>
          <a:p>
            <a:r>
              <a:rPr lang="en-US" sz="2000" b="1"/>
              <a:t>Particulate Matter (PM)</a:t>
            </a:r>
            <a:endParaRPr lang="en-US" sz="2000"/>
          </a:p>
        </p:txBody>
      </p:sp>
      <p:sp>
        <p:nvSpPr>
          <p:cNvPr id="30" name="TextBox 29">
            <a:extLst>
              <a:ext uri="{FF2B5EF4-FFF2-40B4-BE49-F238E27FC236}">
                <a16:creationId xmlns:a16="http://schemas.microsoft.com/office/drawing/2014/main" id="{CD402143-3287-2249-0DE9-5EFE3470B4C0}"/>
              </a:ext>
            </a:extLst>
          </p:cNvPr>
          <p:cNvSpPr txBox="1"/>
          <p:nvPr/>
        </p:nvSpPr>
        <p:spPr>
          <a:xfrm>
            <a:off x="5559452" y="953550"/>
            <a:ext cx="3296313" cy="400110"/>
          </a:xfrm>
          <a:prstGeom prst="rect">
            <a:avLst/>
          </a:prstGeom>
          <a:noFill/>
        </p:spPr>
        <p:txBody>
          <a:bodyPr wrap="square">
            <a:spAutoFit/>
          </a:bodyPr>
          <a:lstStyle/>
          <a:p>
            <a:r>
              <a:rPr lang="en-US" sz="2000" b="1"/>
              <a:t>Nitrogen Oxides (NOx)</a:t>
            </a:r>
            <a:endParaRPr lang="en-US" sz="2000"/>
          </a:p>
        </p:txBody>
      </p:sp>
      <p:sp>
        <p:nvSpPr>
          <p:cNvPr id="31" name="TextBox 30">
            <a:extLst>
              <a:ext uri="{FF2B5EF4-FFF2-40B4-BE49-F238E27FC236}">
                <a16:creationId xmlns:a16="http://schemas.microsoft.com/office/drawing/2014/main" id="{3DF9CF79-CAD4-10B4-88FF-FD1BB13B2EFC}"/>
              </a:ext>
            </a:extLst>
          </p:cNvPr>
          <p:cNvSpPr txBox="1"/>
          <p:nvPr/>
        </p:nvSpPr>
        <p:spPr>
          <a:xfrm>
            <a:off x="5519734" y="1294815"/>
            <a:ext cx="3959941" cy="923330"/>
          </a:xfrm>
          <a:prstGeom prst="rect">
            <a:avLst/>
          </a:prstGeom>
          <a:noFill/>
        </p:spPr>
        <p:txBody>
          <a:bodyPr wrap="square" rtlCol="0">
            <a:spAutoFit/>
          </a:bodyPr>
          <a:lstStyle/>
          <a:p>
            <a:r>
              <a:rPr lang="en-US"/>
              <a:t>- Originate from the burning of fuel and as result of combustion.</a:t>
            </a:r>
          </a:p>
          <a:p>
            <a:r>
              <a:rPr lang="en-US"/>
              <a:t>- Irritate airways in the respiratory system</a:t>
            </a:r>
          </a:p>
        </p:txBody>
      </p:sp>
      <p:pic>
        <p:nvPicPr>
          <p:cNvPr id="32" name="Picture 31">
            <a:extLst>
              <a:ext uri="{FF2B5EF4-FFF2-40B4-BE49-F238E27FC236}">
                <a16:creationId xmlns:a16="http://schemas.microsoft.com/office/drawing/2014/main" id="{5468D022-92CF-089B-231D-D749613A72E5}"/>
              </a:ext>
            </a:extLst>
          </p:cNvPr>
          <p:cNvPicPr>
            <a:picLocks noChangeAspect="1"/>
          </p:cNvPicPr>
          <p:nvPr/>
        </p:nvPicPr>
        <p:blipFill rotWithShape="1">
          <a:blip r:embed="rId4"/>
          <a:srcRect l="5599" r="5599"/>
          <a:stretch/>
        </p:blipFill>
        <p:spPr>
          <a:xfrm>
            <a:off x="6496187" y="2333202"/>
            <a:ext cx="1422841" cy="1067131"/>
          </a:xfrm>
          <a:prstGeom prst="roundRect">
            <a:avLst/>
          </a:prstGeom>
        </p:spPr>
      </p:pic>
      <p:pic>
        <p:nvPicPr>
          <p:cNvPr id="33" name="Picture 32">
            <a:extLst>
              <a:ext uri="{FF2B5EF4-FFF2-40B4-BE49-F238E27FC236}">
                <a16:creationId xmlns:a16="http://schemas.microsoft.com/office/drawing/2014/main" id="{B12BC8E1-D09F-E4EE-9DA4-AD8ED78FAD78}"/>
              </a:ext>
            </a:extLst>
          </p:cNvPr>
          <p:cNvPicPr>
            <a:picLocks noChangeAspect="1"/>
          </p:cNvPicPr>
          <p:nvPr/>
        </p:nvPicPr>
        <p:blipFill rotWithShape="1">
          <a:blip r:embed="rId5"/>
          <a:srcRect l="5556" r="5556"/>
          <a:stretch/>
        </p:blipFill>
        <p:spPr>
          <a:xfrm>
            <a:off x="8194228" y="2333202"/>
            <a:ext cx="1422841" cy="1067131"/>
          </a:xfrm>
          <a:prstGeom prst="roundRect">
            <a:avLst/>
          </a:prstGeom>
        </p:spPr>
      </p:pic>
      <p:sp>
        <p:nvSpPr>
          <p:cNvPr id="34" name="TextBox 33">
            <a:extLst>
              <a:ext uri="{FF2B5EF4-FFF2-40B4-BE49-F238E27FC236}">
                <a16:creationId xmlns:a16="http://schemas.microsoft.com/office/drawing/2014/main" id="{71518D59-5EF3-2FC9-5CDF-C1FCA2C1DE96}"/>
              </a:ext>
            </a:extLst>
          </p:cNvPr>
          <p:cNvSpPr txBox="1"/>
          <p:nvPr/>
        </p:nvSpPr>
        <p:spPr>
          <a:xfrm>
            <a:off x="1061835" y="3692659"/>
            <a:ext cx="3824124" cy="400110"/>
          </a:xfrm>
          <a:prstGeom prst="rect">
            <a:avLst/>
          </a:prstGeom>
          <a:noFill/>
        </p:spPr>
        <p:txBody>
          <a:bodyPr wrap="none" rtlCol="0">
            <a:spAutoFit/>
          </a:bodyPr>
          <a:lstStyle/>
          <a:p>
            <a:r>
              <a:rPr lang="en-US" sz="2000" b="1"/>
              <a:t>Volatile Organic Compounds (VOCs)</a:t>
            </a:r>
            <a:endParaRPr lang="en-US" sz="2000"/>
          </a:p>
        </p:txBody>
      </p:sp>
      <p:sp>
        <p:nvSpPr>
          <p:cNvPr id="36" name="TextBox 35">
            <a:extLst>
              <a:ext uri="{FF2B5EF4-FFF2-40B4-BE49-F238E27FC236}">
                <a16:creationId xmlns:a16="http://schemas.microsoft.com/office/drawing/2014/main" id="{D0DF4B26-F73A-47E9-874D-4AB4316A2AFB}"/>
              </a:ext>
            </a:extLst>
          </p:cNvPr>
          <p:cNvSpPr txBox="1"/>
          <p:nvPr/>
        </p:nvSpPr>
        <p:spPr>
          <a:xfrm>
            <a:off x="10111438" y="953550"/>
            <a:ext cx="1295017" cy="1015663"/>
          </a:xfrm>
          <a:prstGeom prst="rect">
            <a:avLst/>
          </a:prstGeom>
          <a:noFill/>
        </p:spPr>
        <p:txBody>
          <a:bodyPr wrap="square" rtlCol="0">
            <a:spAutoFit/>
          </a:bodyPr>
          <a:lstStyle/>
          <a:p>
            <a:pPr algn="ctr"/>
            <a:r>
              <a:rPr lang="en-US" sz="2000" b="1"/>
              <a:t>Carbon Dioxide (CO</a:t>
            </a:r>
            <a:r>
              <a:rPr lang="en-US" sz="1200" b="1"/>
              <a:t>2</a:t>
            </a:r>
            <a:r>
              <a:rPr lang="en-US" sz="2000" b="1"/>
              <a:t>)</a:t>
            </a:r>
            <a:endParaRPr lang="en-US" sz="2000"/>
          </a:p>
        </p:txBody>
      </p:sp>
      <p:sp>
        <p:nvSpPr>
          <p:cNvPr id="38" name="TextBox 37">
            <a:extLst>
              <a:ext uri="{FF2B5EF4-FFF2-40B4-BE49-F238E27FC236}">
                <a16:creationId xmlns:a16="http://schemas.microsoft.com/office/drawing/2014/main" id="{6C1A34DE-1DC0-DD91-15CD-A4879D2CE09B}"/>
              </a:ext>
            </a:extLst>
          </p:cNvPr>
          <p:cNvSpPr txBox="1"/>
          <p:nvPr/>
        </p:nvSpPr>
        <p:spPr>
          <a:xfrm>
            <a:off x="5972004" y="3681320"/>
            <a:ext cx="3463449" cy="400110"/>
          </a:xfrm>
          <a:prstGeom prst="rect">
            <a:avLst/>
          </a:prstGeom>
          <a:noFill/>
        </p:spPr>
        <p:txBody>
          <a:bodyPr wrap="none" rtlCol="0">
            <a:spAutoFit/>
          </a:bodyPr>
          <a:lstStyle/>
          <a:p>
            <a:r>
              <a:rPr lang="en-US" sz="2000" b="1"/>
              <a:t>Humidity and Temperature (RHT)</a:t>
            </a:r>
            <a:endParaRPr lang="en-US" sz="2000"/>
          </a:p>
        </p:txBody>
      </p:sp>
      <p:pic>
        <p:nvPicPr>
          <p:cNvPr id="40" name="Picture 39">
            <a:extLst>
              <a:ext uri="{FF2B5EF4-FFF2-40B4-BE49-F238E27FC236}">
                <a16:creationId xmlns:a16="http://schemas.microsoft.com/office/drawing/2014/main" id="{0C574578-95C6-9668-146A-09FD1E279934}"/>
              </a:ext>
            </a:extLst>
          </p:cNvPr>
          <p:cNvPicPr>
            <a:picLocks noChangeAspect="1"/>
          </p:cNvPicPr>
          <p:nvPr/>
        </p:nvPicPr>
        <p:blipFill>
          <a:blip r:embed="rId6"/>
          <a:stretch>
            <a:fillRect/>
          </a:stretch>
        </p:blipFill>
        <p:spPr>
          <a:xfrm>
            <a:off x="6956758" y="4213058"/>
            <a:ext cx="2705988" cy="1851142"/>
          </a:xfrm>
          <a:prstGeom prst="rect">
            <a:avLst/>
          </a:prstGeom>
        </p:spPr>
      </p:pic>
      <p:sp>
        <p:nvSpPr>
          <p:cNvPr id="41" name="TextBox 40">
            <a:extLst>
              <a:ext uri="{FF2B5EF4-FFF2-40B4-BE49-F238E27FC236}">
                <a16:creationId xmlns:a16="http://schemas.microsoft.com/office/drawing/2014/main" id="{8269BB80-ED1E-AA33-1D8E-79185FC1312F}"/>
              </a:ext>
            </a:extLst>
          </p:cNvPr>
          <p:cNvSpPr txBox="1"/>
          <p:nvPr/>
        </p:nvSpPr>
        <p:spPr>
          <a:xfrm>
            <a:off x="5514131" y="4125306"/>
            <a:ext cx="1442627" cy="2031325"/>
          </a:xfrm>
          <a:prstGeom prst="rect">
            <a:avLst/>
          </a:prstGeom>
          <a:noFill/>
        </p:spPr>
        <p:txBody>
          <a:bodyPr wrap="square" rtlCol="0">
            <a:spAutoFit/>
          </a:bodyPr>
          <a:lstStyle/>
          <a:p>
            <a:r>
              <a:rPr lang="en-US" sz="1800"/>
              <a:t>- RH and T affect daily performance</a:t>
            </a:r>
            <a:r>
              <a:rPr lang="en-US"/>
              <a:t>,</a:t>
            </a:r>
            <a:r>
              <a:rPr lang="en-US" sz="1800"/>
              <a:t> </a:t>
            </a:r>
            <a:r>
              <a:rPr lang="en-US"/>
              <a:t>c</a:t>
            </a:r>
            <a:r>
              <a:rPr lang="en-US" sz="1800"/>
              <a:t>omfor</a:t>
            </a:r>
            <a:r>
              <a:rPr lang="en-US"/>
              <a:t>t, and virus/bacteria transmission</a:t>
            </a:r>
            <a:r>
              <a:rPr lang="en-US" sz="1800"/>
              <a:t>. </a:t>
            </a:r>
          </a:p>
          <a:p>
            <a:endParaRPr lang="en-US"/>
          </a:p>
        </p:txBody>
      </p:sp>
      <p:sp>
        <p:nvSpPr>
          <p:cNvPr id="42" name="TextBox 41">
            <a:extLst>
              <a:ext uri="{FF2B5EF4-FFF2-40B4-BE49-F238E27FC236}">
                <a16:creationId xmlns:a16="http://schemas.microsoft.com/office/drawing/2014/main" id="{2DD43DCD-91E7-9D41-E2A1-036E6EB585CA}"/>
              </a:ext>
            </a:extLst>
          </p:cNvPr>
          <p:cNvSpPr txBox="1"/>
          <p:nvPr/>
        </p:nvSpPr>
        <p:spPr>
          <a:xfrm>
            <a:off x="-3185652" y="3544560"/>
            <a:ext cx="184731" cy="369332"/>
          </a:xfrm>
          <a:prstGeom prst="rect">
            <a:avLst/>
          </a:prstGeom>
          <a:noFill/>
        </p:spPr>
        <p:txBody>
          <a:bodyPr wrap="none" rtlCol="0">
            <a:spAutoFit/>
          </a:bodyPr>
          <a:lstStyle/>
          <a:p>
            <a:endParaRPr lang="en-US"/>
          </a:p>
        </p:txBody>
      </p:sp>
      <p:sp>
        <p:nvSpPr>
          <p:cNvPr id="43" name="TextBox 42">
            <a:extLst>
              <a:ext uri="{FF2B5EF4-FFF2-40B4-BE49-F238E27FC236}">
                <a16:creationId xmlns:a16="http://schemas.microsoft.com/office/drawing/2014/main" id="{B4C12C9A-B16B-D2D6-D75C-D5526E46DC05}"/>
              </a:ext>
            </a:extLst>
          </p:cNvPr>
          <p:cNvSpPr txBox="1"/>
          <p:nvPr/>
        </p:nvSpPr>
        <p:spPr>
          <a:xfrm>
            <a:off x="979474" y="4213058"/>
            <a:ext cx="4439412" cy="646331"/>
          </a:xfrm>
          <a:prstGeom prst="rect">
            <a:avLst/>
          </a:prstGeom>
          <a:noFill/>
        </p:spPr>
        <p:txBody>
          <a:bodyPr wrap="square" rtlCol="0">
            <a:spAutoFit/>
          </a:bodyPr>
          <a:lstStyle/>
          <a:p>
            <a:r>
              <a:rPr lang="en-US"/>
              <a:t>- Some VOCs are dangerous to human health (toxicity and long-term effects)</a:t>
            </a:r>
          </a:p>
        </p:txBody>
      </p:sp>
      <p:pic>
        <p:nvPicPr>
          <p:cNvPr id="44" name="Picture 43">
            <a:extLst>
              <a:ext uri="{FF2B5EF4-FFF2-40B4-BE49-F238E27FC236}">
                <a16:creationId xmlns:a16="http://schemas.microsoft.com/office/drawing/2014/main" id="{E98F2FF3-F08D-CCDC-E103-3D1562A8A5E7}"/>
              </a:ext>
            </a:extLst>
          </p:cNvPr>
          <p:cNvPicPr>
            <a:picLocks noChangeAspect="1"/>
          </p:cNvPicPr>
          <p:nvPr/>
        </p:nvPicPr>
        <p:blipFill>
          <a:blip r:embed="rId7"/>
          <a:stretch>
            <a:fillRect/>
          </a:stretch>
        </p:blipFill>
        <p:spPr>
          <a:xfrm>
            <a:off x="3199180" y="4912078"/>
            <a:ext cx="1651310" cy="1087113"/>
          </a:xfrm>
          <a:prstGeom prst="rect">
            <a:avLst/>
          </a:prstGeom>
        </p:spPr>
      </p:pic>
      <p:sp>
        <p:nvSpPr>
          <p:cNvPr id="45" name="TextBox 44">
            <a:extLst>
              <a:ext uri="{FF2B5EF4-FFF2-40B4-BE49-F238E27FC236}">
                <a16:creationId xmlns:a16="http://schemas.microsoft.com/office/drawing/2014/main" id="{CF010F6D-C1F5-61DF-B2DF-6D2458E0CBCD}"/>
              </a:ext>
            </a:extLst>
          </p:cNvPr>
          <p:cNvSpPr txBox="1"/>
          <p:nvPr/>
        </p:nvSpPr>
        <p:spPr>
          <a:xfrm>
            <a:off x="10111438" y="412955"/>
            <a:ext cx="184731" cy="369332"/>
          </a:xfrm>
          <a:prstGeom prst="rect">
            <a:avLst/>
          </a:prstGeom>
          <a:noFill/>
        </p:spPr>
        <p:txBody>
          <a:bodyPr wrap="none" rtlCol="0">
            <a:spAutoFit/>
          </a:bodyPr>
          <a:lstStyle/>
          <a:p>
            <a:endParaRPr lang="en-US"/>
          </a:p>
        </p:txBody>
      </p:sp>
      <p:sp>
        <p:nvSpPr>
          <p:cNvPr id="46" name="TextBox 45">
            <a:extLst>
              <a:ext uri="{FF2B5EF4-FFF2-40B4-BE49-F238E27FC236}">
                <a16:creationId xmlns:a16="http://schemas.microsoft.com/office/drawing/2014/main" id="{162D6EC1-3290-7091-85D7-0EFE006A3764}"/>
              </a:ext>
            </a:extLst>
          </p:cNvPr>
          <p:cNvSpPr txBox="1"/>
          <p:nvPr/>
        </p:nvSpPr>
        <p:spPr>
          <a:xfrm>
            <a:off x="10134674" y="1969213"/>
            <a:ext cx="1491538" cy="2862322"/>
          </a:xfrm>
          <a:prstGeom prst="rect">
            <a:avLst/>
          </a:prstGeom>
          <a:noFill/>
        </p:spPr>
        <p:txBody>
          <a:bodyPr wrap="square" rtlCol="0">
            <a:spAutoFit/>
          </a:bodyPr>
          <a:lstStyle/>
          <a:p>
            <a:r>
              <a:rPr lang="en-US" sz="1800"/>
              <a:t>- High CO</a:t>
            </a:r>
            <a:r>
              <a:rPr lang="en-US" sz="1200"/>
              <a:t>2</a:t>
            </a:r>
            <a:r>
              <a:rPr lang="en-US" sz="1800"/>
              <a:t> levels ​cause health symptoms, reduced cognitive performance and compromised well-being </a:t>
            </a:r>
            <a:endParaRPr lang="en-US"/>
          </a:p>
        </p:txBody>
      </p:sp>
      <p:pic>
        <p:nvPicPr>
          <p:cNvPr id="1026" name="Picture 2">
            <a:extLst>
              <a:ext uri="{FF2B5EF4-FFF2-40B4-BE49-F238E27FC236}">
                <a16:creationId xmlns:a16="http://schemas.microsoft.com/office/drawing/2014/main" id="{EAC4D297-AD44-0C23-99A3-89E11B5FAA3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20433" y="4946764"/>
            <a:ext cx="1442628" cy="101774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1CF7CE8F-EA42-184D-F02E-8011B4C2F49A}"/>
              </a:ext>
            </a:extLst>
          </p:cNvPr>
          <p:cNvPicPr>
            <a:picLocks noChangeAspect="1"/>
          </p:cNvPicPr>
          <p:nvPr/>
        </p:nvPicPr>
        <p:blipFill>
          <a:blip r:embed="rId9"/>
          <a:stretch>
            <a:fillRect/>
          </a:stretch>
        </p:blipFill>
        <p:spPr>
          <a:xfrm>
            <a:off x="1172690" y="4912079"/>
            <a:ext cx="1739381" cy="1087113"/>
          </a:xfrm>
          <a:prstGeom prst="rect">
            <a:avLst/>
          </a:prstGeom>
        </p:spPr>
      </p:pic>
      <p:pic>
        <p:nvPicPr>
          <p:cNvPr id="16" name="Picture 9">
            <a:extLst>
              <a:ext uri="{FF2B5EF4-FFF2-40B4-BE49-F238E27FC236}">
                <a16:creationId xmlns:a16="http://schemas.microsoft.com/office/drawing/2014/main" id="{DC03B880-9AC2-5094-5A93-7FEDA913D537}"/>
              </a:ext>
            </a:extLst>
          </p:cNvPr>
          <p:cNvPicPr>
            <a:picLocks noChangeAspect="1"/>
          </p:cNvPicPr>
          <p:nvPr/>
        </p:nvPicPr>
        <p:blipFill>
          <a:blip r:embed="rId10"/>
          <a:stretch>
            <a:fillRect/>
          </a:stretch>
        </p:blipFill>
        <p:spPr>
          <a:xfrm>
            <a:off x="9774691" y="6175829"/>
            <a:ext cx="1895475" cy="457200"/>
          </a:xfrm>
          <a:prstGeom prst="rect">
            <a:avLst/>
          </a:prstGeom>
        </p:spPr>
      </p:pic>
    </p:spTree>
    <p:extLst>
      <p:ext uri="{BB962C8B-B14F-4D97-AF65-F5344CB8AC3E}">
        <p14:creationId xmlns:p14="http://schemas.microsoft.com/office/powerpoint/2010/main" val="1874450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par>
                                <p:cTn id="31" presetID="10" presetClass="entr" presetSubtype="0" fill="hold" nodeType="withEffect">
                                  <p:stCondLst>
                                    <p:cond delay="0"/>
                                  </p:stCondLst>
                                  <p:childTnLst>
                                    <p:set>
                                      <p:cBhvr>
                                        <p:cTn id="32" dur="1" fill="hold">
                                          <p:stCondLst>
                                            <p:cond delay="0"/>
                                          </p:stCondLst>
                                        </p:cTn>
                                        <p:tgtEl>
                                          <p:spTgt spid="33"/>
                                        </p:tgtEl>
                                        <p:attrNameLst>
                                          <p:attrName>style.visibility</p:attrName>
                                        </p:attrNameLst>
                                      </p:cBhvr>
                                      <p:to>
                                        <p:strVal val="visible"/>
                                      </p:to>
                                    </p:set>
                                    <p:animEffect transition="in" filter="fade">
                                      <p:cBhvr>
                                        <p:cTn id="33" dur="500"/>
                                        <p:tgtEl>
                                          <p:spTgt spid="3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3"/>
                                        </p:tgtEl>
                                        <p:attrNameLst>
                                          <p:attrName>style.visibility</p:attrName>
                                        </p:attrNameLst>
                                      </p:cBhvr>
                                      <p:to>
                                        <p:strVal val="visible"/>
                                      </p:to>
                                    </p:set>
                                    <p:animEffect transition="in" filter="fade">
                                      <p:cBhvr>
                                        <p:cTn id="44" dur="500"/>
                                        <p:tgtEl>
                                          <p:spTgt spid="43"/>
                                        </p:tgtEl>
                                      </p:cBhvr>
                                    </p:animEffect>
                                  </p:childTnLst>
                                </p:cTn>
                              </p:par>
                              <p:par>
                                <p:cTn id="45" presetID="10" presetClass="entr" presetSubtype="0" fill="hold" nodeType="with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par>
                                <p:cTn id="48" presetID="10" presetClass="entr" presetSubtype="0" fill="hold" nodeType="with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500"/>
                                        <p:tgtEl>
                                          <p:spTgt spid="4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500"/>
                                        <p:tgtEl>
                                          <p:spTgt spid="38"/>
                                        </p:tgtEl>
                                      </p:cBhvr>
                                    </p:animEffect>
                                  </p:childTnLst>
                                </p:cTn>
                              </p:par>
                              <p:par>
                                <p:cTn id="59" presetID="10" presetClass="entr" presetSubtype="0" fill="hold"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1"/>
                                        </p:tgtEl>
                                        <p:attrNameLst>
                                          <p:attrName>style.visibility</p:attrName>
                                        </p:attrNameLst>
                                      </p:cBhvr>
                                      <p:to>
                                        <p:strVal val="visible"/>
                                      </p:to>
                                    </p:set>
                                    <p:animEffect transition="in" filter="fade">
                                      <p:cBhvr>
                                        <p:cTn id="64" dur="500"/>
                                        <p:tgtEl>
                                          <p:spTgt spid="4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500"/>
                                        <p:tgtEl>
                                          <p:spTgt spid="7"/>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par>
                                <p:cTn id="73" presetID="10" presetClass="entr" presetSubtype="0" fill="hold" grpId="0" nodeType="withEffect" nodePh="1">
                                  <p:stCondLst>
                                    <p:cond delay="0"/>
                                  </p:stCondLst>
                                  <p:endCondLst>
                                    <p:cond evt="begin" delay="0">
                                      <p:tn val="73"/>
                                    </p:cond>
                                  </p:endCondLst>
                                  <p:childTnLst>
                                    <p:set>
                                      <p:cBhvr>
                                        <p:cTn id="74" dur="1" fill="hold">
                                          <p:stCondLst>
                                            <p:cond delay="0"/>
                                          </p:stCondLst>
                                        </p:cTn>
                                        <p:tgtEl>
                                          <p:spTgt spid="45"/>
                                        </p:tgtEl>
                                        <p:attrNameLst>
                                          <p:attrName>style.visibility</p:attrName>
                                        </p:attrNameLst>
                                      </p:cBhvr>
                                      <p:to>
                                        <p:strVal val="visible"/>
                                      </p:to>
                                    </p:set>
                                    <p:animEffect transition="in" filter="fade">
                                      <p:cBhvr>
                                        <p:cTn id="75" dur="500"/>
                                        <p:tgtEl>
                                          <p:spTgt spid="4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6"/>
                                        </p:tgtEl>
                                        <p:attrNameLst>
                                          <p:attrName>style.visibility</p:attrName>
                                        </p:attrNameLst>
                                      </p:cBhvr>
                                      <p:to>
                                        <p:strVal val="visible"/>
                                      </p:to>
                                    </p:set>
                                    <p:animEffect transition="in" filter="fade">
                                      <p:cBhvr>
                                        <p:cTn id="78" dur="500"/>
                                        <p:tgtEl>
                                          <p:spTgt spid="46"/>
                                        </p:tgtEl>
                                      </p:cBhvr>
                                    </p:animEffect>
                                  </p:childTnLst>
                                </p:cTn>
                              </p:par>
                              <p:par>
                                <p:cTn id="79" presetID="10" presetClass="entr" presetSubtype="0" fill="hold" nodeType="withEffect">
                                  <p:stCondLst>
                                    <p:cond delay="0"/>
                                  </p:stCondLst>
                                  <p:childTnLst>
                                    <p:set>
                                      <p:cBhvr>
                                        <p:cTn id="80" dur="1" fill="hold">
                                          <p:stCondLst>
                                            <p:cond delay="0"/>
                                          </p:stCondLst>
                                        </p:cTn>
                                        <p:tgtEl>
                                          <p:spTgt spid="1026"/>
                                        </p:tgtEl>
                                        <p:attrNameLst>
                                          <p:attrName>style.visibility</p:attrName>
                                        </p:attrNameLst>
                                      </p:cBhvr>
                                      <p:to>
                                        <p:strVal val="visible"/>
                                      </p:to>
                                    </p:set>
                                    <p:animEffect transition="in" filter="fade">
                                      <p:cBhvr>
                                        <p:cTn id="81"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27" grpId="0"/>
      <p:bldP spid="29" grpId="0"/>
      <p:bldP spid="30" grpId="0"/>
      <p:bldP spid="31" grpId="0"/>
      <p:bldP spid="34" grpId="0"/>
      <p:bldP spid="36" grpId="0"/>
      <p:bldP spid="38" grpId="0"/>
      <p:bldP spid="41" grpId="0"/>
      <p:bldP spid="43" grpId="0"/>
      <p:bldP spid="45" grpId="0"/>
      <p:bldP spid="4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15" name="Rectangle: Rounded Corners 49">
            <a:extLst>
              <a:ext uri="{FF2B5EF4-FFF2-40B4-BE49-F238E27FC236}">
                <a16:creationId xmlns:a16="http://schemas.microsoft.com/office/drawing/2014/main" id="{73D8E888-E7D8-82C7-2E8C-2502D9157DD7}"/>
              </a:ext>
            </a:extLst>
          </p:cNvPr>
          <p:cNvSpPr/>
          <p:nvPr/>
        </p:nvSpPr>
        <p:spPr>
          <a:xfrm>
            <a:off x="4284665" y="1167974"/>
            <a:ext cx="3517042" cy="150974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37" name="Rectangle: Rounded Corners 49">
            <a:extLst>
              <a:ext uri="{FF2B5EF4-FFF2-40B4-BE49-F238E27FC236}">
                <a16:creationId xmlns:a16="http://schemas.microsoft.com/office/drawing/2014/main" id="{EF4FCEBC-D182-AD39-156D-4B96B61ADEA0}"/>
              </a:ext>
            </a:extLst>
          </p:cNvPr>
          <p:cNvSpPr/>
          <p:nvPr/>
        </p:nvSpPr>
        <p:spPr>
          <a:xfrm>
            <a:off x="4284665" y="2871163"/>
            <a:ext cx="3517042" cy="150974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66" name="Rectangle: Rounded Corners 49">
            <a:extLst>
              <a:ext uri="{FF2B5EF4-FFF2-40B4-BE49-F238E27FC236}">
                <a16:creationId xmlns:a16="http://schemas.microsoft.com/office/drawing/2014/main" id="{43F78FAF-5DDB-6AC9-5C08-84E660013299}"/>
              </a:ext>
            </a:extLst>
          </p:cNvPr>
          <p:cNvSpPr/>
          <p:nvPr/>
        </p:nvSpPr>
        <p:spPr>
          <a:xfrm>
            <a:off x="4284665" y="4555556"/>
            <a:ext cx="3517042" cy="150974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C4FD4B1-FFD1-4720-74F9-9882023F7F86}"/>
              </a:ext>
            </a:extLst>
          </p:cNvPr>
          <p:cNvSpPr>
            <a:spLocks noGrp="1"/>
          </p:cNvSpPr>
          <p:nvPr>
            <p:ph type="title"/>
          </p:nvPr>
        </p:nvSpPr>
        <p:spPr/>
        <p:txBody>
          <a:bodyPr/>
          <a:lstStyle/>
          <a:p>
            <a:r>
              <a:rPr lang="en-US"/>
              <a:t>Which applications should we focus on?</a:t>
            </a:r>
          </a:p>
        </p:txBody>
      </p:sp>
      <p:sp>
        <p:nvSpPr>
          <p:cNvPr id="4" name="Slide Number Placeholder 3">
            <a:extLst>
              <a:ext uri="{FF2B5EF4-FFF2-40B4-BE49-F238E27FC236}">
                <a16:creationId xmlns:a16="http://schemas.microsoft.com/office/drawing/2014/main" id="{E2ABEE4E-C45D-700E-445C-821D9654F4F4}"/>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21</a:t>
            </a:fld>
            <a:endParaRPr lang="de-CH"/>
          </a:p>
        </p:txBody>
      </p:sp>
      <p:pic>
        <p:nvPicPr>
          <p:cNvPr id="8" name="Picture 2" descr="Line icon for hvac 3237278 Vector Art at Vecteezy">
            <a:extLst>
              <a:ext uri="{FF2B5EF4-FFF2-40B4-BE49-F238E27FC236}">
                <a16:creationId xmlns:a16="http://schemas.microsoft.com/office/drawing/2014/main" id="{5B26FA05-9327-DA4E-6211-E04566C1746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81272" y="3085036"/>
            <a:ext cx="1047772" cy="10477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Air purifier - Free electronics icons">
            <a:extLst>
              <a:ext uri="{FF2B5EF4-FFF2-40B4-BE49-F238E27FC236}">
                <a16:creationId xmlns:a16="http://schemas.microsoft.com/office/drawing/2014/main" id="{BAA29105-24D8-D934-8822-4C6DB0D7E53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03563" y="4779769"/>
            <a:ext cx="1093399" cy="109339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85 Indoor Air Quality Icon Illustrations &amp; Clip Art - iStock">
            <a:extLst>
              <a:ext uri="{FF2B5EF4-FFF2-40B4-BE49-F238E27FC236}">
                <a16:creationId xmlns:a16="http://schemas.microsoft.com/office/drawing/2014/main" id="{E8FB2DEA-7A23-CE33-64B6-E3FF4F2688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77907" y="1218925"/>
            <a:ext cx="1399064" cy="140365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0B2D4BB2-E479-7004-213D-255E038CD64E}"/>
              </a:ext>
            </a:extLst>
          </p:cNvPr>
          <p:cNvSpPr>
            <a:spLocks noGrp="1"/>
          </p:cNvSpPr>
          <p:nvPr>
            <p:ph idx="1"/>
          </p:nvPr>
        </p:nvSpPr>
        <p:spPr>
          <a:xfrm>
            <a:off x="6314634" y="3404519"/>
            <a:ext cx="1519155" cy="810685"/>
          </a:xfrm>
        </p:spPr>
        <p:txBody>
          <a:bodyPr/>
          <a:lstStyle/>
          <a:p>
            <a:r>
              <a:rPr lang="en-US" b="1"/>
              <a:t>HVAC</a:t>
            </a:r>
            <a:r>
              <a:rPr lang="en-US"/>
              <a:t> </a:t>
            </a:r>
          </a:p>
          <a:p>
            <a:endParaRPr lang="en-US"/>
          </a:p>
        </p:txBody>
      </p:sp>
      <p:sp>
        <p:nvSpPr>
          <p:cNvPr id="7173" name="Content Placeholder 2">
            <a:extLst>
              <a:ext uri="{FF2B5EF4-FFF2-40B4-BE49-F238E27FC236}">
                <a16:creationId xmlns:a16="http://schemas.microsoft.com/office/drawing/2014/main" id="{E43F12EC-BF37-2125-4948-4D3BFCF89FE8}"/>
              </a:ext>
            </a:extLst>
          </p:cNvPr>
          <p:cNvSpPr txBox="1">
            <a:spLocks/>
          </p:cNvSpPr>
          <p:nvPr/>
        </p:nvSpPr>
        <p:spPr>
          <a:xfrm>
            <a:off x="6086834" y="5120184"/>
            <a:ext cx="1738057" cy="810685"/>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Air Cleaners</a:t>
            </a:r>
            <a:endParaRPr lang="en-US"/>
          </a:p>
          <a:p>
            <a:endParaRPr lang="en-US"/>
          </a:p>
        </p:txBody>
      </p:sp>
      <p:sp>
        <p:nvSpPr>
          <p:cNvPr id="7174" name="Content Placeholder 2">
            <a:extLst>
              <a:ext uri="{FF2B5EF4-FFF2-40B4-BE49-F238E27FC236}">
                <a16:creationId xmlns:a16="http://schemas.microsoft.com/office/drawing/2014/main" id="{E6C02939-B94D-444A-8F51-563F01D1FD84}"/>
              </a:ext>
            </a:extLst>
          </p:cNvPr>
          <p:cNvSpPr txBox="1">
            <a:spLocks/>
          </p:cNvSpPr>
          <p:nvPr/>
        </p:nvSpPr>
        <p:spPr>
          <a:xfrm>
            <a:off x="6200342" y="1603665"/>
            <a:ext cx="1737345" cy="810685"/>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Air Quality Monitor </a:t>
            </a:r>
            <a:endParaRPr lang="en-US"/>
          </a:p>
          <a:p>
            <a:endParaRPr lang="en-US"/>
          </a:p>
        </p:txBody>
      </p:sp>
      <p:pic>
        <p:nvPicPr>
          <p:cNvPr id="11" name="Picture 10">
            <a:extLst>
              <a:ext uri="{FF2B5EF4-FFF2-40B4-BE49-F238E27FC236}">
                <a16:creationId xmlns:a16="http://schemas.microsoft.com/office/drawing/2014/main" id="{601C97BD-28E4-98D2-374A-BB40E1E46FC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2930" r="16056"/>
          <a:stretch/>
        </p:blipFill>
        <p:spPr>
          <a:xfrm>
            <a:off x="7975599" y="-707"/>
            <a:ext cx="4216905" cy="6858000"/>
          </a:xfrm>
          <a:prstGeom prst="rect">
            <a:avLst/>
          </a:prstGeom>
        </p:spPr>
      </p:pic>
      <p:grpSp>
        <p:nvGrpSpPr>
          <p:cNvPr id="7212" name="Group 7211">
            <a:extLst>
              <a:ext uri="{FF2B5EF4-FFF2-40B4-BE49-F238E27FC236}">
                <a16:creationId xmlns:a16="http://schemas.microsoft.com/office/drawing/2014/main" id="{0404AF42-EFD9-D8E7-6422-C82A47FB8040}"/>
              </a:ext>
            </a:extLst>
          </p:cNvPr>
          <p:cNvGrpSpPr/>
          <p:nvPr/>
        </p:nvGrpSpPr>
        <p:grpSpPr>
          <a:xfrm>
            <a:off x="758811" y="1934022"/>
            <a:ext cx="3112139" cy="3365384"/>
            <a:chOff x="-11383663" y="914348"/>
            <a:chExt cx="4497216" cy="4863170"/>
          </a:xfrm>
        </p:grpSpPr>
        <p:sp>
          <p:nvSpPr>
            <p:cNvPr id="10" name="Rectangle: Rounded Corners 49">
              <a:extLst>
                <a:ext uri="{FF2B5EF4-FFF2-40B4-BE49-F238E27FC236}">
                  <a16:creationId xmlns:a16="http://schemas.microsoft.com/office/drawing/2014/main" id="{A3A50464-FEFD-D559-EF8C-59762ADE99C1}"/>
                </a:ext>
              </a:extLst>
            </p:cNvPr>
            <p:cNvSpPr/>
            <p:nvPr/>
          </p:nvSpPr>
          <p:spPr>
            <a:xfrm>
              <a:off x="-11383663" y="914348"/>
              <a:ext cx="4394733" cy="4863170"/>
            </a:xfrm>
            <a:prstGeom prst="roundRect">
              <a:avLst>
                <a:gd name="adj" fmla="val 4937"/>
              </a:avLst>
            </a:prstGeom>
            <a:no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3" name="Rectangle: Rounded Corners 8">
              <a:extLst>
                <a:ext uri="{FF2B5EF4-FFF2-40B4-BE49-F238E27FC236}">
                  <a16:creationId xmlns:a16="http://schemas.microsoft.com/office/drawing/2014/main" id="{0EE16888-799E-BA28-570C-BEF2C067F4AC}"/>
                </a:ext>
              </a:extLst>
            </p:cNvPr>
            <p:cNvSpPr/>
            <p:nvPr/>
          </p:nvSpPr>
          <p:spPr>
            <a:xfrm>
              <a:off x="-11210188" y="1149708"/>
              <a:ext cx="4024703" cy="897635"/>
            </a:xfrm>
            <a:prstGeom prst="roundRect">
              <a:avLst>
                <a:gd name="adj" fmla="val 23150"/>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050" b="1" i="0" u="none" strike="noStrike" kern="1200" cap="none" spc="0" normalizeH="0" baseline="0" noProof="0">
                  <a:ln>
                    <a:noFill/>
                  </a:ln>
                  <a:effectLst/>
                  <a:uLnTx/>
                  <a:uFillTx/>
                  <a:latin typeface="Arial Narrow"/>
                  <a:ea typeface="+mn-ea"/>
                  <a:cs typeface="+mn-cs"/>
                </a:rPr>
                <a:t>How to measure?</a:t>
              </a:r>
            </a:p>
            <a:p>
              <a:pPr algn="ctr"/>
              <a:r>
                <a:rPr kumimoji="0" lang="en-US" sz="1050" i="0" u="none" strike="noStrike" kern="1200" cap="none" spc="0" normalizeH="0" baseline="0" noProof="0">
                  <a:ln>
                    <a:noFill/>
                  </a:ln>
                  <a:effectLst/>
                  <a:uLnTx/>
                  <a:uFillTx/>
                  <a:latin typeface="Arial Narrow"/>
                  <a:ea typeface="+mn-ea"/>
                  <a:cs typeface="+mn-cs"/>
                </a:rPr>
                <a:t>Capacitive</a:t>
              </a:r>
            </a:p>
          </p:txBody>
        </p:sp>
        <p:pic>
          <p:nvPicPr>
            <p:cNvPr id="14" name="Picture 13">
              <a:extLst>
                <a:ext uri="{FF2B5EF4-FFF2-40B4-BE49-F238E27FC236}">
                  <a16:creationId xmlns:a16="http://schemas.microsoft.com/office/drawing/2014/main" id="{16C12DA1-E6FA-C7A3-9590-6B21298AE82E}"/>
                </a:ext>
              </a:extLst>
            </p:cNvPr>
            <p:cNvPicPr>
              <a:picLocks noChangeAspect="1"/>
            </p:cNvPicPr>
            <p:nvPr/>
          </p:nvPicPr>
          <p:blipFill>
            <a:blip r:embed="rId7"/>
            <a:stretch>
              <a:fillRect/>
            </a:stretch>
          </p:blipFill>
          <p:spPr>
            <a:xfrm>
              <a:off x="-10683145" y="1298055"/>
              <a:ext cx="2940136" cy="600940"/>
            </a:xfrm>
            <a:prstGeom prst="rect">
              <a:avLst/>
            </a:prstGeom>
          </p:spPr>
        </p:pic>
        <p:sp>
          <p:nvSpPr>
            <p:cNvPr id="15" name="TextBox 14">
              <a:extLst>
                <a:ext uri="{FF2B5EF4-FFF2-40B4-BE49-F238E27FC236}">
                  <a16:creationId xmlns:a16="http://schemas.microsoft.com/office/drawing/2014/main" id="{3AB1151F-A34E-694A-DDA1-C9A383E0DCE9}"/>
                </a:ext>
              </a:extLst>
            </p:cNvPr>
            <p:cNvSpPr txBox="1"/>
            <p:nvPr/>
          </p:nvSpPr>
          <p:spPr>
            <a:xfrm>
              <a:off x="-11124152" y="2242818"/>
              <a:ext cx="4069297" cy="507831"/>
            </a:xfrm>
            <a:prstGeom prst="rect">
              <a:avLst/>
            </a:prstGeom>
            <a:noFill/>
          </p:spPr>
          <p:txBody>
            <a:bodyPr wrap="square">
              <a:spAutoFit/>
            </a:bodyPr>
            <a:lstStyle/>
            <a:p>
              <a:pPr marL="0" lvl="1"/>
              <a:r>
                <a:rPr lang="en-US" sz="900" b="1">
                  <a:latin typeface="+mj-lt"/>
                  <a:cs typeface="Segoe UI" panose="020B0502040204020203" pitchFamily="34" charset="0"/>
                </a:rPr>
                <a:t>Call to action for building owners and operators: </a:t>
              </a:r>
            </a:p>
            <a:p>
              <a:pPr marL="0" lvl="1"/>
              <a:r>
                <a:rPr lang="en-US" sz="900">
                  <a:latin typeface="+mj-lt"/>
                  <a:cs typeface="Segoe UI" panose="020B0502040204020203" pitchFamily="34" charset="0"/>
                </a:rPr>
                <a:t>“basic principles and general actions recommended to improve indoor air quality (IAQ) in buildings and reduce the risk of airborne spread of viruses and other contaminants”</a:t>
              </a:r>
            </a:p>
          </p:txBody>
        </p:sp>
        <p:sp>
          <p:nvSpPr>
            <p:cNvPr id="16" name="Oval 15">
              <a:extLst>
                <a:ext uri="{FF2B5EF4-FFF2-40B4-BE49-F238E27FC236}">
                  <a16:creationId xmlns:a16="http://schemas.microsoft.com/office/drawing/2014/main" id="{FD4B9257-D057-DA2C-AD6F-DDEEDAEF54FA}"/>
                </a:ext>
              </a:extLst>
            </p:cNvPr>
            <p:cNvSpPr/>
            <p:nvPr/>
          </p:nvSpPr>
          <p:spPr>
            <a:xfrm>
              <a:off x="-11021130" y="3518636"/>
              <a:ext cx="457908" cy="457908"/>
            </a:xfrm>
            <a:prstGeom prst="ellipse">
              <a:avLst/>
            </a:prstGeom>
            <a:solidFill>
              <a:schemeClr val="bg1"/>
            </a:solidFill>
            <a:ln w="28575">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1"/>
                  </a:solidFill>
                </a:rPr>
                <a:t>1</a:t>
              </a:r>
            </a:p>
          </p:txBody>
        </p:sp>
        <p:sp>
          <p:nvSpPr>
            <p:cNvPr id="17" name="TextBox 16">
              <a:extLst>
                <a:ext uri="{FF2B5EF4-FFF2-40B4-BE49-F238E27FC236}">
                  <a16:creationId xmlns:a16="http://schemas.microsoft.com/office/drawing/2014/main" id="{644E93FB-F46A-757F-E813-68B89C496407}"/>
                </a:ext>
              </a:extLst>
            </p:cNvPr>
            <p:cNvSpPr txBox="1"/>
            <p:nvPr/>
          </p:nvSpPr>
          <p:spPr>
            <a:xfrm>
              <a:off x="-11093672" y="4136152"/>
              <a:ext cx="1479378" cy="230832"/>
            </a:xfrm>
            <a:prstGeom prst="rect">
              <a:avLst/>
            </a:prstGeom>
            <a:noFill/>
          </p:spPr>
          <p:txBody>
            <a:bodyPr wrap="square" anchor="ctr">
              <a:spAutoFit/>
            </a:bodyPr>
            <a:lstStyle/>
            <a:p>
              <a:pPr>
                <a:spcBef>
                  <a:spcPts val="600"/>
                </a:spcBef>
              </a:pPr>
              <a:r>
                <a:rPr lang="en-US" sz="900" b="1">
                  <a:solidFill>
                    <a:schemeClr val="accent1"/>
                  </a:solidFill>
                  <a:latin typeface="Arial Narrow"/>
                </a:rPr>
                <a:t>Create Action Plan</a:t>
              </a:r>
            </a:p>
          </p:txBody>
        </p:sp>
        <p:sp>
          <p:nvSpPr>
            <p:cNvPr id="18" name="Oval 17">
              <a:extLst>
                <a:ext uri="{FF2B5EF4-FFF2-40B4-BE49-F238E27FC236}">
                  <a16:creationId xmlns:a16="http://schemas.microsoft.com/office/drawing/2014/main" id="{489180D9-1C70-4083-A3A9-9E080522E622}"/>
                </a:ext>
              </a:extLst>
            </p:cNvPr>
            <p:cNvSpPr/>
            <p:nvPr/>
          </p:nvSpPr>
          <p:spPr>
            <a:xfrm>
              <a:off x="-9144695" y="3518636"/>
              <a:ext cx="457908" cy="457908"/>
            </a:xfrm>
            <a:prstGeom prst="ellipse">
              <a:avLst/>
            </a:prstGeom>
            <a:solidFill>
              <a:schemeClr val="bg1"/>
            </a:solidFill>
            <a:ln w="28575">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1"/>
                  </a:solidFill>
                </a:rPr>
                <a:t>2</a:t>
              </a:r>
            </a:p>
          </p:txBody>
        </p:sp>
        <p:sp>
          <p:nvSpPr>
            <p:cNvPr id="19" name="TextBox 18">
              <a:extLst>
                <a:ext uri="{FF2B5EF4-FFF2-40B4-BE49-F238E27FC236}">
                  <a16:creationId xmlns:a16="http://schemas.microsoft.com/office/drawing/2014/main" id="{F604F266-6274-0262-A691-EC038CEB2608}"/>
                </a:ext>
              </a:extLst>
            </p:cNvPr>
            <p:cNvSpPr txBox="1"/>
            <p:nvPr/>
          </p:nvSpPr>
          <p:spPr>
            <a:xfrm>
              <a:off x="-9217238" y="4136151"/>
              <a:ext cx="2062233" cy="230832"/>
            </a:xfrm>
            <a:prstGeom prst="rect">
              <a:avLst/>
            </a:prstGeom>
            <a:noFill/>
          </p:spPr>
          <p:txBody>
            <a:bodyPr wrap="square" anchor="ctr">
              <a:spAutoFit/>
            </a:bodyPr>
            <a:lstStyle/>
            <a:p>
              <a:pPr>
                <a:spcBef>
                  <a:spcPts val="600"/>
                </a:spcBef>
              </a:pPr>
              <a:r>
                <a:rPr lang="en-US" sz="900" b="1">
                  <a:solidFill>
                    <a:schemeClr val="accent1"/>
                  </a:solidFill>
                  <a:latin typeface="Arial Narrow"/>
                </a:rPr>
                <a:t>Optimize Air Ventilation </a:t>
              </a:r>
            </a:p>
          </p:txBody>
        </p:sp>
        <p:sp>
          <p:nvSpPr>
            <p:cNvPr id="20" name="Oval 19">
              <a:extLst>
                <a:ext uri="{FF2B5EF4-FFF2-40B4-BE49-F238E27FC236}">
                  <a16:creationId xmlns:a16="http://schemas.microsoft.com/office/drawing/2014/main" id="{50186C80-73C7-F577-437F-335D367E712C}"/>
                </a:ext>
              </a:extLst>
            </p:cNvPr>
            <p:cNvSpPr/>
            <p:nvPr/>
          </p:nvSpPr>
          <p:spPr>
            <a:xfrm>
              <a:off x="-11021130" y="4568986"/>
              <a:ext cx="457908" cy="457908"/>
            </a:xfrm>
            <a:prstGeom prst="ellipse">
              <a:avLst/>
            </a:prstGeom>
            <a:solidFill>
              <a:schemeClr val="bg1"/>
            </a:solidFill>
            <a:ln w="28575">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1"/>
                  </a:solidFill>
                </a:rPr>
                <a:t>3</a:t>
              </a:r>
            </a:p>
          </p:txBody>
        </p:sp>
        <p:sp>
          <p:nvSpPr>
            <p:cNvPr id="21" name="TextBox 20">
              <a:extLst>
                <a:ext uri="{FF2B5EF4-FFF2-40B4-BE49-F238E27FC236}">
                  <a16:creationId xmlns:a16="http://schemas.microsoft.com/office/drawing/2014/main" id="{5661C905-709E-C8A3-4C47-EE9A592757C3}"/>
                </a:ext>
              </a:extLst>
            </p:cNvPr>
            <p:cNvSpPr txBox="1"/>
            <p:nvPr/>
          </p:nvSpPr>
          <p:spPr>
            <a:xfrm>
              <a:off x="-11093672" y="5186501"/>
              <a:ext cx="1808460" cy="230832"/>
            </a:xfrm>
            <a:prstGeom prst="rect">
              <a:avLst/>
            </a:prstGeom>
            <a:noFill/>
          </p:spPr>
          <p:txBody>
            <a:bodyPr wrap="square" anchor="ctr">
              <a:spAutoFit/>
            </a:bodyPr>
            <a:lstStyle/>
            <a:p>
              <a:pPr>
                <a:spcBef>
                  <a:spcPts val="600"/>
                </a:spcBef>
              </a:pPr>
              <a:r>
                <a:rPr lang="en-US" sz="900" b="1">
                  <a:solidFill>
                    <a:schemeClr val="accent1"/>
                  </a:solidFill>
                  <a:latin typeface="Arial Narrow"/>
                </a:rPr>
                <a:t>Enhance Air Filtration </a:t>
              </a:r>
            </a:p>
          </p:txBody>
        </p:sp>
        <p:sp>
          <p:nvSpPr>
            <p:cNvPr id="22" name="Oval 21">
              <a:extLst>
                <a:ext uri="{FF2B5EF4-FFF2-40B4-BE49-F238E27FC236}">
                  <a16:creationId xmlns:a16="http://schemas.microsoft.com/office/drawing/2014/main" id="{84F53AE4-D1EF-88FB-7E74-937CD5A3D831}"/>
                </a:ext>
              </a:extLst>
            </p:cNvPr>
            <p:cNvSpPr/>
            <p:nvPr/>
          </p:nvSpPr>
          <p:spPr>
            <a:xfrm>
              <a:off x="-9144695" y="4568986"/>
              <a:ext cx="457908" cy="457908"/>
            </a:xfrm>
            <a:prstGeom prst="ellipse">
              <a:avLst/>
            </a:prstGeom>
            <a:solidFill>
              <a:schemeClr val="bg1"/>
            </a:solidFill>
            <a:ln w="28575">
              <a:solidFill>
                <a:schemeClr val="tx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rPr>
                <a:t>4</a:t>
              </a:r>
            </a:p>
          </p:txBody>
        </p:sp>
        <p:sp>
          <p:nvSpPr>
            <p:cNvPr id="23" name="TextBox 22">
              <a:extLst>
                <a:ext uri="{FF2B5EF4-FFF2-40B4-BE49-F238E27FC236}">
                  <a16:creationId xmlns:a16="http://schemas.microsoft.com/office/drawing/2014/main" id="{C6242F85-978B-79CE-8A55-3491D4E6E010}"/>
                </a:ext>
              </a:extLst>
            </p:cNvPr>
            <p:cNvSpPr txBox="1"/>
            <p:nvPr/>
          </p:nvSpPr>
          <p:spPr>
            <a:xfrm>
              <a:off x="-9217237" y="5186501"/>
              <a:ext cx="2330790" cy="230832"/>
            </a:xfrm>
            <a:prstGeom prst="rect">
              <a:avLst/>
            </a:prstGeom>
            <a:noFill/>
          </p:spPr>
          <p:txBody>
            <a:bodyPr wrap="square" anchor="ctr">
              <a:spAutoFit/>
            </a:bodyPr>
            <a:lstStyle/>
            <a:p>
              <a:pPr>
                <a:spcBef>
                  <a:spcPts val="600"/>
                </a:spcBef>
              </a:pPr>
              <a:r>
                <a:rPr lang="en-US" sz="900">
                  <a:latin typeface="Arial Narrow"/>
                </a:rPr>
                <a:t>Get your community engaged</a:t>
              </a:r>
            </a:p>
          </p:txBody>
        </p:sp>
        <p:pic>
          <p:nvPicPr>
            <p:cNvPr id="7211" name="Picture 8">
              <a:extLst>
                <a:ext uri="{FF2B5EF4-FFF2-40B4-BE49-F238E27FC236}">
                  <a16:creationId xmlns:a16="http://schemas.microsoft.com/office/drawing/2014/main" id="{0EEF6550-1AF7-E8E1-8065-7EE9CF2E793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41602" y="1178427"/>
              <a:ext cx="504536" cy="352571"/>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24" descr="A picture containing text, clock, clipart, display&#10;&#10;Description automatically generated">
            <a:extLst>
              <a:ext uri="{FF2B5EF4-FFF2-40B4-BE49-F238E27FC236}">
                <a16:creationId xmlns:a16="http://schemas.microsoft.com/office/drawing/2014/main" id="{13B6DA36-CE16-B958-E15B-4D6178DDFA73}"/>
              </a:ext>
            </a:extLst>
          </p:cNvPr>
          <p:cNvPicPr>
            <a:picLocks noChangeAspect="1"/>
          </p:cNvPicPr>
          <p:nvPr/>
        </p:nvPicPr>
        <p:blipFill>
          <a:blip r:embed="rId9"/>
          <a:stretch>
            <a:fillRect/>
          </a:stretch>
        </p:blipFill>
        <p:spPr>
          <a:xfrm>
            <a:off x="10147615" y="6390720"/>
            <a:ext cx="1264024" cy="123522"/>
          </a:xfrm>
          <a:prstGeom prst="rect">
            <a:avLst/>
          </a:prstGeom>
        </p:spPr>
      </p:pic>
    </p:spTree>
    <p:extLst>
      <p:ext uri="{BB962C8B-B14F-4D97-AF65-F5344CB8AC3E}">
        <p14:creationId xmlns:p14="http://schemas.microsoft.com/office/powerpoint/2010/main" val="26799724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D0BEBDF-A341-1AF7-F31C-6DBDF1794316}"/>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22</a:t>
            </a:fld>
            <a:endParaRPr lang="de-CH"/>
          </a:p>
        </p:txBody>
      </p:sp>
      <p:sp>
        <p:nvSpPr>
          <p:cNvPr id="11" name="Rectangle: Rounded Corners 49">
            <a:extLst>
              <a:ext uri="{FF2B5EF4-FFF2-40B4-BE49-F238E27FC236}">
                <a16:creationId xmlns:a16="http://schemas.microsoft.com/office/drawing/2014/main" id="{8D993CA8-1B4C-C9C8-844C-F853E242DFA5}"/>
              </a:ext>
            </a:extLst>
          </p:cNvPr>
          <p:cNvSpPr/>
          <p:nvPr/>
        </p:nvSpPr>
        <p:spPr>
          <a:xfrm>
            <a:off x="825988" y="596158"/>
            <a:ext cx="2444556" cy="2643337"/>
          </a:xfrm>
          <a:prstGeom prst="roundRect">
            <a:avLst>
              <a:gd name="adj" fmla="val 6238"/>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pic>
        <p:nvPicPr>
          <p:cNvPr id="10" name="Picture 9" descr="A picture containing dishware, butter dish, tableware&#10;&#10;Description automatically generated">
            <a:extLst>
              <a:ext uri="{FF2B5EF4-FFF2-40B4-BE49-F238E27FC236}">
                <a16:creationId xmlns:a16="http://schemas.microsoft.com/office/drawing/2014/main" id="{D933BAD2-3209-5046-0D88-DDCE07D155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1686" y="2168309"/>
            <a:ext cx="1109609" cy="822960"/>
          </a:xfrm>
          <a:prstGeom prst="rect">
            <a:avLst/>
          </a:prstGeom>
        </p:spPr>
      </p:pic>
      <p:sp>
        <p:nvSpPr>
          <p:cNvPr id="5" name="TextBox 4">
            <a:extLst>
              <a:ext uri="{FF2B5EF4-FFF2-40B4-BE49-F238E27FC236}">
                <a16:creationId xmlns:a16="http://schemas.microsoft.com/office/drawing/2014/main" id="{2C6B6F56-866D-3DDC-B121-5D27E37E2AE7}"/>
              </a:ext>
            </a:extLst>
          </p:cNvPr>
          <p:cNvSpPr txBox="1"/>
          <p:nvPr/>
        </p:nvSpPr>
        <p:spPr>
          <a:xfrm>
            <a:off x="1844822" y="2256623"/>
            <a:ext cx="1336694" cy="830997"/>
          </a:xfrm>
          <a:prstGeom prst="rect">
            <a:avLst/>
          </a:prstGeom>
          <a:noFill/>
        </p:spPr>
        <p:txBody>
          <a:bodyPr wrap="square" rtlCol="0">
            <a:spAutoFit/>
          </a:bodyPr>
          <a:lstStyle/>
          <a:p>
            <a:r>
              <a:rPr lang="de-CH" sz="1200" b="1"/>
              <a:t>SCD4x CO</a:t>
            </a:r>
            <a:r>
              <a:rPr lang="de-CH" sz="1200" b="1" baseline="-25000"/>
              <a:t>2</a:t>
            </a:r>
            <a:r>
              <a:rPr lang="de-CH" sz="1200" b="1"/>
              <a:t> Sensor</a:t>
            </a:r>
          </a:p>
          <a:p>
            <a:r>
              <a:rPr lang="de-CH" sz="1200" err="1"/>
              <a:t>Photoacoustic</a:t>
            </a:r>
            <a:r>
              <a:rPr lang="de-CH" sz="1200"/>
              <a:t> NDIR Technology</a:t>
            </a:r>
          </a:p>
          <a:p>
            <a:endParaRPr lang="de-CH" sz="1200" b="1"/>
          </a:p>
        </p:txBody>
      </p:sp>
      <p:sp>
        <p:nvSpPr>
          <p:cNvPr id="53" name="Oval 52">
            <a:extLst>
              <a:ext uri="{FF2B5EF4-FFF2-40B4-BE49-F238E27FC236}">
                <a16:creationId xmlns:a16="http://schemas.microsoft.com/office/drawing/2014/main" id="{5FDC7A0F-A656-F316-E25C-205B5DC6E7D6}"/>
              </a:ext>
            </a:extLst>
          </p:cNvPr>
          <p:cNvSpPr>
            <a:spLocks noChangeAspect="1"/>
          </p:cNvSpPr>
          <p:nvPr/>
        </p:nvSpPr>
        <p:spPr>
          <a:xfrm>
            <a:off x="1385973" y="786364"/>
            <a:ext cx="1336694" cy="1336690"/>
          </a:xfrm>
          <a:prstGeom prst="ellipse">
            <a:avLst/>
          </a:prstGeom>
          <a:solidFill>
            <a:schemeClr val="bg1"/>
          </a:solidFill>
          <a:ln w="38100">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4" name="TextBox 113">
            <a:extLst>
              <a:ext uri="{FF2B5EF4-FFF2-40B4-BE49-F238E27FC236}">
                <a16:creationId xmlns:a16="http://schemas.microsoft.com/office/drawing/2014/main" id="{08B77B57-8F63-265D-2508-FAA875D32B7C}"/>
              </a:ext>
            </a:extLst>
          </p:cNvPr>
          <p:cNvSpPr txBox="1"/>
          <p:nvPr/>
        </p:nvSpPr>
        <p:spPr>
          <a:xfrm>
            <a:off x="1601779" y="1448654"/>
            <a:ext cx="785631" cy="369332"/>
          </a:xfrm>
          <a:prstGeom prst="rect">
            <a:avLst/>
          </a:prstGeom>
          <a:noFill/>
        </p:spPr>
        <p:txBody>
          <a:bodyPr wrap="square" rtlCol="0">
            <a:spAutoFit/>
          </a:bodyPr>
          <a:lstStyle/>
          <a:p>
            <a:pPr algn="ctr"/>
            <a:r>
              <a:rPr lang="de-CH" sz="1800" b="1">
                <a:solidFill>
                  <a:srgbClr val="66CC33"/>
                </a:solidFill>
              </a:rPr>
              <a:t>CO2</a:t>
            </a:r>
          </a:p>
        </p:txBody>
      </p:sp>
      <p:pic>
        <p:nvPicPr>
          <p:cNvPr id="116" name="Graphic 115">
            <a:extLst>
              <a:ext uri="{FF2B5EF4-FFF2-40B4-BE49-F238E27FC236}">
                <a16:creationId xmlns:a16="http://schemas.microsoft.com/office/drawing/2014/main" id="{96289E18-D473-3DEF-3B5B-2592518B74B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41473" y="1115993"/>
            <a:ext cx="914400" cy="914400"/>
          </a:xfrm>
          <a:prstGeom prst="rect">
            <a:avLst/>
          </a:prstGeom>
        </p:spPr>
      </p:pic>
      <p:pic>
        <p:nvPicPr>
          <p:cNvPr id="118" name="Graphic 117">
            <a:extLst>
              <a:ext uri="{FF2B5EF4-FFF2-40B4-BE49-F238E27FC236}">
                <a16:creationId xmlns:a16="http://schemas.microsoft.com/office/drawing/2014/main" id="{C46C9CEE-6ED4-9AEE-2B71-082ACE02924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90573" y="1071708"/>
            <a:ext cx="457200" cy="457200"/>
          </a:xfrm>
          <a:prstGeom prst="rect">
            <a:avLst/>
          </a:prstGeom>
        </p:spPr>
      </p:pic>
      <p:sp>
        <p:nvSpPr>
          <p:cNvPr id="177" name="Rectangle: Rounded Corners 49">
            <a:extLst>
              <a:ext uri="{FF2B5EF4-FFF2-40B4-BE49-F238E27FC236}">
                <a16:creationId xmlns:a16="http://schemas.microsoft.com/office/drawing/2014/main" id="{B83B1E63-EAE2-300C-0EA9-302870E12BAF}"/>
              </a:ext>
            </a:extLst>
          </p:cNvPr>
          <p:cNvSpPr/>
          <p:nvPr/>
        </p:nvSpPr>
        <p:spPr>
          <a:xfrm>
            <a:off x="3554300" y="3528075"/>
            <a:ext cx="2444556" cy="2643337"/>
          </a:xfrm>
          <a:prstGeom prst="roundRect">
            <a:avLst>
              <a:gd name="adj" fmla="val 6238"/>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pic>
        <p:nvPicPr>
          <p:cNvPr id="178" name="Picture 177">
            <a:extLst>
              <a:ext uri="{FF2B5EF4-FFF2-40B4-BE49-F238E27FC236}">
                <a16:creationId xmlns:a16="http://schemas.microsoft.com/office/drawing/2014/main" id="{D8E259DD-216D-7835-5395-49A00AC4C3C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8852"/>
          <a:stretch/>
        </p:blipFill>
        <p:spPr>
          <a:xfrm>
            <a:off x="3643968" y="5358751"/>
            <a:ext cx="1371563" cy="731520"/>
          </a:xfrm>
          <a:prstGeom prst="rect">
            <a:avLst/>
          </a:prstGeom>
        </p:spPr>
      </p:pic>
      <p:sp>
        <p:nvSpPr>
          <p:cNvPr id="179" name="TextBox 178">
            <a:extLst>
              <a:ext uri="{FF2B5EF4-FFF2-40B4-BE49-F238E27FC236}">
                <a16:creationId xmlns:a16="http://schemas.microsoft.com/office/drawing/2014/main" id="{67994CB8-0EEB-873C-B7A8-5A28AAF9ED31}"/>
              </a:ext>
            </a:extLst>
          </p:cNvPr>
          <p:cNvSpPr txBox="1"/>
          <p:nvPr/>
        </p:nvSpPr>
        <p:spPr>
          <a:xfrm>
            <a:off x="4575029" y="5156721"/>
            <a:ext cx="1336694" cy="1015663"/>
          </a:xfrm>
          <a:prstGeom prst="rect">
            <a:avLst/>
          </a:prstGeom>
          <a:noFill/>
        </p:spPr>
        <p:txBody>
          <a:bodyPr wrap="square" rtlCol="0">
            <a:spAutoFit/>
          </a:bodyPr>
          <a:lstStyle/>
          <a:p>
            <a:r>
              <a:rPr lang="de-CH" sz="1200" b="1"/>
              <a:t>SFA30 Formaldehyde Sensor</a:t>
            </a:r>
          </a:p>
          <a:p>
            <a:r>
              <a:rPr lang="de-CH" sz="1200" err="1"/>
              <a:t>Electrochemical</a:t>
            </a:r>
            <a:r>
              <a:rPr lang="de-CH" sz="1200"/>
              <a:t> Technology</a:t>
            </a:r>
          </a:p>
        </p:txBody>
      </p:sp>
      <p:sp>
        <p:nvSpPr>
          <p:cNvPr id="186" name="Oval 185">
            <a:extLst>
              <a:ext uri="{FF2B5EF4-FFF2-40B4-BE49-F238E27FC236}">
                <a16:creationId xmlns:a16="http://schemas.microsoft.com/office/drawing/2014/main" id="{CF581F83-B34E-4769-C5D3-6FF297EEF91B}"/>
              </a:ext>
            </a:extLst>
          </p:cNvPr>
          <p:cNvSpPr>
            <a:spLocks noChangeAspect="1"/>
          </p:cNvSpPr>
          <p:nvPr/>
        </p:nvSpPr>
        <p:spPr>
          <a:xfrm>
            <a:off x="4116180" y="3723533"/>
            <a:ext cx="1336694" cy="1336690"/>
          </a:xfrm>
          <a:prstGeom prst="ellipse">
            <a:avLst/>
          </a:prstGeom>
          <a:solidFill>
            <a:schemeClr val="bg1"/>
          </a:solidFill>
          <a:ln w="38100">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1" name="TextBox 180">
            <a:extLst>
              <a:ext uri="{FF2B5EF4-FFF2-40B4-BE49-F238E27FC236}">
                <a16:creationId xmlns:a16="http://schemas.microsoft.com/office/drawing/2014/main" id="{A110FD72-4F98-BC4E-2034-232276BF5762}"/>
              </a:ext>
            </a:extLst>
          </p:cNvPr>
          <p:cNvSpPr txBox="1"/>
          <p:nvPr/>
        </p:nvSpPr>
        <p:spPr>
          <a:xfrm>
            <a:off x="4382147" y="4387117"/>
            <a:ext cx="785631" cy="369332"/>
          </a:xfrm>
          <a:prstGeom prst="rect">
            <a:avLst/>
          </a:prstGeom>
          <a:noFill/>
        </p:spPr>
        <p:txBody>
          <a:bodyPr wrap="square" rtlCol="0">
            <a:spAutoFit/>
          </a:bodyPr>
          <a:lstStyle/>
          <a:p>
            <a:pPr algn="ctr"/>
            <a:r>
              <a:rPr lang="de-CH" sz="1800" b="1">
                <a:solidFill>
                  <a:srgbClr val="66CC33"/>
                </a:solidFill>
              </a:rPr>
              <a:t>RCHO</a:t>
            </a:r>
          </a:p>
        </p:txBody>
      </p:sp>
      <p:pic>
        <p:nvPicPr>
          <p:cNvPr id="184" name="Graphic 183">
            <a:extLst>
              <a:ext uri="{FF2B5EF4-FFF2-40B4-BE49-F238E27FC236}">
                <a16:creationId xmlns:a16="http://schemas.microsoft.com/office/drawing/2014/main" id="{984D063A-2A71-4334-443E-5FE11A2C366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20780" y="4008877"/>
            <a:ext cx="457200" cy="457200"/>
          </a:xfrm>
          <a:prstGeom prst="rect">
            <a:avLst/>
          </a:prstGeom>
        </p:spPr>
      </p:pic>
      <p:sp>
        <p:nvSpPr>
          <p:cNvPr id="188" name="Rectangle: Rounded Corners 49">
            <a:extLst>
              <a:ext uri="{FF2B5EF4-FFF2-40B4-BE49-F238E27FC236}">
                <a16:creationId xmlns:a16="http://schemas.microsoft.com/office/drawing/2014/main" id="{9EE0B46F-DD49-A9A9-F7F8-33EA1DEEAE4F}"/>
              </a:ext>
            </a:extLst>
          </p:cNvPr>
          <p:cNvSpPr/>
          <p:nvPr/>
        </p:nvSpPr>
        <p:spPr>
          <a:xfrm>
            <a:off x="825054" y="3528075"/>
            <a:ext cx="2444556" cy="2643335"/>
          </a:xfrm>
          <a:prstGeom prst="roundRect">
            <a:avLst>
              <a:gd name="adj" fmla="val 6238"/>
            </a:avLst>
          </a:prstGeom>
          <a:solidFill>
            <a:srgbClr val="66CC33"/>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pic>
        <p:nvPicPr>
          <p:cNvPr id="200" name="Graphic 199">
            <a:extLst>
              <a:ext uri="{FF2B5EF4-FFF2-40B4-BE49-F238E27FC236}">
                <a16:creationId xmlns:a16="http://schemas.microsoft.com/office/drawing/2014/main" id="{1BAA4DE5-C051-BDF6-1169-BB30E9D9BAB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0576" y="3406653"/>
            <a:ext cx="2146450" cy="2146451"/>
          </a:xfrm>
          <a:prstGeom prst="rect">
            <a:avLst/>
          </a:prstGeom>
        </p:spPr>
      </p:pic>
      <p:sp>
        <p:nvSpPr>
          <p:cNvPr id="197" name="Oval 196">
            <a:extLst>
              <a:ext uri="{FF2B5EF4-FFF2-40B4-BE49-F238E27FC236}">
                <a16:creationId xmlns:a16="http://schemas.microsoft.com/office/drawing/2014/main" id="{B8C3B67B-397F-7B51-01D7-5CD1634FD560}"/>
              </a:ext>
            </a:extLst>
          </p:cNvPr>
          <p:cNvSpPr>
            <a:spLocks noChangeAspect="1"/>
          </p:cNvSpPr>
          <p:nvPr/>
        </p:nvSpPr>
        <p:spPr>
          <a:xfrm>
            <a:off x="1382127" y="4811216"/>
            <a:ext cx="1336694" cy="1336690"/>
          </a:xfrm>
          <a:prstGeom prst="ellipse">
            <a:avLst/>
          </a:prstGeom>
          <a:solidFill>
            <a:schemeClr val="bg1"/>
          </a:solidFill>
          <a:ln w="38100">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1" name="Graphic 200">
            <a:extLst>
              <a:ext uri="{FF2B5EF4-FFF2-40B4-BE49-F238E27FC236}">
                <a16:creationId xmlns:a16="http://schemas.microsoft.com/office/drawing/2014/main" id="{759CDD15-DAF8-493B-A0CB-4A13CBAD5E9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19109" y="3751402"/>
            <a:ext cx="541427" cy="541427"/>
          </a:xfrm>
          <a:prstGeom prst="rect">
            <a:avLst/>
          </a:prstGeom>
        </p:spPr>
      </p:pic>
      <p:sp>
        <p:nvSpPr>
          <p:cNvPr id="205" name="TextBox 204">
            <a:extLst>
              <a:ext uri="{FF2B5EF4-FFF2-40B4-BE49-F238E27FC236}">
                <a16:creationId xmlns:a16="http://schemas.microsoft.com/office/drawing/2014/main" id="{CC4293AF-80C6-D091-7BB5-F5044C43C046}"/>
              </a:ext>
            </a:extLst>
          </p:cNvPr>
          <p:cNvSpPr txBox="1"/>
          <p:nvPr/>
        </p:nvSpPr>
        <p:spPr>
          <a:xfrm>
            <a:off x="1382433" y="4209916"/>
            <a:ext cx="665833" cy="338554"/>
          </a:xfrm>
          <a:prstGeom prst="rect">
            <a:avLst/>
          </a:prstGeom>
          <a:noFill/>
        </p:spPr>
        <p:txBody>
          <a:bodyPr wrap="square" rtlCol="0">
            <a:spAutoFit/>
          </a:bodyPr>
          <a:lstStyle/>
          <a:p>
            <a:pPr algn="ctr"/>
            <a:r>
              <a:rPr lang="de-CH" sz="1600" b="1">
                <a:solidFill>
                  <a:schemeClr val="bg1"/>
                </a:solidFill>
              </a:rPr>
              <a:t>PM2.5</a:t>
            </a:r>
          </a:p>
        </p:txBody>
      </p:sp>
      <p:sp>
        <p:nvSpPr>
          <p:cNvPr id="206" name="TextBox 205">
            <a:extLst>
              <a:ext uri="{FF2B5EF4-FFF2-40B4-BE49-F238E27FC236}">
                <a16:creationId xmlns:a16="http://schemas.microsoft.com/office/drawing/2014/main" id="{05A9399D-1B02-E274-C77E-51541A952D8B}"/>
              </a:ext>
            </a:extLst>
          </p:cNvPr>
          <p:cNvSpPr txBox="1"/>
          <p:nvPr/>
        </p:nvSpPr>
        <p:spPr>
          <a:xfrm>
            <a:off x="1407850" y="4476900"/>
            <a:ext cx="554039" cy="338554"/>
          </a:xfrm>
          <a:prstGeom prst="rect">
            <a:avLst/>
          </a:prstGeom>
          <a:noFill/>
        </p:spPr>
        <p:txBody>
          <a:bodyPr wrap="square" rtlCol="0">
            <a:spAutoFit/>
          </a:bodyPr>
          <a:lstStyle/>
          <a:p>
            <a:pPr algn="ctr"/>
            <a:r>
              <a:rPr lang="de-CH" sz="1600" b="1">
                <a:solidFill>
                  <a:schemeClr val="bg1"/>
                </a:solidFill>
              </a:rPr>
              <a:t>VOC</a:t>
            </a:r>
          </a:p>
        </p:txBody>
      </p:sp>
      <p:sp>
        <p:nvSpPr>
          <p:cNvPr id="207" name="TextBox 206">
            <a:extLst>
              <a:ext uri="{FF2B5EF4-FFF2-40B4-BE49-F238E27FC236}">
                <a16:creationId xmlns:a16="http://schemas.microsoft.com/office/drawing/2014/main" id="{286052E6-59BE-0553-A587-BBB5A650F83D}"/>
              </a:ext>
            </a:extLst>
          </p:cNvPr>
          <p:cNvSpPr txBox="1"/>
          <p:nvPr/>
        </p:nvSpPr>
        <p:spPr>
          <a:xfrm>
            <a:off x="2049520" y="4209916"/>
            <a:ext cx="554039" cy="338554"/>
          </a:xfrm>
          <a:prstGeom prst="rect">
            <a:avLst/>
          </a:prstGeom>
          <a:noFill/>
        </p:spPr>
        <p:txBody>
          <a:bodyPr wrap="square" rtlCol="0">
            <a:spAutoFit/>
          </a:bodyPr>
          <a:lstStyle/>
          <a:p>
            <a:pPr algn="ctr"/>
            <a:r>
              <a:rPr lang="de-CH" sz="1600" b="1">
                <a:solidFill>
                  <a:schemeClr val="bg1"/>
                </a:solidFill>
              </a:rPr>
              <a:t>NOx</a:t>
            </a:r>
          </a:p>
        </p:txBody>
      </p:sp>
      <p:sp>
        <p:nvSpPr>
          <p:cNvPr id="208" name="TextBox 207">
            <a:extLst>
              <a:ext uri="{FF2B5EF4-FFF2-40B4-BE49-F238E27FC236}">
                <a16:creationId xmlns:a16="http://schemas.microsoft.com/office/drawing/2014/main" id="{E7A836BD-B8FA-D86C-2505-9DAA7E8DD974}"/>
              </a:ext>
            </a:extLst>
          </p:cNvPr>
          <p:cNvSpPr txBox="1"/>
          <p:nvPr/>
        </p:nvSpPr>
        <p:spPr>
          <a:xfrm>
            <a:off x="2019040" y="4476900"/>
            <a:ext cx="665833" cy="338554"/>
          </a:xfrm>
          <a:prstGeom prst="rect">
            <a:avLst/>
          </a:prstGeom>
          <a:noFill/>
        </p:spPr>
        <p:txBody>
          <a:bodyPr wrap="square" rtlCol="0">
            <a:spAutoFit/>
          </a:bodyPr>
          <a:lstStyle/>
          <a:p>
            <a:pPr algn="ctr"/>
            <a:r>
              <a:rPr lang="de-CH" sz="1600" b="1">
                <a:solidFill>
                  <a:schemeClr val="bg1"/>
                </a:solidFill>
              </a:rPr>
              <a:t>RH/T</a:t>
            </a:r>
          </a:p>
        </p:txBody>
      </p:sp>
      <p:pic>
        <p:nvPicPr>
          <p:cNvPr id="3" name="Picture 2">
            <a:extLst>
              <a:ext uri="{FF2B5EF4-FFF2-40B4-BE49-F238E27FC236}">
                <a16:creationId xmlns:a16="http://schemas.microsoft.com/office/drawing/2014/main" id="{72446FE4-DF7A-BA38-C6FC-4109385DF88D}"/>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1610783" y="4856811"/>
            <a:ext cx="879381" cy="548640"/>
          </a:xfrm>
          <a:prstGeom prst="rect">
            <a:avLst/>
          </a:prstGeom>
        </p:spPr>
      </p:pic>
      <p:sp>
        <p:nvSpPr>
          <p:cNvPr id="9" name="TextBox 8">
            <a:extLst>
              <a:ext uri="{FF2B5EF4-FFF2-40B4-BE49-F238E27FC236}">
                <a16:creationId xmlns:a16="http://schemas.microsoft.com/office/drawing/2014/main" id="{6B8D23E1-FDBF-D413-5CCD-9DB694FA749E}"/>
              </a:ext>
            </a:extLst>
          </p:cNvPr>
          <p:cNvSpPr txBox="1"/>
          <p:nvPr/>
        </p:nvSpPr>
        <p:spPr>
          <a:xfrm>
            <a:off x="1382126" y="5277519"/>
            <a:ext cx="1336694" cy="738664"/>
          </a:xfrm>
          <a:prstGeom prst="rect">
            <a:avLst/>
          </a:prstGeom>
          <a:noFill/>
        </p:spPr>
        <p:txBody>
          <a:bodyPr wrap="square" rtlCol="0">
            <a:spAutoFit/>
          </a:bodyPr>
          <a:lstStyle/>
          <a:p>
            <a:pPr algn="ctr"/>
            <a:r>
              <a:rPr lang="de-CH" sz="1400" b="1">
                <a:solidFill>
                  <a:srgbClr val="66CC33"/>
                </a:solidFill>
              </a:rPr>
              <a:t>SEN5x Environmental Node</a:t>
            </a:r>
          </a:p>
        </p:txBody>
      </p:sp>
      <p:grpSp>
        <p:nvGrpSpPr>
          <p:cNvPr id="2" name="Group 1">
            <a:extLst>
              <a:ext uri="{FF2B5EF4-FFF2-40B4-BE49-F238E27FC236}">
                <a16:creationId xmlns:a16="http://schemas.microsoft.com/office/drawing/2014/main" id="{753890F4-F0E5-3B42-A264-82D9EDA19049}"/>
              </a:ext>
            </a:extLst>
          </p:cNvPr>
          <p:cNvGrpSpPr/>
          <p:nvPr/>
        </p:nvGrpSpPr>
        <p:grpSpPr>
          <a:xfrm>
            <a:off x="4264605" y="4052100"/>
            <a:ext cx="914400" cy="914400"/>
            <a:chOff x="6918811" y="4074447"/>
            <a:chExt cx="914400" cy="914400"/>
          </a:xfrm>
        </p:grpSpPr>
        <p:pic>
          <p:nvPicPr>
            <p:cNvPr id="183" name="Graphic 182">
              <a:extLst>
                <a:ext uri="{FF2B5EF4-FFF2-40B4-BE49-F238E27FC236}">
                  <a16:creationId xmlns:a16="http://schemas.microsoft.com/office/drawing/2014/main" id="{6AA26BCE-83C8-0C46-ECEB-F0B83EC18BC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18811" y="4074447"/>
              <a:ext cx="914400" cy="914400"/>
            </a:xfrm>
            <a:prstGeom prst="rect">
              <a:avLst/>
            </a:prstGeom>
          </p:spPr>
        </p:pic>
        <p:sp>
          <p:nvSpPr>
            <p:cNvPr id="57" name="TextBox 56">
              <a:extLst>
                <a:ext uri="{FF2B5EF4-FFF2-40B4-BE49-F238E27FC236}">
                  <a16:creationId xmlns:a16="http://schemas.microsoft.com/office/drawing/2014/main" id="{D5575A50-9BC3-CB47-A619-24504792C30B}"/>
                </a:ext>
              </a:extLst>
            </p:cNvPr>
            <p:cNvSpPr txBox="1"/>
            <p:nvPr/>
          </p:nvSpPr>
          <p:spPr>
            <a:xfrm>
              <a:off x="7158734" y="4467720"/>
              <a:ext cx="129282" cy="252259"/>
            </a:xfrm>
            <a:prstGeom prst="rect">
              <a:avLst/>
            </a:prstGeom>
            <a:solidFill>
              <a:schemeClr val="bg1"/>
            </a:solidFill>
          </p:spPr>
          <p:txBody>
            <a:bodyPr wrap="square" rtlCol="0" anchor="ctr">
              <a:noAutofit/>
            </a:bodyPr>
            <a:lstStyle/>
            <a:p>
              <a:pPr algn="ctr"/>
              <a:r>
                <a:rPr lang="de-CH" sz="1800" b="1">
                  <a:solidFill>
                    <a:srgbClr val="66CC33"/>
                  </a:solidFill>
                </a:rPr>
                <a:t>H</a:t>
              </a:r>
              <a:endParaRPr lang="de-CH" sz="1800">
                <a:solidFill>
                  <a:srgbClr val="66CC33"/>
                </a:solidFill>
              </a:endParaRPr>
            </a:p>
          </p:txBody>
        </p:sp>
      </p:grpSp>
      <p:sp>
        <p:nvSpPr>
          <p:cNvPr id="7" name="Rectangle 6">
            <a:extLst>
              <a:ext uri="{FF2B5EF4-FFF2-40B4-BE49-F238E27FC236}">
                <a16:creationId xmlns:a16="http://schemas.microsoft.com/office/drawing/2014/main" id="{96F63AE1-5302-83E4-89EA-AE37EC04E0C3}"/>
              </a:ext>
            </a:extLst>
          </p:cNvPr>
          <p:cNvSpPr/>
          <p:nvPr/>
        </p:nvSpPr>
        <p:spPr>
          <a:xfrm>
            <a:off x="5636871" y="6389225"/>
            <a:ext cx="763929" cy="23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itle 1">
            <a:extLst>
              <a:ext uri="{FF2B5EF4-FFF2-40B4-BE49-F238E27FC236}">
                <a16:creationId xmlns:a16="http://schemas.microsoft.com/office/drawing/2014/main" id="{CF98D2AD-DC42-6CA6-F99F-152F2A814950}"/>
              </a:ext>
            </a:extLst>
          </p:cNvPr>
          <p:cNvSpPr>
            <a:spLocks noGrp="1"/>
          </p:cNvSpPr>
          <p:nvPr>
            <p:ph type="title"/>
          </p:nvPr>
        </p:nvSpPr>
        <p:spPr>
          <a:xfrm>
            <a:off x="4205224" y="1908558"/>
            <a:ext cx="6445303" cy="505939"/>
          </a:xfrm>
        </p:spPr>
        <p:txBody>
          <a:bodyPr/>
          <a:lstStyle/>
          <a:p>
            <a:r>
              <a:rPr lang="en-US" sz="4000" err="1">
                <a:solidFill>
                  <a:schemeClr val="accent1"/>
                </a:solidFill>
              </a:rPr>
              <a:t>Sensirion</a:t>
            </a:r>
            <a:r>
              <a:rPr lang="en-US" sz="4000">
                <a:solidFill>
                  <a:schemeClr val="accent1"/>
                </a:solidFill>
              </a:rPr>
              <a:t>: </a:t>
            </a:r>
            <a:r>
              <a:rPr lang="en-US" sz="4000">
                <a:solidFill>
                  <a:schemeClr val="tx2"/>
                </a:solidFill>
              </a:rPr>
              <a:t>reliable one-stop-shop </a:t>
            </a:r>
            <a:br>
              <a:rPr lang="en-US" sz="4000">
                <a:solidFill>
                  <a:schemeClr val="tx2"/>
                </a:solidFill>
              </a:rPr>
            </a:br>
            <a:r>
              <a:rPr lang="en-US" sz="4000">
                <a:solidFill>
                  <a:schemeClr val="tx2"/>
                </a:solidFill>
              </a:rPr>
              <a:t>for Indoor Air Quality sensors </a:t>
            </a:r>
            <a:endParaRPr lang="en-US" sz="4000">
              <a:solidFill>
                <a:schemeClr val="accent1"/>
              </a:solidFill>
            </a:endParaRPr>
          </a:p>
        </p:txBody>
      </p:sp>
      <p:sp>
        <p:nvSpPr>
          <p:cNvPr id="48" name="Rectangle: Rounded Corners 49">
            <a:extLst>
              <a:ext uri="{FF2B5EF4-FFF2-40B4-BE49-F238E27FC236}">
                <a16:creationId xmlns:a16="http://schemas.microsoft.com/office/drawing/2014/main" id="{9345CA91-027A-06BB-C339-DA4FC263B69F}"/>
              </a:ext>
            </a:extLst>
          </p:cNvPr>
          <p:cNvSpPr/>
          <p:nvPr/>
        </p:nvSpPr>
        <p:spPr>
          <a:xfrm>
            <a:off x="6305407" y="3536076"/>
            <a:ext cx="2444556" cy="2643337"/>
          </a:xfrm>
          <a:prstGeom prst="roundRect">
            <a:avLst>
              <a:gd name="adj" fmla="val 6238"/>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sp>
        <p:nvSpPr>
          <p:cNvPr id="49" name="Rectangle: Rounded Corners 49">
            <a:extLst>
              <a:ext uri="{FF2B5EF4-FFF2-40B4-BE49-F238E27FC236}">
                <a16:creationId xmlns:a16="http://schemas.microsoft.com/office/drawing/2014/main" id="{9381D5DF-5BD7-0D90-C961-1772FB82714A}"/>
              </a:ext>
            </a:extLst>
          </p:cNvPr>
          <p:cNvSpPr/>
          <p:nvPr/>
        </p:nvSpPr>
        <p:spPr>
          <a:xfrm>
            <a:off x="9056514" y="3528075"/>
            <a:ext cx="2444556" cy="2643337"/>
          </a:xfrm>
          <a:prstGeom prst="roundRect">
            <a:avLst>
              <a:gd name="adj" fmla="val 6238"/>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sp>
        <p:nvSpPr>
          <p:cNvPr id="31" name="Rechteck 49">
            <a:extLst>
              <a:ext uri="{FF2B5EF4-FFF2-40B4-BE49-F238E27FC236}">
                <a16:creationId xmlns:a16="http://schemas.microsoft.com/office/drawing/2014/main" id="{4C431089-7A00-6C37-A23A-062750F7E2D2}"/>
              </a:ext>
            </a:extLst>
          </p:cNvPr>
          <p:cNvSpPr/>
          <p:nvPr/>
        </p:nvSpPr>
        <p:spPr>
          <a:xfrm>
            <a:off x="6232714" y="4949442"/>
            <a:ext cx="2736715" cy="738664"/>
          </a:xfrm>
          <a:prstGeom prst="rect">
            <a:avLst/>
          </a:prstGeom>
          <a:noFill/>
        </p:spPr>
        <p:txBody>
          <a:bodyPr wrap="square" lIns="91440" tIns="91440" rIns="91440" bIns="91440" rtlCol="0" anchor="t">
            <a:spAutoFit/>
          </a:bodyPr>
          <a:lstStyle/>
          <a:p>
            <a:pPr lvl="0" algn="ctr">
              <a:defRPr/>
            </a:pPr>
            <a:r>
              <a:rPr lang="en-US" sz="1800" b="1">
                <a:latin typeface="Segoe UI" panose="020B0502040204020203" pitchFamily="34" charset="0"/>
                <a:cs typeface="Segoe UI" panose="020B0502040204020203" pitchFamily="34" charset="0"/>
              </a:rPr>
              <a:t>Faster lead-time than industrial average </a:t>
            </a:r>
          </a:p>
        </p:txBody>
      </p:sp>
      <p:sp>
        <p:nvSpPr>
          <p:cNvPr id="32" name="Rechteck 49">
            <a:extLst>
              <a:ext uri="{FF2B5EF4-FFF2-40B4-BE49-F238E27FC236}">
                <a16:creationId xmlns:a16="http://schemas.microsoft.com/office/drawing/2014/main" id="{ECE8977E-56AE-C2B5-5B76-4D56F473CE75}"/>
              </a:ext>
            </a:extLst>
          </p:cNvPr>
          <p:cNvSpPr/>
          <p:nvPr/>
        </p:nvSpPr>
        <p:spPr>
          <a:xfrm>
            <a:off x="6232714" y="5593908"/>
            <a:ext cx="2736715" cy="553998"/>
          </a:xfrm>
          <a:prstGeom prst="rect">
            <a:avLst/>
          </a:prstGeom>
          <a:noFill/>
        </p:spPr>
        <p:txBody>
          <a:bodyPr wrap="square" lIns="91440" tIns="91440" rIns="91440" bIns="91440" rtlCol="0" anchor="t">
            <a:spAutoFit/>
          </a:bodyPr>
          <a:lstStyle/>
          <a:p>
            <a:pPr lvl="0" algn="ctr">
              <a:defRPr/>
            </a:pPr>
            <a:r>
              <a:rPr lang="en-US" sz="1200">
                <a:latin typeface="Segoe UI" panose="020B0502040204020203" pitchFamily="34" charset="0"/>
                <a:cs typeface="Segoe UI" panose="020B0502040204020203" pitchFamily="34" charset="0"/>
              </a:rPr>
              <a:t>Industrial average: 43 weeks, Sensirion: 16 weeks</a:t>
            </a:r>
          </a:p>
        </p:txBody>
      </p:sp>
      <p:sp>
        <p:nvSpPr>
          <p:cNvPr id="37" name="Rechteck 49">
            <a:extLst>
              <a:ext uri="{FF2B5EF4-FFF2-40B4-BE49-F238E27FC236}">
                <a16:creationId xmlns:a16="http://schemas.microsoft.com/office/drawing/2014/main" id="{A151968A-D33E-D360-BC36-21AE86948EAA}"/>
              </a:ext>
            </a:extLst>
          </p:cNvPr>
          <p:cNvSpPr/>
          <p:nvPr/>
        </p:nvSpPr>
        <p:spPr>
          <a:xfrm>
            <a:off x="8937780" y="5044315"/>
            <a:ext cx="2736715" cy="738664"/>
          </a:xfrm>
          <a:prstGeom prst="rect">
            <a:avLst/>
          </a:prstGeom>
          <a:noFill/>
        </p:spPr>
        <p:txBody>
          <a:bodyPr wrap="square" lIns="91440" tIns="91440" rIns="91440" bIns="91440" rtlCol="0" anchor="t">
            <a:spAutoFit/>
          </a:bodyPr>
          <a:lstStyle/>
          <a:p>
            <a:pPr lvl="0" algn="ctr">
              <a:defRPr/>
            </a:pPr>
            <a:r>
              <a:rPr lang="en-US" sz="1800" b="1">
                <a:latin typeface="Segoe UI" panose="020B0502040204020203" pitchFamily="34" charset="0"/>
                <a:cs typeface="Segoe UI" panose="020B0502040204020203" pitchFamily="34" charset="0"/>
              </a:rPr>
              <a:t>Output increased</a:t>
            </a:r>
          </a:p>
          <a:p>
            <a:pPr lvl="0" algn="ctr">
              <a:defRPr/>
            </a:pPr>
            <a:r>
              <a:rPr lang="en-US" sz="1800">
                <a:latin typeface="Segoe UI" panose="020B0502040204020203" pitchFamily="34" charset="0"/>
                <a:cs typeface="Segoe UI" panose="020B0502040204020203" pitchFamily="34" charset="0"/>
              </a:rPr>
              <a:t>from 2019 to 2021</a:t>
            </a:r>
          </a:p>
        </p:txBody>
      </p:sp>
      <p:sp>
        <p:nvSpPr>
          <p:cNvPr id="52" name="Oval 51">
            <a:extLst>
              <a:ext uri="{FF2B5EF4-FFF2-40B4-BE49-F238E27FC236}">
                <a16:creationId xmlns:a16="http://schemas.microsoft.com/office/drawing/2014/main" id="{BE30C7A3-2B51-8E99-40D6-3439475DB2C1}"/>
              </a:ext>
            </a:extLst>
          </p:cNvPr>
          <p:cNvSpPr>
            <a:spLocks noChangeAspect="1"/>
          </p:cNvSpPr>
          <p:nvPr/>
        </p:nvSpPr>
        <p:spPr>
          <a:xfrm>
            <a:off x="6831635" y="3645180"/>
            <a:ext cx="1336694" cy="1336690"/>
          </a:xfrm>
          <a:prstGeom prst="ellipse">
            <a:avLst/>
          </a:prstGeom>
          <a:solidFill>
            <a:schemeClr val="bg1"/>
          </a:solidFill>
          <a:ln w="38100">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Rechteck 49">
            <a:extLst>
              <a:ext uri="{FF2B5EF4-FFF2-40B4-BE49-F238E27FC236}">
                <a16:creationId xmlns:a16="http://schemas.microsoft.com/office/drawing/2014/main" id="{D4FAD4AF-193C-9BD5-818E-10A67D294FBC}"/>
              </a:ext>
            </a:extLst>
          </p:cNvPr>
          <p:cNvSpPr/>
          <p:nvPr/>
        </p:nvSpPr>
        <p:spPr>
          <a:xfrm>
            <a:off x="6737927" y="3921320"/>
            <a:ext cx="1645920" cy="677108"/>
          </a:xfrm>
          <a:prstGeom prst="rect">
            <a:avLst/>
          </a:prstGeom>
          <a:noFill/>
        </p:spPr>
        <p:txBody>
          <a:bodyPr wrap="square" lIns="91440" tIns="91440" rIns="91440" bIns="91440" rtlCol="0" anchor="t">
            <a:spAutoFit/>
          </a:bodyPr>
          <a:lstStyle/>
          <a:p>
            <a:pPr algn="ctr">
              <a:spcBef>
                <a:spcPct val="50000"/>
              </a:spcBef>
              <a:buClr>
                <a:schemeClr val="bg1"/>
              </a:buClr>
            </a:pPr>
            <a:r>
              <a:rPr lang="en-US" sz="3200" b="1">
                <a:latin typeface="Segoe UI" panose="020B0502040204020203" pitchFamily="34" charset="0"/>
                <a:cs typeface="Segoe UI" panose="020B0502040204020203" pitchFamily="34" charset="0"/>
              </a:rPr>
              <a:t>63%</a:t>
            </a:r>
          </a:p>
        </p:txBody>
      </p:sp>
      <p:sp>
        <p:nvSpPr>
          <p:cNvPr id="54" name="Oval 53">
            <a:extLst>
              <a:ext uri="{FF2B5EF4-FFF2-40B4-BE49-F238E27FC236}">
                <a16:creationId xmlns:a16="http://schemas.microsoft.com/office/drawing/2014/main" id="{E4B980E3-A992-CD1E-CEB5-119911877CB4}"/>
              </a:ext>
            </a:extLst>
          </p:cNvPr>
          <p:cNvSpPr>
            <a:spLocks noChangeAspect="1"/>
          </p:cNvSpPr>
          <p:nvPr/>
        </p:nvSpPr>
        <p:spPr>
          <a:xfrm>
            <a:off x="9678831" y="3690057"/>
            <a:ext cx="1336694" cy="1336690"/>
          </a:xfrm>
          <a:prstGeom prst="ellipse">
            <a:avLst/>
          </a:prstGeom>
          <a:solidFill>
            <a:schemeClr val="bg1"/>
          </a:solidFill>
          <a:ln w="38100">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2" name="Rechteck 49">
            <a:extLst>
              <a:ext uri="{FF2B5EF4-FFF2-40B4-BE49-F238E27FC236}">
                <a16:creationId xmlns:a16="http://schemas.microsoft.com/office/drawing/2014/main" id="{77379F54-54B5-0E5E-5EF6-9E99721B15B8}"/>
              </a:ext>
            </a:extLst>
          </p:cNvPr>
          <p:cNvSpPr/>
          <p:nvPr/>
        </p:nvSpPr>
        <p:spPr>
          <a:xfrm>
            <a:off x="9483177" y="3969069"/>
            <a:ext cx="1645920" cy="677108"/>
          </a:xfrm>
          <a:prstGeom prst="rect">
            <a:avLst/>
          </a:prstGeom>
          <a:noFill/>
        </p:spPr>
        <p:txBody>
          <a:bodyPr wrap="square" lIns="91440" tIns="91440" rIns="91440" bIns="91440" rtlCol="0" anchor="t">
            <a:spAutoFit/>
          </a:bodyPr>
          <a:lstStyle/>
          <a:p>
            <a:pPr algn="ctr">
              <a:spcBef>
                <a:spcPct val="50000"/>
              </a:spcBef>
              <a:buClr>
                <a:schemeClr val="bg1"/>
              </a:buClr>
            </a:pPr>
            <a:r>
              <a:rPr lang="en-US" sz="3200" b="1">
                <a:latin typeface="Segoe UI" panose="020B0502040204020203" pitchFamily="34" charset="0"/>
                <a:cs typeface="Segoe UI" panose="020B0502040204020203" pitchFamily="34" charset="0"/>
              </a:rPr>
              <a:t>+80%</a:t>
            </a:r>
          </a:p>
        </p:txBody>
      </p:sp>
    </p:spTree>
    <p:extLst>
      <p:ext uri="{BB962C8B-B14F-4D97-AF65-F5344CB8AC3E}">
        <p14:creationId xmlns:p14="http://schemas.microsoft.com/office/powerpoint/2010/main" val="3979330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31" grpId="0"/>
      <p:bldP spid="32" grpId="0"/>
      <p:bldP spid="37" grpId="0"/>
      <p:bldP spid="52" grpId="0" animBg="1"/>
      <p:bldP spid="38" grpId="0"/>
      <p:bldP spid="54" grpId="0" animBg="1"/>
      <p:bldP spid="4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Floating Bun With Sesame Stock Illustration - Download Image Now - Bun -  Bread, Hamburger, Burger - iStock">
            <a:extLst>
              <a:ext uri="{FF2B5EF4-FFF2-40B4-BE49-F238E27FC236}">
                <a16:creationId xmlns:a16="http://schemas.microsoft.com/office/drawing/2014/main" id="{6AEE3E06-1DB3-ACAE-4703-36CA911723B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6062"/>
          <a:stretch/>
        </p:blipFill>
        <p:spPr bwMode="auto">
          <a:xfrm>
            <a:off x="6004560" y="448747"/>
            <a:ext cx="6187440" cy="5812353"/>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Floating Bun With Sesame Stock Illustration - Download Image Now - Bun -  Bread, Hamburger, Burger - iStock">
            <a:extLst>
              <a:ext uri="{FF2B5EF4-FFF2-40B4-BE49-F238E27FC236}">
                <a16:creationId xmlns:a16="http://schemas.microsoft.com/office/drawing/2014/main" id="{DCA85CB1-B002-B9BF-3C13-75407EE79A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3719" y="2270760"/>
            <a:ext cx="2854960" cy="285496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D4DF0D50-DE81-525A-4CD2-DFC623A8E03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2558700"/>
            <a:ext cx="3942080" cy="246599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1327BDAB-7094-A6C3-9A36-04B3E06A0F1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42821" y="2202998"/>
            <a:ext cx="2990518" cy="187073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a:extLst>
              <a:ext uri="{FF2B5EF4-FFF2-40B4-BE49-F238E27FC236}">
                <a16:creationId xmlns:a16="http://schemas.microsoft.com/office/drawing/2014/main" id="{27DE5DB5-590D-BB7E-3BAE-6C1FCDEC7EB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02778" y="3480157"/>
            <a:ext cx="2630561" cy="16455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icture containing text, electronics&#10;&#10;Description automatically generated">
            <a:extLst>
              <a:ext uri="{FF2B5EF4-FFF2-40B4-BE49-F238E27FC236}">
                <a16:creationId xmlns:a16="http://schemas.microsoft.com/office/drawing/2014/main" id="{DB10CF39-6104-B281-22ED-AE08C666389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71867" y="3270686"/>
            <a:ext cx="1305013" cy="941853"/>
          </a:xfrm>
          <a:prstGeom prst="rect">
            <a:avLst/>
          </a:prstGeom>
        </p:spPr>
      </p:pic>
      <p:pic>
        <p:nvPicPr>
          <p:cNvPr id="10246" name="Picture 6" descr="Up-Selling: Das sind 5 unterschätzte Tipps">
            <a:extLst>
              <a:ext uri="{FF2B5EF4-FFF2-40B4-BE49-F238E27FC236}">
                <a16:creationId xmlns:a16="http://schemas.microsoft.com/office/drawing/2014/main" id="{5C79D499-0702-1E52-DCB0-8DF785C2ACE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0261" t="62044" r="42812" b="20004"/>
          <a:stretch/>
        </p:blipFill>
        <p:spPr bwMode="auto">
          <a:xfrm>
            <a:off x="4077570" y="3157684"/>
            <a:ext cx="1651000" cy="11678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F3D9E99-3024-5AB8-7FEF-33A208FD5F95}"/>
              </a:ext>
            </a:extLst>
          </p:cNvPr>
          <p:cNvSpPr>
            <a:spLocks noGrp="1"/>
          </p:cNvSpPr>
          <p:nvPr>
            <p:ph type="title"/>
          </p:nvPr>
        </p:nvSpPr>
        <p:spPr>
          <a:xfrm>
            <a:off x="839788" y="283464"/>
            <a:ext cx="10512426" cy="505939"/>
          </a:xfrm>
        </p:spPr>
        <p:txBody>
          <a:bodyPr/>
          <a:lstStyle/>
          <a:p>
            <a:pPr fontAlgn="auto">
              <a:spcAft>
                <a:spcPts val="0"/>
              </a:spcAft>
            </a:pPr>
            <a:r>
              <a:rPr lang="en-US"/>
              <a:t>Leverage </a:t>
            </a:r>
            <a:r>
              <a:rPr lang="en-US" err="1"/>
              <a:t>SHTxx</a:t>
            </a:r>
            <a:r>
              <a:rPr lang="en-US"/>
              <a:t> reputation to upsell air quality sensors</a:t>
            </a:r>
          </a:p>
        </p:txBody>
      </p:sp>
    </p:spTree>
    <p:extLst>
      <p:ext uri="{BB962C8B-B14F-4D97-AF65-F5344CB8AC3E}">
        <p14:creationId xmlns:p14="http://schemas.microsoft.com/office/powerpoint/2010/main" val="42205676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AF7CCBF-0082-2380-E972-C5BB1D2F23F3}"/>
              </a:ext>
            </a:extLst>
          </p:cNvPr>
          <p:cNvGrpSpPr/>
          <p:nvPr/>
        </p:nvGrpSpPr>
        <p:grpSpPr>
          <a:xfrm>
            <a:off x="809717" y="1778764"/>
            <a:ext cx="4006649" cy="423206"/>
            <a:chOff x="809717" y="1969669"/>
            <a:chExt cx="4006649" cy="423206"/>
          </a:xfrm>
        </p:grpSpPr>
        <p:pic>
          <p:nvPicPr>
            <p:cNvPr id="15" name="Picture 14">
              <a:extLst>
                <a:ext uri="{FF2B5EF4-FFF2-40B4-BE49-F238E27FC236}">
                  <a16:creationId xmlns:a16="http://schemas.microsoft.com/office/drawing/2014/main" id="{E63DE356-571B-E1D8-7DD1-C9786634687F}"/>
                </a:ext>
              </a:extLst>
            </p:cNvPr>
            <p:cNvPicPr>
              <a:picLocks noChangeAspect="1"/>
            </p:cNvPicPr>
            <p:nvPr/>
          </p:nvPicPr>
          <p:blipFill>
            <a:blip r:embed="rId2"/>
            <a:stretch>
              <a:fillRect/>
            </a:stretch>
          </p:blipFill>
          <p:spPr>
            <a:xfrm>
              <a:off x="809717" y="1969669"/>
              <a:ext cx="4006649" cy="423206"/>
            </a:xfrm>
            <a:prstGeom prst="rect">
              <a:avLst/>
            </a:prstGeom>
          </p:spPr>
        </p:pic>
        <p:sp>
          <p:nvSpPr>
            <p:cNvPr id="17" name="Rectangle 16">
              <a:extLst>
                <a:ext uri="{FF2B5EF4-FFF2-40B4-BE49-F238E27FC236}">
                  <a16:creationId xmlns:a16="http://schemas.microsoft.com/office/drawing/2014/main" id="{C28B6096-FBAE-45DA-CF6E-1946CBA0DBEA}"/>
                </a:ext>
              </a:extLst>
            </p:cNvPr>
            <p:cNvSpPr/>
            <p:nvPr/>
          </p:nvSpPr>
          <p:spPr>
            <a:xfrm>
              <a:off x="4462413" y="2031158"/>
              <a:ext cx="302627" cy="22436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C7C2C33-F355-8369-DA13-7808517D3908}"/>
              </a:ext>
            </a:extLst>
          </p:cNvPr>
          <p:cNvSpPr>
            <a:spLocks noGrp="1"/>
          </p:cNvSpPr>
          <p:nvPr>
            <p:ph type="title"/>
          </p:nvPr>
        </p:nvSpPr>
        <p:spPr/>
        <p:txBody>
          <a:bodyPr/>
          <a:lstStyle/>
          <a:p>
            <a:r>
              <a:rPr lang="en-US"/>
              <a:t>All you need to know about Indoor Air Quality in a single presentation</a:t>
            </a:r>
          </a:p>
        </p:txBody>
      </p:sp>
      <p:sp>
        <p:nvSpPr>
          <p:cNvPr id="3" name="Content Placeholder 2">
            <a:extLst>
              <a:ext uri="{FF2B5EF4-FFF2-40B4-BE49-F238E27FC236}">
                <a16:creationId xmlns:a16="http://schemas.microsoft.com/office/drawing/2014/main" id="{B73E33BE-F388-E0E5-8894-508DFA4865A2}"/>
              </a:ext>
            </a:extLst>
          </p:cNvPr>
          <p:cNvSpPr>
            <a:spLocks noGrp="1"/>
          </p:cNvSpPr>
          <p:nvPr>
            <p:ph idx="1"/>
          </p:nvPr>
        </p:nvSpPr>
        <p:spPr>
          <a:xfrm>
            <a:off x="5100301" y="6300578"/>
            <a:ext cx="2031028" cy="314416"/>
          </a:xfrm>
          <a:solidFill>
            <a:schemeClr val="bg1"/>
          </a:solidFill>
          <a:ln>
            <a:noFill/>
          </a:ln>
        </p:spPr>
        <p:txBody>
          <a:bodyPr vert="horz" lIns="0" tIns="0" rIns="91440" bIns="0" rtlCol="0" anchor="t">
            <a:noAutofit/>
          </a:bodyPr>
          <a:lstStyle/>
          <a:p>
            <a:r>
              <a:rPr lang="en-US" sz="1800" b="1">
                <a:latin typeface="Arial Narrow"/>
                <a:hlinkClick r:id="rId3"/>
              </a:rPr>
              <a:t> Go to presentation</a:t>
            </a:r>
            <a:endParaRPr lang="en-US" sz="1800" b="1">
              <a:highlight>
                <a:srgbClr val="FFFF00"/>
              </a:highlight>
              <a:latin typeface="Arial Narrow"/>
            </a:endParaRPr>
          </a:p>
        </p:txBody>
      </p:sp>
      <p:pic>
        <p:nvPicPr>
          <p:cNvPr id="16" name="Picture 15">
            <a:extLst>
              <a:ext uri="{FF2B5EF4-FFF2-40B4-BE49-F238E27FC236}">
                <a16:creationId xmlns:a16="http://schemas.microsoft.com/office/drawing/2014/main" id="{C71CE5C4-B409-666C-F96B-CC15C0073014}"/>
              </a:ext>
            </a:extLst>
          </p:cNvPr>
          <p:cNvPicPr>
            <a:picLocks noChangeAspect="1"/>
          </p:cNvPicPr>
          <p:nvPr/>
        </p:nvPicPr>
        <p:blipFill>
          <a:blip r:embed="rId4"/>
          <a:stretch>
            <a:fillRect/>
          </a:stretch>
        </p:blipFill>
        <p:spPr>
          <a:xfrm>
            <a:off x="7062283" y="878276"/>
            <a:ext cx="4320000" cy="2443034"/>
          </a:xfrm>
          <a:prstGeom prst="rect">
            <a:avLst/>
          </a:prstGeom>
        </p:spPr>
      </p:pic>
      <p:pic>
        <p:nvPicPr>
          <p:cNvPr id="18" name="Picture 17">
            <a:extLst>
              <a:ext uri="{FF2B5EF4-FFF2-40B4-BE49-F238E27FC236}">
                <a16:creationId xmlns:a16="http://schemas.microsoft.com/office/drawing/2014/main" id="{A6E8E554-665E-3CF9-990A-4D4F62DD0F4D}"/>
              </a:ext>
            </a:extLst>
          </p:cNvPr>
          <p:cNvPicPr>
            <a:picLocks noChangeAspect="1"/>
          </p:cNvPicPr>
          <p:nvPr/>
        </p:nvPicPr>
        <p:blipFill>
          <a:blip r:embed="rId5"/>
          <a:stretch>
            <a:fillRect/>
          </a:stretch>
        </p:blipFill>
        <p:spPr>
          <a:xfrm>
            <a:off x="839785" y="3453557"/>
            <a:ext cx="4320000" cy="2441595"/>
          </a:xfrm>
          <a:prstGeom prst="rect">
            <a:avLst/>
          </a:prstGeom>
        </p:spPr>
      </p:pic>
      <p:pic>
        <p:nvPicPr>
          <p:cNvPr id="20" name="Picture 19">
            <a:extLst>
              <a:ext uri="{FF2B5EF4-FFF2-40B4-BE49-F238E27FC236}">
                <a16:creationId xmlns:a16="http://schemas.microsoft.com/office/drawing/2014/main" id="{C6A09320-01BB-9F71-A803-D79633482AF6}"/>
              </a:ext>
            </a:extLst>
          </p:cNvPr>
          <p:cNvPicPr>
            <a:picLocks noChangeAspect="1"/>
          </p:cNvPicPr>
          <p:nvPr/>
        </p:nvPicPr>
        <p:blipFill>
          <a:blip r:embed="rId6"/>
          <a:stretch>
            <a:fillRect/>
          </a:stretch>
        </p:blipFill>
        <p:spPr>
          <a:xfrm>
            <a:off x="7062283" y="3453557"/>
            <a:ext cx="4320000" cy="2448221"/>
          </a:xfrm>
          <a:prstGeom prst="rect">
            <a:avLst/>
          </a:prstGeom>
        </p:spPr>
      </p:pic>
      <p:sp>
        <p:nvSpPr>
          <p:cNvPr id="6" name="Content Placeholder 2">
            <a:extLst>
              <a:ext uri="{FF2B5EF4-FFF2-40B4-BE49-F238E27FC236}">
                <a16:creationId xmlns:a16="http://schemas.microsoft.com/office/drawing/2014/main" id="{A657EAD4-E694-905C-BB69-1D985B40AC48}"/>
              </a:ext>
            </a:extLst>
          </p:cNvPr>
          <p:cNvSpPr txBox="1">
            <a:spLocks/>
          </p:cNvSpPr>
          <p:nvPr/>
        </p:nvSpPr>
        <p:spPr>
          <a:xfrm rot="16200000">
            <a:off x="5809166" y="1510580"/>
            <a:ext cx="1902498" cy="296055"/>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i="1"/>
              <a:t>Applications</a:t>
            </a:r>
          </a:p>
        </p:txBody>
      </p:sp>
      <p:sp>
        <p:nvSpPr>
          <p:cNvPr id="7" name="Content Placeholder 2">
            <a:extLst>
              <a:ext uri="{FF2B5EF4-FFF2-40B4-BE49-F238E27FC236}">
                <a16:creationId xmlns:a16="http://schemas.microsoft.com/office/drawing/2014/main" id="{E2EDAE6C-D0CF-2E6E-C5DC-747F88FE1759}"/>
              </a:ext>
            </a:extLst>
          </p:cNvPr>
          <p:cNvSpPr txBox="1">
            <a:spLocks/>
          </p:cNvSpPr>
          <p:nvPr/>
        </p:nvSpPr>
        <p:spPr>
          <a:xfrm rot="16200000">
            <a:off x="4480338" y="4065543"/>
            <a:ext cx="1902498" cy="296055"/>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i="1"/>
              <a:t>Products</a:t>
            </a:r>
          </a:p>
        </p:txBody>
      </p:sp>
      <p:sp>
        <p:nvSpPr>
          <p:cNvPr id="9" name="Content Placeholder 2">
            <a:extLst>
              <a:ext uri="{FF2B5EF4-FFF2-40B4-BE49-F238E27FC236}">
                <a16:creationId xmlns:a16="http://schemas.microsoft.com/office/drawing/2014/main" id="{343CAEC4-98CE-4425-0CB9-13177C2CEDF0}"/>
              </a:ext>
            </a:extLst>
          </p:cNvPr>
          <p:cNvSpPr txBox="1">
            <a:spLocks/>
          </p:cNvSpPr>
          <p:nvPr/>
        </p:nvSpPr>
        <p:spPr>
          <a:xfrm rot="16200000">
            <a:off x="5470578" y="4404133"/>
            <a:ext cx="2579678" cy="296055"/>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i="1"/>
              <a:t>Pollutants / Technologies</a:t>
            </a:r>
          </a:p>
        </p:txBody>
      </p:sp>
      <p:sp>
        <p:nvSpPr>
          <p:cNvPr id="12" name="TextBox 11">
            <a:extLst>
              <a:ext uri="{FF2B5EF4-FFF2-40B4-BE49-F238E27FC236}">
                <a16:creationId xmlns:a16="http://schemas.microsoft.com/office/drawing/2014/main" id="{D7B27501-D864-F8F1-26C7-4B95E48A88F6}"/>
              </a:ext>
            </a:extLst>
          </p:cNvPr>
          <p:cNvSpPr txBox="1"/>
          <p:nvPr/>
        </p:nvSpPr>
        <p:spPr>
          <a:xfrm>
            <a:off x="1576826" y="1111452"/>
            <a:ext cx="3306422" cy="400110"/>
          </a:xfrm>
          <a:prstGeom prst="rect">
            <a:avLst/>
          </a:prstGeom>
          <a:noFill/>
        </p:spPr>
        <p:txBody>
          <a:bodyPr wrap="square">
            <a:spAutoFit/>
          </a:bodyPr>
          <a:lstStyle/>
          <a:p>
            <a:r>
              <a:rPr lang="en-US" b="1"/>
              <a:t>https://partners.sensirion.com/</a:t>
            </a:r>
          </a:p>
        </p:txBody>
      </p:sp>
      <p:pic>
        <p:nvPicPr>
          <p:cNvPr id="1026" name="Picture 2" descr="World wide web - Free web icons">
            <a:extLst>
              <a:ext uri="{FF2B5EF4-FFF2-40B4-BE49-F238E27FC236}">
                <a16:creationId xmlns:a16="http://schemas.microsoft.com/office/drawing/2014/main" id="{0119355D-46DA-675B-D339-EF117EEC7AB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7049" y="1044016"/>
            <a:ext cx="505939" cy="505939"/>
          </a:xfrm>
          <a:prstGeom prst="rect">
            <a:avLst/>
          </a:prstGeom>
          <a:noFill/>
          <a:extLst>
            <a:ext uri="{909E8E84-426E-40DD-AFC4-6F175D3DCCD1}">
              <a14:hiddenFill xmlns:a14="http://schemas.microsoft.com/office/drawing/2010/main">
                <a:solidFill>
                  <a:srgbClr val="FFFFFF"/>
                </a:solidFill>
              </a14:hiddenFill>
            </a:ext>
          </a:extLst>
        </p:spPr>
      </p:pic>
      <p:sp>
        <p:nvSpPr>
          <p:cNvPr id="13" name="Arrow: Down 12">
            <a:extLst>
              <a:ext uri="{FF2B5EF4-FFF2-40B4-BE49-F238E27FC236}">
                <a16:creationId xmlns:a16="http://schemas.microsoft.com/office/drawing/2014/main" id="{7E3AA6DB-B32F-96B6-5D9D-EDBD13EDAA41}"/>
              </a:ext>
            </a:extLst>
          </p:cNvPr>
          <p:cNvSpPr/>
          <p:nvPr/>
        </p:nvSpPr>
        <p:spPr>
          <a:xfrm>
            <a:off x="2575767" y="1549956"/>
            <a:ext cx="505939" cy="283656"/>
          </a:xfrm>
          <a:prstGeom prst="downArrow">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Down 18">
            <a:extLst>
              <a:ext uri="{FF2B5EF4-FFF2-40B4-BE49-F238E27FC236}">
                <a16:creationId xmlns:a16="http://schemas.microsoft.com/office/drawing/2014/main" id="{C27A2E93-2B1E-680D-0F39-3CC9AD8A0380}"/>
              </a:ext>
            </a:extLst>
          </p:cNvPr>
          <p:cNvSpPr/>
          <p:nvPr/>
        </p:nvSpPr>
        <p:spPr>
          <a:xfrm>
            <a:off x="2575767" y="2087852"/>
            <a:ext cx="505939" cy="283656"/>
          </a:xfrm>
          <a:prstGeom prst="downArrow">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BD878351-D93E-58C3-C891-FE1544B65E7B}"/>
              </a:ext>
            </a:extLst>
          </p:cNvPr>
          <p:cNvPicPr>
            <a:picLocks noChangeAspect="1"/>
          </p:cNvPicPr>
          <p:nvPr/>
        </p:nvPicPr>
        <p:blipFill>
          <a:blip r:embed="rId8"/>
          <a:stretch>
            <a:fillRect/>
          </a:stretch>
        </p:blipFill>
        <p:spPr>
          <a:xfrm>
            <a:off x="2348953" y="2410741"/>
            <a:ext cx="1186728" cy="824464"/>
          </a:xfrm>
          <a:prstGeom prst="rect">
            <a:avLst/>
          </a:prstGeom>
        </p:spPr>
      </p:pic>
    </p:spTree>
    <p:extLst>
      <p:ext uri="{BB962C8B-B14F-4D97-AF65-F5344CB8AC3E}">
        <p14:creationId xmlns:p14="http://schemas.microsoft.com/office/powerpoint/2010/main" val="33383613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A509C-4460-52D8-38F3-8FF277923E36}"/>
              </a:ext>
            </a:extLst>
          </p:cNvPr>
          <p:cNvSpPr>
            <a:spLocks noGrp="1"/>
          </p:cNvSpPr>
          <p:nvPr>
            <p:ph type="title"/>
          </p:nvPr>
        </p:nvSpPr>
        <p:spPr/>
        <p:txBody>
          <a:bodyPr/>
          <a:lstStyle/>
          <a:p>
            <a:r>
              <a:rPr lang="en-US"/>
              <a:t>Six take home messages to remember </a:t>
            </a:r>
          </a:p>
        </p:txBody>
      </p:sp>
      <p:grpSp>
        <p:nvGrpSpPr>
          <p:cNvPr id="126" name="Group 125">
            <a:extLst>
              <a:ext uri="{FF2B5EF4-FFF2-40B4-BE49-F238E27FC236}">
                <a16:creationId xmlns:a16="http://schemas.microsoft.com/office/drawing/2014/main" id="{7D32A871-0530-3D36-DC06-BC2E32E7A6C0}"/>
              </a:ext>
            </a:extLst>
          </p:cNvPr>
          <p:cNvGrpSpPr/>
          <p:nvPr/>
        </p:nvGrpSpPr>
        <p:grpSpPr>
          <a:xfrm>
            <a:off x="476429" y="1048879"/>
            <a:ext cx="5089628" cy="1541922"/>
            <a:chOff x="476429" y="1048879"/>
            <a:chExt cx="5089628" cy="1541922"/>
          </a:xfrm>
        </p:grpSpPr>
        <p:sp>
          <p:nvSpPr>
            <p:cNvPr id="5" name="Rectangle: Rounded Corners 49">
              <a:extLst>
                <a:ext uri="{FF2B5EF4-FFF2-40B4-BE49-F238E27FC236}">
                  <a16:creationId xmlns:a16="http://schemas.microsoft.com/office/drawing/2014/main" id="{86344DD5-DCB2-4DAD-1440-EA8009B4937B}"/>
                </a:ext>
              </a:extLst>
            </p:cNvPr>
            <p:cNvSpPr/>
            <p:nvPr/>
          </p:nvSpPr>
          <p:spPr>
            <a:xfrm>
              <a:off x="809847" y="1048879"/>
              <a:ext cx="4756210" cy="154192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1E2B761-8F37-35D9-46CC-1EB1AE54F920}"/>
                </a:ext>
              </a:extLst>
            </p:cNvPr>
            <p:cNvSpPr/>
            <p:nvPr/>
          </p:nvSpPr>
          <p:spPr>
            <a:xfrm>
              <a:off x="1326412" y="1255374"/>
              <a:ext cx="2147834" cy="1200329"/>
            </a:xfrm>
            <a:prstGeom prst="rect">
              <a:avLst/>
            </a:prstGeom>
          </p:spPr>
          <p:txBody>
            <a:bodyPr wrap="square">
              <a:spAutoFit/>
            </a:bodyPr>
            <a:lstStyle/>
            <a:p>
              <a:pPr marL="0" lvl="1">
                <a:defRPr/>
              </a:pPr>
              <a:r>
                <a:rPr lang="en-US" sz="1800"/>
                <a:t>Bad indoor air quality is a severe, global threat to human health &amp; productivity.</a:t>
              </a:r>
            </a:p>
          </p:txBody>
        </p:sp>
        <p:cxnSp>
          <p:nvCxnSpPr>
            <p:cNvPr id="13" name="Straight Connector 12">
              <a:extLst>
                <a:ext uri="{FF2B5EF4-FFF2-40B4-BE49-F238E27FC236}">
                  <a16:creationId xmlns:a16="http://schemas.microsoft.com/office/drawing/2014/main" id="{DCC80437-8AEA-3A8B-DF50-CFF08D088AE3}"/>
                </a:ext>
              </a:extLst>
            </p:cNvPr>
            <p:cNvCxnSpPr>
              <a:cxnSpLocks/>
            </p:cNvCxnSpPr>
            <p:nvPr/>
          </p:nvCxnSpPr>
          <p:spPr>
            <a:xfrm>
              <a:off x="3667502" y="1247753"/>
              <a:ext cx="0" cy="118561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36B7105E-E38C-0DFE-A844-FBD8030C5166}"/>
                </a:ext>
              </a:extLst>
            </p:cNvPr>
            <p:cNvGrpSpPr/>
            <p:nvPr/>
          </p:nvGrpSpPr>
          <p:grpSpPr>
            <a:xfrm>
              <a:off x="476429" y="1506438"/>
              <a:ext cx="640080" cy="640080"/>
              <a:chOff x="-1367191" y="827485"/>
              <a:chExt cx="640080" cy="640080"/>
            </a:xfrm>
          </p:grpSpPr>
          <p:grpSp>
            <p:nvGrpSpPr>
              <p:cNvPr id="109" name="Group 108">
                <a:extLst>
                  <a:ext uri="{FF2B5EF4-FFF2-40B4-BE49-F238E27FC236}">
                    <a16:creationId xmlns:a16="http://schemas.microsoft.com/office/drawing/2014/main" id="{39313049-F6FD-DD4E-9A6E-729429E1FF4B}"/>
                  </a:ext>
                </a:extLst>
              </p:cNvPr>
              <p:cNvGrpSpPr/>
              <p:nvPr/>
            </p:nvGrpSpPr>
            <p:grpSpPr>
              <a:xfrm>
                <a:off x="-1367191" y="827485"/>
                <a:ext cx="640080" cy="640080"/>
                <a:chOff x="6661431" y="2189755"/>
                <a:chExt cx="640080" cy="640080"/>
              </a:xfrm>
            </p:grpSpPr>
            <p:sp>
              <p:nvSpPr>
                <p:cNvPr id="110" name="Oval 109">
                  <a:extLst>
                    <a:ext uri="{FF2B5EF4-FFF2-40B4-BE49-F238E27FC236}">
                      <a16:creationId xmlns:a16="http://schemas.microsoft.com/office/drawing/2014/main" id="{7A4B51CD-938B-A4C0-9195-D4AFC750558F}"/>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DD79811F-86EE-CF8A-9C4D-21081CAA85F9}"/>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2" name="Graphic 111">
                <a:extLst>
                  <a:ext uri="{FF2B5EF4-FFF2-40B4-BE49-F238E27FC236}">
                    <a16:creationId xmlns:a16="http://schemas.microsoft.com/office/drawing/2014/main" id="{67550B04-6624-5F44-DD9C-AD84707E18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20856" y="966275"/>
                <a:ext cx="360000" cy="360000"/>
              </a:xfrm>
              <a:prstGeom prst="rect">
                <a:avLst/>
              </a:prstGeom>
            </p:spPr>
          </p:pic>
        </p:grpSp>
      </p:grpSp>
      <p:grpSp>
        <p:nvGrpSpPr>
          <p:cNvPr id="130" name="Group 129">
            <a:extLst>
              <a:ext uri="{FF2B5EF4-FFF2-40B4-BE49-F238E27FC236}">
                <a16:creationId xmlns:a16="http://schemas.microsoft.com/office/drawing/2014/main" id="{FC4BBE99-33E4-CC6E-C8CD-19FBBB2540E3}"/>
              </a:ext>
            </a:extLst>
          </p:cNvPr>
          <p:cNvGrpSpPr/>
          <p:nvPr/>
        </p:nvGrpSpPr>
        <p:grpSpPr>
          <a:xfrm>
            <a:off x="6297996" y="2878494"/>
            <a:ext cx="5084157" cy="1541922"/>
            <a:chOff x="6297996" y="2878494"/>
            <a:chExt cx="5084157" cy="1541922"/>
          </a:xfrm>
        </p:grpSpPr>
        <p:sp>
          <p:nvSpPr>
            <p:cNvPr id="81" name="Rectangle: Rounded Corners 49">
              <a:extLst>
                <a:ext uri="{FF2B5EF4-FFF2-40B4-BE49-F238E27FC236}">
                  <a16:creationId xmlns:a16="http://schemas.microsoft.com/office/drawing/2014/main" id="{CB667F50-1A03-6632-37AC-FDA95F5297EA}"/>
                </a:ext>
              </a:extLst>
            </p:cNvPr>
            <p:cNvSpPr/>
            <p:nvPr/>
          </p:nvSpPr>
          <p:spPr>
            <a:xfrm>
              <a:off x="6625943" y="2878494"/>
              <a:ext cx="4756210" cy="154192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3306CB21-04C7-CF29-EA2B-5E8E0F17F9FE}"/>
                </a:ext>
              </a:extLst>
            </p:cNvPr>
            <p:cNvSpPr/>
            <p:nvPr/>
          </p:nvSpPr>
          <p:spPr>
            <a:xfrm>
              <a:off x="7124296" y="3187790"/>
              <a:ext cx="2205549" cy="923330"/>
            </a:xfrm>
            <a:prstGeom prst="rect">
              <a:avLst/>
            </a:prstGeom>
          </p:spPr>
          <p:txBody>
            <a:bodyPr wrap="square" lIns="91440" tIns="45720" rIns="91440" bIns="45720" anchor="t">
              <a:spAutoFit/>
            </a:bodyPr>
            <a:lstStyle/>
            <a:p>
              <a:r>
                <a:rPr lang="en-US" sz="1800">
                  <a:latin typeface="Arial Narrow"/>
                  <a:cs typeface="Arial"/>
                </a:rPr>
                <a:t>Relevant IAQ information available on </a:t>
              </a:r>
              <a:r>
                <a:rPr lang="en-US" sz="1800">
                  <a:latin typeface="Arial Narrow"/>
                  <a:cs typeface="Arial"/>
                  <a:hlinkClick r:id="rId5"/>
                </a:rPr>
                <a:t>Partner's Access</a:t>
              </a:r>
              <a:r>
                <a:rPr lang="en-US" sz="1800">
                  <a:latin typeface="Arial Narrow"/>
                  <a:cs typeface="Arial"/>
                </a:rPr>
                <a:t> </a:t>
              </a:r>
              <a:endParaRPr lang="en-US" sz="1800">
                <a:solidFill>
                  <a:srgbClr val="000000"/>
                </a:solidFill>
              </a:endParaRPr>
            </a:p>
          </p:txBody>
        </p:sp>
        <p:cxnSp>
          <p:nvCxnSpPr>
            <p:cNvPr id="83" name="Straight Connector 82">
              <a:extLst>
                <a:ext uri="{FF2B5EF4-FFF2-40B4-BE49-F238E27FC236}">
                  <a16:creationId xmlns:a16="http://schemas.microsoft.com/office/drawing/2014/main" id="{2D8F34B9-687C-A22F-36CB-D63F8D3137B7}"/>
                </a:ext>
              </a:extLst>
            </p:cNvPr>
            <p:cNvCxnSpPr>
              <a:cxnSpLocks/>
            </p:cNvCxnSpPr>
            <p:nvPr/>
          </p:nvCxnSpPr>
          <p:spPr>
            <a:xfrm>
              <a:off x="9516066" y="3032842"/>
              <a:ext cx="0" cy="118561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6" name="Picture 95">
              <a:extLst>
                <a:ext uri="{FF2B5EF4-FFF2-40B4-BE49-F238E27FC236}">
                  <a16:creationId xmlns:a16="http://schemas.microsoft.com/office/drawing/2014/main" id="{AA86D961-4C0B-97DF-824D-39AADD59E2C3}"/>
                </a:ext>
              </a:extLst>
            </p:cNvPr>
            <p:cNvPicPr>
              <a:picLocks noChangeAspect="1"/>
            </p:cNvPicPr>
            <p:nvPr/>
          </p:nvPicPr>
          <p:blipFill rotWithShape="1">
            <a:blip r:embed="rId6"/>
            <a:srcRect l="53265"/>
            <a:stretch/>
          </p:blipFill>
          <p:spPr>
            <a:xfrm>
              <a:off x="9991604" y="3058802"/>
              <a:ext cx="1000652" cy="1210122"/>
            </a:xfrm>
            <a:prstGeom prst="rect">
              <a:avLst/>
            </a:prstGeom>
          </p:spPr>
        </p:pic>
        <p:grpSp>
          <p:nvGrpSpPr>
            <p:cNvPr id="120" name="Group 119">
              <a:extLst>
                <a:ext uri="{FF2B5EF4-FFF2-40B4-BE49-F238E27FC236}">
                  <a16:creationId xmlns:a16="http://schemas.microsoft.com/office/drawing/2014/main" id="{4561F5F0-3938-A0F2-7472-CD2B16D586C9}"/>
                </a:ext>
              </a:extLst>
            </p:cNvPr>
            <p:cNvGrpSpPr/>
            <p:nvPr/>
          </p:nvGrpSpPr>
          <p:grpSpPr>
            <a:xfrm>
              <a:off x="6297996" y="3267034"/>
              <a:ext cx="640080" cy="640080"/>
              <a:chOff x="-1752296" y="3948345"/>
              <a:chExt cx="640080" cy="640080"/>
            </a:xfrm>
          </p:grpSpPr>
          <p:grpSp>
            <p:nvGrpSpPr>
              <p:cNvPr id="16" name="Group 15">
                <a:extLst>
                  <a:ext uri="{FF2B5EF4-FFF2-40B4-BE49-F238E27FC236}">
                    <a16:creationId xmlns:a16="http://schemas.microsoft.com/office/drawing/2014/main" id="{FF86906E-FAFF-91DC-1EEC-903BC47CB95A}"/>
                  </a:ext>
                </a:extLst>
              </p:cNvPr>
              <p:cNvGrpSpPr/>
              <p:nvPr/>
            </p:nvGrpSpPr>
            <p:grpSpPr>
              <a:xfrm>
                <a:off x="-1752296" y="3948345"/>
                <a:ext cx="640080" cy="640080"/>
                <a:chOff x="6661431" y="2189755"/>
                <a:chExt cx="640080" cy="640080"/>
              </a:xfrm>
            </p:grpSpPr>
            <p:sp>
              <p:nvSpPr>
                <p:cNvPr id="18" name="Oval 17">
                  <a:extLst>
                    <a:ext uri="{FF2B5EF4-FFF2-40B4-BE49-F238E27FC236}">
                      <a16:creationId xmlns:a16="http://schemas.microsoft.com/office/drawing/2014/main" id="{21BE23E2-BB8D-03F7-8290-C9AAEDF7AE3E}"/>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6332F20-6F69-5AB9-9B6D-8A6B85128E6E}"/>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7" name="Graphic 16">
                <a:extLst>
                  <a:ext uri="{FF2B5EF4-FFF2-40B4-BE49-F238E27FC236}">
                    <a16:creationId xmlns:a16="http://schemas.microsoft.com/office/drawing/2014/main" id="{CBB4D3B4-0D21-55B1-8983-0004437B027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584286" y="4116355"/>
                <a:ext cx="304061" cy="304061"/>
              </a:xfrm>
              <a:prstGeom prst="rect">
                <a:avLst/>
              </a:prstGeom>
            </p:spPr>
          </p:pic>
        </p:grpSp>
      </p:grpSp>
      <p:grpSp>
        <p:nvGrpSpPr>
          <p:cNvPr id="128" name="Group 127">
            <a:extLst>
              <a:ext uri="{FF2B5EF4-FFF2-40B4-BE49-F238E27FC236}">
                <a16:creationId xmlns:a16="http://schemas.microsoft.com/office/drawing/2014/main" id="{AF236E02-3D7E-4683-4CCF-46C156D207C2}"/>
              </a:ext>
            </a:extLst>
          </p:cNvPr>
          <p:cNvGrpSpPr/>
          <p:nvPr/>
        </p:nvGrpSpPr>
        <p:grpSpPr>
          <a:xfrm>
            <a:off x="6339041" y="1047098"/>
            <a:ext cx="5043112" cy="1541922"/>
            <a:chOff x="522945" y="4629175"/>
            <a:chExt cx="5043112" cy="1541922"/>
          </a:xfrm>
        </p:grpSpPr>
        <p:sp>
          <p:nvSpPr>
            <p:cNvPr id="75" name="Rectangle: Rounded Corners 49">
              <a:extLst>
                <a:ext uri="{FF2B5EF4-FFF2-40B4-BE49-F238E27FC236}">
                  <a16:creationId xmlns:a16="http://schemas.microsoft.com/office/drawing/2014/main" id="{921C48C4-70DA-4459-0189-743A8F292A83}"/>
                </a:ext>
              </a:extLst>
            </p:cNvPr>
            <p:cNvSpPr/>
            <p:nvPr/>
          </p:nvSpPr>
          <p:spPr>
            <a:xfrm>
              <a:off x="809847" y="4629175"/>
              <a:ext cx="4756210" cy="154192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C439FAAD-DE9E-D6BE-69DF-B64859345B9B}"/>
                </a:ext>
              </a:extLst>
            </p:cNvPr>
            <p:cNvSpPr/>
            <p:nvPr/>
          </p:nvSpPr>
          <p:spPr>
            <a:xfrm>
              <a:off x="1326412" y="4822970"/>
              <a:ext cx="2329827" cy="1200329"/>
            </a:xfrm>
            <a:prstGeom prst="rect">
              <a:avLst/>
            </a:prstGeom>
          </p:spPr>
          <p:txBody>
            <a:bodyPr wrap="square">
              <a:spAutoFit/>
            </a:bodyPr>
            <a:lstStyle/>
            <a:p>
              <a:pPr marL="0" lvl="1">
                <a:defRPr/>
              </a:pPr>
              <a:r>
                <a:rPr lang="en-US" sz="1800"/>
                <a:t>Three applications to focus on: HVAC, Air Cleaners, and IAQ Monitors.</a:t>
              </a:r>
            </a:p>
          </p:txBody>
        </p:sp>
        <p:cxnSp>
          <p:nvCxnSpPr>
            <p:cNvPr id="77" name="Straight Connector 76">
              <a:extLst>
                <a:ext uri="{FF2B5EF4-FFF2-40B4-BE49-F238E27FC236}">
                  <a16:creationId xmlns:a16="http://schemas.microsoft.com/office/drawing/2014/main" id="{D4E47F31-DD39-0E24-53E8-E95193C23631}"/>
                </a:ext>
              </a:extLst>
            </p:cNvPr>
            <p:cNvCxnSpPr>
              <a:cxnSpLocks/>
            </p:cNvCxnSpPr>
            <p:nvPr/>
          </p:nvCxnSpPr>
          <p:spPr>
            <a:xfrm>
              <a:off x="3699970" y="4783523"/>
              <a:ext cx="0" cy="118561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7" name="Picture 2" descr="Line icon for hvac 3237278 Vector Art at Vecteezy">
              <a:extLst>
                <a:ext uri="{FF2B5EF4-FFF2-40B4-BE49-F238E27FC236}">
                  <a16:creationId xmlns:a16="http://schemas.microsoft.com/office/drawing/2014/main" id="{38C13AFE-2A37-1D6D-552D-4DFD990739D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05844" y="4955716"/>
              <a:ext cx="454719" cy="454719"/>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85 Indoor Air Quality Icon Illustrations &amp; Clip Art - iStock">
              <a:extLst>
                <a:ext uri="{FF2B5EF4-FFF2-40B4-BE49-F238E27FC236}">
                  <a16:creationId xmlns:a16="http://schemas.microsoft.com/office/drawing/2014/main" id="{547E6400-B516-0F77-C7BD-1B4B5D61481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43701" y="4783523"/>
              <a:ext cx="751877" cy="75434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Air purifier - Free electronics icons">
              <a:extLst>
                <a:ext uri="{FF2B5EF4-FFF2-40B4-BE49-F238E27FC236}">
                  <a16:creationId xmlns:a16="http://schemas.microsoft.com/office/drawing/2014/main" id="{48FD231E-4930-5D76-E36B-FB8C198704A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38585" y="5423134"/>
              <a:ext cx="581466" cy="581466"/>
            </a:xfrm>
            <a:prstGeom prst="rect">
              <a:avLst/>
            </a:prstGeom>
            <a:noFill/>
            <a:extLst>
              <a:ext uri="{909E8E84-426E-40DD-AFC4-6F175D3DCCD1}">
                <a14:hiddenFill xmlns:a14="http://schemas.microsoft.com/office/drawing/2010/main">
                  <a:solidFill>
                    <a:srgbClr val="FFFFFF"/>
                  </a:solidFill>
                </a14:hiddenFill>
              </a:ext>
            </a:extLst>
          </p:spPr>
        </p:pic>
        <p:grpSp>
          <p:nvGrpSpPr>
            <p:cNvPr id="121" name="Group 120">
              <a:extLst>
                <a:ext uri="{FF2B5EF4-FFF2-40B4-BE49-F238E27FC236}">
                  <a16:creationId xmlns:a16="http://schemas.microsoft.com/office/drawing/2014/main" id="{43721260-847C-F743-8918-8B04A0761B58}"/>
                </a:ext>
              </a:extLst>
            </p:cNvPr>
            <p:cNvGrpSpPr/>
            <p:nvPr/>
          </p:nvGrpSpPr>
          <p:grpSpPr>
            <a:xfrm>
              <a:off x="522945" y="5086437"/>
              <a:ext cx="579786" cy="579784"/>
              <a:chOff x="-496295" y="3901216"/>
              <a:chExt cx="579786" cy="579784"/>
            </a:xfrm>
          </p:grpSpPr>
          <p:sp>
            <p:nvSpPr>
              <p:cNvPr id="105" name="Oval 104">
                <a:extLst>
                  <a:ext uri="{FF2B5EF4-FFF2-40B4-BE49-F238E27FC236}">
                    <a16:creationId xmlns:a16="http://schemas.microsoft.com/office/drawing/2014/main" id="{52803F71-FEB9-283B-2995-2CFF3C327774}"/>
                  </a:ext>
                </a:extLst>
              </p:cNvPr>
              <p:cNvSpPr/>
              <p:nvPr/>
            </p:nvSpPr>
            <p:spPr>
              <a:xfrm>
                <a:off x="-496295" y="3901216"/>
                <a:ext cx="579786" cy="579784"/>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2DFF9511-F630-0750-0EF4-411D57F8B6EF}"/>
                  </a:ext>
                </a:extLst>
              </p:cNvPr>
              <p:cNvSpPr>
                <a:spLocks noChangeAspect="1"/>
              </p:cNvSpPr>
              <p:nvPr/>
            </p:nvSpPr>
            <p:spPr>
              <a:xfrm>
                <a:off x="-467273" y="3930237"/>
                <a:ext cx="521742" cy="52174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8" name="Picture 4" descr="Plan icon PNG and SVG Vector Free Download">
                <a:extLst>
                  <a:ext uri="{FF2B5EF4-FFF2-40B4-BE49-F238E27FC236}">
                    <a16:creationId xmlns:a16="http://schemas.microsoft.com/office/drawing/2014/main" id="{C934FE3F-B519-15D4-D25E-20A21689F196}"/>
                  </a:ext>
                </a:extLst>
              </p:cNvPr>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3156" y="4009196"/>
                <a:ext cx="290021" cy="36542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31" name="Group 130">
            <a:extLst>
              <a:ext uri="{FF2B5EF4-FFF2-40B4-BE49-F238E27FC236}">
                <a16:creationId xmlns:a16="http://schemas.microsoft.com/office/drawing/2014/main" id="{EC967211-073B-99F7-BBAB-93CC62A53A0A}"/>
              </a:ext>
            </a:extLst>
          </p:cNvPr>
          <p:cNvGrpSpPr/>
          <p:nvPr/>
        </p:nvGrpSpPr>
        <p:grpSpPr>
          <a:xfrm>
            <a:off x="6352216" y="4629176"/>
            <a:ext cx="5029937" cy="1541922"/>
            <a:chOff x="6352216" y="4629176"/>
            <a:chExt cx="5029937" cy="1541922"/>
          </a:xfrm>
        </p:grpSpPr>
        <p:sp>
          <p:nvSpPr>
            <p:cNvPr id="84" name="Rectangle: Rounded Corners 49">
              <a:extLst>
                <a:ext uri="{FF2B5EF4-FFF2-40B4-BE49-F238E27FC236}">
                  <a16:creationId xmlns:a16="http://schemas.microsoft.com/office/drawing/2014/main" id="{19C4BFCF-B8D4-7F86-3D27-46C5D6300395}"/>
                </a:ext>
              </a:extLst>
            </p:cNvPr>
            <p:cNvSpPr/>
            <p:nvPr/>
          </p:nvSpPr>
          <p:spPr>
            <a:xfrm>
              <a:off x="6625943" y="4629176"/>
              <a:ext cx="4756210" cy="154192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8E444D3D-54A0-2107-ACBC-9F5E06DF401F}"/>
                </a:ext>
              </a:extLst>
            </p:cNvPr>
            <p:cNvSpPr/>
            <p:nvPr/>
          </p:nvSpPr>
          <p:spPr>
            <a:xfrm>
              <a:off x="7121728" y="4792342"/>
              <a:ext cx="2438070" cy="1200329"/>
            </a:xfrm>
            <a:prstGeom prst="rect">
              <a:avLst/>
            </a:prstGeom>
          </p:spPr>
          <p:txBody>
            <a:bodyPr wrap="square" lIns="91440" tIns="45720" rIns="91440" bIns="45720" anchor="t">
              <a:spAutoFit/>
            </a:bodyPr>
            <a:lstStyle/>
            <a:p>
              <a:pPr marL="0" lvl="1">
                <a:defRPr/>
              </a:pPr>
              <a:r>
                <a:rPr lang="en-US" sz="1800">
                  <a:latin typeface="Arial Narrow"/>
                  <a:cs typeface="Arial"/>
                </a:rPr>
                <a:t>Watch public webinar “I</a:t>
              </a:r>
              <a:r>
                <a:rPr lang="en-US" sz="1800">
                  <a:latin typeface="Arial Narrow"/>
                  <a:cs typeface="Arial"/>
                  <a:hlinkClick r:id="rId13"/>
                </a:rPr>
                <a:t>ndoor air quality: trends and market opportunities</a:t>
              </a:r>
              <a:r>
                <a:rPr lang="en-US" sz="1800">
                  <a:latin typeface="Arial Narrow"/>
                  <a:cs typeface="Arial"/>
                </a:rPr>
                <a:t>” to expand your knowledge </a:t>
              </a:r>
              <a:endParaRPr lang="en-US" sz="1800"/>
            </a:p>
          </p:txBody>
        </p:sp>
        <p:cxnSp>
          <p:nvCxnSpPr>
            <p:cNvPr id="86" name="Straight Connector 85">
              <a:extLst>
                <a:ext uri="{FF2B5EF4-FFF2-40B4-BE49-F238E27FC236}">
                  <a16:creationId xmlns:a16="http://schemas.microsoft.com/office/drawing/2014/main" id="{8987CF31-DAEB-17A0-BB2A-5096B2D4C3E5}"/>
                </a:ext>
              </a:extLst>
            </p:cNvPr>
            <p:cNvCxnSpPr>
              <a:cxnSpLocks/>
            </p:cNvCxnSpPr>
            <p:nvPr/>
          </p:nvCxnSpPr>
          <p:spPr>
            <a:xfrm>
              <a:off x="9516066" y="4783524"/>
              <a:ext cx="0" cy="118561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AFEA7A59-A6E8-4344-8A34-E6AB6C32D6AC}"/>
                </a:ext>
              </a:extLst>
            </p:cNvPr>
            <p:cNvPicPr>
              <a:picLocks noChangeAspect="1"/>
            </p:cNvPicPr>
            <p:nvPr/>
          </p:nvPicPr>
          <p:blipFill>
            <a:blip r:embed="rId14"/>
            <a:stretch>
              <a:fillRect/>
            </a:stretch>
          </p:blipFill>
          <p:spPr>
            <a:xfrm>
              <a:off x="9831270" y="4904658"/>
              <a:ext cx="1235680" cy="1099942"/>
            </a:xfrm>
            <a:prstGeom prst="rect">
              <a:avLst/>
            </a:prstGeom>
          </p:spPr>
        </p:pic>
        <p:grpSp>
          <p:nvGrpSpPr>
            <p:cNvPr id="122" name="Group 121">
              <a:extLst>
                <a:ext uri="{FF2B5EF4-FFF2-40B4-BE49-F238E27FC236}">
                  <a16:creationId xmlns:a16="http://schemas.microsoft.com/office/drawing/2014/main" id="{D8158781-A972-3538-4CAA-8C1D3C24BAB6}"/>
                </a:ext>
              </a:extLst>
            </p:cNvPr>
            <p:cNvGrpSpPr/>
            <p:nvPr/>
          </p:nvGrpSpPr>
          <p:grpSpPr>
            <a:xfrm>
              <a:off x="6352216" y="5156762"/>
              <a:ext cx="579786" cy="579784"/>
              <a:chOff x="6661431" y="2189755"/>
              <a:chExt cx="640080" cy="640080"/>
            </a:xfrm>
            <a:effectLst>
              <a:outerShdw blurRad="317500" sx="102000" sy="102000" algn="ctr" rotWithShape="0">
                <a:prstClr val="black">
                  <a:alpha val="10000"/>
                </a:prstClr>
              </a:outerShdw>
            </a:effectLst>
          </p:grpSpPr>
          <p:sp>
            <p:nvSpPr>
              <p:cNvPr id="123" name="Oval 122">
                <a:extLst>
                  <a:ext uri="{FF2B5EF4-FFF2-40B4-BE49-F238E27FC236}">
                    <a16:creationId xmlns:a16="http://schemas.microsoft.com/office/drawing/2014/main" id="{8A5E863A-C97F-A273-73B7-4EB0125D5821}"/>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4" name="Oval 123">
                <a:extLst>
                  <a:ext uri="{FF2B5EF4-FFF2-40B4-BE49-F238E27FC236}">
                    <a16:creationId xmlns:a16="http://schemas.microsoft.com/office/drawing/2014/main" id="{3CE8A030-9EAE-F9ED-7FE4-8266B41FC1A5}"/>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pic>
          <p:nvPicPr>
            <p:cNvPr id="125" name="Graphic 124">
              <a:extLst>
                <a:ext uri="{FF2B5EF4-FFF2-40B4-BE49-F238E27FC236}">
                  <a16:creationId xmlns:a16="http://schemas.microsoft.com/office/drawing/2014/main" id="{AE186404-9349-3C8F-7843-26E1E23EB28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6480571" y="5282238"/>
              <a:ext cx="325954" cy="325954"/>
            </a:xfrm>
            <a:prstGeom prst="rect">
              <a:avLst/>
            </a:prstGeom>
          </p:spPr>
        </p:pic>
      </p:grpSp>
      <p:grpSp>
        <p:nvGrpSpPr>
          <p:cNvPr id="3" name="Group 2">
            <a:extLst>
              <a:ext uri="{FF2B5EF4-FFF2-40B4-BE49-F238E27FC236}">
                <a16:creationId xmlns:a16="http://schemas.microsoft.com/office/drawing/2014/main" id="{CB0B7309-66D6-525A-6D2D-321947DBFBD2}"/>
              </a:ext>
            </a:extLst>
          </p:cNvPr>
          <p:cNvGrpSpPr/>
          <p:nvPr/>
        </p:nvGrpSpPr>
        <p:grpSpPr>
          <a:xfrm>
            <a:off x="486275" y="2850278"/>
            <a:ext cx="5079782" cy="1541922"/>
            <a:chOff x="486275" y="2850278"/>
            <a:chExt cx="5079782" cy="1541922"/>
          </a:xfrm>
        </p:grpSpPr>
        <p:grpSp>
          <p:nvGrpSpPr>
            <p:cNvPr id="127" name="Group 126">
              <a:extLst>
                <a:ext uri="{FF2B5EF4-FFF2-40B4-BE49-F238E27FC236}">
                  <a16:creationId xmlns:a16="http://schemas.microsoft.com/office/drawing/2014/main" id="{1D1F2485-F5BC-3ECF-EBEB-DF857DB98CF9}"/>
                </a:ext>
              </a:extLst>
            </p:cNvPr>
            <p:cNvGrpSpPr/>
            <p:nvPr/>
          </p:nvGrpSpPr>
          <p:grpSpPr>
            <a:xfrm>
              <a:off x="486275" y="2850278"/>
              <a:ext cx="5079782" cy="1541922"/>
              <a:chOff x="486275" y="2850278"/>
              <a:chExt cx="5079782" cy="1541922"/>
            </a:xfrm>
          </p:grpSpPr>
          <p:sp>
            <p:nvSpPr>
              <p:cNvPr id="72" name="Rectangle: Rounded Corners 49">
                <a:extLst>
                  <a:ext uri="{FF2B5EF4-FFF2-40B4-BE49-F238E27FC236}">
                    <a16:creationId xmlns:a16="http://schemas.microsoft.com/office/drawing/2014/main" id="{D734AAEF-44AC-E02C-D652-3F5AEF956189}"/>
                  </a:ext>
                </a:extLst>
              </p:cNvPr>
              <p:cNvSpPr/>
              <p:nvPr/>
            </p:nvSpPr>
            <p:spPr>
              <a:xfrm>
                <a:off x="809847" y="2850278"/>
                <a:ext cx="4756210" cy="154192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7BEDC0B6-8864-645B-D65F-2E5C4A8432F5}"/>
                  </a:ext>
                </a:extLst>
              </p:cNvPr>
              <p:cNvSpPr/>
              <p:nvPr/>
            </p:nvSpPr>
            <p:spPr>
              <a:xfrm>
                <a:off x="1326412" y="3018673"/>
                <a:ext cx="2297175" cy="1200329"/>
              </a:xfrm>
              <a:prstGeom prst="rect">
                <a:avLst/>
              </a:prstGeom>
            </p:spPr>
            <p:txBody>
              <a:bodyPr wrap="square">
                <a:spAutoFit/>
              </a:bodyPr>
              <a:lstStyle/>
              <a:p>
                <a:r>
                  <a:rPr lang="en-US" sz="1800"/>
                  <a:t>The megatrend towards clean indoor air represents a gigantic business opportunity.</a:t>
                </a:r>
              </a:p>
            </p:txBody>
          </p:sp>
          <p:cxnSp>
            <p:nvCxnSpPr>
              <p:cNvPr id="74" name="Straight Connector 73">
                <a:extLst>
                  <a:ext uri="{FF2B5EF4-FFF2-40B4-BE49-F238E27FC236}">
                    <a16:creationId xmlns:a16="http://schemas.microsoft.com/office/drawing/2014/main" id="{D422F415-02AA-B3B4-D026-E7D8ACEEE56F}"/>
                  </a:ext>
                </a:extLst>
              </p:cNvPr>
              <p:cNvCxnSpPr>
                <a:cxnSpLocks/>
              </p:cNvCxnSpPr>
              <p:nvPr/>
            </p:nvCxnSpPr>
            <p:spPr>
              <a:xfrm>
                <a:off x="3699970" y="3004626"/>
                <a:ext cx="0" cy="118561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ECFB3263-F642-2F97-76E1-A76157A53806}"/>
                  </a:ext>
                </a:extLst>
              </p:cNvPr>
              <p:cNvGrpSpPr/>
              <p:nvPr/>
            </p:nvGrpSpPr>
            <p:grpSpPr>
              <a:xfrm>
                <a:off x="486275" y="3250683"/>
                <a:ext cx="640080" cy="640080"/>
                <a:chOff x="-5364455" y="859524"/>
                <a:chExt cx="640080" cy="640080"/>
              </a:xfrm>
            </p:grpSpPr>
            <p:grpSp>
              <p:nvGrpSpPr>
                <p:cNvPr id="113" name="Group 112">
                  <a:extLst>
                    <a:ext uri="{FF2B5EF4-FFF2-40B4-BE49-F238E27FC236}">
                      <a16:creationId xmlns:a16="http://schemas.microsoft.com/office/drawing/2014/main" id="{D63110D2-B00B-C9B0-FCAE-772B5FC948D4}"/>
                    </a:ext>
                  </a:extLst>
                </p:cNvPr>
                <p:cNvGrpSpPr/>
                <p:nvPr/>
              </p:nvGrpSpPr>
              <p:grpSpPr>
                <a:xfrm>
                  <a:off x="-5364455" y="859524"/>
                  <a:ext cx="640080" cy="640080"/>
                  <a:chOff x="6661431" y="2189755"/>
                  <a:chExt cx="640080" cy="640080"/>
                </a:xfrm>
              </p:grpSpPr>
              <p:sp>
                <p:nvSpPr>
                  <p:cNvPr id="114" name="Oval 113">
                    <a:extLst>
                      <a:ext uri="{FF2B5EF4-FFF2-40B4-BE49-F238E27FC236}">
                        <a16:creationId xmlns:a16="http://schemas.microsoft.com/office/drawing/2014/main" id="{59461188-4F93-06FD-869A-3B296254D1D0}"/>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22C730AE-74C5-41D6-835E-8C1B7E14CA90}"/>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7" name="Picture 2" descr="Healthwatch Oldham Survey - Share your views on COVID 19">
                  <a:extLst>
                    <a:ext uri="{FF2B5EF4-FFF2-40B4-BE49-F238E27FC236}">
                      <a16:creationId xmlns:a16="http://schemas.microsoft.com/office/drawing/2014/main" id="{0655E672-8B6C-27F8-9750-5121EE4C4A2D}"/>
                    </a:ext>
                  </a:extLst>
                </p:cNvPr>
                <p:cNvPicPr>
                  <a:picLocks noChangeAspect="1" noChangeArrowheads="1"/>
                </p:cNvPicPr>
                <p:nvPr/>
              </p:nvPicPr>
              <p:blipFill>
                <a:blip r:embed="rId1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08520" y="950382"/>
                  <a:ext cx="491067" cy="491067"/>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9" name="Picture 6">
              <a:extLst>
                <a:ext uri="{FF2B5EF4-FFF2-40B4-BE49-F238E27FC236}">
                  <a16:creationId xmlns:a16="http://schemas.microsoft.com/office/drawing/2014/main" id="{749B2B49-FFDB-7647-641E-86EEF6097F9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164559" y="3133756"/>
              <a:ext cx="958184" cy="9581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D222EC3C-747C-9211-26AE-183A7C289575}"/>
              </a:ext>
            </a:extLst>
          </p:cNvPr>
          <p:cNvGrpSpPr/>
          <p:nvPr/>
        </p:nvGrpSpPr>
        <p:grpSpPr>
          <a:xfrm>
            <a:off x="475826" y="4639474"/>
            <a:ext cx="5090231" cy="1541922"/>
            <a:chOff x="475826" y="4639474"/>
            <a:chExt cx="5090231" cy="1541922"/>
          </a:xfrm>
        </p:grpSpPr>
        <p:grpSp>
          <p:nvGrpSpPr>
            <p:cNvPr id="129" name="Group 128">
              <a:extLst>
                <a:ext uri="{FF2B5EF4-FFF2-40B4-BE49-F238E27FC236}">
                  <a16:creationId xmlns:a16="http://schemas.microsoft.com/office/drawing/2014/main" id="{6C1EB3D4-C4B9-BB5C-14E1-77C02784B128}"/>
                </a:ext>
              </a:extLst>
            </p:cNvPr>
            <p:cNvGrpSpPr/>
            <p:nvPr/>
          </p:nvGrpSpPr>
          <p:grpSpPr>
            <a:xfrm>
              <a:off x="475826" y="4639474"/>
              <a:ext cx="5090231" cy="1541922"/>
              <a:chOff x="6291922" y="1069600"/>
              <a:chExt cx="5090231" cy="1541922"/>
            </a:xfrm>
          </p:grpSpPr>
          <p:sp>
            <p:nvSpPr>
              <p:cNvPr id="78" name="Rectangle: Rounded Corners 49">
                <a:extLst>
                  <a:ext uri="{FF2B5EF4-FFF2-40B4-BE49-F238E27FC236}">
                    <a16:creationId xmlns:a16="http://schemas.microsoft.com/office/drawing/2014/main" id="{9FE3F9E7-92AE-5D5D-7809-40CB8B98B5B7}"/>
                  </a:ext>
                </a:extLst>
              </p:cNvPr>
              <p:cNvSpPr/>
              <p:nvPr/>
            </p:nvSpPr>
            <p:spPr>
              <a:xfrm>
                <a:off x="6625943" y="1069600"/>
                <a:ext cx="4756210" cy="1541922"/>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A750ECEE-FEFB-74FF-5D93-3F8AECFB13A7}"/>
                  </a:ext>
                </a:extLst>
              </p:cNvPr>
              <p:cNvSpPr/>
              <p:nvPr/>
            </p:nvSpPr>
            <p:spPr>
              <a:xfrm>
                <a:off x="7142508" y="1263395"/>
                <a:ext cx="2417290" cy="1200329"/>
              </a:xfrm>
              <a:prstGeom prst="rect">
                <a:avLst/>
              </a:prstGeom>
            </p:spPr>
            <p:txBody>
              <a:bodyPr wrap="square">
                <a:spAutoFit/>
              </a:bodyPr>
              <a:lstStyle/>
              <a:p>
                <a:pPr marL="0" lvl="1">
                  <a:defRPr/>
                </a:pPr>
                <a:r>
                  <a:rPr lang="en-US" sz="1800" err="1"/>
                  <a:t>Sensirion</a:t>
                </a:r>
                <a:r>
                  <a:rPr lang="en-US" sz="1800"/>
                  <a:t> has an extremely competitive and complete IAQ sensor portfolio.</a:t>
                </a:r>
              </a:p>
            </p:txBody>
          </p:sp>
          <p:cxnSp>
            <p:nvCxnSpPr>
              <p:cNvPr id="80" name="Straight Connector 79">
                <a:extLst>
                  <a:ext uri="{FF2B5EF4-FFF2-40B4-BE49-F238E27FC236}">
                    <a16:creationId xmlns:a16="http://schemas.microsoft.com/office/drawing/2014/main" id="{329066C4-3EC4-1084-D2CC-287EA9A02BBE}"/>
                  </a:ext>
                </a:extLst>
              </p:cNvPr>
              <p:cNvCxnSpPr>
                <a:cxnSpLocks/>
              </p:cNvCxnSpPr>
              <p:nvPr/>
            </p:nvCxnSpPr>
            <p:spPr>
              <a:xfrm>
                <a:off x="9516066" y="1223948"/>
                <a:ext cx="0" cy="118561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0EB6F3A6-0328-3EDA-90B5-5A0AE371D779}"/>
                  </a:ext>
                </a:extLst>
              </p:cNvPr>
              <p:cNvGrpSpPr/>
              <p:nvPr/>
            </p:nvGrpSpPr>
            <p:grpSpPr>
              <a:xfrm>
                <a:off x="6291922" y="1538477"/>
                <a:ext cx="640080" cy="640080"/>
                <a:chOff x="839788" y="1436818"/>
                <a:chExt cx="640080" cy="640080"/>
              </a:xfrm>
            </p:grpSpPr>
            <p:grpSp>
              <p:nvGrpSpPr>
                <p:cNvPr id="24" name="Group 23">
                  <a:extLst>
                    <a:ext uri="{FF2B5EF4-FFF2-40B4-BE49-F238E27FC236}">
                      <a16:creationId xmlns:a16="http://schemas.microsoft.com/office/drawing/2014/main" id="{7E137511-E09F-AD39-EBE1-C85A2C0BBD4A}"/>
                    </a:ext>
                  </a:extLst>
                </p:cNvPr>
                <p:cNvGrpSpPr/>
                <p:nvPr/>
              </p:nvGrpSpPr>
              <p:grpSpPr>
                <a:xfrm>
                  <a:off x="839788" y="1436818"/>
                  <a:ext cx="640080" cy="640080"/>
                  <a:chOff x="6661431" y="2189755"/>
                  <a:chExt cx="640080" cy="640080"/>
                </a:xfrm>
              </p:grpSpPr>
              <p:sp>
                <p:nvSpPr>
                  <p:cNvPr id="26" name="Oval 25">
                    <a:extLst>
                      <a:ext uri="{FF2B5EF4-FFF2-40B4-BE49-F238E27FC236}">
                        <a16:creationId xmlns:a16="http://schemas.microsoft.com/office/drawing/2014/main" id="{D4F549D4-2FBD-86C2-6E54-48BB89216A62}"/>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C79EECC9-1F77-8A7E-C632-E6B177D086B1}"/>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5" name="Graphic 24">
                  <a:extLst>
                    <a:ext uri="{FF2B5EF4-FFF2-40B4-BE49-F238E27FC236}">
                      <a16:creationId xmlns:a16="http://schemas.microsoft.com/office/drawing/2014/main" id="{E9849E5F-CC87-DB7B-61D2-61B969C6CB31}"/>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1007798" y="1604828"/>
                  <a:ext cx="304061" cy="304061"/>
                </a:xfrm>
                <a:prstGeom prst="rect">
                  <a:avLst/>
                </a:prstGeom>
              </p:spPr>
            </p:pic>
          </p:grpSp>
        </p:grpSp>
        <p:pic>
          <p:nvPicPr>
            <p:cNvPr id="12" name="Picture 11">
              <a:extLst>
                <a:ext uri="{FF2B5EF4-FFF2-40B4-BE49-F238E27FC236}">
                  <a16:creationId xmlns:a16="http://schemas.microsoft.com/office/drawing/2014/main" id="{E44F0E9F-97F4-1042-51BF-1C07B4D9610D}"/>
                </a:ext>
              </a:extLst>
            </p:cNvPr>
            <p:cNvPicPr>
              <a:picLocks noChangeAspect="1"/>
            </p:cNvPicPr>
            <p:nvPr/>
          </p:nvPicPr>
          <p:blipFill>
            <a:blip r:embed="rId21"/>
            <a:stretch>
              <a:fillRect/>
            </a:stretch>
          </p:blipFill>
          <p:spPr>
            <a:xfrm>
              <a:off x="4031706" y="4793822"/>
              <a:ext cx="1222648" cy="1284878"/>
            </a:xfrm>
            <a:prstGeom prst="rect">
              <a:avLst/>
            </a:prstGeom>
          </p:spPr>
        </p:pic>
      </p:grpSp>
      <p:pic>
        <p:nvPicPr>
          <p:cNvPr id="7" name="Picture 6">
            <a:extLst>
              <a:ext uri="{FF2B5EF4-FFF2-40B4-BE49-F238E27FC236}">
                <a16:creationId xmlns:a16="http://schemas.microsoft.com/office/drawing/2014/main" id="{85D15F02-C50B-EEC6-B77B-2C62BB527907}"/>
              </a:ext>
            </a:extLst>
          </p:cNvPr>
          <p:cNvPicPr>
            <a:picLocks noChangeAspect="1"/>
          </p:cNvPicPr>
          <p:nvPr/>
        </p:nvPicPr>
        <p:blipFill>
          <a:blip r:embed="rId22"/>
          <a:stretch>
            <a:fillRect/>
          </a:stretch>
        </p:blipFill>
        <p:spPr>
          <a:xfrm>
            <a:off x="3724801" y="1337396"/>
            <a:ext cx="1695121" cy="1006325"/>
          </a:xfrm>
          <a:prstGeom prst="rect">
            <a:avLst/>
          </a:prstGeom>
        </p:spPr>
      </p:pic>
    </p:spTree>
    <p:extLst>
      <p:ext uri="{BB962C8B-B14F-4D97-AF65-F5344CB8AC3E}">
        <p14:creationId xmlns:p14="http://schemas.microsoft.com/office/powerpoint/2010/main" val="30102159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0A903-50A8-7AC8-0FED-D02DF4BEEA1E}"/>
              </a:ext>
            </a:extLst>
          </p:cNvPr>
          <p:cNvSpPr>
            <a:spLocks noGrp="1"/>
          </p:cNvSpPr>
          <p:nvPr>
            <p:ph type="title"/>
          </p:nvPr>
        </p:nvSpPr>
        <p:spPr/>
        <p:txBody>
          <a:bodyPr/>
          <a:lstStyle/>
          <a:p>
            <a:r>
              <a:rPr lang="en-US"/>
              <a:t>Four trends </a:t>
            </a:r>
            <a:r>
              <a:rPr lang="en-US">
                <a:solidFill>
                  <a:schemeClr val="tx1"/>
                </a:solidFill>
              </a:rPr>
              <a:t>that shape </a:t>
            </a:r>
            <a:r>
              <a:rPr lang="en-US">
                <a:solidFill>
                  <a:schemeClr val="accent1"/>
                </a:solidFill>
              </a:rPr>
              <a:t>Indoor Air Quality </a:t>
            </a:r>
            <a:r>
              <a:rPr lang="en-US">
                <a:solidFill>
                  <a:schemeClr val="tx1"/>
                </a:solidFill>
              </a:rPr>
              <a:t>in 2022 and beyond</a:t>
            </a:r>
            <a:endParaRPr lang="en-US"/>
          </a:p>
        </p:txBody>
      </p:sp>
      <p:grpSp>
        <p:nvGrpSpPr>
          <p:cNvPr id="30" name="Group 29">
            <a:extLst>
              <a:ext uri="{FF2B5EF4-FFF2-40B4-BE49-F238E27FC236}">
                <a16:creationId xmlns:a16="http://schemas.microsoft.com/office/drawing/2014/main" id="{5336F121-FB18-0569-1701-B0381C931429}"/>
              </a:ext>
            </a:extLst>
          </p:cNvPr>
          <p:cNvGrpSpPr/>
          <p:nvPr/>
        </p:nvGrpSpPr>
        <p:grpSpPr>
          <a:xfrm>
            <a:off x="1044248" y="1162483"/>
            <a:ext cx="4901045" cy="2323523"/>
            <a:chOff x="1039091" y="1162483"/>
            <a:chExt cx="4901045" cy="2323523"/>
          </a:xfrm>
        </p:grpSpPr>
        <p:sp>
          <p:nvSpPr>
            <p:cNvPr id="7" name="Rectangle: Rounded Corners 49">
              <a:extLst>
                <a:ext uri="{FF2B5EF4-FFF2-40B4-BE49-F238E27FC236}">
                  <a16:creationId xmlns:a16="http://schemas.microsoft.com/office/drawing/2014/main" id="{A286F266-2753-DF72-3998-F247A1F605ED}"/>
                </a:ext>
              </a:extLst>
            </p:cNvPr>
            <p:cNvSpPr/>
            <p:nvPr/>
          </p:nvSpPr>
          <p:spPr>
            <a:xfrm>
              <a:off x="1039091" y="1162483"/>
              <a:ext cx="4901045" cy="2323523"/>
            </a:xfrm>
            <a:prstGeom prst="roundRect">
              <a:avLst>
                <a:gd name="adj" fmla="val 6238"/>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sp>
          <p:nvSpPr>
            <p:cNvPr id="21" name="Freeform: Shape 20">
              <a:extLst>
                <a:ext uri="{FF2B5EF4-FFF2-40B4-BE49-F238E27FC236}">
                  <a16:creationId xmlns:a16="http://schemas.microsoft.com/office/drawing/2014/main" id="{43DF9154-234B-81AC-E78A-085CD6E711AE}"/>
                </a:ext>
              </a:extLst>
            </p:cNvPr>
            <p:cNvSpPr/>
            <p:nvPr/>
          </p:nvSpPr>
          <p:spPr>
            <a:xfrm>
              <a:off x="4191826" y="1686653"/>
              <a:ext cx="1748310" cy="1799353"/>
            </a:xfrm>
            <a:custGeom>
              <a:avLst/>
              <a:gdLst>
                <a:gd name="connsiteX0" fmla="*/ 1748310 w 1748310"/>
                <a:gd name="connsiteY0" fmla="*/ 0 h 1799353"/>
                <a:gd name="connsiteX1" fmla="*/ 1748310 w 1748310"/>
                <a:gd name="connsiteY1" fmla="*/ 1654412 h 1799353"/>
                <a:gd name="connsiteX2" fmla="*/ 1603369 w 1748310"/>
                <a:gd name="connsiteY2" fmla="*/ 1799353 h 1799353"/>
                <a:gd name="connsiteX3" fmla="*/ 0 w 1748310"/>
                <a:gd name="connsiteY3" fmla="*/ 1799353 h 1799353"/>
                <a:gd name="connsiteX4" fmla="*/ 4702 w 1748310"/>
                <a:gd name="connsiteY4" fmla="*/ 1706241 h 1799353"/>
                <a:gd name="connsiteX5" fmla="*/ 1708956 w 1748310"/>
                <a:gd name="connsiteY5" fmla="*/ 1987 h 179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8310" h="1799353">
                  <a:moveTo>
                    <a:pt x="1748310" y="0"/>
                  </a:moveTo>
                  <a:lnTo>
                    <a:pt x="1748310" y="1654412"/>
                  </a:lnTo>
                  <a:cubicBezTo>
                    <a:pt x="1748310" y="1734461"/>
                    <a:pt x="1683418" y="1799353"/>
                    <a:pt x="1603369" y="1799353"/>
                  </a:cubicBezTo>
                  <a:lnTo>
                    <a:pt x="0" y="1799353"/>
                  </a:lnTo>
                  <a:lnTo>
                    <a:pt x="4702" y="1706241"/>
                  </a:lnTo>
                  <a:cubicBezTo>
                    <a:pt x="95960" y="807636"/>
                    <a:pt x="810351" y="93245"/>
                    <a:pt x="1708956" y="1987"/>
                  </a:cubicBezTo>
                  <a:close/>
                </a:path>
              </a:pathLst>
            </a:custGeom>
            <a:solidFill>
              <a:srgbClr val="66CC33"/>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latin typeface="+mj-lt"/>
              </a:endParaRPr>
            </a:p>
          </p:txBody>
        </p:sp>
        <p:pic>
          <p:nvPicPr>
            <p:cNvPr id="26" name="Graphic 25">
              <a:extLst>
                <a:ext uri="{FF2B5EF4-FFF2-40B4-BE49-F238E27FC236}">
                  <a16:creationId xmlns:a16="http://schemas.microsoft.com/office/drawing/2014/main" id="{43449A8A-492A-838B-BB20-BE7925BA901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28316" y="2181084"/>
              <a:ext cx="914400" cy="914400"/>
            </a:xfrm>
            <a:prstGeom prst="rect">
              <a:avLst/>
            </a:prstGeom>
          </p:spPr>
        </p:pic>
      </p:grpSp>
      <p:grpSp>
        <p:nvGrpSpPr>
          <p:cNvPr id="31" name="Group 30">
            <a:extLst>
              <a:ext uri="{FF2B5EF4-FFF2-40B4-BE49-F238E27FC236}">
                <a16:creationId xmlns:a16="http://schemas.microsoft.com/office/drawing/2014/main" id="{05491B7A-C045-6AB6-14A8-AF44291D3460}"/>
              </a:ext>
            </a:extLst>
          </p:cNvPr>
          <p:cNvGrpSpPr/>
          <p:nvPr/>
        </p:nvGrpSpPr>
        <p:grpSpPr>
          <a:xfrm>
            <a:off x="6251864" y="1162483"/>
            <a:ext cx="4901045" cy="2323523"/>
            <a:chOff x="6246707" y="1162485"/>
            <a:chExt cx="4901045" cy="2323523"/>
          </a:xfrm>
        </p:grpSpPr>
        <p:sp>
          <p:nvSpPr>
            <p:cNvPr id="11" name="Rectangle: Rounded Corners 49">
              <a:extLst>
                <a:ext uri="{FF2B5EF4-FFF2-40B4-BE49-F238E27FC236}">
                  <a16:creationId xmlns:a16="http://schemas.microsoft.com/office/drawing/2014/main" id="{E2118904-9E95-0CD0-D326-5CAD59FAB274}"/>
                </a:ext>
              </a:extLst>
            </p:cNvPr>
            <p:cNvSpPr/>
            <p:nvPr/>
          </p:nvSpPr>
          <p:spPr>
            <a:xfrm>
              <a:off x="6246707" y="1162485"/>
              <a:ext cx="4901045" cy="2323523"/>
            </a:xfrm>
            <a:prstGeom prst="roundRect">
              <a:avLst>
                <a:gd name="adj" fmla="val 6238"/>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sp>
          <p:nvSpPr>
            <p:cNvPr id="22" name="Freeform: Shape 21">
              <a:extLst>
                <a:ext uri="{FF2B5EF4-FFF2-40B4-BE49-F238E27FC236}">
                  <a16:creationId xmlns:a16="http://schemas.microsoft.com/office/drawing/2014/main" id="{F7B6448B-EF2E-7EFB-4AAE-A6FDED56BA22}"/>
                </a:ext>
              </a:extLst>
            </p:cNvPr>
            <p:cNvSpPr/>
            <p:nvPr/>
          </p:nvSpPr>
          <p:spPr>
            <a:xfrm rot="5400000">
              <a:off x="6272229" y="1712176"/>
              <a:ext cx="1748310" cy="1799353"/>
            </a:xfrm>
            <a:custGeom>
              <a:avLst/>
              <a:gdLst>
                <a:gd name="connsiteX0" fmla="*/ 1748310 w 1748310"/>
                <a:gd name="connsiteY0" fmla="*/ 0 h 1799353"/>
                <a:gd name="connsiteX1" fmla="*/ 1748310 w 1748310"/>
                <a:gd name="connsiteY1" fmla="*/ 1654412 h 1799353"/>
                <a:gd name="connsiteX2" fmla="*/ 1603369 w 1748310"/>
                <a:gd name="connsiteY2" fmla="*/ 1799353 h 1799353"/>
                <a:gd name="connsiteX3" fmla="*/ 0 w 1748310"/>
                <a:gd name="connsiteY3" fmla="*/ 1799353 h 1799353"/>
                <a:gd name="connsiteX4" fmla="*/ 4702 w 1748310"/>
                <a:gd name="connsiteY4" fmla="*/ 1706241 h 1799353"/>
                <a:gd name="connsiteX5" fmla="*/ 1708956 w 1748310"/>
                <a:gd name="connsiteY5" fmla="*/ 1987 h 179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8310" h="1799353">
                  <a:moveTo>
                    <a:pt x="1748310" y="0"/>
                  </a:moveTo>
                  <a:lnTo>
                    <a:pt x="1748310" y="1654412"/>
                  </a:lnTo>
                  <a:cubicBezTo>
                    <a:pt x="1748310" y="1734461"/>
                    <a:pt x="1683418" y="1799353"/>
                    <a:pt x="1603369" y="1799353"/>
                  </a:cubicBezTo>
                  <a:lnTo>
                    <a:pt x="0" y="1799353"/>
                  </a:lnTo>
                  <a:lnTo>
                    <a:pt x="4702" y="1706241"/>
                  </a:lnTo>
                  <a:cubicBezTo>
                    <a:pt x="95960" y="807636"/>
                    <a:pt x="810351" y="93245"/>
                    <a:pt x="1708956" y="1987"/>
                  </a:cubicBezTo>
                  <a:close/>
                </a:path>
              </a:pathLst>
            </a:custGeom>
            <a:solidFill>
              <a:srgbClr val="66CC33"/>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latin typeface="+mj-lt"/>
              </a:endParaRPr>
            </a:p>
          </p:txBody>
        </p:sp>
        <p:pic>
          <p:nvPicPr>
            <p:cNvPr id="27" name="Graphic 26">
              <a:extLst>
                <a:ext uri="{FF2B5EF4-FFF2-40B4-BE49-F238E27FC236}">
                  <a16:creationId xmlns:a16="http://schemas.microsoft.com/office/drawing/2014/main" id="{8828C5E9-2FED-A1E4-F7E6-86B89A5F192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453719" y="2187400"/>
              <a:ext cx="914400" cy="914400"/>
            </a:xfrm>
            <a:prstGeom prst="rect">
              <a:avLst/>
            </a:prstGeom>
          </p:spPr>
        </p:pic>
      </p:grpSp>
      <p:grpSp>
        <p:nvGrpSpPr>
          <p:cNvPr id="33" name="Group 32">
            <a:extLst>
              <a:ext uri="{FF2B5EF4-FFF2-40B4-BE49-F238E27FC236}">
                <a16:creationId xmlns:a16="http://schemas.microsoft.com/office/drawing/2014/main" id="{09111A50-0220-F3D0-EC3B-6A60F8DACE1E}"/>
              </a:ext>
            </a:extLst>
          </p:cNvPr>
          <p:cNvGrpSpPr/>
          <p:nvPr/>
        </p:nvGrpSpPr>
        <p:grpSpPr>
          <a:xfrm>
            <a:off x="1044248" y="3690215"/>
            <a:ext cx="4901045" cy="2323523"/>
            <a:chOff x="1039091" y="3690216"/>
            <a:chExt cx="4901045" cy="2323523"/>
          </a:xfrm>
        </p:grpSpPr>
        <p:sp>
          <p:nvSpPr>
            <p:cNvPr id="9" name="Rectangle: Rounded Corners 49">
              <a:extLst>
                <a:ext uri="{FF2B5EF4-FFF2-40B4-BE49-F238E27FC236}">
                  <a16:creationId xmlns:a16="http://schemas.microsoft.com/office/drawing/2014/main" id="{407A5E81-55B3-DA43-56E8-259504CE43C0}"/>
                </a:ext>
              </a:extLst>
            </p:cNvPr>
            <p:cNvSpPr/>
            <p:nvPr/>
          </p:nvSpPr>
          <p:spPr>
            <a:xfrm>
              <a:off x="1039091" y="3690216"/>
              <a:ext cx="4901045" cy="2323523"/>
            </a:xfrm>
            <a:prstGeom prst="roundRect">
              <a:avLst>
                <a:gd name="adj" fmla="val 6238"/>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sp>
          <p:nvSpPr>
            <p:cNvPr id="23" name="Freeform: Shape 22">
              <a:extLst>
                <a:ext uri="{FF2B5EF4-FFF2-40B4-BE49-F238E27FC236}">
                  <a16:creationId xmlns:a16="http://schemas.microsoft.com/office/drawing/2014/main" id="{CA934D44-F8AD-4C6C-8B56-226CA4467782}"/>
                </a:ext>
              </a:extLst>
            </p:cNvPr>
            <p:cNvSpPr/>
            <p:nvPr/>
          </p:nvSpPr>
          <p:spPr>
            <a:xfrm flipV="1">
              <a:off x="4191826" y="3690216"/>
              <a:ext cx="1748310" cy="1799353"/>
            </a:xfrm>
            <a:custGeom>
              <a:avLst/>
              <a:gdLst>
                <a:gd name="connsiteX0" fmla="*/ 1748310 w 1748310"/>
                <a:gd name="connsiteY0" fmla="*/ 0 h 1799353"/>
                <a:gd name="connsiteX1" fmla="*/ 1748310 w 1748310"/>
                <a:gd name="connsiteY1" fmla="*/ 1654412 h 1799353"/>
                <a:gd name="connsiteX2" fmla="*/ 1603369 w 1748310"/>
                <a:gd name="connsiteY2" fmla="*/ 1799353 h 1799353"/>
                <a:gd name="connsiteX3" fmla="*/ 0 w 1748310"/>
                <a:gd name="connsiteY3" fmla="*/ 1799353 h 1799353"/>
                <a:gd name="connsiteX4" fmla="*/ 4702 w 1748310"/>
                <a:gd name="connsiteY4" fmla="*/ 1706241 h 1799353"/>
                <a:gd name="connsiteX5" fmla="*/ 1708956 w 1748310"/>
                <a:gd name="connsiteY5" fmla="*/ 1987 h 179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8310" h="1799353">
                  <a:moveTo>
                    <a:pt x="1748310" y="0"/>
                  </a:moveTo>
                  <a:lnTo>
                    <a:pt x="1748310" y="1654412"/>
                  </a:lnTo>
                  <a:cubicBezTo>
                    <a:pt x="1748310" y="1734461"/>
                    <a:pt x="1683418" y="1799353"/>
                    <a:pt x="1603369" y="1799353"/>
                  </a:cubicBezTo>
                  <a:lnTo>
                    <a:pt x="0" y="1799353"/>
                  </a:lnTo>
                  <a:lnTo>
                    <a:pt x="4702" y="1706241"/>
                  </a:lnTo>
                  <a:cubicBezTo>
                    <a:pt x="95960" y="807636"/>
                    <a:pt x="810351" y="93245"/>
                    <a:pt x="1708956" y="1987"/>
                  </a:cubicBezTo>
                  <a:close/>
                </a:path>
              </a:pathLst>
            </a:custGeom>
            <a:solidFill>
              <a:srgbClr val="66CC33"/>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latin typeface="+mj-lt"/>
              </a:endParaRPr>
            </a:p>
          </p:txBody>
        </p:sp>
        <p:pic>
          <p:nvPicPr>
            <p:cNvPr id="28" name="Graphic 27">
              <a:extLst>
                <a:ext uri="{FF2B5EF4-FFF2-40B4-BE49-F238E27FC236}">
                  <a16:creationId xmlns:a16="http://schemas.microsoft.com/office/drawing/2014/main" id="{5CA9BC81-D96C-8778-9BB4-9322E0D1FC8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728316" y="3859086"/>
              <a:ext cx="914400" cy="914400"/>
            </a:xfrm>
            <a:prstGeom prst="rect">
              <a:avLst/>
            </a:prstGeom>
          </p:spPr>
        </p:pic>
      </p:grpSp>
      <p:grpSp>
        <p:nvGrpSpPr>
          <p:cNvPr id="32" name="Group 31">
            <a:extLst>
              <a:ext uri="{FF2B5EF4-FFF2-40B4-BE49-F238E27FC236}">
                <a16:creationId xmlns:a16="http://schemas.microsoft.com/office/drawing/2014/main" id="{2B705EED-33BC-205D-5FDA-8A72437E58A3}"/>
              </a:ext>
            </a:extLst>
          </p:cNvPr>
          <p:cNvGrpSpPr/>
          <p:nvPr/>
        </p:nvGrpSpPr>
        <p:grpSpPr>
          <a:xfrm>
            <a:off x="6251864" y="3690215"/>
            <a:ext cx="4901045" cy="2323523"/>
            <a:chOff x="6251864" y="3690215"/>
            <a:chExt cx="4901045" cy="2323523"/>
          </a:xfrm>
        </p:grpSpPr>
        <p:sp>
          <p:nvSpPr>
            <p:cNvPr id="12" name="Rectangle: Rounded Corners 49">
              <a:extLst>
                <a:ext uri="{FF2B5EF4-FFF2-40B4-BE49-F238E27FC236}">
                  <a16:creationId xmlns:a16="http://schemas.microsoft.com/office/drawing/2014/main" id="{456E114C-79B4-1551-2B18-B8BB8B82933E}"/>
                </a:ext>
              </a:extLst>
            </p:cNvPr>
            <p:cNvSpPr/>
            <p:nvPr/>
          </p:nvSpPr>
          <p:spPr>
            <a:xfrm>
              <a:off x="6251864" y="3690215"/>
              <a:ext cx="4901045" cy="2323523"/>
            </a:xfrm>
            <a:prstGeom prst="roundRect">
              <a:avLst>
                <a:gd name="adj" fmla="val 6238"/>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sp>
          <p:nvSpPr>
            <p:cNvPr id="24" name="Freeform: Shape 23">
              <a:extLst>
                <a:ext uri="{FF2B5EF4-FFF2-40B4-BE49-F238E27FC236}">
                  <a16:creationId xmlns:a16="http://schemas.microsoft.com/office/drawing/2014/main" id="{ADE175F3-176D-6D79-9A34-9090B7C62535}"/>
                </a:ext>
              </a:extLst>
            </p:cNvPr>
            <p:cNvSpPr/>
            <p:nvPr/>
          </p:nvSpPr>
          <p:spPr>
            <a:xfrm rot="16200000" flipV="1">
              <a:off x="6277386" y="3664694"/>
              <a:ext cx="1748310" cy="1799353"/>
            </a:xfrm>
            <a:custGeom>
              <a:avLst/>
              <a:gdLst>
                <a:gd name="connsiteX0" fmla="*/ 1748310 w 1748310"/>
                <a:gd name="connsiteY0" fmla="*/ 0 h 1799353"/>
                <a:gd name="connsiteX1" fmla="*/ 1748310 w 1748310"/>
                <a:gd name="connsiteY1" fmla="*/ 1654412 h 1799353"/>
                <a:gd name="connsiteX2" fmla="*/ 1603369 w 1748310"/>
                <a:gd name="connsiteY2" fmla="*/ 1799353 h 1799353"/>
                <a:gd name="connsiteX3" fmla="*/ 0 w 1748310"/>
                <a:gd name="connsiteY3" fmla="*/ 1799353 h 1799353"/>
                <a:gd name="connsiteX4" fmla="*/ 4702 w 1748310"/>
                <a:gd name="connsiteY4" fmla="*/ 1706241 h 1799353"/>
                <a:gd name="connsiteX5" fmla="*/ 1708956 w 1748310"/>
                <a:gd name="connsiteY5" fmla="*/ 1987 h 179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8310" h="1799353">
                  <a:moveTo>
                    <a:pt x="1748310" y="0"/>
                  </a:moveTo>
                  <a:lnTo>
                    <a:pt x="1748310" y="1654412"/>
                  </a:lnTo>
                  <a:cubicBezTo>
                    <a:pt x="1748310" y="1734461"/>
                    <a:pt x="1683418" y="1799353"/>
                    <a:pt x="1603369" y="1799353"/>
                  </a:cubicBezTo>
                  <a:lnTo>
                    <a:pt x="0" y="1799353"/>
                  </a:lnTo>
                  <a:lnTo>
                    <a:pt x="4702" y="1706241"/>
                  </a:lnTo>
                  <a:cubicBezTo>
                    <a:pt x="95960" y="807636"/>
                    <a:pt x="810351" y="93245"/>
                    <a:pt x="1708956" y="1987"/>
                  </a:cubicBezTo>
                  <a:close/>
                </a:path>
              </a:pathLst>
            </a:custGeom>
            <a:solidFill>
              <a:srgbClr val="66CC33"/>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latin typeface="+mj-lt"/>
              </a:endParaRPr>
            </a:p>
          </p:txBody>
        </p:sp>
        <p:pic>
          <p:nvPicPr>
            <p:cNvPr id="29" name="Graphic 28">
              <a:extLst>
                <a:ext uri="{FF2B5EF4-FFF2-40B4-BE49-F238E27FC236}">
                  <a16:creationId xmlns:a16="http://schemas.microsoft.com/office/drawing/2014/main" id="{2E61289C-D4C1-1B41-F9C7-7A7A52771B5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453719" y="3865402"/>
              <a:ext cx="914400" cy="914400"/>
            </a:xfrm>
            <a:prstGeom prst="rect">
              <a:avLst/>
            </a:prstGeom>
          </p:spPr>
        </p:pic>
      </p:grpSp>
      <p:sp>
        <p:nvSpPr>
          <p:cNvPr id="34" name="Content Placeholder 2">
            <a:extLst>
              <a:ext uri="{FF2B5EF4-FFF2-40B4-BE49-F238E27FC236}">
                <a16:creationId xmlns:a16="http://schemas.microsoft.com/office/drawing/2014/main" id="{91112756-A9DB-C843-FAF1-F792F58DF5E7}"/>
              </a:ext>
            </a:extLst>
          </p:cNvPr>
          <p:cNvSpPr txBox="1">
            <a:spLocks/>
          </p:cNvSpPr>
          <p:nvPr/>
        </p:nvSpPr>
        <p:spPr>
          <a:xfrm>
            <a:off x="1449080" y="1537344"/>
            <a:ext cx="3416051" cy="914401"/>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a:solidFill>
                  <a:schemeClr val="accent1"/>
                </a:solidFill>
              </a:rPr>
              <a:t>Public Awareness </a:t>
            </a:r>
            <a:r>
              <a:rPr lang="en-US" sz="2400"/>
              <a:t>is skyrocketing</a:t>
            </a:r>
            <a:endParaRPr lang="en-US" sz="2400" b="1"/>
          </a:p>
        </p:txBody>
      </p:sp>
      <p:sp>
        <p:nvSpPr>
          <p:cNvPr id="35" name="Content Placeholder 2">
            <a:extLst>
              <a:ext uri="{FF2B5EF4-FFF2-40B4-BE49-F238E27FC236}">
                <a16:creationId xmlns:a16="http://schemas.microsoft.com/office/drawing/2014/main" id="{225662C5-1C01-EF51-1AAB-F2EC589D69CC}"/>
              </a:ext>
            </a:extLst>
          </p:cNvPr>
          <p:cNvSpPr txBox="1">
            <a:spLocks/>
          </p:cNvSpPr>
          <p:nvPr/>
        </p:nvSpPr>
        <p:spPr>
          <a:xfrm>
            <a:off x="1449080" y="4991700"/>
            <a:ext cx="3416051" cy="914401"/>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a:solidFill>
                  <a:schemeClr val="accent4"/>
                </a:solidFill>
              </a:rPr>
              <a:t>Corporates</a:t>
            </a:r>
            <a:r>
              <a:rPr lang="en-US" sz="2400"/>
              <a:t> realize the economics of IAQ</a:t>
            </a:r>
            <a:endParaRPr lang="en-US" sz="2400" b="1">
              <a:solidFill>
                <a:schemeClr val="accent1"/>
              </a:solidFill>
            </a:endParaRPr>
          </a:p>
        </p:txBody>
      </p:sp>
      <p:sp>
        <p:nvSpPr>
          <p:cNvPr id="36" name="Content Placeholder 2">
            <a:extLst>
              <a:ext uri="{FF2B5EF4-FFF2-40B4-BE49-F238E27FC236}">
                <a16:creationId xmlns:a16="http://schemas.microsoft.com/office/drawing/2014/main" id="{52BBF9C9-13BE-22E2-2112-42B8EBA94AE1}"/>
              </a:ext>
            </a:extLst>
          </p:cNvPr>
          <p:cNvSpPr txBox="1">
            <a:spLocks/>
          </p:cNvSpPr>
          <p:nvPr/>
        </p:nvSpPr>
        <p:spPr>
          <a:xfrm>
            <a:off x="7938656" y="1537344"/>
            <a:ext cx="2928956" cy="914401"/>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400" b="1">
                <a:solidFill>
                  <a:schemeClr val="accent1"/>
                </a:solidFill>
              </a:rPr>
              <a:t>Governments </a:t>
            </a:r>
            <a:r>
              <a:rPr lang="en-US" sz="2400"/>
              <a:t>become active IAQ-players</a:t>
            </a:r>
          </a:p>
        </p:txBody>
      </p:sp>
      <p:sp>
        <p:nvSpPr>
          <p:cNvPr id="37" name="Content Placeholder 2">
            <a:extLst>
              <a:ext uri="{FF2B5EF4-FFF2-40B4-BE49-F238E27FC236}">
                <a16:creationId xmlns:a16="http://schemas.microsoft.com/office/drawing/2014/main" id="{83AD1E6E-F845-7301-76FB-9E95F6B293FA}"/>
              </a:ext>
            </a:extLst>
          </p:cNvPr>
          <p:cNvSpPr txBox="1">
            <a:spLocks/>
          </p:cNvSpPr>
          <p:nvPr/>
        </p:nvSpPr>
        <p:spPr>
          <a:xfrm>
            <a:off x="7938656" y="4991700"/>
            <a:ext cx="2928956" cy="914401"/>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400" b="1">
                <a:solidFill>
                  <a:schemeClr val="accent1"/>
                </a:solidFill>
              </a:rPr>
              <a:t>Climate Change </a:t>
            </a:r>
            <a:r>
              <a:rPr lang="en-US" sz="2400"/>
              <a:t>affects IAQ and vice-versa</a:t>
            </a:r>
          </a:p>
        </p:txBody>
      </p:sp>
      <p:sp>
        <p:nvSpPr>
          <p:cNvPr id="5" name="Rectangle 4">
            <a:extLst>
              <a:ext uri="{FF2B5EF4-FFF2-40B4-BE49-F238E27FC236}">
                <a16:creationId xmlns:a16="http://schemas.microsoft.com/office/drawing/2014/main" id="{9C715D38-C7CE-F5BF-A49A-AC6AFD31EC04}"/>
              </a:ext>
            </a:extLst>
          </p:cNvPr>
          <p:cNvSpPr/>
          <p:nvPr/>
        </p:nvSpPr>
        <p:spPr>
          <a:xfrm>
            <a:off x="5636871" y="6389225"/>
            <a:ext cx="763929" cy="23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5664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42B6833-66D5-C968-1A0C-6D5ADA8469F3}"/>
              </a:ext>
            </a:extLst>
          </p:cNvPr>
          <p:cNvSpPr/>
          <p:nvPr/>
        </p:nvSpPr>
        <p:spPr>
          <a:xfrm>
            <a:off x="683581" y="6527875"/>
            <a:ext cx="11508419" cy="5896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E19EB15-9FD1-9D0B-355F-069ACF66E7FE}"/>
              </a:ext>
            </a:extLst>
          </p:cNvPr>
          <p:cNvPicPr>
            <a:picLocks noChangeAspect="1"/>
          </p:cNvPicPr>
          <p:nvPr/>
        </p:nvPicPr>
        <p:blipFill rotWithShape="1">
          <a:blip r:embed="rId2"/>
          <a:srcRect l="10907"/>
          <a:stretch/>
        </p:blipFill>
        <p:spPr>
          <a:xfrm>
            <a:off x="-3" y="3983826"/>
            <a:ext cx="4074140" cy="3156001"/>
          </a:xfrm>
          <a:prstGeom prst="rect">
            <a:avLst/>
          </a:prstGeom>
        </p:spPr>
      </p:pic>
      <p:sp>
        <p:nvSpPr>
          <p:cNvPr id="4" name="Slide Number Placeholder 3">
            <a:extLst>
              <a:ext uri="{FF2B5EF4-FFF2-40B4-BE49-F238E27FC236}">
                <a16:creationId xmlns:a16="http://schemas.microsoft.com/office/drawing/2014/main" id="{D6E1D9D0-D84D-E3B7-2A67-27F5F9A7D30A}"/>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27</a:t>
            </a:fld>
            <a:endParaRPr lang="de-CH"/>
          </a:p>
        </p:txBody>
      </p:sp>
      <p:pic>
        <p:nvPicPr>
          <p:cNvPr id="15" name="Content Placeholder 5" descr="A picture containing wall, standing, person&#10;&#10;Description automatically generated">
            <a:extLst>
              <a:ext uri="{FF2B5EF4-FFF2-40B4-BE49-F238E27FC236}">
                <a16:creationId xmlns:a16="http://schemas.microsoft.com/office/drawing/2014/main" id="{CB2A7ADB-FB50-F375-6BDB-D249D018824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t="11787" r="27862" b="11770"/>
          <a:stretch/>
        </p:blipFill>
        <p:spPr>
          <a:xfrm>
            <a:off x="21" y="0"/>
            <a:ext cx="4074139" cy="2890306"/>
          </a:xfrm>
          <a:prstGeom prst="rect">
            <a:avLst/>
          </a:prstGeom>
          <a:noFill/>
        </p:spPr>
      </p:pic>
      <p:pic>
        <p:nvPicPr>
          <p:cNvPr id="36" name="Content Placeholder 5" descr="A person sitting at a desk&#10;&#10;Description automatically generated with low confidence">
            <a:extLst>
              <a:ext uri="{FF2B5EF4-FFF2-40B4-BE49-F238E27FC236}">
                <a16:creationId xmlns:a16="http://schemas.microsoft.com/office/drawing/2014/main" id="{F2684F70-DA07-C5DF-DB76-D2E83251E225}"/>
              </a:ext>
            </a:extLst>
          </p:cNvPr>
          <p:cNvPicPr>
            <a:picLocks noGrp="1" noChangeAspect="1"/>
          </p:cNvPicPr>
          <p:nvPr>
            <p:ph idx="1"/>
          </p:nvPr>
        </p:nvPicPr>
        <p:blipFill rotWithShape="1">
          <a:blip r:embed="rId4" cstate="print">
            <a:extLst>
              <a:ext uri="{28A0092B-C50C-407E-A947-70E740481C1C}">
                <a14:useLocalDpi xmlns:a14="http://schemas.microsoft.com/office/drawing/2010/main" val="0"/>
              </a:ext>
            </a:extLst>
          </a:blip>
          <a:srcRect t="1998" r="18662" b="4283"/>
          <a:stretch/>
        </p:blipFill>
        <p:spPr>
          <a:xfrm>
            <a:off x="8117862" y="3983826"/>
            <a:ext cx="4074138" cy="3134414"/>
          </a:xfrm>
        </p:spPr>
      </p:pic>
      <p:pic>
        <p:nvPicPr>
          <p:cNvPr id="49" name="Picture 48" descr="A picture containing indoor, floor, several&#10;&#10;Description automatically generated">
            <a:extLst>
              <a:ext uri="{FF2B5EF4-FFF2-40B4-BE49-F238E27FC236}">
                <a16:creationId xmlns:a16="http://schemas.microsoft.com/office/drawing/2014/main" id="{0B8725D3-CFA7-A296-1BF2-4B4DEA1DAEB7}"/>
              </a:ext>
            </a:extLst>
          </p:cNvPr>
          <p:cNvPicPr>
            <a:picLocks noChangeAspect="1"/>
          </p:cNvPicPr>
          <p:nvPr/>
        </p:nvPicPr>
        <p:blipFill rotWithShape="1">
          <a:blip r:embed="rId5">
            <a:extLst>
              <a:ext uri="{28A0092B-C50C-407E-A947-70E740481C1C}">
                <a14:useLocalDpi xmlns:a14="http://schemas.microsoft.com/office/drawing/2010/main" val="0"/>
              </a:ext>
            </a:extLst>
          </a:blip>
          <a:srcRect l="35704"/>
          <a:stretch/>
        </p:blipFill>
        <p:spPr>
          <a:xfrm>
            <a:off x="4074138" y="3973717"/>
            <a:ext cx="4058379" cy="3156001"/>
          </a:xfrm>
          <a:prstGeom prst="rect">
            <a:avLst/>
          </a:prstGeom>
        </p:spPr>
      </p:pic>
      <p:grpSp>
        <p:nvGrpSpPr>
          <p:cNvPr id="6" name="Group 5">
            <a:extLst>
              <a:ext uri="{FF2B5EF4-FFF2-40B4-BE49-F238E27FC236}">
                <a16:creationId xmlns:a16="http://schemas.microsoft.com/office/drawing/2014/main" id="{9197C8B6-C85B-EF78-477F-6121F1A4E65B}"/>
              </a:ext>
            </a:extLst>
          </p:cNvPr>
          <p:cNvGrpSpPr/>
          <p:nvPr/>
        </p:nvGrpSpPr>
        <p:grpSpPr>
          <a:xfrm>
            <a:off x="4074138" y="-174"/>
            <a:ext cx="4058871" cy="2895335"/>
            <a:chOff x="4073646" y="184150"/>
            <a:chExt cx="4058871" cy="2895335"/>
          </a:xfrm>
        </p:grpSpPr>
        <p:pic>
          <p:nvPicPr>
            <p:cNvPr id="5" name="Picture 4">
              <a:extLst>
                <a:ext uri="{FF2B5EF4-FFF2-40B4-BE49-F238E27FC236}">
                  <a16:creationId xmlns:a16="http://schemas.microsoft.com/office/drawing/2014/main" id="{C1E34324-C250-B8CF-5E72-40EAC0549666}"/>
                </a:ext>
              </a:extLst>
            </p:cNvPr>
            <p:cNvPicPr>
              <a:picLocks noChangeAspect="1"/>
            </p:cNvPicPr>
            <p:nvPr/>
          </p:nvPicPr>
          <p:blipFill>
            <a:blip r:embed="rId6"/>
            <a:stretch>
              <a:fillRect/>
            </a:stretch>
          </p:blipFill>
          <p:spPr>
            <a:xfrm>
              <a:off x="4073646" y="184150"/>
              <a:ext cx="4058871" cy="1665564"/>
            </a:xfrm>
            <a:prstGeom prst="rect">
              <a:avLst/>
            </a:prstGeom>
          </p:spPr>
        </p:pic>
        <p:pic>
          <p:nvPicPr>
            <p:cNvPr id="1026" name="Picture 2" descr="New Technologies for Energy Saving in Building - The Constructor">
              <a:extLst>
                <a:ext uri="{FF2B5EF4-FFF2-40B4-BE49-F238E27FC236}">
                  <a16:creationId xmlns:a16="http://schemas.microsoft.com/office/drawing/2014/main" id="{42F952D0-A23F-ACCD-36CF-1EBB2313B06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1311"/>
            <a:stretch/>
          </p:blipFill>
          <p:spPr bwMode="auto">
            <a:xfrm>
              <a:off x="4074138" y="451628"/>
              <a:ext cx="4043704" cy="2627857"/>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23" descr="A close-up of a gavel&#10;&#10;Description automatically generated with low confidence">
            <a:extLst>
              <a:ext uri="{FF2B5EF4-FFF2-40B4-BE49-F238E27FC236}">
                <a16:creationId xmlns:a16="http://schemas.microsoft.com/office/drawing/2014/main" id="{BAAC1AA2-3401-BD16-D167-28B2DB049C7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18726" r="23745"/>
          <a:stretch/>
        </p:blipFill>
        <p:spPr>
          <a:xfrm>
            <a:off x="8117862" y="0"/>
            <a:ext cx="4074138" cy="2895161"/>
          </a:xfrm>
          <a:prstGeom prst="rect">
            <a:avLst/>
          </a:prstGeom>
        </p:spPr>
      </p:pic>
      <p:sp>
        <p:nvSpPr>
          <p:cNvPr id="8" name="Rectangle 7">
            <a:extLst>
              <a:ext uri="{FF2B5EF4-FFF2-40B4-BE49-F238E27FC236}">
                <a16:creationId xmlns:a16="http://schemas.microsoft.com/office/drawing/2014/main" id="{507EB954-4063-8A55-CADA-87A4890C22DB}"/>
              </a:ext>
            </a:extLst>
          </p:cNvPr>
          <p:cNvSpPr/>
          <p:nvPr/>
        </p:nvSpPr>
        <p:spPr>
          <a:xfrm>
            <a:off x="7327" y="-174"/>
            <a:ext cx="12192000" cy="2895335"/>
          </a:xfrm>
          <a:prstGeom prst="rect">
            <a:avLst/>
          </a:prstGeom>
          <a:solidFill>
            <a:schemeClr val="bg1">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Rectangle 8">
            <a:extLst>
              <a:ext uri="{FF2B5EF4-FFF2-40B4-BE49-F238E27FC236}">
                <a16:creationId xmlns:a16="http://schemas.microsoft.com/office/drawing/2014/main" id="{65809B16-F4FD-0019-69FF-8FFF98B08EEB}"/>
              </a:ext>
            </a:extLst>
          </p:cNvPr>
          <p:cNvSpPr/>
          <p:nvPr/>
        </p:nvSpPr>
        <p:spPr>
          <a:xfrm>
            <a:off x="7327" y="3908745"/>
            <a:ext cx="12192000" cy="3231082"/>
          </a:xfrm>
          <a:prstGeom prst="rect">
            <a:avLst/>
          </a:prstGeom>
          <a:solidFill>
            <a:schemeClr val="bg1">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0" name="Rectangle 49">
            <a:extLst>
              <a:ext uri="{FF2B5EF4-FFF2-40B4-BE49-F238E27FC236}">
                <a16:creationId xmlns:a16="http://schemas.microsoft.com/office/drawing/2014/main" id="{2A3498D6-2678-2DFE-F6DB-422196495260}"/>
              </a:ext>
            </a:extLst>
          </p:cNvPr>
          <p:cNvSpPr/>
          <p:nvPr/>
        </p:nvSpPr>
        <p:spPr>
          <a:xfrm>
            <a:off x="333594" y="68741"/>
            <a:ext cx="3342233" cy="36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Segoe UI" panose="020B0502040204020203" pitchFamily="34" charset="0"/>
                <a:cs typeface="Segoe UI" panose="020B0502040204020203" pitchFamily="34" charset="0"/>
              </a:rPr>
              <a:t>Reduce airborne transmission</a:t>
            </a:r>
          </a:p>
        </p:txBody>
      </p:sp>
      <p:sp>
        <p:nvSpPr>
          <p:cNvPr id="65" name="Rectangle 64">
            <a:extLst>
              <a:ext uri="{FF2B5EF4-FFF2-40B4-BE49-F238E27FC236}">
                <a16:creationId xmlns:a16="http://schemas.microsoft.com/office/drawing/2014/main" id="{98730F36-5578-94AE-5415-4B34A0898CD4}"/>
              </a:ext>
            </a:extLst>
          </p:cNvPr>
          <p:cNvSpPr/>
          <p:nvPr/>
        </p:nvSpPr>
        <p:spPr>
          <a:xfrm>
            <a:off x="8286904" y="68741"/>
            <a:ext cx="3721283" cy="36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Segoe UI" panose="020B0502040204020203" pitchFamily="34" charset="0"/>
                <a:cs typeface="Segoe UI" panose="020B0502040204020203" pitchFamily="34" charset="0"/>
              </a:rPr>
              <a:t>Comply w/ governmental regulation</a:t>
            </a:r>
          </a:p>
        </p:txBody>
      </p:sp>
      <p:sp>
        <p:nvSpPr>
          <p:cNvPr id="67" name="Rectangle 66">
            <a:extLst>
              <a:ext uri="{FF2B5EF4-FFF2-40B4-BE49-F238E27FC236}">
                <a16:creationId xmlns:a16="http://schemas.microsoft.com/office/drawing/2014/main" id="{7A340B8B-E1EB-EDFC-B56A-A3B232DA57DA}"/>
              </a:ext>
            </a:extLst>
          </p:cNvPr>
          <p:cNvSpPr/>
          <p:nvPr/>
        </p:nvSpPr>
        <p:spPr>
          <a:xfrm>
            <a:off x="8693881" y="4093150"/>
            <a:ext cx="3212706" cy="36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Segoe UI" panose="020B0502040204020203" pitchFamily="34" charset="0"/>
                <a:cs typeface="Segoe UI" panose="020B0502040204020203" pitchFamily="34" charset="0"/>
              </a:rPr>
              <a:t>Boost comfort / well-being</a:t>
            </a:r>
          </a:p>
        </p:txBody>
      </p:sp>
      <p:sp>
        <p:nvSpPr>
          <p:cNvPr id="68" name="Rectangle 67">
            <a:extLst>
              <a:ext uri="{FF2B5EF4-FFF2-40B4-BE49-F238E27FC236}">
                <a16:creationId xmlns:a16="http://schemas.microsoft.com/office/drawing/2014/main" id="{39C0A714-7003-F0F1-78AD-131A4FEF5499}"/>
              </a:ext>
            </a:extLst>
          </p:cNvPr>
          <p:cNvSpPr/>
          <p:nvPr/>
        </p:nvSpPr>
        <p:spPr>
          <a:xfrm>
            <a:off x="4565517" y="4074100"/>
            <a:ext cx="3083239" cy="36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Segoe UI" panose="020B0502040204020203" pitchFamily="34" charset="0"/>
                <a:cs typeface="Segoe UI" panose="020B0502040204020203" pitchFamily="34" charset="0"/>
              </a:rPr>
              <a:t>Healthy building standards</a:t>
            </a:r>
          </a:p>
        </p:txBody>
      </p:sp>
      <p:sp>
        <p:nvSpPr>
          <p:cNvPr id="69" name="Rectangle 68">
            <a:extLst>
              <a:ext uri="{FF2B5EF4-FFF2-40B4-BE49-F238E27FC236}">
                <a16:creationId xmlns:a16="http://schemas.microsoft.com/office/drawing/2014/main" id="{58F987B1-BEC4-CBD3-0792-30215BF8F181}"/>
              </a:ext>
            </a:extLst>
          </p:cNvPr>
          <p:cNvSpPr/>
          <p:nvPr/>
        </p:nvSpPr>
        <p:spPr>
          <a:xfrm>
            <a:off x="671243" y="4055050"/>
            <a:ext cx="2778226" cy="36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Segoe UI" panose="020B0502040204020203" pitchFamily="34" charset="0"/>
                <a:cs typeface="Segoe UI" panose="020B0502040204020203" pitchFamily="34" charset="0"/>
              </a:rPr>
              <a:t>People presence / density </a:t>
            </a:r>
          </a:p>
        </p:txBody>
      </p:sp>
      <p:sp>
        <p:nvSpPr>
          <p:cNvPr id="59" name="Rectangle 58">
            <a:extLst>
              <a:ext uri="{FF2B5EF4-FFF2-40B4-BE49-F238E27FC236}">
                <a16:creationId xmlns:a16="http://schemas.microsoft.com/office/drawing/2014/main" id="{5D33B783-3AEB-43F1-15BA-53A313A22C26}"/>
              </a:ext>
            </a:extLst>
          </p:cNvPr>
          <p:cNvSpPr/>
          <p:nvPr/>
        </p:nvSpPr>
        <p:spPr>
          <a:xfrm>
            <a:off x="4587105" y="68741"/>
            <a:ext cx="2835699" cy="36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Segoe UI" panose="020B0502040204020203" pitchFamily="34" charset="0"/>
                <a:cs typeface="Segoe UI" panose="020B0502040204020203" pitchFamily="34" charset="0"/>
              </a:rPr>
              <a:t>Boost energy efficiency</a:t>
            </a:r>
          </a:p>
        </p:txBody>
      </p:sp>
      <p:sp>
        <p:nvSpPr>
          <p:cNvPr id="2" name="Title 1">
            <a:extLst>
              <a:ext uri="{FF2B5EF4-FFF2-40B4-BE49-F238E27FC236}">
                <a16:creationId xmlns:a16="http://schemas.microsoft.com/office/drawing/2014/main" id="{531FE0FF-840C-06F2-9C64-A42733C32D97}"/>
              </a:ext>
            </a:extLst>
          </p:cNvPr>
          <p:cNvSpPr>
            <a:spLocks noGrp="1"/>
          </p:cNvSpPr>
          <p:nvPr>
            <p:ph type="title"/>
          </p:nvPr>
        </p:nvSpPr>
        <p:spPr>
          <a:xfrm>
            <a:off x="1176867" y="3157784"/>
            <a:ext cx="8522993" cy="505939"/>
          </a:xfrm>
        </p:spPr>
        <p:txBody>
          <a:bodyPr/>
          <a:lstStyle/>
          <a:p>
            <a:r>
              <a:rPr lang="en-US">
                <a:solidFill>
                  <a:schemeClr val="accent1"/>
                </a:solidFill>
              </a:rPr>
              <a:t>Six business opportunities </a:t>
            </a:r>
            <a:r>
              <a:rPr lang="en-US">
                <a:solidFill>
                  <a:schemeClr val="tx2"/>
                </a:solidFill>
              </a:rPr>
              <a:t>for measuring Indoor Air Quality</a:t>
            </a:r>
            <a:endParaRPr lang="en-US">
              <a:solidFill>
                <a:schemeClr val="accent1"/>
              </a:solidFill>
            </a:endParaRPr>
          </a:p>
        </p:txBody>
      </p:sp>
    </p:spTree>
    <p:extLst>
      <p:ext uri="{BB962C8B-B14F-4D97-AF65-F5344CB8AC3E}">
        <p14:creationId xmlns:p14="http://schemas.microsoft.com/office/powerpoint/2010/main" val="815922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Combo Module</a:t>
            </a:r>
            <a:br>
              <a:rPr lang="en-US" sz="7200"/>
            </a:br>
            <a:r>
              <a:rPr lang="en-US" sz="7200"/>
              <a:t>Sensor</a:t>
            </a:r>
          </a:p>
        </p:txBody>
      </p:sp>
    </p:spTree>
    <p:extLst>
      <p:ext uri="{BB962C8B-B14F-4D97-AF65-F5344CB8AC3E}">
        <p14:creationId xmlns:p14="http://schemas.microsoft.com/office/powerpoint/2010/main" val="22932366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1865F-ED0D-4161-9F9F-B3D8B4AB4F77}"/>
              </a:ext>
            </a:extLst>
          </p:cNvPr>
          <p:cNvSpPr>
            <a:spLocks noGrp="1"/>
          </p:cNvSpPr>
          <p:nvPr>
            <p:ph type="title"/>
          </p:nvPr>
        </p:nvSpPr>
        <p:spPr/>
        <p:txBody>
          <a:bodyPr/>
          <a:lstStyle/>
          <a:p>
            <a:r>
              <a:rPr lang="en-US"/>
              <a:t>SEN5x – </a:t>
            </a:r>
            <a:r>
              <a:rPr lang="en-US" err="1"/>
              <a:t>Sensirion’s</a:t>
            </a:r>
            <a:r>
              <a:rPr lang="en-US"/>
              <a:t> Next Generation Air Quality Combo Module</a:t>
            </a:r>
          </a:p>
        </p:txBody>
      </p:sp>
      <p:grpSp>
        <p:nvGrpSpPr>
          <p:cNvPr id="5" name="Group 4">
            <a:extLst>
              <a:ext uri="{FF2B5EF4-FFF2-40B4-BE49-F238E27FC236}">
                <a16:creationId xmlns:a16="http://schemas.microsoft.com/office/drawing/2014/main" id="{CD5E0C76-84B7-4805-89E8-A4155CDFE4FF}"/>
              </a:ext>
            </a:extLst>
          </p:cNvPr>
          <p:cNvGrpSpPr/>
          <p:nvPr/>
        </p:nvGrpSpPr>
        <p:grpSpPr>
          <a:xfrm>
            <a:off x="2963229" y="903183"/>
            <a:ext cx="7059667" cy="5280754"/>
            <a:chOff x="5644672" y="884166"/>
            <a:chExt cx="7059667" cy="5280754"/>
          </a:xfrm>
        </p:grpSpPr>
        <p:pic>
          <p:nvPicPr>
            <p:cNvPr id="4" name="Picture 3">
              <a:extLst>
                <a:ext uri="{FF2B5EF4-FFF2-40B4-BE49-F238E27FC236}">
                  <a16:creationId xmlns:a16="http://schemas.microsoft.com/office/drawing/2014/main" id="{52D7162B-04A6-4AF5-B32E-D7C25D692AFA}"/>
                </a:ext>
              </a:extLst>
            </p:cNvPr>
            <p:cNvPicPr>
              <a:picLocks noChangeAspect="1"/>
            </p:cNvPicPr>
            <p:nvPr/>
          </p:nvPicPr>
          <p:blipFill rotWithShape="1">
            <a:blip r:embed="rId2" cstate="print">
              <a:clrChange>
                <a:clrFrom>
                  <a:srgbClr val="FFFFFF"/>
                </a:clrFrom>
                <a:clrTo>
                  <a:srgbClr val="FFFFFF">
                    <a:alpha val="0"/>
                  </a:srgbClr>
                </a:clrTo>
              </a:clrChang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14624" t="7480" r="16863" b="6664"/>
            <a:stretch/>
          </p:blipFill>
          <p:spPr bwMode="auto">
            <a:xfrm>
              <a:off x="7716975" y="2866526"/>
              <a:ext cx="2037999" cy="1450736"/>
            </a:xfrm>
            <a:prstGeom prst="rect">
              <a:avLst/>
            </a:prstGeom>
            <a:ln>
              <a:noFill/>
            </a:ln>
            <a:extLst>
              <a:ext uri="{53640926-AAD7-44D8-BBD7-CCE9431645EC}">
                <a14:shadowObscured xmlns:a14="http://schemas.microsoft.com/office/drawing/2010/main"/>
              </a:ext>
            </a:extLst>
          </p:spPr>
        </p:pic>
        <p:cxnSp>
          <p:nvCxnSpPr>
            <p:cNvPr id="63" name="Straight Connector 62">
              <a:extLst>
                <a:ext uri="{FF2B5EF4-FFF2-40B4-BE49-F238E27FC236}">
                  <a16:creationId xmlns:a16="http://schemas.microsoft.com/office/drawing/2014/main" id="{8C16998D-2CE1-41CD-B17A-BDB994DD265E}"/>
                </a:ext>
              </a:extLst>
            </p:cNvPr>
            <p:cNvCxnSpPr/>
            <p:nvPr/>
          </p:nvCxnSpPr>
          <p:spPr>
            <a:xfrm>
              <a:off x="8604324" y="4253994"/>
              <a:ext cx="0" cy="0"/>
            </a:xfrm>
            <a:prstGeom prst="line">
              <a:avLst/>
            </a:prstGeom>
            <a:ln/>
          </p:spPr>
          <p:style>
            <a:lnRef idx="1">
              <a:schemeClr val="dk1"/>
            </a:lnRef>
            <a:fillRef idx="0">
              <a:schemeClr val="dk1"/>
            </a:fillRef>
            <a:effectRef idx="0">
              <a:schemeClr val="dk1"/>
            </a:effectRef>
            <a:fontRef idx="minor">
              <a:schemeClr val="tx1"/>
            </a:fontRef>
          </p:style>
        </p:cxnSp>
        <p:grpSp>
          <p:nvGrpSpPr>
            <p:cNvPr id="122" name="Group 121">
              <a:extLst>
                <a:ext uri="{FF2B5EF4-FFF2-40B4-BE49-F238E27FC236}">
                  <a16:creationId xmlns:a16="http://schemas.microsoft.com/office/drawing/2014/main" id="{353AB991-AAB6-459C-B4C4-539DBAFB151B}"/>
                </a:ext>
              </a:extLst>
            </p:cNvPr>
            <p:cNvGrpSpPr/>
            <p:nvPr/>
          </p:nvGrpSpPr>
          <p:grpSpPr>
            <a:xfrm>
              <a:off x="9689387" y="898498"/>
              <a:ext cx="2192847" cy="1241498"/>
              <a:chOff x="9057771" y="833440"/>
              <a:chExt cx="2262158" cy="1268174"/>
            </a:xfrm>
          </p:grpSpPr>
          <p:pic>
            <p:nvPicPr>
              <p:cNvPr id="30" name="Picture 29">
                <a:extLst>
                  <a:ext uri="{FF2B5EF4-FFF2-40B4-BE49-F238E27FC236}">
                    <a16:creationId xmlns:a16="http://schemas.microsoft.com/office/drawing/2014/main" id="{DB112BBE-A6EF-4F01-A7D8-BA4EFC60B50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0691" y="833440"/>
                <a:ext cx="974915" cy="974915"/>
              </a:xfrm>
              <a:prstGeom prst="rect">
                <a:avLst/>
              </a:prstGeom>
            </p:spPr>
          </p:pic>
          <p:sp>
            <p:nvSpPr>
              <p:cNvPr id="66" name="TextBox 65">
                <a:extLst>
                  <a:ext uri="{FF2B5EF4-FFF2-40B4-BE49-F238E27FC236}">
                    <a16:creationId xmlns:a16="http://schemas.microsoft.com/office/drawing/2014/main" id="{5CC38729-4E64-4C3E-812C-64C4433BDEB7}"/>
                  </a:ext>
                </a:extLst>
              </p:cNvPr>
              <p:cNvSpPr txBox="1"/>
              <p:nvPr/>
            </p:nvSpPr>
            <p:spPr>
              <a:xfrm>
                <a:off x="9057771" y="1701504"/>
                <a:ext cx="2262158" cy="400110"/>
              </a:xfrm>
              <a:prstGeom prst="rect">
                <a:avLst/>
              </a:prstGeom>
              <a:noFill/>
            </p:spPr>
            <p:txBody>
              <a:bodyPr wrap="none" rtlCol="0">
                <a:spAutoFit/>
              </a:bodyPr>
              <a:lstStyle/>
              <a:p>
                <a:r>
                  <a:rPr lang="en-US">
                    <a:latin typeface="Dotum" panose="020B0600000101010101" pitchFamily="34" charset="-127"/>
                    <a:ea typeface="Dotum" panose="020B0600000101010101" pitchFamily="34" charset="-127"/>
                  </a:rPr>
                  <a:t>Particulate Matter</a:t>
                </a:r>
              </a:p>
            </p:txBody>
          </p:sp>
        </p:grpSp>
        <p:grpSp>
          <p:nvGrpSpPr>
            <p:cNvPr id="120" name="Group 119">
              <a:extLst>
                <a:ext uri="{FF2B5EF4-FFF2-40B4-BE49-F238E27FC236}">
                  <a16:creationId xmlns:a16="http://schemas.microsoft.com/office/drawing/2014/main" id="{1912B856-A126-45C8-9A6C-23E10FB47FB9}"/>
                </a:ext>
              </a:extLst>
            </p:cNvPr>
            <p:cNvGrpSpPr/>
            <p:nvPr/>
          </p:nvGrpSpPr>
          <p:grpSpPr>
            <a:xfrm>
              <a:off x="8987165" y="4578598"/>
              <a:ext cx="2265880" cy="1549787"/>
              <a:chOff x="8826765" y="4084905"/>
              <a:chExt cx="2337499" cy="1583088"/>
            </a:xfrm>
          </p:grpSpPr>
          <p:pic>
            <p:nvPicPr>
              <p:cNvPr id="32" name="Picture 31">
                <a:extLst>
                  <a:ext uri="{FF2B5EF4-FFF2-40B4-BE49-F238E27FC236}">
                    <a16:creationId xmlns:a16="http://schemas.microsoft.com/office/drawing/2014/main" id="{16C324BD-2338-4ABB-BEEB-BBE192195A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71649" y="4084905"/>
                <a:ext cx="1003083" cy="1001389"/>
              </a:xfrm>
              <a:prstGeom prst="rect">
                <a:avLst/>
              </a:prstGeom>
            </p:spPr>
          </p:pic>
          <p:sp>
            <p:nvSpPr>
              <p:cNvPr id="67" name="TextBox 66">
                <a:extLst>
                  <a:ext uri="{FF2B5EF4-FFF2-40B4-BE49-F238E27FC236}">
                    <a16:creationId xmlns:a16="http://schemas.microsoft.com/office/drawing/2014/main" id="{D61BE379-DC13-4AA1-B9D1-6173A88B0CDC}"/>
                  </a:ext>
                </a:extLst>
              </p:cNvPr>
              <p:cNvSpPr txBox="1"/>
              <p:nvPr/>
            </p:nvSpPr>
            <p:spPr>
              <a:xfrm>
                <a:off x="8826765" y="4960107"/>
                <a:ext cx="2337499" cy="707886"/>
              </a:xfrm>
              <a:prstGeom prst="rect">
                <a:avLst/>
              </a:prstGeom>
              <a:noFill/>
            </p:spPr>
            <p:txBody>
              <a:bodyPr wrap="none" rtlCol="0">
                <a:spAutoFit/>
              </a:bodyPr>
              <a:lstStyle/>
              <a:p>
                <a:r>
                  <a:rPr lang="en-US">
                    <a:latin typeface="Dotum" panose="020B0600000101010101" pitchFamily="34" charset="-127"/>
                    <a:ea typeface="Dotum" panose="020B0600000101010101" pitchFamily="34" charset="-127"/>
                  </a:rPr>
                  <a:t>Dust-protection &amp;</a:t>
                </a:r>
              </a:p>
              <a:p>
                <a:r>
                  <a:rPr lang="en-US">
                    <a:latin typeface="Dotum" panose="020B0600000101010101" pitchFamily="34" charset="-127"/>
                    <a:ea typeface="Dotum" panose="020B0600000101010101" pitchFamily="34" charset="-127"/>
                  </a:rPr>
                  <a:t> Long Lifetime</a:t>
                </a:r>
              </a:p>
            </p:txBody>
          </p:sp>
        </p:grpSp>
        <p:grpSp>
          <p:nvGrpSpPr>
            <p:cNvPr id="125" name="Group 124">
              <a:extLst>
                <a:ext uri="{FF2B5EF4-FFF2-40B4-BE49-F238E27FC236}">
                  <a16:creationId xmlns:a16="http://schemas.microsoft.com/office/drawing/2014/main" id="{B130FADB-3493-4941-83B1-BEAE2C4A08E2}"/>
                </a:ext>
              </a:extLst>
            </p:cNvPr>
            <p:cNvGrpSpPr/>
            <p:nvPr/>
          </p:nvGrpSpPr>
          <p:grpSpPr>
            <a:xfrm>
              <a:off x="6677010" y="4660763"/>
              <a:ext cx="2079930" cy="1504157"/>
              <a:chOff x="6327929" y="3807607"/>
              <a:chExt cx="2145671" cy="1536477"/>
            </a:xfrm>
          </p:grpSpPr>
          <p:pic>
            <p:nvPicPr>
              <p:cNvPr id="52" name="Picture 51">
                <a:extLst>
                  <a:ext uri="{FF2B5EF4-FFF2-40B4-BE49-F238E27FC236}">
                    <a16:creationId xmlns:a16="http://schemas.microsoft.com/office/drawing/2014/main" id="{D142CFD8-4360-4181-81E7-8837B19D8B1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41934" y="3807607"/>
                <a:ext cx="833528" cy="833528"/>
              </a:xfrm>
              <a:prstGeom prst="rect">
                <a:avLst/>
              </a:prstGeom>
            </p:spPr>
          </p:pic>
          <p:sp>
            <p:nvSpPr>
              <p:cNvPr id="70" name="TextBox 69">
                <a:extLst>
                  <a:ext uri="{FF2B5EF4-FFF2-40B4-BE49-F238E27FC236}">
                    <a16:creationId xmlns:a16="http://schemas.microsoft.com/office/drawing/2014/main" id="{AF411367-944C-41D0-BE9C-EFF42E58AFBA}"/>
                  </a:ext>
                </a:extLst>
              </p:cNvPr>
              <p:cNvSpPr txBox="1"/>
              <p:nvPr/>
            </p:nvSpPr>
            <p:spPr>
              <a:xfrm>
                <a:off x="6327929" y="4620988"/>
                <a:ext cx="2145671" cy="723096"/>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Fast hardware design</a:t>
                </a:r>
              </a:p>
            </p:txBody>
          </p:sp>
        </p:grpSp>
        <p:grpSp>
          <p:nvGrpSpPr>
            <p:cNvPr id="123" name="Group 122">
              <a:extLst>
                <a:ext uri="{FF2B5EF4-FFF2-40B4-BE49-F238E27FC236}">
                  <a16:creationId xmlns:a16="http://schemas.microsoft.com/office/drawing/2014/main" id="{4176FB45-2444-489B-A54F-E5781A631B7A}"/>
                </a:ext>
              </a:extLst>
            </p:cNvPr>
            <p:cNvGrpSpPr/>
            <p:nvPr/>
          </p:nvGrpSpPr>
          <p:grpSpPr>
            <a:xfrm>
              <a:off x="7627704" y="884166"/>
              <a:ext cx="1736872" cy="1195205"/>
              <a:chOff x="6692182" y="625655"/>
              <a:chExt cx="1791770" cy="1220887"/>
            </a:xfrm>
          </p:grpSpPr>
          <p:pic>
            <p:nvPicPr>
              <p:cNvPr id="36" name="Picture 35">
                <a:extLst>
                  <a:ext uri="{FF2B5EF4-FFF2-40B4-BE49-F238E27FC236}">
                    <a16:creationId xmlns:a16="http://schemas.microsoft.com/office/drawing/2014/main" id="{C83875F1-FA19-42C2-8543-491C1807322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92182" y="625655"/>
                <a:ext cx="812037" cy="810665"/>
              </a:xfrm>
              <a:prstGeom prst="rect">
                <a:avLst/>
              </a:prstGeom>
            </p:spPr>
          </p:pic>
          <p:sp>
            <p:nvSpPr>
              <p:cNvPr id="71" name="TextBox 70">
                <a:extLst>
                  <a:ext uri="{FF2B5EF4-FFF2-40B4-BE49-F238E27FC236}">
                    <a16:creationId xmlns:a16="http://schemas.microsoft.com/office/drawing/2014/main" id="{029A0844-E89E-4931-9C19-4A5F14D0B459}"/>
                  </a:ext>
                </a:extLst>
              </p:cNvPr>
              <p:cNvSpPr txBox="1"/>
              <p:nvPr/>
            </p:nvSpPr>
            <p:spPr>
              <a:xfrm>
                <a:off x="6751022" y="1446432"/>
                <a:ext cx="1732930" cy="400110"/>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Temperature</a:t>
                </a:r>
              </a:p>
            </p:txBody>
          </p:sp>
        </p:grpSp>
        <p:grpSp>
          <p:nvGrpSpPr>
            <p:cNvPr id="124" name="Group 123">
              <a:extLst>
                <a:ext uri="{FF2B5EF4-FFF2-40B4-BE49-F238E27FC236}">
                  <a16:creationId xmlns:a16="http://schemas.microsoft.com/office/drawing/2014/main" id="{DB522CEB-02D1-4DE3-9D26-A9037FD58F87}"/>
                </a:ext>
              </a:extLst>
            </p:cNvPr>
            <p:cNvGrpSpPr/>
            <p:nvPr/>
          </p:nvGrpSpPr>
          <p:grpSpPr>
            <a:xfrm>
              <a:off x="5989129" y="1257738"/>
              <a:ext cx="1561969" cy="1180727"/>
              <a:chOff x="5600636" y="2255749"/>
              <a:chExt cx="1611339" cy="1206098"/>
            </a:xfrm>
          </p:grpSpPr>
          <p:pic>
            <p:nvPicPr>
              <p:cNvPr id="34" name="Picture 33">
                <a:extLst>
                  <a:ext uri="{FF2B5EF4-FFF2-40B4-BE49-F238E27FC236}">
                    <a16:creationId xmlns:a16="http://schemas.microsoft.com/office/drawing/2014/main" id="{8E6F305E-9B59-47A3-897D-143F885FEFE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00636" y="2255749"/>
                <a:ext cx="976565" cy="974916"/>
              </a:xfrm>
              <a:prstGeom prst="rect">
                <a:avLst/>
              </a:prstGeom>
            </p:spPr>
          </p:pic>
          <p:sp>
            <p:nvSpPr>
              <p:cNvPr id="72" name="TextBox 71">
                <a:extLst>
                  <a:ext uri="{FF2B5EF4-FFF2-40B4-BE49-F238E27FC236}">
                    <a16:creationId xmlns:a16="http://schemas.microsoft.com/office/drawing/2014/main" id="{4E0D9006-CA74-4A22-8C1B-A74AF66A74D6}"/>
                  </a:ext>
                </a:extLst>
              </p:cNvPr>
              <p:cNvSpPr txBox="1"/>
              <p:nvPr/>
            </p:nvSpPr>
            <p:spPr>
              <a:xfrm>
                <a:off x="5600636" y="3061737"/>
                <a:ext cx="1611339" cy="400110"/>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Humidity</a:t>
                </a:r>
              </a:p>
            </p:txBody>
          </p:sp>
        </p:grpSp>
        <p:grpSp>
          <p:nvGrpSpPr>
            <p:cNvPr id="121" name="Group 120">
              <a:extLst>
                <a:ext uri="{FF2B5EF4-FFF2-40B4-BE49-F238E27FC236}">
                  <a16:creationId xmlns:a16="http://schemas.microsoft.com/office/drawing/2014/main" id="{7D9280FF-C6D7-46C1-8722-7B37DC1E4D6B}"/>
                </a:ext>
              </a:extLst>
            </p:cNvPr>
            <p:cNvGrpSpPr/>
            <p:nvPr/>
          </p:nvGrpSpPr>
          <p:grpSpPr>
            <a:xfrm>
              <a:off x="10252571" y="2604082"/>
              <a:ext cx="2451768" cy="1513789"/>
              <a:chOff x="10213827" y="2100684"/>
              <a:chExt cx="2529263" cy="1546318"/>
            </a:xfrm>
          </p:grpSpPr>
          <p:sp>
            <p:nvSpPr>
              <p:cNvPr id="68" name="TextBox 67">
                <a:extLst>
                  <a:ext uri="{FF2B5EF4-FFF2-40B4-BE49-F238E27FC236}">
                    <a16:creationId xmlns:a16="http://schemas.microsoft.com/office/drawing/2014/main" id="{244C955D-373E-4B04-A3C6-DDF86EE7F05A}"/>
                  </a:ext>
                </a:extLst>
              </p:cNvPr>
              <p:cNvSpPr txBox="1"/>
              <p:nvPr/>
            </p:nvSpPr>
            <p:spPr>
              <a:xfrm>
                <a:off x="10640675" y="2923904"/>
                <a:ext cx="2102415" cy="723098"/>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Gas pollutants</a:t>
                </a:r>
              </a:p>
              <a:p>
                <a:r>
                  <a:rPr lang="en-US">
                    <a:latin typeface="Dotum" panose="020B0600000101010101" pitchFamily="34" charset="-127"/>
                    <a:ea typeface="Dotum" panose="020B0600000101010101" pitchFamily="34" charset="-127"/>
                  </a:rPr>
                  <a:t>VOC &amp; NO</a:t>
                </a:r>
                <a:r>
                  <a:rPr lang="en-US" baseline="-25000">
                    <a:latin typeface="Dotum" panose="020B0600000101010101" pitchFamily="34" charset="-127"/>
                    <a:ea typeface="Dotum" panose="020B0600000101010101" pitchFamily="34" charset="-127"/>
                  </a:rPr>
                  <a:t>x</a:t>
                </a:r>
              </a:p>
            </p:txBody>
          </p:sp>
          <p:pic>
            <p:nvPicPr>
              <p:cNvPr id="119" name="Picture 118">
                <a:extLst>
                  <a:ext uri="{FF2B5EF4-FFF2-40B4-BE49-F238E27FC236}">
                    <a16:creationId xmlns:a16="http://schemas.microsoft.com/office/drawing/2014/main" id="{FD72187B-CB2E-4BC3-A8F0-FC12221EFD1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13827" y="2100684"/>
                <a:ext cx="1402202" cy="981541"/>
              </a:xfrm>
              <a:prstGeom prst="rect">
                <a:avLst/>
              </a:prstGeom>
            </p:spPr>
          </p:pic>
        </p:grpSp>
        <p:grpSp>
          <p:nvGrpSpPr>
            <p:cNvPr id="132" name="Group 131">
              <a:extLst>
                <a:ext uri="{FF2B5EF4-FFF2-40B4-BE49-F238E27FC236}">
                  <a16:creationId xmlns:a16="http://schemas.microsoft.com/office/drawing/2014/main" id="{724CAC2E-64EC-440D-AD4F-16D348E90939}"/>
                </a:ext>
              </a:extLst>
            </p:cNvPr>
            <p:cNvGrpSpPr/>
            <p:nvPr/>
          </p:nvGrpSpPr>
          <p:grpSpPr>
            <a:xfrm>
              <a:off x="5644672" y="2890535"/>
              <a:ext cx="1611497" cy="1499070"/>
              <a:chOff x="5766453" y="2863440"/>
              <a:chExt cx="1611497" cy="1499070"/>
            </a:xfrm>
          </p:grpSpPr>
          <p:pic>
            <p:nvPicPr>
              <p:cNvPr id="130" name="Picture 129">
                <a:extLst>
                  <a:ext uri="{FF2B5EF4-FFF2-40B4-BE49-F238E27FC236}">
                    <a16:creationId xmlns:a16="http://schemas.microsoft.com/office/drawing/2014/main" id="{267B937C-D0CE-4CDF-B748-0C1A6B57AE6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66453" y="2863440"/>
                <a:ext cx="888283" cy="886783"/>
              </a:xfrm>
              <a:prstGeom prst="rect">
                <a:avLst/>
              </a:prstGeom>
            </p:spPr>
          </p:pic>
          <p:sp>
            <p:nvSpPr>
              <p:cNvPr id="131" name="TextBox 130">
                <a:extLst>
                  <a:ext uri="{FF2B5EF4-FFF2-40B4-BE49-F238E27FC236}">
                    <a16:creationId xmlns:a16="http://schemas.microsoft.com/office/drawing/2014/main" id="{3FC80FC4-47EF-470F-AF71-192F3E40A22B}"/>
                  </a:ext>
                </a:extLst>
              </p:cNvPr>
              <p:cNvSpPr txBox="1"/>
              <p:nvPr/>
            </p:nvSpPr>
            <p:spPr>
              <a:xfrm>
                <a:off x="5815981" y="3654624"/>
                <a:ext cx="1561969" cy="707886"/>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Algorithms integrated</a:t>
                </a:r>
              </a:p>
            </p:txBody>
          </p:sp>
        </p:grpSp>
      </p:grpSp>
    </p:spTree>
    <p:extLst>
      <p:ext uri="{BB962C8B-B14F-4D97-AF65-F5344CB8AC3E}">
        <p14:creationId xmlns:p14="http://schemas.microsoft.com/office/powerpoint/2010/main" val="30793416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Grafik 2" descr="Ein Bild, das Himmel, draußen, Bus, grün enthält.&#10;&#10;Automatisch generierte Beschreibung">
            <a:extLst>
              <a:ext uri="{FF2B5EF4-FFF2-40B4-BE49-F238E27FC236}">
                <a16:creationId xmlns:a16="http://schemas.microsoft.com/office/drawing/2014/main" id="{18DA63B5-3517-43B9-823D-353E5FB508B0}"/>
              </a:ext>
            </a:extLst>
          </p:cNvPr>
          <p:cNvPicPr>
            <a:picLocks noChangeAspect="1"/>
          </p:cNvPicPr>
          <p:nvPr/>
        </p:nvPicPr>
        <p:blipFill rotWithShape="1">
          <a:blip r:embed="rId2">
            <a:alphaModFix/>
            <a:extLst>
              <a:ext uri="{28A0092B-C50C-407E-A947-70E740481C1C}">
                <a14:useLocalDpi xmlns:a14="http://schemas.microsoft.com/office/drawing/2010/main"/>
              </a:ext>
            </a:extLst>
          </a:blip>
          <a:srcRect/>
          <a:stretch/>
        </p:blipFill>
        <p:spPr>
          <a:xfrm>
            <a:off x="-104932" y="1"/>
            <a:ext cx="12296932" cy="6858000"/>
          </a:xfrm>
          <a:prstGeom prst="rect">
            <a:avLst/>
          </a:prstGeom>
        </p:spPr>
      </p:pic>
      <p:sp>
        <p:nvSpPr>
          <p:cNvPr id="2" name="Title 1">
            <a:extLst>
              <a:ext uri="{FF2B5EF4-FFF2-40B4-BE49-F238E27FC236}">
                <a16:creationId xmlns:a16="http://schemas.microsoft.com/office/drawing/2014/main" id="{EA479C3F-F7CB-BF4C-A068-24D4A3C331AC}"/>
              </a:ext>
            </a:extLst>
          </p:cNvPr>
          <p:cNvSpPr>
            <a:spLocks noGrp="1"/>
          </p:cNvSpPr>
          <p:nvPr>
            <p:ph type="title"/>
          </p:nvPr>
        </p:nvSpPr>
        <p:spPr>
          <a:xfrm>
            <a:off x="839787" y="283464"/>
            <a:ext cx="10537297" cy="505939"/>
          </a:xfrm>
        </p:spPr>
        <p:txBody>
          <a:bodyPr/>
          <a:lstStyle/>
          <a:p>
            <a:r>
              <a:rPr lang="en-US">
                <a:solidFill>
                  <a:schemeClr val="accent1"/>
                </a:solidFill>
                <a:latin typeface="Arial" panose="020B0604020202020204" pitchFamily="34" charset="0"/>
                <a:cs typeface="Arial" panose="020B0604020202020204" pitchFamily="34" charset="0"/>
              </a:rPr>
              <a:t>Facts</a:t>
            </a:r>
            <a:r>
              <a:rPr lang="en-US">
                <a:solidFill>
                  <a:schemeClr val="tx1"/>
                </a:solidFill>
                <a:latin typeface="Arial" panose="020B0604020202020204" pitchFamily="34" charset="0"/>
                <a:cs typeface="Arial" panose="020B0604020202020204" pitchFamily="34" charset="0"/>
              </a:rPr>
              <a:t> </a:t>
            </a:r>
            <a:r>
              <a:rPr lang="en-US">
                <a:latin typeface="Arial" panose="020B0604020202020204" pitchFamily="34" charset="0"/>
                <a:cs typeface="Arial" panose="020B0604020202020204" pitchFamily="34" charset="0"/>
              </a:rPr>
              <a:t>&amp;</a:t>
            </a:r>
            <a:r>
              <a:rPr lang="en-US">
                <a:solidFill>
                  <a:schemeClr val="tx1"/>
                </a:solidFill>
                <a:latin typeface="Arial" panose="020B0604020202020204" pitchFamily="34" charset="0"/>
                <a:cs typeface="Arial" panose="020B0604020202020204" pitchFamily="34" charset="0"/>
              </a:rPr>
              <a:t> </a:t>
            </a:r>
            <a:r>
              <a:rPr lang="en-US">
                <a:solidFill>
                  <a:schemeClr val="accent1"/>
                </a:solidFill>
                <a:latin typeface="Arial" panose="020B0604020202020204" pitchFamily="34" charset="0"/>
                <a:cs typeface="Arial" panose="020B0604020202020204" pitchFamily="34" charset="0"/>
              </a:rPr>
              <a:t>figures</a:t>
            </a:r>
            <a:endParaRPr lang="en-VN">
              <a:solidFill>
                <a:schemeClr val="accent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0069D8D5-8049-4EB2-899E-A8709A24D6E3}"/>
              </a:ext>
            </a:extLst>
          </p:cNvPr>
          <p:cNvSpPr/>
          <p:nvPr/>
        </p:nvSpPr>
        <p:spPr>
          <a:xfrm>
            <a:off x="3964284" y="1143000"/>
            <a:ext cx="7387929" cy="45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83A9F312-08D8-4744-A99A-8E1D9BD674EB}"/>
              </a:ext>
            </a:extLst>
          </p:cNvPr>
          <p:cNvGrpSpPr>
            <a:grpSpLocks noChangeAspect="1"/>
          </p:cNvGrpSpPr>
          <p:nvPr/>
        </p:nvGrpSpPr>
        <p:grpSpPr>
          <a:xfrm>
            <a:off x="7808032" y="1613756"/>
            <a:ext cx="822960" cy="822960"/>
            <a:chOff x="6661431" y="2189755"/>
            <a:chExt cx="640080" cy="640080"/>
          </a:xfrm>
        </p:grpSpPr>
        <p:sp>
          <p:nvSpPr>
            <p:cNvPr id="108" name="Oval 107">
              <a:extLst>
                <a:ext uri="{FF2B5EF4-FFF2-40B4-BE49-F238E27FC236}">
                  <a16:creationId xmlns:a16="http://schemas.microsoft.com/office/drawing/2014/main" id="{7CCE73F4-97BB-443E-BD29-13C629EE9EF5}"/>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sp>
          <p:nvSpPr>
            <p:cNvPr id="109" name="Oval 108">
              <a:extLst>
                <a:ext uri="{FF2B5EF4-FFF2-40B4-BE49-F238E27FC236}">
                  <a16:creationId xmlns:a16="http://schemas.microsoft.com/office/drawing/2014/main" id="{24B74CB0-99F9-4C8B-95B0-BB919CD22EED}"/>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grpSp>
      <p:sp>
        <p:nvSpPr>
          <p:cNvPr id="105" name="Rechteck 49">
            <a:extLst>
              <a:ext uri="{FF2B5EF4-FFF2-40B4-BE49-F238E27FC236}">
                <a16:creationId xmlns:a16="http://schemas.microsoft.com/office/drawing/2014/main" id="{E88F04E1-2D29-4A7B-B65C-F58B7FD2BBEC}"/>
              </a:ext>
            </a:extLst>
          </p:cNvPr>
          <p:cNvSpPr/>
          <p:nvPr/>
        </p:nvSpPr>
        <p:spPr>
          <a:xfrm>
            <a:off x="8720611" y="1671293"/>
            <a:ext cx="2422458" cy="707886"/>
          </a:xfrm>
          <a:prstGeom prst="rect">
            <a:avLst/>
          </a:prstGeom>
          <a:noFill/>
        </p:spPr>
        <p:txBody>
          <a:bodyPr wrap="none" lIns="91440" tIns="91440" rIns="91440" bIns="91440" rtlCol="0" anchor="t">
            <a:spAutoFit/>
          </a:bodyPr>
          <a:lstStyle/>
          <a:p>
            <a:pPr lvl="0">
              <a:defRPr/>
            </a:pPr>
            <a:r>
              <a:rPr lang="de-DE" b="1">
                <a:latin typeface="Arial" panose="020B0604020202020204" pitchFamily="34" charset="0"/>
                <a:cs typeface="Arial" panose="020B0604020202020204" pitchFamily="34" charset="0"/>
              </a:rPr>
              <a:t>1000+*</a:t>
            </a:r>
          </a:p>
          <a:p>
            <a:pPr lvl="0">
              <a:defRPr/>
            </a:pPr>
            <a:r>
              <a:rPr lang="de-DE" sz="1400" err="1">
                <a:latin typeface="Arial" panose="020B0604020202020204" pitchFamily="34" charset="0"/>
                <a:cs typeface="Arial" panose="020B0604020202020204" pitchFamily="34" charset="0"/>
              </a:rPr>
              <a:t>Full</a:t>
            </a:r>
            <a:r>
              <a:rPr lang="de-DE" sz="1400">
                <a:latin typeface="Arial" panose="020B0604020202020204" pitchFamily="34" charset="0"/>
                <a:cs typeface="Arial" panose="020B0604020202020204" pitchFamily="34" charset="0"/>
              </a:rPr>
              <a:t>-time </a:t>
            </a:r>
            <a:r>
              <a:rPr lang="de-DE" sz="1400" err="1">
                <a:latin typeface="Arial" panose="020B0604020202020204" pitchFamily="34" charset="0"/>
                <a:cs typeface="Arial" panose="020B0604020202020204" pitchFamily="34" charset="0"/>
              </a:rPr>
              <a:t>equivalents</a:t>
            </a:r>
            <a:r>
              <a:rPr lang="de-DE" sz="1400">
                <a:latin typeface="Arial" panose="020B0604020202020204" pitchFamily="34" charset="0"/>
                <a:cs typeface="Arial" panose="020B0604020202020204" pitchFamily="34" charset="0"/>
              </a:rPr>
              <a:t> (FTEs)</a:t>
            </a:r>
          </a:p>
        </p:txBody>
      </p:sp>
      <p:grpSp>
        <p:nvGrpSpPr>
          <p:cNvPr id="16" name="Group 15">
            <a:extLst>
              <a:ext uri="{FF2B5EF4-FFF2-40B4-BE49-F238E27FC236}">
                <a16:creationId xmlns:a16="http://schemas.microsoft.com/office/drawing/2014/main" id="{48C730FA-C308-49A2-91DA-DF31142C8555}"/>
              </a:ext>
            </a:extLst>
          </p:cNvPr>
          <p:cNvGrpSpPr>
            <a:grpSpLocks noChangeAspect="1"/>
          </p:cNvGrpSpPr>
          <p:nvPr/>
        </p:nvGrpSpPr>
        <p:grpSpPr>
          <a:xfrm>
            <a:off x="4323890" y="1613756"/>
            <a:ext cx="822960" cy="822960"/>
            <a:chOff x="6661431" y="2189755"/>
            <a:chExt cx="640080" cy="640080"/>
          </a:xfrm>
        </p:grpSpPr>
        <p:sp>
          <p:nvSpPr>
            <p:cNvPr id="17" name="Oval 16">
              <a:extLst>
                <a:ext uri="{FF2B5EF4-FFF2-40B4-BE49-F238E27FC236}">
                  <a16:creationId xmlns:a16="http://schemas.microsoft.com/office/drawing/2014/main" id="{C4C5E2A2-6B91-4D3D-B21D-050CFCFAA195}"/>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sp>
          <p:nvSpPr>
            <p:cNvPr id="18" name="Oval 17">
              <a:extLst>
                <a:ext uri="{FF2B5EF4-FFF2-40B4-BE49-F238E27FC236}">
                  <a16:creationId xmlns:a16="http://schemas.microsoft.com/office/drawing/2014/main" id="{B20462BF-0A42-484A-A771-9BCE4E47C3F5}"/>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grpSp>
      <p:grpSp>
        <p:nvGrpSpPr>
          <p:cNvPr id="188" name="Group 187">
            <a:extLst>
              <a:ext uri="{FF2B5EF4-FFF2-40B4-BE49-F238E27FC236}">
                <a16:creationId xmlns:a16="http://schemas.microsoft.com/office/drawing/2014/main" id="{B5BE28CB-2206-435A-AB58-4A82A765343A}"/>
              </a:ext>
            </a:extLst>
          </p:cNvPr>
          <p:cNvGrpSpPr/>
          <p:nvPr/>
        </p:nvGrpSpPr>
        <p:grpSpPr>
          <a:xfrm>
            <a:off x="5236470" y="1671293"/>
            <a:ext cx="1950402" cy="707886"/>
            <a:chOff x="5236470" y="1958631"/>
            <a:chExt cx="1950402" cy="707886"/>
          </a:xfrm>
        </p:grpSpPr>
        <p:sp>
          <p:nvSpPr>
            <p:cNvPr id="33" name="Rechteck 49">
              <a:extLst>
                <a:ext uri="{FF2B5EF4-FFF2-40B4-BE49-F238E27FC236}">
                  <a16:creationId xmlns:a16="http://schemas.microsoft.com/office/drawing/2014/main" id="{0BDDCD61-69D2-4438-B6F3-8BAB2A957481}"/>
                </a:ext>
              </a:extLst>
            </p:cNvPr>
            <p:cNvSpPr/>
            <p:nvPr/>
          </p:nvSpPr>
          <p:spPr>
            <a:xfrm>
              <a:off x="5236470" y="1958631"/>
              <a:ext cx="830677" cy="707886"/>
            </a:xfrm>
            <a:prstGeom prst="rect">
              <a:avLst/>
            </a:prstGeom>
            <a:noFill/>
          </p:spPr>
          <p:txBody>
            <a:bodyPr wrap="none" lIns="91440" tIns="91440" rIns="91440" bIns="91440" rtlCol="0" anchor="t">
              <a:spAutoFit/>
            </a:bodyPr>
            <a:lstStyle/>
            <a:p>
              <a:pPr lvl="0">
                <a:defRPr/>
              </a:pPr>
              <a:r>
                <a:rPr lang="de-DE" b="1">
                  <a:latin typeface="Arial" panose="020B0604020202020204" pitchFamily="34" charset="0"/>
                  <a:cs typeface="Arial" panose="020B0604020202020204" pitchFamily="34" charset="0"/>
                </a:rPr>
                <a:t>1998</a:t>
              </a:r>
              <a:endParaRPr lang="de-DE" sz="1800" b="1">
                <a:latin typeface="Arial" panose="020B0604020202020204" pitchFamily="34" charset="0"/>
                <a:cs typeface="Arial" panose="020B0604020202020204" pitchFamily="34" charset="0"/>
              </a:endParaRPr>
            </a:p>
            <a:p>
              <a:pPr lvl="0">
                <a:defRPr/>
              </a:pPr>
              <a:r>
                <a:rPr lang="de-DE" sz="1400">
                  <a:latin typeface="Arial" panose="020B0604020202020204" pitchFamily="34" charset="0"/>
                  <a:cs typeface="Arial" panose="020B0604020202020204" pitchFamily="34" charset="0"/>
                </a:rPr>
                <a:t>founded</a:t>
              </a:r>
              <a:endParaRPr lang="de-DE" sz="1800">
                <a:latin typeface="Arial" panose="020B0604020202020204" pitchFamily="34" charset="0"/>
                <a:cs typeface="Arial" panose="020B0604020202020204" pitchFamily="34" charset="0"/>
              </a:endParaRPr>
            </a:p>
          </p:txBody>
        </p:sp>
        <p:sp>
          <p:nvSpPr>
            <p:cNvPr id="32" name="Rechteck 49">
              <a:extLst>
                <a:ext uri="{FF2B5EF4-FFF2-40B4-BE49-F238E27FC236}">
                  <a16:creationId xmlns:a16="http://schemas.microsoft.com/office/drawing/2014/main" id="{1801E4B6-30C9-42E4-B012-64A6DDC1B007}"/>
                </a:ext>
              </a:extLst>
            </p:cNvPr>
            <p:cNvSpPr/>
            <p:nvPr/>
          </p:nvSpPr>
          <p:spPr>
            <a:xfrm>
              <a:off x="6431537" y="1958631"/>
              <a:ext cx="755335" cy="707886"/>
            </a:xfrm>
            <a:prstGeom prst="rect">
              <a:avLst/>
            </a:prstGeom>
            <a:noFill/>
          </p:spPr>
          <p:txBody>
            <a:bodyPr wrap="none" lIns="91440" tIns="91440" rIns="91440" bIns="91440" rtlCol="0" anchor="t">
              <a:spAutoFit/>
            </a:bodyPr>
            <a:lstStyle/>
            <a:p>
              <a:pPr lvl="0">
                <a:defRPr/>
              </a:pPr>
              <a:r>
                <a:rPr lang="de-DE" b="1">
                  <a:latin typeface="Arial" panose="020B0604020202020204" pitchFamily="34" charset="0"/>
                  <a:cs typeface="Arial" panose="020B0604020202020204" pitchFamily="34" charset="0"/>
                </a:rPr>
                <a:t>2018</a:t>
              </a:r>
            </a:p>
            <a:p>
              <a:pPr lvl="0">
                <a:defRPr/>
              </a:pPr>
              <a:r>
                <a:rPr lang="de-DE" sz="1400">
                  <a:latin typeface="Arial" panose="020B0604020202020204" pitchFamily="34" charset="0"/>
                  <a:cs typeface="Arial" panose="020B0604020202020204" pitchFamily="34" charset="0"/>
                </a:rPr>
                <a:t>public</a:t>
              </a:r>
              <a:endParaRPr lang="de-DE" sz="180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11B0CDA9-A20F-421C-926A-5B1F0528508B}"/>
                </a:ext>
              </a:extLst>
            </p:cNvPr>
            <p:cNvCxnSpPr>
              <a:cxnSpLocks/>
            </p:cNvCxnSpPr>
            <p:nvPr/>
          </p:nvCxnSpPr>
          <p:spPr>
            <a:xfrm>
              <a:off x="6278865" y="1992534"/>
              <a:ext cx="0" cy="64008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9E8A66A3-9512-4BC3-A707-6D5837A55874}"/>
              </a:ext>
            </a:extLst>
          </p:cNvPr>
          <p:cNvGrpSpPr>
            <a:grpSpLocks noChangeAspect="1"/>
          </p:cNvGrpSpPr>
          <p:nvPr/>
        </p:nvGrpSpPr>
        <p:grpSpPr>
          <a:xfrm>
            <a:off x="4323890" y="4421284"/>
            <a:ext cx="822960" cy="822960"/>
            <a:chOff x="6661431" y="2189755"/>
            <a:chExt cx="640080" cy="640080"/>
          </a:xfrm>
        </p:grpSpPr>
        <p:sp>
          <p:nvSpPr>
            <p:cNvPr id="169" name="Oval 168">
              <a:extLst>
                <a:ext uri="{FF2B5EF4-FFF2-40B4-BE49-F238E27FC236}">
                  <a16:creationId xmlns:a16="http://schemas.microsoft.com/office/drawing/2014/main" id="{80AC670C-A19F-4303-A80B-4DE13E6E1966}"/>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sp>
          <p:nvSpPr>
            <p:cNvPr id="170" name="Oval 169">
              <a:extLst>
                <a:ext uri="{FF2B5EF4-FFF2-40B4-BE49-F238E27FC236}">
                  <a16:creationId xmlns:a16="http://schemas.microsoft.com/office/drawing/2014/main" id="{58106ABD-3490-4826-9A16-21ED070F0ADF}"/>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grpSp>
      <p:sp>
        <p:nvSpPr>
          <p:cNvPr id="168" name="Rechteck 49">
            <a:extLst>
              <a:ext uri="{FF2B5EF4-FFF2-40B4-BE49-F238E27FC236}">
                <a16:creationId xmlns:a16="http://schemas.microsoft.com/office/drawing/2014/main" id="{963456E1-78DD-4F39-8793-A6D24DDBFE4F}"/>
              </a:ext>
            </a:extLst>
          </p:cNvPr>
          <p:cNvSpPr/>
          <p:nvPr/>
        </p:nvSpPr>
        <p:spPr>
          <a:xfrm>
            <a:off x="5236468" y="4478821"/>
            <a:ext cx="2382383" cy="707886"/>
          </a:xfrm>
          <a:prstGeom prst="rect">
            <a:avLst/>
          </a:prstGeom>
          <a:noFill/>
        </p:spPr>
        <p:txBody>
          <a:bodyPr wrap="none" lIns="91440" tIns="91440" rIns="91440" bIns="91440" rtlCol="0" anchor="t">
            <a:spAutoFit/>
          </a:bodyPr>
          <a:lstStyle/>
          <a:p>
            <a:pPr lvl="0">
              <a:defRPr/>
            </a:pPr>
            <a:r>
              <a:rPr lang="de-DE" b="1">
                <a:latin typeface="Arial" panose="020B0604020202020204" pitchFamily="34" charset="0"/>
                <a:cs typeface="Arial" panose="020B0604020202020204" pitchFamily="34" charset="0"/>
              </a:rPr>
              <a:t>1 Billion sold</a:t>
            </a:r>
          </a:p>
          <a:p>
            <a:pPr lvl="0">
              <a:defRPr/>
            </a:pPr>
            <a:r>
              <a:rPr lang="de-DE" sz="1400">
                <a:latin typeface="Arial" panose="020B0604020202020204" pitchFamily="34" charset="0"/>
                <a:cs typeface="Arial" panose="020B0604020202020204" pitchFamily="34" charset="0"/>
              </a:rPr>
              <a:t>600k sensors produced/day</a:t>
            </a:r>
          </a:p>
        </p:txBody>
      </p:sp>
      <p:grpSp>
        <p:nvGrpSpPr>
          <p:cNvPr id="163" name="Group 162">
            <a:extLst>
              <a:ext uri="{FF2B5EF4-FFF2-40B4-BE49-F238E27FC236}">
                <a16:creationId xmlns:a16="http://schemas.microsoft.com/office/drawing/2014/main" id="{74C83588-1495-4C8D-9A8C-F15CC099CB97}"/>
              </a:ext>
            </a:extLst>
          </p:cNvPr>
          <p:cNvGrpSpPr>
            <a:grpSpLocks noChangeAspect="1"/>
          </p:cNvGrpSpPr>
          <p:nvPr/>
        </p:nvGrpSpPr>
        <p:grpSpPr>
          <a:xfrm>
            <a:off x="7808032" y="4421284"/>
            <a:ext cx="822960" cy="822960"/>
            <a:chOff x="6661431" y="2189755"/>
            <a:chExt cx="640080" cy="640080"/>
          </a:xfrm>
        </p:grpSpPr>
        <p:sp>
          <p:nvSpPr>
            <p:cNvPr id="165" name="Oval 164">
              <a:extLst>
                <a:ext uri="{FF2B5EF4-FFF2-40B4-BE49-F238E27FC236}">
                  <a16:creationId xmlns:a16="http://schemas.microsoft.com/office/drawing/2014/main" id="{21D88340-1D54-4E10-9156-2F30095E42B5}"/>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sp>
          <p:nvSpPr>
            <p:cNvPr id="166" name="Oval 165">
              <a:extLst>
                <a:ext uri="{FF2B5EF4-FFF2-40B4-BE49-F238E27FC236}">
                  <a16:creationId xmlns:a16="http://schemas.microsoft.com/office/drawing/2014/main" id="{E46B4BEB-04F3-4319-AD85-A1CDCB214FDE}"/>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grpSp>
      <p:sp>
        <p:nvSpPr>
          <p:cNvPr id="164" name="Rechteck 49">
            <a:extLst>
              <a:ext uri="{FF2B5EF4-FFF2-40B4-BE49-F238E27FC236}">
                <a16:creationId xmlns:a16="http://schemas.microsoft.com/office/drawing/2014/main" id="{9D3092E6-CE1B-4F4D-82AE-3A48E657C973}"/>
              </a:ext>
            </a:extLst>
          </p:cNvPr>
          <p:cNvSpPr/>
          <p:nvPr/>
        </p:nvSpPr>
        <p:spPr>
          <a:xfrm>
            <a:off x="8720611" y="4478821"/>
            <a:ext cx="2404826" cy="707886"/>
          </a:xfrm>
          <a:prstGeom prst="rect">
            <a:avLst/>
          </a:prstGeom>
          <a:noFill/>
        </p:spPr>
        <p:txBody>
          <a:bodyPr wrap="none" lIns="91440" tIns="91440" rIns="91440" bIns="91440" rtlCol="0" anchor="t">
            <a:spAutoFit/>
          </a:bodyPr>
          <a:lstStyle/>
          <a:p>
            <a:pPr lvl="0">
              <a:defRPr/>
            </a:pPr>
            <a:r>
              <a:rPr lang="de-DE" b="1">
                <a:latin typeface="Arial" panose="020B0604020202020204" pitchFamily="34" charset="0"/>
                <a:cs typeface="Arial" panose="020B0604020202020204" pitchFamily="34" charset="0"/>
              </a:rPr>
              <a:t>16%</a:t>
            </a:r>
            <a:br>
              <a:rPr lang="de-DE" b="1">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Of revenue invested in R&amp;D</a:t>
            </a:r>
            <a:endParaRPr lang="de-DE" sz="1400">
              <a:latin typeface="Arial" panose="020B0604020202020204" pitchFamily="34" charset="0"/>
              <a:cs typeface="Arial" panose="020B0604020202020204" pitchFamily="34" charset="0"/>
            </a:endParaRPr>
          </a:p>
        </p:txBody>
      </p:sp>
      <p:grpSp>
        <p:nvGrpSpPr>
          <p:cNvPr id="150" name="Group 149">
            <a:extLst>
              <a:ext uri="{FF2B5EF4-FFF2-40B4-BE49-F238E27FC236}">
                <a16:creationId xmlns:a16="http://schemas.microsoft.com/office/drawing/2014/main" id="{BBB03A74-7F8A-46EA-A88D-CBB93D24D905}"/>
              </a:ext>
            </a:extLst>
          </p:cNvPr>
          <p:cNvGrpSpPr>
            <a:grpSpLocks noChangeAspect="1"/>
          </p:cNvGrpSpPr>
          <p:nvPr/>
        </p:nvGrpSpPr>
        <p:grpSpPr>
          <a:xfrm>
            <a:off x="7808032" y="3017520"/>
            <a:ext cx="822960" cy="822960"/>
            <a:chOff x="6661431" y="2189755"/>
            <a:chExt cx="640080" cy="640080"/>
          </a:xfrm>
        </p:grpSpPr>
        <p:sp>
          <p:nvSpPr>
            <p:cNvPr id="152" name="Oval 151">
              <a:extLst>
                <a:ext uri="{FF2B5EF4-FFF2-40B4-BE49-F238E27FC236}">
                  <a16:creationId xmlns:a16="http://schemas.microsoft.com/office/drawing/2014/main" id="{51680995-7235-4B37-87EA-D61947F12695}"/>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sp>
          <p:nvSpPr>
            <p:cNvPr id="153" name="Oval 152">
              <a:extLst>
                <a:ext uri="{FF2B5EF4-FFF2-40B4-BE49-F238E27FC236}">
                  <a16:creationId xmlns:a16="http://schemas.microsoft.com/office/drawing/2014/main" id="{25A06019-84B0-4327-8EBB-698165044E43}"/>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grpSp>
      <p:sp>
        <p:nvSpPr>
          <p:cNvPr id="151" name="Rechteck 49">
            <a:extLst>
              <a:ext uri="{FF2B5EF4-FFF2-40B4-BE49-F238E27FC236}">
                <a16:creationId xmlns:a16="http://schemas.microsoft.com/office/drawing/2014/main" id="{BF475588-D980-4AC6-998A-381E67172940}"/>
              </a:ext>
            </a:extLst>
          </p:cNvPr>
          <p:cNvSpPr/>
          <p:nvPr/>
        </p:nvSpPr>
        <p:spPr>
          <a:xfrm>
            <a:off x="8720611" y="3075057"/>
            <a:ext cx="1359668" cy="707886"/>
          </a:xfrm>
          <a:prstGeom prst="rect">
            <a:avLst/>
          </a:prstGeom>
          <a:noFill/>
        </p:spPr>
        <p:txBody>
          <a:bodyPr wrap="none" lIns="91440" tIns="91440" rIns="91440" bIns="91440" rtlCol="0" anchor="t">
            <a:spAutoFit/>
          </a:bodyPr>
          <a:lstStyle/>
          <a:p>
            <a:pPr lvl="0">
              <a:defRPr/>
            </a:pPr>
            <a:r>
              <a:rPr lang="de-DE" b="1">
                <a:latin typeface="Arial" panose="020B0604020202020204" pitchFamily="34" charset="0"/>
                <a:cs typeface="Arial" panose="020B0604020202020204" pitchFamily="34" charset="0"/>
              </a:rPr>
              <a:t>&gt; 200  </a:t>
            </a:r>
            <a:br>
              <a:rPr lang="de-DE" b="1">
                <a:latin typeface="Arial" panose="020B0604020202020204" pitchFamily="34" charset="0"/>
                <a:cs typeface="Arial" panose="020B0604020202020204" pitchFamily="34" charset="0"/>
              </a:rPr>
            </a:br>
            <a:r>
              <a:rPr lang="de-DE" sz="1400">
                <a:latin typeface="Arial" panose="020B0604020202020204" pitchFamily="34" charset="0"/>
                <a:cs typeface="Arial" panose="020B0604020202020204" pitchFamily="34" charset="0"/>
              </a:rPr>
              <a:t>Patent families</a:t>
            </a:r>
          </a:p>
        </p:txBody>
      </p:sp>
      <p:sp>
        <p:nvSpPr>
          <p:cNvPr id="155" name="Rechteck 49">
            <a:extLst>
              <a:ext uri="{FF2B5EF4-FFF2-40B4-BE49-F238E27FC236}">
                <a16:creationId xmlns:a16="http://schemas.microsoft.com/office/drawing/2014/main" id="{8439867E-1605-4923-B973-15470B4012AF}"/>
              </a:ext>
            </a:extLst>
          </p:cNvPr>
          <p:cNvSpPr/>
          <p:nvPr/>
        </p:nvSpPr>
        <p:spPr>
          <a:xfrm>
            <a:off x="5236468" y="3067363"/>
            <a:ext cx="1638590" cy="923330"/>
          </a:xfrm>
          <a:prstGeom prst="rect">
            <a:avLst/>
          </a:prstGeom>
          <a:noFill/>
        </p:spPr>
        <p:txBody>
          <a:bodyPr wrap="none" lIns="91440" tIns="91440" rIns="91440" bIns="91440" rtlCol="0" anchor="t">
            <a:spAutoFit/>
          </a:bodyPr>
          <a:lstStyle/>
          <a:p>
            <a:pPr lvl="0">
              <a:defRPr/>
            </a:pPr>
            <a:r>
              <a:rPr lang="de-DE" b="1">
                <a:latin typeface="Arial" panose="020B0604020202020204" pitchFamily="34" charset="0"/>
                <a:cs typeface="Arial" panose="020B0604020202020204" pitchFamily="34" charset="0"/>
              </a:rPr>
              <a:t>287.5M CHF</a:t>
            </a:r>
          </a:p>
          <a:p>
            <a:pPr lvl="0">
              <a:defRPr/>
            </a:pPr>
            <a:r>
              <a:rPr lang="de-DE" sz="1400">
                <a:latin typeface="Arial" panose="020B0604020202020204" pitchFamily="34" charset="0"/>
                <a:cs typeface="Arial" panose="020B0604020202020204" pitchFamily="34" charset="0"/>
              </a:rPr>
              <a:t>Revenue (FY21)</a:t>
            </a:r>
          </a:p>
          <a:p>
            <a:pPr lvl="0">
              <a:defRPr/>
            </a:pPr>
            <a:endParaRPr lang="de-DE" sz="1400">
              <a:latin typeface="Arial" panose="020B0604020202020204" pitchFamily="34" charset="0"/>
              <a:cs typeface="Arial" panose="020B0604020202020204" pitchFamily="34" charset="0"/>
            </a:endParaRPr>
          </a:p>
        </p:txBody>
      </p:sp>
      <p:grpSp>
        <p:nvGrpSpPr>
          <p:cNvPr id="173" name="Group 172">
            <a:extLst>
              <a:ext uri="{FF2B5EF4-FFF2-40B4-BE49-F238E27FC236}">
                <a16:creationId xmlns:a16="http://schemas.microsoft.com/office/drawing/2014/main" id="{CF68092C-494F-4D42-8320-17B221D39EFD}"/>
              </a:ext>
            </a:extLst>
          </p:cNvPr>
          <p:cNvGrpSpPr>
            <a:grpSpLocks noChangeAspect="1"/>
          </p:cNvGrpSpPr>
          <p:nvPr/>
        </p:nvGrpSpPr>
        <p:grpSpPr>
          <a:xfrm>
            <a:off x="4323890" y="3017520"/>
            <a:ext cx="822960" cy="822960"/>
            <a:chOff x="6661431" y="2189755"/>
            <a:chExt cx="640080" cy="640080"/>
          </a:xfrm>
        </p:grpSpPr>
        <p:sp>
          <p:nvSpPr>
            <p:cNvPr id="174" name="Oval 173">
              <a:extLst>
                <a:ext uri="{FF2B5EF4-FFF2-40B4-BE49-F238E27FC236}">
                  <a16:creationId xmlns:a16="http://schemas.microsoft.com/office/drawing/2014/main" id="{C004B52A-FA9B-43FB-A377-6F8E637AB943}"/>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sp>
          <p:nvSpPr>
            <p:cNvPr id="175" name="Oval 174">
              <a:extLst>
                <a:ext uri="{FF2B5EF4-FFF2-40B4-BE49-F238E27FC236}">
                  <a16:creationId xmlns:a16="http://schemas.microsoft.com/office/drawing/2014/main" id="{C5B3A871-B9EB-49CB-B699-7691F028BCD0}"/>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800"/>
            </a:p>
          </p:txBody>
        </p:sp>
      </p:grpSp>
      <p:pic>
        <p:nvPicPr>
          <p:cNvPr id="182" name="Graphic 181">
            <a:extLst>
              <a:ext uri="{FF2B5EF4-FFF2-40B4-BE49-F238E27FC236}">
                <a16:creationId xmlns:a16="http://schemas.microsoft.com/office/drawing/2014/main" id="{BDD4B45C-1761-4AA8-88AF-69BCC9F2750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34202" y="3227832"/>
            <a:ext cx="402336" cy="402336"/>
          </a:xfrm>
          <a:prstGeom prst="rect">
            <a:avLst/>
          </a:prstGeom>
        </p:spPr>
      </p:pic>
      <p:pic>
        <p:nvPicPr>
          <p:cNvPr id="183" name="Graphic 182">
            <a:extLst>
              <a:ext uri="{FF2B5EF4-FFF2-40B4-BE49-F238E27FC236}">
                <a16:creationId xmlns:a16="http://schemas.microsoft.com/office/drawing/2014/main" id="{061212FF-2460-4EF7-9FFA-F29EC25BC20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018344" y="3227832"/>
            <a:ext cx="402336" cy="402336"/>
          </a:xfrm>
          <a:prstGeom prst="rect">
            <a:avLst/>
          </a:prstGeom>
        </p:spPr>
      </p:pic>
      <p:pic>
        <p:nvPicPr>
          <p:cNvPr id="184" name="Graphic 183">
            <a:extLst>
              <a:ext uri="{FF2B5EF4-FFF2-40B4-BE49-F238E27FC236}">
                <a16:creationId xmlns:a16="http://schemas.microsoft.com/office/drawing/2014/main" id="{4E65CEF4-B36A-4397-AD85-30E849D220EB}"/>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018344" y="1824068"/>
            <a:ext cx="402336" cy="402336"/>
          </a:xfrm>
          <a:prstGeom prst="rect">
            <a:avLst/>
          </a:prstGeom>
        </p:spPr>
      </p:pic>
      <p:pic>
        <p:nvPicPr>
          <p:cNvPr id="185" name="Graphic 184">
            <a:extLst>
              <a:ext uri="{FF2B5EF4-FFF2-40B4-BE49-F238E27FC236}">
                <a16:creationId xmlns:a16="http://schemas.microsoft.com/office/drawing/2014/main" id="{F6398227-2869-42C3-BE32-A72146957622}"/>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534202" y="1824068"/>
            <a:ext cx="402336" cy="402336"/>
          </a:xfrm>
          <a:prstGeom prst="rect">
            <a:avLst/>
          </a:prstGeom>
        </p:spPr>
      </p:pic>
      <p:pic>
        <p:nvPicPr>
          <p:cNvPr id="186" name="Graphic 185">
            <a:extLst>
              <a:ext uri="{FF2B5EF4-FFF2-40B4-BE49-F238E27FC236}">
                <a16:creationId xmlns:a16="http://schemas.microsoft.com/office/drawing/2014/main" id="{5F0AC310-5CDC-4AD1-8AE9-1E08E2017EAC}"/>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534202" y="4631596"/>
            <a:ext cx="402336" cy="402336"/>
          </a:xfrm>
          <a:prstGeom prst="rect">
            <a:avLst/>
          </a:prstGeom>
        </p:spPr>
      </p:pic>
      <p:pic>
        <p:nvPicPr>
          <p:cNvPr id="187" name="Graphic 186">
            <a:extLst>
              <a:ext uri="{FF2B5EF4-FFF2-40B4-BE49-F238E27FC236}">
                <a16:creationId xmlns:a16="http://schemas.microsoft.com/office/drawing/2014/main" id="{993B3D8C-F01C-40F9-8DB0-F40256C4B668}"/>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018344" y="4631596"/>
            <a:ext cx="402336" cy="402336"/>
          </a:xfrm>
          <a:prstGeom prst="rect">
            <a:avLst/>
          </a:prstGeom>
        </p:spPr>
      </p:pic>
      <p:sp>
        <p:nvSpPr>
          <p:cNvPr id="3" name="TextBox 2">
            <a:extLst>
              <a:ext uri="{FF2B5EF4-FFF2-40B4-BE49-F238E27FC236}">
                <a16:creationId xmlns:a16="http://schemas.microsoft.com/office/drawing/2014/main" id="{0F259C24-740F-F494-5F4F-FBFA70F94A69}"/>
              </a:ext>
            </a:extLst>
          </p:cNvPr>
          <p:cNvSpPr txBox="1"/>
          <p:nvPr/>
        </p:nvSpPr>
        <p:spPr>
          <a:xfrm>
            <a:off x="5236468" y="3898064"/>
            <a:ext cx="2443641" cy="523220"/>
          </a:xfrm>
          <a:prstGeom prst="rect">
            <a:avLst/>
          </a:prstGeom>
          <a:noFill/>
        </p:spPr>
        <p:txBody>
          <a:bodyPr wrap="square" rtlCol="0">
            <a:spAutoFit/>
          </a:bodyPr>
          <a:lstStyle/>
          <a:p>
            <a:r>
              <a:rPr lang="en-US" sz="1400" b="0" i="0">
                <a:solidFill>
                  <a:srgbClr val="000000"/>
                </a:solidFill>
                <a:effectLst/>
                <a:latin typeface="GeneralGrotesque-Regular"/>
              </a:rPr>
              <a:t>310-340M CHF (projected)</a:t>
            </a:r>
          </a:p>
          <a:p>
            <a:r>
              <a:rPr lang="en-US" sz="1400" b="0" i="0">
                <a:solidFill>
                  <a:srgbClr val="000000"/>
                </a:solidFill>
                <a:effectLst/>
                <a:latin typeface="GeneralGrotesque-Regular"/>
              </a:rPr>
              <a:t>8–18% growth over 2021</a:t>
            </a:r>
            <a:endParaRPr lang="en-US" sz="1400"/>
          </a:p>
        </p:txBody>
      </p:sp>
    </p:spTree>
    <p:extLst>
      <p:ext uri="{BB962C8B-B14F-4D97-AF65-F5344CB8AC3E}">
        <p14:creationId xmlns:p14="http://schemas.microsoft.com/office/powerpoint/2010/main" val="6423067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07468F2-ED37-274F-AD1D-7016B3ED2939}"/>
              </a:ext>
            </a:extLst>
          </p:cNvPr>
          <p:cNvGrpSpPr/>
          <p:nvPr/>
        </p:nvGrpSpPr>
        <p:grpSpPr>
          <a:xfrm>
            <a:off x="2565951" y="1496731"/>
            <a:ext cx="6779223" cy="4273512"/>
            <a:chOff x="2638773" y="1634818"/>
            <a:chExt cx="6779223" cy="4273512"/>
          </a:xfrm>
        </p:grpSpPr>
        <p:pic>
          <p:nvPicPr>
            <p:cNvPr id="45" name="Picture 44">
              <a:extLst>
                <a:ext uri="{FF2B5EF4-FFF2-40B4-BE49-F238E27FC236}">
                  <a16:creationId xmlns:a16="http://schemas.microsoft.com/office/drawing/2014/main" id="{562DE608-93D5-4906-804D-FBC97E39C61B}"/>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284" b="98674" l="10233" r="98605"/>
                      </a14:imgEffect>
                      <a14:imgEffect>
                        <a14:brightnessContrast bright="19000"/>
                      </a14:imgEffect>
                    </a14:imgLayer>
                  </a14:imgProps>
                </a:ext>
              </a:extLst>
            </a:blip>
            <a:stretch>
              <a:fillRect/>
            </a:stretch>
          </p:blipFill>
          <p:spPr>
            <a:xfrm>
              <a:off x="2638773" y="3147616"/>
              <a:ext cx="1435830" cy="1258857"/>
            </a:xfrm>
            <a:prstGeom prst="rect">
              <a:avLst/>
            </a:prstGeom>
          </p:spPr>
        </p:pic>
        <p:pic>
          <p:nvPicPr>
            <p:cNvPr id="46" name="Picture 45">
              <a:extLst>
                <a:ext uri="{FF2B5EF4-FFF2-40B4-BE49-F238E27FC236}">
                  <a16:creationId xmlns:a16="http://schemas.microsoft.com/office/drawing/2014/main" id="{DB05AD1A-DA51-4A01-8B14-8226C059B4D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5000"/>
                      </a14:imgEffect>
                    </a14:imgLayer>
                  </a14:imgProps>
                </a:ext>
              </a:extLst>
            </a:blip>
            <a:stretch>
              <a:fillRect/>
            </a:stretch>
          </p:blipFill>
          <p:spPr>
            <a:xfrm>
              <a:off x="7885832" y="1634818"/>
              <a:ext cx="1532164" cy="962993"/>
            </a:xfrm>
            <a:prstGeom prst="rect">
              <a:avLst/>
            </a:prstGeom>
          </p:spPr>
        </p:pic>
        <p:pic>
          <p:nvPicPr>
            <p:cNvPr id="48" name="Picture 47">
              <a:extLst>
                <a:ext uri="{FF2B5EF4-FFF2-40B4-BE49-F238E27FC236}">
                  <a16:creationId xmlns:a16="http://schemas.microsoft.com/office/drawing/2014/main" id="{5B14CDA4-B59B-49AB-976D-A3BBC9CBEE60}"/>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5000"/>
                      </a14:imgEffect>
                    </a14:imgLayer>
                  </a14:imgProps>
                </a:ext>
              </a:extLst>
            </a:blip>
            <a:stretch>
              <a:fillRect/>
            </a:stretch>
          </p:blipFill>
          <p:spPr>
            <a:xfrm>
              <a:off x="7885832" y="3253957"/>
              <a:ext cx="1532164" cy="860443"/>
            </a:xfrm>
            <a:prstGeom prst="rect">
              <a:avLst/>
            </a:prstGeom>
          </p:spPr>
        </p:pic>
        <p:pic>
          <p:nvPicPr>
            <p:cNvPr id="49" name="Picture 48">
              <a:extLst>
                <a:ext uri="{FF2B5EF4-FFF2-40B4-BE49-F238E27FC236}">
                  <a16:creationId xmlns:a16="http://schemas.microsoft.com/office/drawing/2014/main" id="{BEA672CB-2EAA-48AF-AC4F-5CF4E7D71055}"/>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9000"/>
                      </a14:imgEffect>
                    </a14:imgLayer>
                  </a14:imgProps>
                </a:ext>
              </a:extLst>
            </a:blip>
            <a:stretch>
              <a:fillRect/>
            </a:stretch>
          </p:blipFill>
          <p:spPr>
            <a:xfrm>
              <a:off x="8036683" y="4813225"/>
              <a:ext cx="1299135" cy="1095105"/>
            </a:xfrm>
            <a:prstGeom prst="rect">
              <a:avLst/>
            </a:prstGeom>
          </p:spPr>
        </p:pic>
        <p:pic>
          <p:nvPicPr>
            <p:cNvPr id="47" name="Picture 46">
              <a:extLst>
                <a:ext uri="{FF2B5EF4-FFF2-40B4-BE49-F238E27FC236}">
                  <a16:creationId xmlns:a16="http://schemas.microsoft.com/office/drawing/2014/main" id="{8207FDF6-B21A-46DC-80E7-17870CFEB7F8}"/>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5000"/>
                      </a14:imgEffect>
                    </a14:imgLayer>
                  </a14:imgProps>
                </a:ext>
              </a:extLst>
            </a:blip>
            <a:stretch>
              <a:fillRect/>
            </a:stretch>
          </p:blipFill>
          <p:spPr>
            <a:xfrm>
              <a:off x="2758421" y="1728063"/>
              <a:ext cx="1316182" cy="917984"/>
            </a:xfrm>
            <a:prstGeom prst="rect">
              <a:avLst/>
            </a:prstGeom>
          </p:spPr>
        </p:pic>
      </p:grpSp>
      <p:sp>
        <p:nvSpPr>
          <p:cNvPr id="3" name="Title 2">
            <a:extLst>
              <a:ext uri="{FF2B5EF4-FFF2-40B4-BE49-F238E27FC236}">
                <a16:creationId xmlns:a16="http://schemas.microsoft.com/office/drawing/2014/main" id="{E9A056F5-B49E-48E4-B1F1-E22B1E6E62CF}"/>
              </a:ext>
            </a:extLst>
          </p:cNvPr>
          <p:cNvSpPr>
            <a:spLocks noGrp="1"/>
          </p:cNvSpPr>
          <p:nvPr>
            <p:ph type="title"/>
          </p:nvPr>
        </p:nvSpPr>
        <p:spPr/>
        <p:txBody>
          <a:bodyPr/>
          <a:lstStyle/>
          <a:p>
            <a:r>
              <a:rPr lang="en-US" sz="2800" b="1" dirty="0"/>
              <a:t>How to measure PM, VOC, NOx, RH, and T if not with the SEN5x Node? </a:t>
            </a:r>
          </a:p>
        </p:txBody>
      </p:sp>
      <p:sp>
        <p:nvSpPr>
          <p:cNvPr id="20" name="Content Placeholder 2">
            <a:extLst>
              <a:ext uri="{FF2B5EF4-FFF2-40B4-BE49-F238E27FC236}">
                <a16:creationId xmlns:a16="http://schemas.microsoft.com/office/drawing/2014/main" id="{0FADB5B4-6EC2-4E9D-9224-E83F9DD364BC}"/>
              </a:ext>
            </a:extLst>
          </p:cNvPr>
          <p:cNvSpPr txBox="1">
            <a:spLocks/>
          </p:cNvSpPr>
          <p:nvPr/>
        </p:nvSpPr>
        <p:spPr>
          <a:xfrm>
            <a:off x="-1026880" y="2990261"/>
            <a:ext cx="2576280" cy="3867740"/>
          </a:xfrm>
          <a:prstGeom prst="rect">
            <a:avLst/>
          </a:prstGeo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Wingdings" panose="05000000000000000000" pitchFamily="2" charset="2"/>
              <a:buChar char="§"/>
            </a:pPr>
            <a:endParaRPr lang="en-US"/>
          </a:p>
        </p:txBody>
      </p:sp>
      <p:sp>
        <p:nvSpPr>
          <p:cNvPr id="25" name="Rectangle: Rounded Corners 49">
            <a:extLst>
              <a:ext uri="{FF2B5EF4-FFF2-40B4-BE49-F238E27FC236}">
                <a16:creationId xmlns:a16="http://schemas.microsoft.com/office/drawing/2014/main" id="{E4F44624-8ECB-4D58-B231-A1F78E790EA6}"/>
              </a:ext>
            </a:extLst>
          </p:cNvPr>
          <p:cNvSpPr/>
          <p:nvPr/>
        </p:nvSpPr>
        <p:spPr>
          <a:xfrm>
            <a:off x="771274" y="1439782"/>
            <a:ext cx="1918467" cy="1387872"/>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6A8A7B3B-8EA5-4D76-924B-1F20711A22F3}"/>
              </a:ext>
            </a:extLst>
          </p:cNvPr>
          <p:cNvSpPr txBox="1"/>
          <p:nvPr/>
        </p:nvSpPr>
        <p:spPr>
          <a:xfrm>
            <a:off x="725992" y="2197917"/>
            <a:ext cx="1918467" cy="338554"/>
          </a:xfrm>
          <a:prstGeom prst="rect">
            <a:avLst/>
          </a:prstGeom>
          <a:noFill/>
        </p:spPr>
        <p:txBody>
          <a:bodyPr wrap="square" rtlCol="0">
            <a:spAutoFit/>
          </a:bodyPr>
          <a:lstStyle/>
          <a:p>
            <a:pPr algn="ctr"/>
            <a:r>
              <a:rPr lang="de-CH" sz="1600" b="1" dirty="0" err="1">
                <a:solidFill>
                  <a:schemeClr val="accent1"/>
                </a:solidFill>
              </a:rPr>
              <a:t>Particulate</a:t>
            </a:r>
            <a:r>
              <a:rPr lang="de-CH" sz="1600" b="1" dirty="0">
                <a:solidFill>
                  <a:schemeClr val="accent1"/>
                </a:solidFill>
              </a:rPr>
              <a:t> Matter</a:t>
            </a:r>
          </a:p>
        </p:txBody>
      </p:sp>
      <p:pic>
        <p:nvPicPr>
          <p:cNvPr id="23" name="Graphic 22">
            <a:extLst>
              <a:ext uri="{FF2B5EF4-FFF2-40B4-BE49-F238E27FC236}">
                <a16:creationId xmlns:a16="http://schemas.microsoft.com/office/drawing/2014/main" id="{866C13D0-AA7E-43F1-AE1B-D10710B9DC8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31609" y="1579615"/>
            <a:ext cx="630945" cy="630945"/>
          </a:xfrm>
          <a:prstGeom prst="rect">
            <a:avLst/>
          </a:prstGeom>
        </p:spPr>
      </p:pic>
      <p:sp>
        <p:nvSpPr>
          <p:cNvPr id="29" name="Rectangle: Rounded Corners 49">
            <a:extLst>
              <a:ext uri="{FF2B5EF4-FFF2-40B4-BE49-F238E27FC236}">
                <a16:creationId xmlns:a16="http://schemas.microsoft.com/office/drawing/2014/main" id="{B8DFABD0-6B15-4599-B28F-D22E2940B04E}"/>
              </a:ext>
            </a:extLst>
          </p:cNvPr>
          <p:cNvSpPr/>
          <p:nvPr/>
        </p:nvSpPr>
        <p:spPr>
          <a:xfrm>
            <a:off x="725992" y="2962736"/>
            <a:ext cx="1918467" cy="1387872"/>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DA1E2163-EBBC-453E-8503-7327965829D5}"/>
              </a:ext>
            </a:extLst>
          </p:cNvPr>
          <p:cNvSpPr txBox="1"/>
          <p:nvPr/>
        </p:nvSpPr>
        <p:spPr>
          <a:xfrm>
            <a:off x="771274" y="3720871"/>
            <a:ext cx="1918467" cy="338554"/>
          </a:xfrm>
          <a:prstGeom prst="rect">
            <a:avLst/>
          </a:prstGeom>
          <a:noFill/>
        </p:spPr>
        <p:txBody>
          <a:bodyPr wrap="square" rtlCol="0">
            <a:spAutoFit/>
          </a:bodyPr>
          <a:lstStyle/>
          <a:p>
            <a:pPr algn="ctr"/>
            <a:r>
              <a:rPr lang="de-CH" sz="1600" b="1" err="1">
                <a:solidFill>
                  <a:schemeClr val="accent1"/>
                </a:solidFill>
              </a:rPr>
              <a:t>Humidity</a:t>
            </a:r>
            <a:endParaRPr lang="de-CH" sz="1600" b="1">
              <a:solidFill>
                <a:schemeClr val="accent1"/>
              </a:solidFill>
            </a:endParaRPr>
          </a:p>
        </p:txBody>
      </p:sp>
      <p:sp>
        <p:nvSpPr>
          <p:cNvPr id="33" name="Rectangle: Rounded Corners 49">
            <a:extLst>
              <a:ext uri="{FF2B5EF4-FFF2-40B4-BE49-F238E27FC236}">
                <a16:creationId xmlns:a16="http://schemas.microsoft.com/office/drawing/2014/main" id="{7D3FE3FC-925E-4F76-84D8-29F39A139954}"/>
              </a:ext>
            </a:extLst>
          </p:cNvPr>
          <p:cNvSpPr/>
          <p:nvPr/>
        </p:nvSpPr>
        <p:spPr>
          <a:xfrm>
            <a:off x="9433320" y="1439782"/>
            <a:ext cx="1918467" cy="1387872"/>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07F34C04-E101-4437-A5A3-A3428B5D319D}"/>
              </a:ext>
            </a:extLst>
          </p:cNvPr>
          <p:cNvSpPr txBox="1"/>
          <p:nvPr/>
        </p:nvSpPr>
        <p:spPr>
          <a:xfrm>
            <a:off x="8988139" y="2197917"/>
            <a:ext cx="2808828" cy="584775"/>
          </a:xfrm>
          <a:prstGeom prst="rect">
            <a:avLst/>
          </a:prstGeom>
          <a:noFill/>
        </p:spPr>
        <p:txBody>
          <a:bodyPr wrap="square" rtlCol="0">
            <a:spAutoFit/>
          </a:bodyPr>
          <a:lstStyle/>
          <a:p>
            <a:pPr algn="ctr"/>
            <a:r>
              <a:rPr lang="de-CH" sz="1600" b="1">
                <a:solidFill>
                  <a:schemeClr val="accent1"/>
                </a:solidFill>
              </a:rPr>
              <a:t>Volatile Organic </a:t>
            </a:r>
          </a:p>
          <a:p>
            <a:pPr algn="ctr"/>
            <a:r>
              <a:rPr lang="de-CH" sz="1600" b="1">
                <a:solidFill>
                  <a:schemeClr val="accent1"/>
                </a:solidFill>
              </a:rPr>
              <a:t>Compounds</a:t>
            </a:r>
          </a:p>
        </p:txBody>
      </p:sp>
      <p:sp>
        <p:nvSpPr>
          <p:cNvPr id="37" name="Rectangle: Rounded Corners 49">
            <a:extLst>
              <a:ext uri="{FF2B5EF4-FFF2-40B4-BE49-F238E27FC236}">
                <a16:creationId xmlns:a16="http://schemas.microsoft.com/office/drawing/2014/main" id="{F1D036DD-6AEC-40A6-A63A-4F8B070D1CCB}"/>
              </a:ext>
            </a:extLst>
          </p:cNvPr>
          <p:cNvSpPr/>
          <p:nvPr/>
        </p:nvSpPr>
        <p:spPr>
          <a:xfrm>
            <a:off x="9433320" y="2962736"/>
            <a:ext cx="1918467" cy="1387872"/>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8CCC57C5-A19D-47D7-BB11-2AD55F78527E}"/>
              </a:ext>
            </a:extLst>
          </p:cNvPr>
          <p:cNvSpPr txBox="1"/>
          <p:nvPr/>
        </p:nvSpPr>
        <p:spPr>
          <a:xfrm>
            <a:off x="9433320" y="3720871"/>
            <a:ext cx="1918467" cy="338554"/>
          </a:xfrm>
          <a:prstGeom prst="rect">
            <a:avLst/>
          </a:prstGeom>
          <a:noFill/>
        </p:spPr>
        <p:txBody>
          <a:bodyPr wrap="square" rtlCol="0">
            <a:spAutoFit/>
          </a:bodyPr>
          <a:lstStyle/>
          <a:p>
            <a:pPr algn="ctr"/>
            <a:r>
              <a:rPr lang="de-CH" sz="1600" b="1">
                <a:solidFill>
                  <a:schemeClr val="accent1"/>
                </a:solidFill>
              </a:rPr>
              <a:t>Nitrogen Oxides</a:t>
            </a:r>
          </a:p>
        </p:txBody>
      </p:sp>
      <p:sp>
        <p:nvSpPr>
          <p:cNvPr id="42" name="Rectangle: Rounded Corners 49">
            <a:extLst>
              <a:ext uri="{FF2B5EF4-FFF2-40B4-BE49-F238E27FC236}">
                <a16:creationId xmlns:a16="http://schemas.microsoft.com/office/drawing/2014/main" id="{AFEE7BB1-A396-410F-8C60-D8A522750640}"/>
              </a:ext>
            </a:extLst>
          </p:cNvPr>
          <p:cNvSpPr/>
          <p:nvPr/>
        </p:nvSpPr>
        <p:spPr>
          <a:xfrm>
            <a:off x="9433320" y="4485689"/>
            <a:ext cx="1918467" cy="1387872"/>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5E01108C-23D9-451F-A678-9C82BA2F1039}"/>
              </a:ext>
            </a:extLst>
          </p:cNvPr>
          <p:cNvSpPr txBox="1"/>
          <p:nvPr/>
        </p:nvSpPr>
        <p:spPr>
          <a:xfrm>
            <a:off x="9433320" y="5243824"/>
            <a:ext cx="1918467" cy="338554"/>
          </a:xfrm>
          <a:prstGeom prst="rect">
            <a:avLst/>
          </a:prstGeom>
          <a:noFill/>
        </p:spPr>
        <p:txBody>
          <a:bodyPr wrap="square" rtlCol="0">
            <a:spAutoFit/>
          </a:bodyPr>
          <a:lstStyle/>
          <a:p>
            <a:pPr algn="ctr"/>
            <a:r>
              <a:rPr lang="de-CH" sz="1600" b="1">
                <a:solidFill>
                  <a:schemeClr val="accent1"/>
                </a:solidFill>
              </a:rPr>
              <a:t>Temperature</a:t>
            </a:r>
          </a:p>
        </p:txBody>
      </p:sp>
      <p:grpSp>
        <p:nvGrpSpPr>
          <p:cNvPr id="5" name="Group 4">
            <a:extLst>
              <a:ext uri="{FF2B5EF4-FFF2-40B4-BE49-F238E27FC236}">
                <a16:creationId xmlns:a16="http://schemas.microsoft.com/office/drawing/2014/main" id="{2C41A499-AFDB-44FB-97AE-0A6E8C6FFCAF}"/>
              </a:ext>
            </a:extLst>
          </p:cNvPr>
          <p:cNvGrpSpPr/>
          <p:nvPr/>
        </p:nvGrpSpPr>
        <p:grpSpPr>
          <a:xfrm>
            <a:off x="4125069" y="2162958"/>
            <a:ext cx="3974431" cy="2896968"/>
            <a:chOff x="3243889" y="2223924"/>
            <a:chExt cx="5053084" cy="3683200"/>
          </a:xfrm>
        </p:grpSpPr>
        <p:pic>
          <p:nvPicPr>
            <p:cNvPr id="51" name="Picture 50">
              <a:extLst>
                <a:ext uri="{FF2B5EF4-FFF2-40B4-BE49-F238E27FC236}">
                  <a16:creationId xmlns:a16="http://schemas.microsoft.com/office/drawing/2014/main" id="{61D27E2A-50A1-4A89-A374-FBEE3A259241}"/>
                </a:ext>
              </a:extLst>
            </p:cNvPr>
            <p:cNvPicPr>
              <a:picLocks noChangeAspect="1"/>
            </p:cNvPicPr>
            <p:nvPr/>
          </p:nvPicPr>
          <p:blipFill>
            <a:blip r:embed="rId15"/>
            <a:stretch>
              <a:fillRect/>
            </a:stretch>
          </p:blipFill>
          <p:spPr>
            <a:xfrm>
              <a:off x="5767206" y="2695614"/>
              <a:ext cx="2305886" cy="1598488"/>
            </a:xfrm>
            <a:prstGeom prst="rect">
              <a:avLst/>
            </a:prstGeom>
          </p:spPr>
        </p:pic>
        <p:pic>
          <p:nvPicPr>
            <p:cNvPr id="50" name="Picture 49">
              <a:extLst>
                <a:ext uri="{FF2B5EF4-FFF2-40B4-BE49-F238E27FC236}">
                  <a16:creationId xmlns:a16="http://schemas.microsoft.com/office/drawing/2014/main" id="{6F19289E-26CC-4257-9705-1EF8A2274E32}"/>
                </a:ext>
              </a:extLst>
            </p:cNvPr>
            <p:cNvPicPr>
              <a:picLocks noChangeAspect="1"/>
            </p:cNvPicPr>
            <p:nvPr/>
          </p:nvPicPr>
          <p:blipFill>
            <a:blip r:embed="rId16"/>
            <a:stretch>
              <a:fillRect/>
            </a:stretch>
          </p:blipFill>
          <p:spPr>
            <a:xfrm>
              <a:off x="4115488" y="2223924"/>
              <a:ext cx="1836993" cy="1224661"/>
            </a:xfrm>
            <a:prstGeom prst="rect">
              <a:avLst/>
            </a:prstGeom>
          </p:spPr>
        </p:pic>
        <p:pic>
          <p:nvPicPr>
            <p:cNvPr id="52" name="Picture 51">
              <a:extLst>
                <a:ext uri="{FF2B5EF4-FFF2-40B4-BE49-F238E27FC236}">
                  <a16:creationId xmlns:a16="http://schemas.microsoft.com/office/drawing/2014/main" id="{C948ECA6-1136-4F7F-92D3-299CE47AE079}"/>
                </a:ext>
              </a:extLst>
            </p:cNvPr>
            <p:cNvPicPr>
              <a:picLocks noChangeAspect="1"/>
            </p:cNvPicPr>
            <p:nvPr/>
          </p:nvPicPr>
          <p:blipFill>
            <a:blip r:embed="rId17">
              <a:extLst>
                <a:ext uri="{BEBA8EAE-BF5A-486C-A8C5-ECC9F3942E4B}">
                  <a14:imgProps xmlns:a14="http://schemas.microsoft.com/office/drawing/2010/main">
                    <a14:imgLayer r:embed="rId18">
                      <a14:imgEffect>
                        <a14:brightnessContrast bright="5000"/>
                      </a14:imgEffect>
                    </a14:imgLayer>
                  </a14:imgProps>
                </a:ext>
              </a:extLst>
            </a:blip>
            <a:stretch>
              <a:fillRect/>
            </a:stretch>
          </p:blipFill>
          <p:spPr>
            <a:xfrm>
              <a:off x="3243889" y="4096381"/>
              <a:ext cx="2414324" cy="1810743"/>
            </a:xfrm>
            <a:prstGeom prst="rect">
              <a:avLst/>
            </a:prstGeom>
          </p:spPr>
        </p:pic>
        <p:pic>
          <p:nvPicPr>
            <p:cNvPr id="53" name="Picture 52">
              <a:extLst>
                <a:ext uri="{FF2B5EF4-FFF2-40B4-BE49-F238E27FC236}">
                  <a16:creationId xmlns:a16="http://schemas.microsoft.com/office/drawing/2014/main" id="{23C92D4E-1D86-41A3-9ECF-4B5C384EC75A}"/>
                </a:ext>
              </a:extLst>
            </p:cNvPr>
            <p:cNvPicPr>
              <a:picLocks noChangeAspect="1"/>
            </p:cNvPicPr>
            <p:nvPr/>
          </p:nvPicPr>
          <p:blipFill rotWithShape="1">
            <a:blip r:embed="rId19"/>
            <a:srcRect t="13015" b="9161"/>
            <a:stretch/>
          </p:blipFill>
          <p:spPr>
            <a:xfrm rot="19415034">
              <a:off x="5645456" y="4873322"/>
              <a:ext cx="2651517" cy="823218"/>
            </a:xfrm>
            <a:prstGeom prst="rect">
              <a:avLst/>
            </a:prstGeom>
          </p:spPr>
        </p:pic>
      </p:grpSp>
      <p:pic>
        <p:nvPicPr>
          <p:cNvPr id="54" name="Graphic 53">
            <a:extLst>
              <a:ext uri="{FF2B5EF4-FFF2-40B4-BE49-F238E27FC236}">
                <a16:creationId xmlns:a16="http://schemas.microsoft.com/office/drawing/2014/main" id="{47CE4899-F382-4140-88B1-F1E856FFEB8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076959" y="4626387"/>
            <a:ext cx="630203" cy="630203"/>
          </a:xfrm>
          <a:prstGeom prst="rect">
            <a:avLst/>
          </a:prstGeom>
        </p:spPr>
      </p:pic>
      <p:pic>
        <p:nvPicPr>
          <p:cNvPr id="55" name="Graphic 54">
            <a:extLst>
              <a:ext uri="{FF2B5EF4-FFF2-40B4-BE49-F238E27FC236}">
                <a16:creationId xmlns:a16="http://schemas.microsoft.com/office/drawing/2014/main" id="{AB15CED7-678F-4A7F-B656-4BAFE748076B}"/>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340460" y="3103434"/>
            <a:ext cx="630203" cy="630203"/>
          </a:xfrm>
          <a:prstGeom prst="rect">
            <a:avLst/>
          </a:prstGeom>
        </p:spPr>
      </p:pic>
      <p:pic>
        <p:nvPicPr>
          <p:cNvPr id="57" name="Graphic 56">
            <a:extLst>
              <a:ext uri="{FF2B5EF4-FFF2-40B4-BE49-F238E27FC236}">
                <a16:creationId xmlns:a16="http://schemas.microsoft.com/office/drawing/2014/main" id="{0D18B5F4-9928-44F0-942A-4532D2A28796}"/>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001519" y="1580480"/>
            <a:ext cx="630203" cy="630203"/>
          </a:xfrm>
          <a:prstGeom prst="rect">
            <a:avLst/>
          </a:prstGeom>
        </p:spPr>
      </p:pic>
      <p:pic>
        <p:nvPicPr>
          <p:cNvPr id="58" name="Graphic 57">
            <a:extLst>
              <a:ext uri="{FF2B5EF4-FFF2-40B4-BE49-F238E27FC236}">
                <a16:creationId xmlns:a16="http://schemas.microsoft.com/office/drawing/2014/main" id="{6D1F5AD1-D5AE-49C7-AC28-D1D717508345}"/>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076959" y="3103434"/>
            <a:ext cx="630203" cy="630203"/>
          </a:xfrm>
          <a:prstGeom prst="rect">
            <a:avLst/>
          </a:prstGeom>
        </p:spPr>
      </p:pic>
      <p:pic>
        <p:nvPicPr>
          <p:cNvPr id="6" name="Picture 9" descr="A picture containing logo&#10;&#10;Description automatically generated">
            <a:extLst>
              <a:ext uri="{FF2B5EF4-FFF2-40B4-BE49-F238E27FC236}">
                <a16:creationId xmlns:a16="http://schemas.microsoft.com/office/drawing/2014/main" id="{DA3D27B0-20B5-F8DA-4489-16DE5FA15DFE}"/>
              </a:ext>
            </a:extLst>
          </p:cNvPr>
          <p:cNvPicPr>
            <a:picLocks noChangeAspect="1"/>
          </p:cNvPicPr>
          <p:nvPr/>
        </p:nvPicPr>
        <p:blipFill>
          <a:blip r:embed="rId28"/>
          <a:stretch>
            <a:fillRect/>
          </a:stretch>
        </p:blipFill>
        <p:spPr>
          <a:xfrm>
            <a:off x="9774691" y="6175829"/>
            <a:ext cx="1895475" cy="457200"/>
          </a:xfrm>
          <a:prstGeom prst="rect">
            <a:avLst/>
          </a:prstGeom>
        </p:spPr>
      </p:pic>
    </p:spTree>
    <p:extLst>
      <p:ext uri="{BB962C8B-B14F-4D97-AF65-F5344CB8AC3E}">
        <p14:creationId xmlns:p14="http://schemas.microsoft.com/office/powerpoint/2010/main" val="62503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anim calcmode="lin" valueType="num">
                                      <p:cBhvr additive="base">
                                        <p:cTn id="23" dur="500" fill="hold"/>
                                        <p:tgtEl>
                                          <p:spTgt spid="55"/>
                                        </p:tgtEl>
                                        <p:attrNameLst>
                                          <p:attrName>ppt_x</p:attrName>
                                        </p:attrNameLst>
                                      </p:cBhvr>
                                      <p:tavLst>
                                        <p:tav tm="0">
                                          <p:val>
                                            <p:strVal val="#ppt_x"/>
                                          </p:val>
                                        </p:tav>
                                        <p:tav tm="100000">
                                          <p:val>
                                            <p:strVal val="#ppt_x"/>
                                          </p:val>
                                        </p:tav>
                                      </p:tavLst>
                                    </p:anim>
                                    <p:anim calcmode="lin" valueType="num">
                                      <p:cBhvr additive="base">
                                        <p:cTn id="24" dur="500" fill="hold"/>
                                        <p:tgtEl>
                                          <p:spTgt spid="55"/>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fill="hold"/>
                                        <p:tgtEl>
                                          <p:spTgt spid="30"/>
                                        </p:tgtEl>
                                        <p:attrNameLst>
                                          <p:attrName>ppt_x</p:attrName>
                                        </p:attrNameLst>
                                      </p:cBhvr>
                                      <p:tavLst>
                                        <p:tav tm="0">
                                          <p:val>
                                            <p:strVal val="#ppt_x"/>
                                          </p:val>
                                        </p:tav>
                                        <p:tav tm="100000">
                                          <p:val>
                                            <p:strVal val="#ppt_x"/>
                                          </p:val>
                                        </p:tav>
                                      </p:tavLst>
                                    </p:anim>
                                    <p:anim calcmode="lin" valueType="num">
                                      <p:cBhvr additive="base">
                                        <p:cTn id="28" dur="500" fill="hold"/>
                                        <p:tgtEl>
                                          <p:spTgt spid="30"/>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500" fill="hold"/>
                                        <p:tgtEl>
                                          <p:spTgt spid="57"/>
                                        </p:tgtEl>
                                        <p:attrNameLst>
                                          <p:attrName>ppt_x</p:attrName>
                                        </p:attrNameLst>
                                      </p:cBhvr>
                                      <p:tavLst>
                                        <p:tav tm="0">
                                          <p:val>
                                            <p:strVal val="#ppt_x"/>
                                          </p:val>
                                        </p:tav>
                                        <p:tav tm="100000">
                                          <p:val>
                                            <p:strVal val="#ppt_x"/>
                                          </p:val>
                                        </p:tav>
                                      </p:tavLst>
                                    </p:anim>
                                    <p:anim calcmode="lin" valueType="num">
                                      <p:cBhvr additive="base">
                                        <p:cTn id="32" dur="500" fill="hold"/>
                                        <p:tgtEl>
                                          <p:spTgt spid="57"/>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anim calcmode="lin" valueType="num">
                                      <p:cBhvr additive="base">
                                        <p:cTn id="35" dur="500" fill="hold"/>
                                        <p:tgtEl>
                                          <p:spTgt spid="34"/>
                                        </p:tgtEl>
                                        <p:attrNameLst>
                                          <p:attrName>ppt_x</p:attrName>
                                        </p:attrNameLst>
                                      </p:cBhvr>
                                      <p:tavLst>
                                        <p:tav tm="0">
                                          <p:val>
                                            <p:strVal val="#ppt_x"/>
                                          </p:val>
                                        </p:tav>
                                        <p:tav tm="100000">
                                          <p:val>
                                            <p:strVal val="#ppt_x"/>
                                          </p:val>
                                        </p:tav>
                                      </p:tavLst>
                                    </p:anim>
                                    <p:anim calcmode="lin" valueType="num">
                                      <p:cBhvr additive="base">
                                        <p:cTn id="36" dur="500" fill="hold"/>
                                        <p:tgtEl>
                                          <p:spTgt spid="34"/>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58"/>
                                        </p:tgtEl>
                                        <p:attrNameLst>
                                          <p:attrName>style.visibility</p:attrName>
                                        </p:attrNameLst>
                                      </p:cBhvr>
                                      <p:to>
                                        <p:strVal val="visible"/>
                                      </p:to>
                                    </p:set>
                                    <p:anim calcmode="lin" valueType="num">
                                      <p:cBhvr additive="base">
                                        <p:cTn id="39" dur="500" fill="hold"/>
                                        <p:tgtEl>
                                          <p:spTgt spid="58"/>
                                        </p:tgtEl>
                                        <p:attrNameLst>
                                          <p:attrName>ppt_x</p:attrName>
                                        </p:attrNameLst>
                                      </p:cBhvr>
                                      <p:tavLst>
                                        <p:tav tm="0">
                                          <p:val>
                                            <p:strVal val="#ppt_x"/>
                                          </p:val>
                                        </p:tav>
                                        <p:tav tm="100000">
                                          <p:val>
                                            <p:strVal val="#ppt_x"/>
                                          </p:val>
                                        </p:tav>
                                      </p:tavLst>
                                    </p:anim>
                                    <p:anim calcmode="lin" valueType="num">
                                      <p:cBhvr additive="base">
                                        <p:cTn id="40" dur="500" fill="hold"/>
                                        <p:tgtEl>
                                          <p:spTgt spid="58"/>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8"/>
                                        </p:tgtEl>
                                        <p:attrNameLst>
                                          <p:attrName>style.visibility</p:attrName>
                                        </p:attrNameLst>
                                      </p:cBhvr>
                                      <p:to>
                                        <p:strVal val="visible"/>
                                      </p:to>
                                    </p:set>
                                    <p:anim calcmode="lin" valueType="num">
                                      <p:cBhvr additive="base">
                                        <p:cTn id="43" dur="500" fill="hold"/>
                                        <p:tgtEl>
                                          <p:spTgt spid="38"/>
                                        </p:tgtEl>
                                        <p:attrNameLst>
                                          <p:attrName>ppt_x</p:attrName>
                                        </p:attrNameLst>
                                      </p:cBhvr>
                                      <p:tavLst>
                                        <p:tav tm="0">
                                          <p:val>
                                            <p:strVal val="#ppt_x"/>
                                          </p:val>
                                        </p:tav>
                                        <p:tav tm="100000">
                                          <p:val>
                                            <p:strVal val="#ppt_x"/>
                                          </p:val>
                                        </p:tav>
                                      </p:tavLst>
                                    </p:anim>
                                    <p:anim calcmode="lin" valueType="num">
                                      <p:cBhvr additive="base">
                                        <p:cTn id="44" dur="500" fill="hold"/>
                                        <p:tgtEl>
                                          <p:spTgt spid="38"/>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anim calcmode="lin" valueType="num">
                                      <p:cBhvr additive="base">
                                        <p:cTn id="47" dur="500" fill="hold"/>
                                        <p:tgtEl>
                                          <p:spTgt spid="54"/>
                                        </p:tgtEl>
                                        <p:attrNameLst>
                                          <p:attrName>ppt_x</p:attrName>
                                        </p:attrNameLst>
                                      </p:cBhvr>
                                      <p:tavLst>
                                        <p:tav tm="0">
                                          <p:val>
                                            <p:strVal val="#ppt_x"/>
                                          </p:val>
                                        </p:tav>
                                        <p:tav tm="100000">
                                          <p:val>
                                            <p:strVal val="#ppt_x"/>
                                          </p:val>
                                        </p:tav>
                                      </p:tavLst>
                                    </p:anim>
                                    <p:anim calcmode="lin" valueType="num">
                                      <p:cBhvr additive="base">
                                        <p:cTn id="48" dur="500" fill="hold"/>
                                        <p:tgtEl>
                                          <p:spTgt spid="54"/>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43"/>
                                        </p:tgtEl>
                                        <p:attrNameLst>
                                          <p:attrName>style.visibility</p:attrName>
                                        </p:attrNameLst>
                                      </p:cBhvr>
                                      <p:to>
                                        <p:strVal val="visible"/>
                                      </p:to>
                                    </p:set>
                                    <p:anim calcmode="lin" valueType="num">
                                      <p:cBhvr additive="base">
                                        <p:cTn id="51" dur="500" fill="hold"/>
                                        <p:tgtEl>
                                          <p:spTgt spid="43"/>
                                        </p:tgtEl>
                                        <p:attrNameLst>
                                          <p:attrName>ppt_x</p:attrName>
                                        </p:attrNameLst>
                                      </p:cBhvr>
                                      <p:tavLst>
                                        <p:tav tm="0">
                                          <p:val>
                                            <p:strVal val="#ppt_x"/>
                                          </p:val>
                                        </p:tav>
                                        <p:tav tm="100000">
                                          <p:val>
                                            <p:strVal val="#ppt_x"/>
                                          </p:val>
                                        </p:tav>
                                      </p:tavLst>
                                    </p:anim>
                                    <p:anim calcmode="lin" valueType="num">
                                      <p:cBhvr additive="base">
                                        <p:cTn id="52"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2" grpId="0"/>
      <p:bldP spid="30" grpId="0"/>
      <p:bldP spid="34" grpId="0"/>
      <p:bldP spid="38" grpId="0"/>
      <p:bldP spid="4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9787" y="273737"/>
            <a:ext cx="10537297" cy="505939"/>
          </a:xfrm>
        </p:spPr>
        <p:txBody>
          <a:bodyPr/>
          <a:lstStyle/>
          <a:p>
            <a:r>
              <a:rPr lang="en-US"/>
              <a:t>Particulate matter - USPs and specs</a:t>
            </a:r>
          </a:p>
        </p:txBody>
      </p:sp>
      <p:pic>
        <p:nvPicPr>
          <p:cNvPr id="7" name="Picture 6"/>
          <p:cNvPicPr>
            <a:picLocks noChangeAspect="1"/>
          </p:cNvPicPr>
          <p:nvPr/>
        </p:nvPicPr>
        <p:blipFill rotWithShape="1">
          <a:blip r:embed="rId2" cstate="print">
            <a:clrChange>
              <a:clrFrom>
                <a:srgbClr val="FFFFFF"/>
              </a:clrFrom>
              <a:clrTo>
                <a:srgbClr val="FFFFFF">
                  <a:alpha val="0"/>
                </a:srgbClr>
              </a:clrTo>
            </a:clrChang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14624" t="7480" r="16863" b="6664"/>
          <a:stretch/>
        </p:blipFill>
        <p:spPr bwMode="auto">
          <a:xfrm>
            <a:off x="7263908" y="1126897"/>
            <a:ext cx="3476355" cy="2450344"/>
          </a:xfrm>
          <a:prstGeom prst="rect">
            <a:avLst/>
          </a:prstGeom>
          <a:ln>
            <a:noFill/>
          </a:ln>
          <a:extLst>
            <a:ext uri="{53640926-AAD7-44D8-BBD7-CCE9431645EC}">
              <a14:shadowObscured xmlns:a14="http://schemas.microsoft.com/office/drawing/2010/main"/>
            </a:ext>
          </a:extLst>
        </p:spPr>
      </p:pic>
      <p:sp>
        <p:nvSpPr>
          <p:cNvPr id="5" name="Text Placeholder 4">
            <a:extLst>
              <a:ext uri="{FF2B5EF4-FFF2-40B4-BE49-F238E27FC236}">
                <a16:creationId xmlns:a16="http://schemas.microsoft.com/office/drawing/2014/main" id="{A1DFD12B-CAA4-49C0-97F7-D7C274D8E9AA}"/>
              </a:ext>
            </a:extLst>
          </p:cNvPr>
          <p:cNvSpPr>
            <a:spLocks noGrp="1"/>
          </p:cNvSpPr>
          <p:nvPr>
            <p:ph type="body" sz="quarter" idx="10"/>
          </p:nvPr>
        </p:nvSpPr>
        <p:spPr>
          <a:xfrm>
            <a:off x="2959100" y="3661377"/>
            <a:ext cx="7499349" cy="2340841"/>
          </a:xfrm>
        </p:spPr>
        <p:txBody>
          <a:bodyPr/>
          <a:lstStyle/>
          <a:p>
            <a:pPr lvl="1"/>
            <a:r>
              <a:rPr lang="en-US" sz="1800" dirty="0"/>
              <a:t>Mass concentration range: 	0-1000 µg/m3</a:t>
            </a:r>
          </a:p>
          <a:p>
            <a:pPr lvl="1"/>
            <a:r>
              <a:rPr lang="de-CH" sz="1800" dirty="0"/>
              <a:t>Resolution: 		1 </a:t>
            </a:r>
            <a:r>
              <a:rPr lang="en-US" sz="1800" dirty="0"/>
              <a:t>µg/m3</a:t>
            </a:r>
          </a:p>
          <a:p>
            <a:pPr lvl="1"/>
            <a:r>
              <a:rPr lang="en-US" sz="1800" dirty="0"/>
              <a:t>Precision PM1, PM2.5:	</a:t>
            </a:r>
            <a:r>
              <a:rPr lang="en-US" sz="1800" dirty="0">
                <a:highlight>
                  <a:srgbClr val="00FF00"/>
                </a:highlight>
              </a:rPr>
              <a:t>±5 µg/m3 + 5%     @ 0 to 100 </a:t>
            </a:r>
            <a:r>
              <a:rPr lang="en-US" sz="1800" dirty="0" err="1">
                <a:highlight>
                  <a:srgbClr val="00FF00"/>
                </a:highlight>
              </a:rPr>
              <a:t>μg</a:t>
            </a:r>
            <a:r>
              <a:rPr lang="en-US" sz="1800" dirty="0">
                <a:highlight>
                  <a:srgbClr val="00FF00"/>
                </a:highlight>
              </a:rPr>
              <a:t>/m</a:t>
            </a:r>
            <a:r>
              <a:rPr lang="en-US" sz="1800" baseline="30000" dirty="0">
                <a:highlight>
                  <a:srgbClr val="00FF00"/>
                </a:highlight>
              </a:rPr>
              <a:t>3</a:t>
            </a:r>
            <a:endParaRPr lang="en-US" sz="1800" dirty="0">
              <a:highlight>
                <a:srgbClr val="00FF00"/>
              </a:highlight>
            </a:endParaRPr>
          </a:p>
          <a:p>
            <a:pPr marL="0" lvl="1" indent="0">
              <a:buNone/>
            </a:pPr>
            <a:r>
              <a:rPr lang="en-US" sz="1800" dirty="0"/>
              <a:t>			±10 %	       @ 100 to 1000 </a:t>
            </a:r>
            <a:r>
              <a:rPr lang="en-US" sz="1800" dirty="0" err="1"/>
              <a:t>μg</a:t>
            </a:r>
            <a:r>
              <a:rPr lang="en-US" sz="1800" dirty="0"/>
              <a:t>/m</a:t>
            </a:r>
            <a:r>
              <a:rPr lang="en-US" sz="1800" baseline="30000" dirty="0"/>
              <a:t>3</a:t>
            </a:r>
            <a:endParaRPr lang="en-US" sz="1800" dirty="0"/>
          </a:p>
          <a:p>
            <a:pPr lvl="1"/>
            <a:r>
              <a:rPr lang="en-US" sz="1800" dirty="0"/>
              <a:t>Precision for PM4, PM10	±25 µg/m3          @ 0 to 100 </a:t>
            </a:r>
            <a:r>
              <a:rPr lang="en-US" sz="1800" dirty="0" err="1"/>
              <a:t>μg</a:t>
            </a:r>
            <a:r>
              <a:rPr lang="en-US" sz="1800" dirty="0"/>
              <a:t>/m</a:t>
            </a:r>
            <a:r>
              <a:rPr lang="en-US" sz="1800" baseline="30000" dirty="0"/>
              <a:t>3</a:t>
            </a:r>
            <a:endParaRPr lang="en-US" sz="1800" dirty="0"/>
          </a:p>
          <a:p>
            <a:pPr marL="0" lvl="1" indent="0">
              <a:buNone/>
            </a:pPr>
            <a:r>
              <a:rPr lang="en-US" sz="1800" dirty="0"/>
              <a:t>			±25 %	       @ 100 to 1000 </a:t>
            </a:r>
            <a:r>
              <a:rPr lang="en-US" sz="1800" dirty="0" err="1"/>
              <a:t>μg</a:t>
            </a:r>
            <a:r>
              <a:rPr lang="en-US" sz="1800" dirty="0"/>
              <a:t>/m</a:t>
            </a:r>
            <a:r>
              <a:rPr lang="en-US" sz="1800" baseline="30000" dirty="0"/>
              <a:t>3</a:t>
            </a:r>
            <a:endParaRPr lang="en-US" sz="1800" dirty="0"/>
          </a:p>
          <a:p>
            <a:endParaRPr lang="en-US" sz="1800" dirty="0"/>
          </a:p>
        </p:txBody>
      </p:sp>
      <p:sp>
        <p:nvSpPr>
          <p:cNvPr id="8" name="Text Placeholder 1">
            <a:extLst>
              <a:ext uri="{FF2B5EF4-FFF2-40B4-BE49-F238E27FC236}">
                <a16:creationId xmlns:a16="http://schemas.microsoft.com/office/drawing/2014/main" id="{95008973-950B-423E-8FCF-F97A8020B2D5}"/>
              </a:ext>
            </a:extLst>
          </p:cNvPr>
          <p:cNvSpPr txBox="1">
            <a:spLocks/>
          </p:cNvSpPr>
          <p:nvPr/>
        </p:nvSpPr>
        <p:spPr>
          <a:xfrm>
            <a:off x="839787" y="1126897"/>
            <a:ext cx="6777592" cy="5320093"/>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b="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900"/>
              </a:spcBef>
              <a:spcAft>
                <a:spcPts val="0"/>
              </a:spcAft>
              <a:buClrTx/>
              <a:buSzPct val="100000"/>
              <a:buNone/>
              <a:tabLst/>
              <a:defRPr/>
            </a:pPr>
            <a:r>
              <a:rPr lang="en-US" b="1" dirty="0">
                <a:solidFill>
                  <a:srgbClr val="000000"/>
                </a:solidFill>
              </a:rPr>
              <a:t>Same PM performance as SPS30</a:t>
            </a:r>
          </a:p>
          <a:p>
            <a:pPr lvl="1">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High precision over a wide range of aerosols</a:t>
            </a:r>
          </a:p>
          <a:p>
            <a:pPr marL="216000" marR="0" lvl="1" indent="-216000" algn="l" defTabSz="914400" rtl="0" eaLnBrk="1" fontAlgn="auto" latinLnBrk="0" hangingPunct="1">
              <a:lnSpc>
                <a:spcPct val="100000"/>
              </a:lnSpc>
              <a:spcBef>
                <a:spcPts val="900"/>
              </a:spcBef>
              <a:spcAft>
                <a:spcPts val="0"/>
              </a:spcAft>
              <a:buClrTx/>
              <a:buSzPct val="100000"/>
              <a:buFont typeface="Wingdings" panose="05000000000000000000" pitchFamily="2" charset="2"/>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atented sheath-flow dust resistance</a:t>
            </a:r>
          </a:p>
          <a:p>
            <a:pPr marL="216000" marR="0" lvl="1" indent="-216000" algn="l" defTabSz="914400" rtl="0" eaLnBrk="1" fontAlgn="auto" latinLnBrk="0" hangingPunct="1">
              <a:lnSpc>
                <a:spcPct val="100000"/>
              </a:lnSpc>
              <a:spcBef>
                <a:spcPts val="900"/>
              </a:spcBef>
              <a:spcAft>
                <a:spcPts val="0"/>
              </a:spcAft>
              <a:buClrTx/>
              <a:buSzPct val="100000"/>
              <a:buFont typeface="Wingdings" panose="05000000000000000000" pitchFamily="2" charset="2"/>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Best-in-class precision</a:t>
            </a:r>
          </a:p>
          <a:p>
            <a:pPr marL="216000" marR="0" lvl="1" indent="-216000" algn="l" defTabSz="914400" rtl="0" eaLnBrk="1" fontAlgn="auto" latinLnBrk="0" hangingPunct="1">
              <a:lnSpc>
                <a:spcPct val="100000"/>
              </a:lnSpc>
              <a:spcBef>
                <a:spcPts val="900"/>
              </a:spcBef>
              <a:spcAft>
                <a:spcPts val="0"/>
              </a:spcAft>
              <a:buClrTx/>
              <a:buSzPct val="100000"/>
              <a:buFont typeface="Wingdings" panose="05000000000000000000" pitchFamily="2" charset="2"/>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Quiet operation</a:t>
            </a:r>
          </a:p>
          <a:p>
            <a:pPr marL="216000" marR="0" lvl="1" indent="-216000" algn="l" defTabSz="914400" rtl="0" eaLnBrk="1" fontAlgn="auto" latinLnBrk="0" hangingPunct="1">
              <a:lnSpc>
                <a:spcPct val="100000"/>
              </a:lnSpc>
              <a:spcBef>
                <a:spcPts val="900"/>
              </a:spcBef>
              <a:spcAft>
                <a:spcPts val="0"/>
              </a:spcAft>
              <a:buClrTx/>
              <a:buSzPct val="100000"/>
              <a:buFont typeface="Wingdings" panose="05000000000000000000" pitchFamily="2" charset="2"/>
              <a:buChar char="§"/>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pic>
        <p:nvPicPr>
          <p:cNvPr id="4" name="Picture 9" descr="A picture containing logo&#10;&#10;Description automatically generated">
            <a:extLst>
              <a:ext uri="{FF2B5EF4-FFF2-40B4-BE49-F238E27FC236}">
                <a16:creationId xmlns:a16="http://schemas.microsoft.com/office/drawing/2014/main" id="{73927D23-F597-7B91-1A03-643D43012B70}"/>
              </a:ext>
            </a:extLst>
          </p:cNvPr>
          <p:cNvPicPr>
            <a:picLocks noChangeAspect="1"/>
          </p:cNvPicPr>
          <p:nvPr/>
        </p:nvPicPr>
        <p:blipFill>
          <a:blip r:embed="rId4"/>
          <a:stretch>
            <a:fillRect/>
          </a:stretch>
        </p:blipFill>
        <p:spPr>
          <a:xfrm>
            <a:off x="9774691" y="6175829"/>
            <a:ext cx="1895475" cy="457200"/>
          </a:xfrm>
          <a:prstGeom prst="rect">
            <a:avLst/>
          </a:prstGeom>
        </p:spPr>
      </p:pic>
    </p:spTree>
    <p:extLst>
      <p:ext uri="{BB962C8B-B14F-4D97-AF65-F5344CB8AC3E}">
        <p14:creationId xmlns:p14="http://schemas.microsoft.com/office/powerpoint/2010/main" val="23700711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3934F-FE1F-47B6-8057-545EF905D020}"/>
              </a:ext>
            </a:extLst>
          </p:cNvPr>
          <p:cNvSpPr>
            <a:spLocks noGrp="1"/>
          </p:cNvSpPr>
          <p:nvPr>
            <p:ph type="title"/>
          </p:nvPr>
        </p:nvSpPr>
        <p:spPr/>
        <p:txBody>
          <a:bodyPr/>
          <a:lstStyle/>
          <a:p>
            <a:r>
              <a:rPr lang="en-US"/>
              <a:t>Product Variants – SEN5x Product Family</a:t>
            </a:r>
          </a:p>
        </p:txBody>
      </p:sp>
      <p:sp>
        <p:nvSpPr>
          <p:cNvPr id="6" name="Content Placeholder 2">
            <a:extLst>
              <a:ext uri="{FF2B5EF4-FFF2-40B4-BE49-F238E27FC236}">
                <a16:creationId xmlns:a16="http://schemas.microsoft.com/office/drawing/2014/main" id="{0D1F0010-BB32-4FB5-BE31-BEE3FE5E8FBD}"/>
              </a:ext>
            </a:extLst>
          </p:cNvPr>
          <p:cNvSpPr txBox="1">
            <a:spLocks/>
          </p:cNvSpPr>
          <p:nvPr/>
        </p:nvSpPr>
        <p:spPr>
          <a:xfrm>
            <a:off x="839787" y="1046578"/>
            <a:ext cx="6718693" cy="5167493"/>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b="1"/>
              <a:t>SEN55 – </a:t>
            </a:r>
            <a:r>
              <a:rPr lang="en-US" sz="2200"/>
              <a:t>PM, RHT, VOC, NOx</a:t>
            </a:r>
          </a:p>
          <a:p>
            <a:r>
              <a:rPr lang="en-US" sz="2200" i="1"/>
              <a:t>	all-in-one solution for high-end APs &amp; IAQ monitors</a:t>
            </a:r>
          </a:p>
          <a:p>
            <a:r>
              <a:rPr lang="en-US" sz="2200" b="1"/>
              <a:t>SEN54 – </a:t>
            </a:r>
            <a:r>
              <a:rPr lang="en-US" sz="2200"/>
              <a:t>PM, RHT, VOC</a:t>
            </a:r>
          </a:p>
          <a:p>
            <a:r>
              <a:rPr lang="en-US" sz="2200" i="1"/>
              <a:t>	all-in-one solution for most APs &amp; IAQ monitors</a:t>
            </a:r>
          </a:p>
          <a:p>
            <a:r>
              <a:rPr lang="en-US" sz="2200" b="1"/>
              <a:t>SPS50 – </a:t>
            </a:r>
            <a:r>
              <a:rPr lang="en-US" sz="2200"/>
              <a:t>PM</a:t>
            </a:r>
          </a:p>
          <a:p>
            <a:r>
              <a:rPr lang="en-US" sz="2200"/>
              <a:t>	</a:t>
            </a:r>
            <a:r>
              <a:rPr lang="en-US" sz="2200" i="1"/>
              <a:t>focus solely on particulate matter</a:t>
            </a:r>
          </a:p>
          <a:p>
            <a:r>
              <a:rPr lang="en-US" sz="2200"/>
              <a:t>	</a:t>
            </a:r>
          </a:p>
          <a:p>
            <a:pPr algn="ctr">
              <a:lnSpc>
                <a:spcPct val="150000"/>
              </a:lnSpc>
            </a:pPr>
            <a:r>
              <a:rPr lang="en-US" sz="2200" b="1"/>
              <a:t>Identical dimensions for all variants</a:t>
            </a:r>
          </a:p>
          <a:p>
            <a:pPr algn="ctr">
              <a:lnSpc>
                <a:spcPct val="150000"/>
              </a:lnSpc>
            </a:pPr>
            <a:r>
              <a:rPr lang="en-US" sz="2200" b="1"/>
              <a:t>Compatible firmware &amp; driver</a:t>
            </a:r>
          </a:p>
        </p:txBody>
      </p:sp>
      <p:pic>
        <p:nvPicPr>
          <p:cNvPr id="3" name="Picture 2">
            <a:extLst>
              <a:ext uri="{FF2B5EF4-FFF2-40B4-BE49-F238E27FC236}">
                <a16:creationId xmlns:a16="http://schemas.microsoft.com/office/drawing/2014/main" id="{DD73C371-0CA3-46C8-9F3C-E7C0A93019B2}"/>
              </a:ext>
            </a:extLst>
          </p:cNvPr>
          <p:cNvPicPr>
            <a:picLocks noChangeAspect="1"/>
          </p:cNvPicPr>
          <p:nvPr/>
        </p:nvPicPr>
        <p:blipFill>
          <a:blip r:embed="rId2"/>
          <a:stretch>
            <a:fillRect/>
          </a:stretch>
        </p:blipFill>
        <p:spPr>
          <a:xfrm>
            <a:off x="7100995" y="1633050"/>
            <a:ext cx="4971696" cy="3994548"/>
          </a:xfrm>
          <a:prstGeom prst="rect">
            <a:avLst/>
          </a:prstGeom>
        </p:spPr>
      </p:pic>
    </p:spTree>
    <p:extLst>
      <p:ext uri="{BB962C8B-B14F-4D97-AF65-F5344CB8AC3E}">
        <p14:creationId xmlns:p14="http://schemas.microsoft.com/office/powerpoint/2010/main" val="34119470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3934F-FE1F-47B6-8057-545EF905D020}"/>
              </a:ext>
            </a:extLst>
          </p:cNvPr>
          <p:cNvSpPr>
            <a:spLocks noGrp="1"/>
          </p:cNvSpPr>
          <p:nvPr>
            <p:ph type="title"/>
          </p:nvPr>
        </p:nvSpPr>
        <p:spPr/>
        <p:txBody>
          <a:bodyPr/>
          <a:lstStyle/>
          <a:p>
            <a:r>
              <a:rPr lang="en-US"/>
              <a:t>Key SEN5x Combo Sensor Features</a:t>
            </a:r>
          </a:p>
        </p:txBody>
      </p:sp>
      <p:sp>
        <p:nvSpPr>
          <p:cNvPr id="6" name="Content Placeholder 2">
            <a:extLst>
              <a:ext uri="{FF2B5EF4-FFF2-40B4-BE49-F238E27FC236}">
                <a16:creationId xmlns:a16="http://schemas.microsoft.com/office/drawing/2014/main" id="{0D1F0010-BB32-4FB5-BE31-BEE3FE5E8FBD}"/>
              </a:ext>
            </a:extLst>
          </p:cNvPr>
          <p:cNvSpPr txBox="1">
            <a:spLocks/>
          </p:cNvSpPr>
          <p:nvPr/>
        </p:nvSpPr>
        <p:spPr>
          <a:xfrm>
            <a:off x="839788" y="1046578"/>
            <a:ext cx="6084887" cy="5167493"/>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b="1"/>
              <a:t>Algorithms integrated</a:t>
            </a:r>
          </a:p>
          <a:p>
            <a:r>
              <a:rPr lang="en-US" sz="2200"/>
              <a:t>	Temperature compensation</a:t>
            </a:r>
          </a:p>
          <a:p>
            <a:r>
              <a:rPr lang="en-US" sz="2200"/>
              <a:t>	VOC/NO</a:t>
            </a:r>
            <a:r>
              <a:rPr lang="en-US" sz="2200" baseline="-25000"/>
              <a:t>x</a:t>
            </a:r>
            <a:r>
              <a:rPr lang="en-US" sz="2200"/>
              <a:t> Index calculation</a:t>
            </a:r>
          </a:p>
          <a:p>
            <a:r>
              <a:rPr lang="en-US" sz="2200"/>
              <a:t>	Humidity compensation</a:t>
            </a:r>
          </a:p>
          <a:p>
            <a:endParaRPr lang="en-US" sz="2200"/>
          </a:p>
          <a:p>
            <a:r>
              <a:rPr lang="en-US" sz="2200" b="1"/>
              <a:t>Fast hardware design</a:t>
            </a:r>
          </a:p>
          <a:p>
            <a:r>
              <a:rPr lang="en-US" sz="2200"/>
              <a:t>	Optimized and tested flow channel geometry</a:t>
            </a:r>
          </a:p>
          <a:p>
            <a:r>
              <a:rPr lang="en-US" sz="2200"/>
              <a:t>	Optimized and tested design-in example</a:t>
            </a:r>
          </a:p>
          <a:p>
            <a:endParaRPr lang="en-US" sz="2200"/>
          </a:p>
          <a:p>
            <a:r>
              <a:rPr lang="en-US" sz="2200" b="1"/>
              <a:t>Dust-protection &amp; long lifetime</a:t>
            </a:r>
          </a:p>
          <a:p>
            <a:r>
              <a:rPr lang="en-US" sz="2200"/>
              <a:t>	Sheath-flow technology</a:t>
            </a:r>
          </a:p>
          <a:p>
            <a:r>
              <a:rPr lang="en-US" sz="2200"/>
              <a:t>	High quality components (incl. SHT and SGP)</a:t>
            </a:r>
          </a:p>
          <a:p>
            <a:endParaRPr lang="en-US" sz="2200"/>
          </a:p>
        </p:txBody>
      </p:sp>
      <p:pic>
        <p:nvPicPr>
          <p:cNvPr id="8" name="Picture 7">
            <a:extLst>
              <a:ext uri="{FF2B5EF4-FFF2-40B4-BE49-F238E27FC236}">
                <a16:creationId xmlns:a16="http://schemas.microsoft.com/office/drawing/2014/main" id="{65C25631-57D7-4DD5-8DEF-301B793DA2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6942" y="5221587"/>
            <a:ext cx="840422" cy="847315"/>
          </a:xfrm>
          <a:prstGeom prst="rect">
            <a:avLst/>
          </a:prstGeom>
        </p:spPr>
      </p:pic>
      <p:pic>
        <p:nvPicPr>
          <p:cNvPr id="11" name="Picture 10">
            <a:extLst>
              <a:ext uri="{FF2B5EF4-FFF2-40B4-BE49-F238E27FC236}">
                <a16:creationId xmlns:a16="http://schemas.microsoft.com/office/drawing/2014/main" id="{5E4A85AC-6F64-4081-9530-72BD24460D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7861" y="3553577"/>
            <a:ext cx="807990" cy="815995"/>
          </a:xfrm>
          <a:prstGeom prst="rect">
            <a:avLst/>
          </a:prstGeom>
        </p:spPr>
      </p:pic>
      <p:pic>
        <p:nvPicPr>
          <p:cNvPr id="14" name="Picture 13">
            <a:extLst>
              <a:ext uri="{FF2B5EF4-FFF2-40B4-BE49-F238E27FC236}">
                <a16:creationId xmlns:a16="http://schemas.microsoft.com/office/drawing/2014/main" id="{2BA78B46-5B87-4B89-8399-18C7D42A37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126" y="1494357"/>
            <a:ext cx="888283" cy="886783"/>
          </a:xfrm>
          <a:prstGeom prst="rect">
            <a:avLst/>
          </a:prstGeom>
        </p:spPr>
      </p:pic>
      <p:pic>
        <p:nvPicPr>
          <p:cNvPr id="10" name="Picture 9">
            <a:extLst>
              <a:ext uri="{FF2B5EF4-FFF2-40B4-BE49-F238E27FC236}">
                <a16:creationId xmlns:a16="http://schemas.microsoft.com/office/drawing/2014/main" id="{3953DAEC-3171-4FFB-AD4C-24184D958A89}"/>
              </a:ext>
            </a:extLst>
          </p:cNvPr>
          <p:cNvPicPr>
            <a:picLocks noChangeAspect="1"/>
          </p:cNvPicPr>
          <p:nvPr/>
        </p:nvPicPr>
        <p:blipFill>
          <a:blip r:embed="rId5"/>
          <a:stretch>
            <a:fillRect/>
          </a:stretch>
        </p:blipFill>
        <p:spPr>
          <a:xfrm>
            <a:off x="6613864" y="1356260"/>
            <a:ext cx="4971696" cy="3994548"/>
          </a:xfrm>
          <a:prstGeom prst="rect">
            <a:avLst/>
          </a:prstGeom>
        </p:spPr>
      </p:pic>
    </p:spTree>
    <p:extLst>
      <p:ext uri="{BB962C8B-B14F-4D97-AF65-F5344CB8AC3E}">
        <p14:creationId xmlns:p14="http://schemas.microsoft.com/office/powerpoint/2010/main" val="21751757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Integrated Algorithms – RH/T, PM, and VOC/NOx Sensors</a:t>
            </a:r>
          </a:p>
        </p:txBody>
      </p:sp>
      <p:sp>
        <p:nvSpPr>
          <p:cNvPr id="21" name="Rectangle 20"/>
          <p:cNvSpPr/>
          <p:nvPr/>
        </p:nvSpPr>
        <p:spPr>
          <a:xfrm>
            <a:off x="5607050" y="1771650"/>
            <a:ext cx="4902200" cy="2905125"/>
          </a:xfrm>
          <a:prstGeom prst="rect">
            <a:avLst/>
          </a:prstGeom>
          <a:ln w="38100"/>
        </p:spPr>
        <p:style>
          <a:lnRef idx="2">
            <a:schemeClr val="accent2"/>
          </a:lnRef>
          <a:fillRef idx="1">
            <a:schemeClr val="lt1"/>
          </a:fillRef>
          <a:effectRef idx="0">
            <a:schemeClr val="accent2"/>
          </a:effectRef>
          <a:fontRef idx="minor">
            <a:schemeClr val="dk1"/>
          </a:fontRef>
        </p:style>
        <p:txBody>
          <a:bodyPr rtlCol="0" anchor="b"/>
          <a:lstStyle/>
          <a:p>
            <a:pPr algn="r"/>
            <a:r>
              <a:rPr lang="en-US"/>
              <a:t>Customer microcontroller</a:t>
            </a:r>
          </a:p>
        </p:txBody>
      </p:sp>
      <p:cxnSp>
        <p:nvCxnSpPr>
          <p:cNvPr id="23" name="Elbow Connector 22"/>
          <p:cNvCxnSpPr/>
          <p:nvPr/>
        </p:nvCxnSpPr>
        <p:spPr>
          <a:xfrm>
            <a:off x="3541509" y="1965234"/>
            <a:ext cx="2065541" cy="392402"/>
          </a:xfrm>
          <a:prstGeom prst="bentConnector3">
            <a:avLst/>
          </a:prstGeom>
          <a:ln w="38100">
            <a:headEnd w="lg" len="lg"/>
            <a:tailEnd type="triangle" w="lg" len="lg"/>
          </a:ln>
        </p:spPr>
        <p:style>
          <a:lnRef idx="3">
            <a:schemeClr val="accent5"/>
          </a:lnRef>
          <a:fillRef idx="0">
            <a:schemeClr val="accent5"/>
          </a:fillRef>
          <a:effectRef idx="2">
            <a:schemeClr val="accent5"/>
          </a:effectRef>
          <a:fontRef idx="minor">
            <a:schemeClr val="tx1"/>
          </a:fontRef>
        </p:style>
      </p:cxnSp>
      <p:cxnSp>
        <p:nvCxnSpPr>
          <p:cNvPr id="26" name="Elbow Connector 25"/>
          <p:cNvCxnSpPr/>
          <p:nvPr/>
        </p:nvCxnSpPr>
        <p:spPr>
          <a:xfrm flipV="1">
            <a:off x="3534214" y="4154866"/>
            <a:ext cx="2072836" cy="764090"/>
          </a:xfrm>
          <a:prstGeom prst="bentConnector3">
            <a:avLst>
              <a:gd name="adj1" fmla="val 61947"/>
            </a:avLst>
          </a:prstGeom>
          <a:ln w="38100">
            <a:headEnd w="lg" len="lg"/>
            <a:tailEnd type="triangle" w="lg" len="lg"/>
          </a:ln>
        </p:spPr>
        <p:style>
          <a:lnRef idx="3">
            <a:schemeClr val="accent5"/>
          </a:lnRef>
          <a:fillRef idx="0">
            <a:schemeClr val="accent5"/>
          </a:fillRef>
          <a:effectRef idx="2">
            <a:schemeClr val="accent5"/>
          </a:effectRef>
          <a:fontRef idx="minor">
            <a:schemeClr val="tx1"/>
          </a:fontRef>
        </p:style>
      </p:cxnSp>
      <p:cxnSp>
        <p:nvCxnSpPr>
          <p:cNvPr id="28" name="Elbow Connector 27"/>
          <p:cNvCxnSpPr/>
          <p:nvPr/>
        </p:nvCxnSpPr>
        <p:spPr>
          <a:xfrm rot="10800000" flipV="1">
            <a:off x="3504653" y="3910921"/>
            <a:ext cx="2130605" cy="735094"/>
          </a:xfrm>
          <a:prstGeom prst="bentConnector3">
            <a:avLst>
              <a:gd name="adj1" fmla="val 50000"/>
            </a:avLst>
          </a:prstGeom>
          <a:ln w="38100">
            <a:headEnd w="lg" len="lg"/>
            <a:tailEnd type="triangle" w="lg" len="lg"/>
          </a:ln>
        </p:spPr>
        <p:style>
          <a:lnRef idx="3">
            <a:schemeClr val="accent5"/>
          </a:lnRef>
          <a:fillRef idx="0">
            <a:schemeClr val="accent5"/>
          </a:fillRef>
          <a:effectRef idx="2">
            <a:schemeClr val="accent5"/>
          </a:effectRef>
          <a:fontRef idx="minor">
            <a:schemeClr val="tx1"/>
          </a:fontRef>
        </p:style>
      </p:cxnSp>
      <p:cxnSp>
        <p:nvCxnSpPr>
          <p:cNvPr id="34" name="Elbow Connector 33"/>
          <p:cNvCxnSpPr/>
          <p:nvPr/>
        </p:nvCxnSpPr>
        <p:spPr>
          <a:xfrm flipV="1">
            <a:off x="3619033" y="3026302"/>
            <a:ext cx="1988017" cy="375713"/>
          </a:xfrm>
          <a:prstGeom prst="bentConnector3">
            <a:avLst/>
          </a:prstGeom>
          <a:ln w="38100">
            <a:headEnd w="lg" len="lg"/>
            <a:tailEnd type="triangle" w="lg" len="lg"/>
          </a:ln>
        </p:spPr>
        <p:style>
          <a:lnRef idx="3">
            <a:schemeClr val="accent5"/>
          </a:lnRef>
          <a:fillRef idx="0">
            <a:schemeClr val="accent5"/>
          </a:fillRef>
          <a:effectRef idx="2">
            <a:schemeClr val="accent5"/>
          </a:effectRef>
          <a:fontRef idx="minor">
            <a:schemeClr val="tx1"/>
          </a:fontRef>
        </p:style>
      </p:cxnSp>
      <p:sp>
        <p:nvSpPr>
          <p:cNvPr id="36" name="Rectangle 35"/>
          <p:cNvSpPr/>
          <p:nvPr/>
        </p:nvSpPr>
        <p:spPr>
          <a:xfrm>
            <a:off x="5614345" y="2732697"/>
            <a:ext cx="2273300" cy="1035402"/>
          </a:xfrm>
          <a:prstGeom prst="rect">
            <a:avLst/>
          </a:prstGeom>
          <a:solidFill>
            <a:schemeClr val="accent2">
              <a:lumMod val="40000"/>
              <a:lumOff val="60000"/>
            </a:schemeClr>
          </a:solidFill>
          <a:ln w="38100"/>
        </p:spPr>
        <p:style>
          <a:lnRef idx="2">
            <a:schemeClr val="accent2"/>
          </a:lnRef>
          <a:fillRef idx="1">
            <a:schemeClr val="lt1"/>
          </a:fillRef>
          <a:effectRef idx="0">
            <a:schemeClr val="accent2"/>
          </a:effectRef>
          <a:fontRef idx="minor">
            <a:schemeClr val="dk1"/>
          </a:fontRef>
        </p:style>
        <p:txBody>
          <a:bodyPr rtlCol="0" anchor="b"/>
          <a:lstStyle/>
          <a:p>
            <a:pPr algn="r"/>
            <a:r>
              <a:rPr lang="en-US" sz="1400"/>
              <a:t>VOC Index</a:t>
            </a:r>
          </a:p>
        </p:txBody>
      </p:sp>
      <p:sp>
        <p:nvSpPr>
          <p:cNvPr id="37" name="Rectangle 36"/>
          <p:cNvSpPr/>
          <p:nvPr/>
        </p:nvSpPr>
        <p:spPr>
          <a:xfrm>
            <a:off x="7887645" y="2805830"/>
            <a:ext cx="1988017" cy="965360"/>
          </a:xfrm>
          <a:prstGeom prst="rect">
            <a:avLst/>
          </a:prstGeom>
          <a:solidFill>
            <a:schemeClr val="accent2">
              <a:lumMod val="40000"/>
              <a:lumOff val="60000"/>
            </a:schemeClr>
          </a:solidFill>
          <a:ln w="38100"/>
        </p:spPr>
        <p:style>
          <a:lnRef idx="2">
            <a:schemeClr val="accent2"/>
          </a:lnRef>
          <a:fillRef idx="1">
            <a:schemeClr val="lt1"/>
          </a:fillRef>
          <a:effectRef idx="0">
            <a:schemeClr val="accent2"/>
          </a:effectRef>
          <a:fontRef idx="minor">
            <a:schemeClr val="dk1"/>
          </a:fontRef>
        </p:style>
        <p:txBody>
          <a:bodyPr rtlCol="0" anchor="b"/>
          <a:lstStyle/>
          <a:p>
            <a:pPr algn="r"/>
            <a:r>
              <a:rPr lang="en-US" sz="1400"/>
              <a:t>T Compensation</a:t>
            </a:r>
          </a:p>
        </p:txBody>
      </p:sp>
      <p:sp>
        <p:nvSpPr>
          <p:cNvPr id="39" name="Rectangle 38"/>
          <p:cNvSpPr/>
          <p:nvPr/>
        </p:nvSpPr>
        <p:spPr>
          <a:xfrm>
            <a:off x="6844938" y="1778406"/>
            <a:ext cx="1227524" cy="1035402"/>
          </a:xfrm>
          <a:prstGeom prst="rect">
            <a:avLst/>
          </a:prstGeom>
          <a:solidFill>
            <a:schemeClr val="accent2">
              <a:lumMod val="40000"/>
              <a:lumOff val="60000"/>
            </a:schemeClr>
          </a:solidFill>
          <a:ln w="38100"/>
        </p:spPr>
        <p:style>
          <a:lnRef idx="2">
            <a:schemeClr val="accent2"/>
          </a:lnRef>
          <a:fillRef idx="1">
            <a:schemeClr val="lt1"/>
          </a:fillRef>
          <a:effectRef idx="0">
            <a:schemeClr val="accent2"/>
          </a:effectRef>
          <a:fontRef idx="minor">
            <a:schemeClr val="dk1"/>
          </a:fontRef>
        </p:style>
        <p:txBody>
          <a:bodyPr rtlCol="0" anchor="b"/>
          <a:lstStyle/>
          <a:p>
            <a:pPr algn="r"/>
            <a:r>
              <a:rPr lang="en-US" sz="1400"/>
              <a:t>Communication VOC sensor</a:t>
            </a:r>
          </a:p>
        </p:txBody>
      </p:sp>
      <p:sp>
        <p:nvSpPr>
          <p:cNvPr id="40" name="Rectangle 39"/>
          <p:cNvSpPr/>
          <p:nvPr/>
        </p:nvSpPr>
        <p:spPr>
          <a:xfrm>
            <a:off x="8058150" y="1764894"/>
            <a:ext cx="1227525" cy="1027424"/>
          </a:xfrm>
          <a:prstGeom prst="rect">
            <a:avLst/>
          </a:prstGeom>
          <a:solidFill>
            <a:schemeClr val="accent2">
              <a:lumMod val="40000"/>
              <a:lumOff val="60000"/>
            </a:schemeClr>
          </a:solidFill>
          <a:ln w="38100"/>
        </p:spPr>
        <p:style>
          <a:lnRef idx="2">
            <a:schemeClr val="accent2"/>
          </a:lnRef>
          <a:fillRef idx="1">
            <a:schemeClr val="lt1"/>
          </a:fillRef>
          <a:effectRef idx="0">
            <a:schemeClr val="accent2"/>
          </a:effectRef>
          <a:fontRef idx="minor">
            <a:schemeClr val="dk1"/>
          </a:fontRef>
        </p:style>
        <p:txBody>
          <a:bodyPr rtlCol="0" anchor="b"/>
          <a:lstStyle/>
          <a:p>
            <a:pPr algn="r"/>
            <a:r>
              <a:rPr lang="en-US" sz="1400"/>
              <a:t>Communication NOx sensor</a:t>
            </a:r>
          </a:p>
        </p:txBody>
      </p:sp>
      <p:sp>
        <p:nvSpPr>
          <p:cNvPr id="41" name="Rectangle 40"/>
          <p:cNvSpPr/>
          <p:nvPr/>
        </p:nvSpPr>
        <p:spPr>
          <a:xfrm>
            <a:off x="5617414" y="1778406"/>
            <a:ext cx="1227524" cy="1027424"/>
          </a:xfrm>
          <a:prstGeom prst="rect">
            <a:avLst/>
          </a:prstGeom>
          <a:solidFill>
            <a:schemeClr val="accent2">
              <a:lumMod val="40000"/>
              <a:lumOff val="60000"/>
            </a:schemeClr>
          </a:solidFill>
          <a:ln w="38100"/>
        </p:spPr>
        <p:style>
          <a:lnRef idx="2">
            <a:schemeClr val="accent2"/>
          </a:lnRef>
          <a:fillRef idx="1">
            <a:schemeClr val="lt1"/>
          </a:fillRef>
          <a:effectRef idx="0">
            <a:schemeClr val="accent2"/>
          </a:effectRef>
          <a:fontRef idx="minor">
            <a:schemeClr val="dk1"/>
          </a:fontRef>
        </p:style>
        <p:txBody>
          <a:bodyPr rtlCol="0" anchor="b"/>
          <a:lstStyle/>
          <a:p>
            <a:pPr algn="r"/>
            <a:r>
              <a:rPr lang="en-US" sz="1400"/>
              <a:t>Communication PM sensor</a:t>
            </a:r>
          </a:p>
        </p:txBody>
      </p:sp>
      <p:grpSp>
        <p:nvGrpSpPr>
          <p:cNvPr id="19" name="Group 18">
            <a:extLst>
              <a:ext uri="{FF2B5EF4-FFF2-40B4-BE49-F238E27FC236}">
                <a16:creationId xmlns:a16="http://schemas.microsoft.com/office/drawing/2014/main" id="{93195C36-0EE9-45A6-B872-477259515DBF}"/>
              </a:ext>
            </a:extLst>
          </p:cNvPr>
          <p:cNvGrpSpPr/>
          <p:nvPr/>
        </p:nvGrpSpPr>
        <p:grpSpPr>
          <a:xfrm>
            <a:off x="2447743" y="2880018"/>
            <a:ext cx="1262225" cy="1227371"/>
            <a:chOff x="1322355" y="2886376"/>
            <a:chExt cx="1302121" cy="1253743"/>
          </a:xfrm>
        </p:grpSpPr>
        <p:pic>
          <p:nvPicPr>
            <p:cNvPr id="20" name="Picture 19">
              <a:extLst>
                <a:ext uri="{FF2B5EF4-FFF2-40B4-BE49-F238E27FC236}">
                  <a16:creationId xmlns:a16="http://schemas.microsoft.com/office/drawing/2014/main" id="{CBB0FAD8-06AA-4867-AD67-272083C765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22355" y="2886376"/>
              <a:ext cx="974915" cy="974915"/>
            </a:xfrm>
            <a:prstGeom prst="rect">
              <a:avLst/>
            </a:prstGeom>
          </p:spPr>
        </p:pic>
        <p:sp>
          <p:nvSpPr>
            <p:cNvPr id="22" name="TextBox 21">
              <a:extLst>
                <a:ext uri="{FF2B5EF4-FFF2-40B4-BE49-F238E27FC236}">
                  <a16:creationId xmlns:a16="http://schemas.microsoft.com/office/drawing/2014/main" id="{8A6178B1-1925-4D02-9A62-D7937E61759A}"/>
                </a:ext>
              </a:extLst>
            </p:cNvPr>
            <p:cNvSpPr txBox="1"/>
            <p:nvPr/>
          </p:nvSpPr>
          <p:spPr>
            <a:xfrm>
              <a:off x="1505548" y="3731412"/>
              <a:ext cx="1118928" cy="408707"/>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PM</a:t>
              </a:r>
            </a:p>
          </p:txBody>
        </p:sp>
      </p:grpSp>
      <p:grpSp>
        <p:nvGrpSpPr>
          <p:cNvPr id="10" name="Group 9">
            <a:extLst>
              <a:ext uri="{FF2B5EF4-FFF2-40B4-BE49-F238E27FC236}">
                <a16:creationId xmlns:a16="http://schemas.microsoft.com/office/drawing/2014/main" id="{CD59859E-FDDE-465C-A348-C56817AA80B9}"/>
              </a:ext>
            </a:extLst>
          </p:cNvPr>
          <p:cNvGrpSpPr/>
          <p:nvPr/>
        </p:nvGrpSpPr>
        <p:grpSpPr>
          <a:xfrm>
            <a:off x="2213707" y="1386548"/>
            <a:ext cx="1496261" cy="1211990"/>
            <a:chOff x="2104197" y="1518272"/>
            <a:chExt cx="1496261" cy="1211990"/>
          </a:xfrm>
        </p:grpSpPr>
        <p:grpSp>
          <p:nvGrpSpPr>
            <p:cNvPr id="9" name="Group 8">
              <a:extLst>
                <a:ext uri="{FF2B5EF4-FFF2-40B4-BE49-F238E27FC236}">
                  <a16:creationId xmlns:a16="http://schemas.microsoft.com/office/drawing/2014/main" id="{0D8B52FF-9081-4F2C-99B7-1232F4D1C4F6}"/>
                </a:ext>
              </a:extLst>
            </p:cNvPr>
            <p:cNvGrpSpPr/>
            <p:nvPr/>
          </p:nvGrpSpPr>
          <p:grpSpPr>
            <a:xfrm>
              <a:off x="2104197" y="1518272"/>
              <a:ext cx="1379543" cy="954408"/>
              <a:chOff x="2004874" y="1488030"/>
              <a:chExt cx="1379543" cy="954408"/>
            </a:xfrm>
          </p:grpSpPr>
          <p:pic>
            <p:nvPicPr>
              <p:cNvPr id="25" name="Picture 24">
                <a:extLst>
                  <a:ext uri="{FF2B5EF4-FFF2-40B4-BE49-F238E27FC236}">
                    <a16:creationId xmlns:a16="http://schemas.microsoft.com/office/drawing/2014/main" id="{B1A1009F-D738-4BA8-801A-084C65CF60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7260" y="1548058"/>
                <a:ext cx="787157" cy="793612"/>
              </a:xfrm>
              <a:prstGeom prst="rect">
                <a:avLst/>
              </a:prstGeom>
            </p:spPr>
          </p:pic>
          <p:pic>
            <p:nvPicPr>
              <p:cNvPr id="30" name="Picture 29">
                <a:extLst>
                  <a:ext uri="{FF2B5EF4-FFF2-40B4-BE49-F238E27FC236}">
                    <a16:creationId xmlns:a16="http://schemas.microsoft.com/office/drawing/2014/main" id="{910E79FE-CFAB-4298-9AE6-F6E8F535637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04874" y="1488030"/>
                <a:ext cx="946644" cy="954408"/>
              </a:xfrm>
              <a:prstGeom prst="rect">
                <a:avLst/>
              </a:prstGeom>
            </p:spPr>
          </p:pic>
        </p:grpSp>
        <p:sp>
          <p:nvSpPr>
            <p:cNvPr id="38" name="TextBox 37">
              <a:extLst>
                <a:ext uri="{FF2B5EF4-FFF2-40B4-BE49-F238E27FC236}">
                  <a16:creationId xmlns:a16="http://schemas.microsoft.com/office/drawing/2014/main" id="{08DF7C8F-3D64-4867-BF03-D079D59AE743}"/>
                </a:ext>
              </a:extLst>
            </p:cNvPr>
            <p:cNvSpPr txBox="1"/>
            <p:nvPr/>
          </p:nvSpPr>
          <p:spPr>
            <a:xfrm>
              <a:off x="2515813" y="2330152"/>
              <a:ext cx="1084645" cy="400110"/>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RHT</a:t>
              </a:r>
            </a:p>
          </p:txBody>
        </p:sp>
      </p:grpSp>
      <p:grpSp>
        <p:nvGrpSpPr>
          <p:cNvPr id="11" name="Group 10">
            <a:extLst>
              <a:ext uri="{FF2B5EF4-FFF2-40B4-BE49-F238E27FC236}">
                <a16:creationId xmlns:a16="http://schemas.microsoft.com/office/drawing/2014/main" id="{6628FAD8-8828-436A-A5ED-E79333A94AE1}"/>
              </a:ext>
            </a:extLst>
          </p:cNvPr>
          <p:cNvGrpSpPr/>
          <p:nvPr/>
        </p:nvGrpSpPr>
        <p:grpSpPr>
          <a:xfrm>
            <a:off x="4790074" y="5263109"/>
            <a:ext cx="1690368" cy="1207413"/>
            <a:chOff x="2104197" y="4433206"/>
            <a:chExt cx="1690368" cy="1207413"/>
          </a:xfrm>
        </p:grpSpPr>
        <p:pic>
          <p:nvPicPr>
            <p:cNvPr id="35" name="Picture 34">
              <a:extLst>
                <a:ext uri="{FF2B5EF4-FFF2-40B4-BE49-F238E27FC236}">
                  <a16:creationId xmlns:a16="http://schemas.microsoft.com/office/drawing/2014/main" id="{E422E389-BD08-44F3-9344-FA23BA6E28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96803" y="4433206"/>
              <a:ext cx="997639" cy="705266"/>
            </a:xfrm>
            <a:prstGeom prst="rect">
              <a:avLst/>
            </a:prstGeom>
          </p:spPr>
        </p:pic>
        <p:sp>
          <p:nvSpPr>
            <p:cNvPr id="42" name="TextBox 41">
              <a:extLst>
                <a:ext uri="{FF2B5EF4-FFF2-40B4-BE49-F238E27FC236}">
                  <a16:creationId xmlns:a16="http://schemas.microsoft.com/office/drawing/2014/main" id="{07C6889E-5E15-4C14-A922-FAA691A16A72}"/>
                </a:ext>
              </a:extLst>
            </p:cNvPr>
            <p:cNvSpPr txBox="1"/>
            <p:nvPr/>
          </p:nvSpPr>
          <p:spPr>
            <a:xfrm>
              <a:off x="2104197" y="5240509"/>
              <a:ext cx="1690368" cy="400110"/>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NOx</a:t>
              </a:r>
            </a:p>
          </p:txBody>
        </p:sp>
      </p:grpSp>
      <p:sp>
        <p:nvSpPr>
          <p:cNvPr id="29" name="Rectangle 28">
            <a:extLst>
              <a:ext uri="{FF2B5EF4-FFF2-40B4-BE49-F238E27FC236}">
                <a16:creationId xmlns:a16="http://schemas.microsoft.com/office/drawing/2014/main" id="{15A095D0-7006-4A41-9B05-E981445B36D0}"/>
              </a:ext>
            </a:extLst>
          </p:cNvPr>
          <p:cNvSpPr/>
          <p:nvPr/>
        </p:nvSpPr>
        <p:spPr>
          <a:xfrm>
            <a:off x="5607049" y="3760121"/>
            <a:ext cx="2273299" cy="923410"/>
          </a:xfrm>
          <a:prstGeom prst="rect">
            <a:avLst/>
          </a:prstGeom>
          <a:solidFill>
            <a:schemeClr val="accent6"/>
          </a:solidFill>
          <a:ln w="38100"/>
        </p:spPr>
        <p:style>
          <a:lnRef idx="2">
            <a:schemeClr val="accent2"/>
          </a:lnRef>
          <a:fillRef idx="1">
            <a:schemeClr val="lt1"/>
          </a:fillRef>
          <a:effectRef idx="0">
            <a:schemeClr val="accent2"/>
          </a:effectRef>
          <a:fontRef idx="minor">
            <a:schemeClr val="dk1"/>
          </a:fontRef>
        </p:style>
        <p:txBody>
          <a:bodyPr rtlCol="0" anchor="b"/>
          <a:lstStyle/>
          <a:p>
            <a:pPr algn="r"/>
            <a:r>
              <a:rPr lang="en-US" sz="1400"/>
              <a:t>NOx Index</a:t>
            </a:r>
          </a:p>
        </p:txBody>
      </p:sp>
      <p:sp>
        <p:nvSpPr>
          <p:cNvPr id="27" name="Rectangle 26">
            <a:extLst>
              <a:ext uri="{FF2B5EF4-FFF2-40B4-BE49-F238E27FC236}">
                <a16:creationId xmlns:a16="http://schemas.microsoft.com/office/drawing/2014/main" id="{7DCBC956-B0B3-4658-BDFD-27A3C4736A0A}"/>
              </a:ext>
            </a:extLst>
          </p:cNvPr>
          <p:cNvSpPr/>
          <p:nvPr/>
        </p:nvSpPr>
        <p:spPr>
          <a:xfrm>
            <a:off x="9296039" y="1764894"/>
            <a:ext cx="1213212" cy="1027424"/>
          </a:xfrm>
          <a:prstGeom prst="rect">
            <a:avLst/>
          </a:prstGeom>
          <a:solidFill>
            <a:schemeClr val="accent2">
              <a:lumMod val="40000"/>
              <a:lumOff val="60000"/>
            </a:schemeClr>
          </a:solidFill>
          <a:ln w="38100"/>
        </p:spPr>
        <p:style>
          <a:lnRef idx="2">
            <a:schemeClr val="accent2"/>
          </a:lnRef>
          <a:fillRef idx="1">
            <a:schemeClr val="lt1"/>
          </a:fillRef>
          <a:effectRef idx="0">
            <a:schemeClr val="accent2"/>
          </a:effectRef>
          <a:fontRef idx="minor">
            <a:schemeClr val="dk1"/>
          </a:fontRef>
        </p:style>
        <p:txBody>
          <a:bodyPr rtlCol="0" anchor="b"/>
          <a:lstStyle/>
          <a:p>
            <a:pPr algn="r"/>
            <a:r>
              <a:rPr lang="en-US" sz="1400"/>
              <a:t>Communication RHT sensor</a:t>
            </a:r>
          </a:p>
        </p:txBody>
      </p:sp>
      <p:cxnSp>
        <p:nvCxnSpPr>
          <p:cNvPr id="31" name="Elbow Connector 25">
            <a:extLst>
              <a:ext uri="{FF2B5EF4-FFF2-40B4-BE49-F238E27FC236}">
                <a16:creationId xmlns:a16="http://schemas.microsoft.com/office/drawing/2014/main" id="{6518677E-65E1-4EAA-83A0-EFE1C65642B9}"/>
              </a:ext>
            </a:extLst>
          </p:cNvPr>
          <p:cNvCxnSpPr>
            <a:cxnSpLocks/>
          </p:cNvCxnSpPr>
          <p:nvPr/>
        </p:nvCxnSpPr>
        <p:spPr>
          <a:xfrm flipV="1">
            <a:off x="6231176" y="4690292"/>
            <a:ext cx="979521" cy="947530"/>
          </a:xfrm>
          <a:prstGeom prst="bentConnector3">
            <a:avLst>
              <a:gd name="adj1" fmla="val 99788"/>
            </a:avLst>
          </a:prstGeom>
          <a:ln w="38100">
            <a:headEnd w="lg" len="lg"/>
            <a:tailEnd type="triangle" w="lg" len="lg"/>
          </a:ln>
        </p:spPr>
        <p:style>
          <a:lnRef idx="3">
            <a:schemeClr val="accent5"/>
          </a:lnRef>
          <a:fillRef idx="0">
            <a:schemeClr val="accent5"/>
          </a:fillRef>
          <a:effectRef idx="2">
            <a:schemeClr val="accent5"/>
          </a:effectRef>
          <a:fontRef idx="minor">
            <a:schemeClr val="tx1"/>
          </a:fontRef>
        </p:style>
      </p:cxnSp>
      <p:cxnSp>
        <p:nvCxnSpPr>
          <p:cNvPr id="32" name="Elbow Connector 27">
            <a:extLst>
              <a:ext uri="{FF2B5EF4-FFF2-40B4-BE49-F238E27FC236}">
                <a16:creationId xmlns:a16="http://schemas.microsoft.com/office/drawing/2014/main" id="{571AB6E4-E5E3-4A09-8BF4-1A72F767E3AE}"/>
              </a:ext>
            </a:extLst>
          </p:cNvPr>
          <p:cNvCxnSpPr>
            <a:cxnSpLocks/>
          </p:cNvCxnSpPr>
          <p:nvPr/>
        </p:nvCxnSpPr>
        <p:spPr>
          <a:xfrm rot="5400000">
            <a:off x="6153173" y="4748797"/>
            <a:ext cx="750279" cy="633258"/>
          </a:xfrm>
          <a:prstGeom prst="bentConnector3">
            <a:avLst>
              <a:gd name="adj1" fmla="val 99911"/>
            </a:avLst>
          </a:prstGeom>
          <a:ln w="38100">
            <a:headEnd w="lg" len="lg"/>
            <a:tailEnd type="triangle" w="lg" len="lg"/>
          </a:ln>
        </p:spPr>
        <p:style>
          <a:lnRef idx="3">
            <a:schemeClr val="accent5"/>
          </a:lnRef>
          <a:fillRef idx="0">
            <a:schemeClr val="accent5"/>
          </a:fillRef>
          <a:effectRef idx="2">
            <a:schemeClr val="accent5"/>
          </a:effectRef>
          <a:fontRef idx="minor">
            <a:schemeClr val="tx1"/>
          </a:fontRef>
        </p:style>
      </p:cxnSp>
      <p:grpSp>
        <p:nvGrpSpPr>
          <p:cNvPr id="33" name="Group 32">
            <a:extLst>
              <a:ext uri="{FF2B5EF4-FFF2-40B4-BE49-F238E27FC236}">
                <a16:creationId xmlns:a16="http://schemas.microsoft.com/office/drawing/2014/main" id="{7AE96FF3-67A8-4FE9-8D6F-30165B997EE9}"/>
              </a:ext>
            </a:extLst>
          </p:cNvPr>
          <p:cNvGrpSpPr/>
          <p:nvPr/>
        </p:nvGrpSpPr>
        <p:grpSpPr>
          <a:xfrm>
            <a:off x="1458978" y="4579865"/>
            <a:ext cx="1852569" cy="752743"/>
            <a:chOff x="1441873" y="4433206"/>
            <a:chExt cx="1852569" cy="752743"/>
          </a:xfrm>
        </p:grpSpPr>
        <p:pic>
          <p:nvPicPr>
            <p:cNvPr id="43" name="Picture 42">
              <a:extLst>
                <a:ext uri="{FF2B5EF4-FFF2-40B4-BE49-F238E27FC236}">
                  <a16:creationId xmlns:a16="http://schemas.microsoft.com/office/drawing/2014/main" id="{7F90D67A-3C8E-4E53-87F6-105F9D33C2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96803" y="4433206"/>
              <a:ext cx="997639" cy="705266"/>
            </a:xfrm>
            <a:prstGeom prst="rect">
              <a:avLst/>
            </a:prstGeom>
          </p:spPr>
        </p:pic>
        <p:sp>
          <p:nvSpPr>
            <p:cNvPr id="44" name="TextBox 43">
              <a:extLst>
                <a:ext uri="{FF2B5EF4-FFF2-40B4-BE49-F238E27FC236}">
                  <a16:creationId xmlns:a16="http://schemas.microsoft.com/office/drawing/2014/main" id="{68DD9ABD-7959-4051-BC9F-ED25FE35C2B7}"/>
                </a:ext>
              </a:extLst>
            </p:cNvPr>
            <p:cNvSpPr txBox="1"/>
            <p:nvPr/>
          </p:nvSpPr>
          <p:spPr>
            <a:xfrm>
              <a:off x="1441873" y="4785839"/>
              <a:ext cx="1690368" cy="400110"/>
            </a:xfrm>
            <a:prstGeom prst="rect">
              <a:avLst/>
            </a:prstGeom>
            <a:noFill/>
          </p:spPr>
          <p:txBody>
            <a:bodyPr wrap="square" rtlCol="0">
              <a:spAutoFit/>
            </a:bodyPr>
            <a:lstStyle/>
            <a:p>
              <a:r>
                <a:rPr lang="en-US">
                  <a:latin typeface="Dotum" panose="020B0600000101010101" pitchFamily="34" charset="-127"/>
                  <a:ea typeface="Dotum" panose="020B0600000101010101" pitchFamily="34" charset="-127"/>
                </a:rPr>
                <a:t>VOC</a:t>
              </a:r>
            </a:p>
          </p:txBody>
        </p:sp>
      </p:grpSp>
    </p:spTree>
    <p:extLst>
      <p:ext uri="{BB962C8B-B14F-4D97-AF65-F5344CB8AC3E}">
        <p14:creationId xmlns:p14="http://schemas.microsoft.com/office/powerpoint/2010/main" val="1334614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Straight Connector 128">
            <a:extLst>
              <a:ext uri="{FF2B5EF4-FFF2-40B4-BE49-F238E27FC236}">
                <a16:creationId xmlns:a16="http://schemas.microsoft.com/office/drawing/2014/main" id="{C67786C1-06E7-4F11-AC36-3C38EDE7AB4E}"/>
              </a:ext>
            </a:extLst>
          </p:cNvPr>
          <p:cNvCxnSpPr>
            <a:cxnSpLocks/>
            <a:stCxn id="64" idx="2"/>
            <a:endCxn id="6" idx="1"/>
          </p:cNvCxnSpPr>
          <p:nvPr/>
        </p:nvCxnSpPr>
        <p:spPr>
          <a:xfrm flipV="1">
            <a:off x="839787" y="2148246"/>
            <a:ext cx="0" cy="3222815"/>
          </a:xfrm>
          <a:prstGeom prst="line">
            <a:avLst/>
          </a:prstGeom>
          <a:ln>
            <a:solidFill>
              <a:srgbClr val="66CC33"/>
            </a:solidFill>
            <a:prstDash val="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C6B89684-86AA-4AC4-8CDA-FAC39A7ED87B}"/>
              </a:ext>
            </a:extLst>
          </p:cNvPr>
          <p:cNvSpPr>
            <a:spLocks noGrp="1"/>
          </p:cNvSpPr>
          <p:nvPr>
            <p:ph type="title"/>
          </p:nvPr>
        </p:nvSpPr>
        <p:spPr/>
        <p:txBody>
          <a:bodyPr/>
          <a:lstStyle/>
          <a:p>
            <a:r>
              <a:rPr lang="en-US"/>
              <a:t>Accelerate the design-in process</a:t>
            </a:r>
          </a:p>
        </p:txBody>
      </p:sp>
      <p:grpSp>
        <p:nvGrpSpPr>
          <p:cNvPr id="15" name="Group 14">
            <a:extLst>
              <a:ext uri="{FF2B5EF4-FFF2-40B4-BE49-F238E27FC236}">
                <a16:creationId xmlns:a16="http://schemas.microsoft.com/office/drawing/2014/main" id="{1AF2BAC7-FD3D-5843-9D24-C04F10A1BFF7}"/>
              </a:ext>
            </a:extLst>
          </p:cNvPr>
          <p:cNvGrpSpPr/>
          <p:nvPr/>
        </p:nvGrpSpPr>
        <p:grpSpPr>
          <a:xfrm>
            <a:off x="839787" y="3895344"/>
            <a:ext cx="3558121" cy="1820215"/>
            <a:chOff x="839787" y="3895344"/>
            <a:chExt cx="3558121" cy="1820215"/>
          </a:xfrm>
        </p:grpSpPr>
        <p:grpSp>
          <p:nvGrpSpPr>
            <p:cNvPr id="12" name="Group 11">
              <a:extLst>
                <a:ext uri="{FF2B5EF4-FFF2-40B4-BE49-F238E27FC236}">
                  <a16:creationId xmlns:a16="http://schemas.microsoft.com/office/drawing/2014/main" id="{0951281F-229D-FE44-A83E-D4A4A0CF9614}"/>
                </a:ext>
              </a:extLst>
            </p:cNvPr>
            <p:cNvGrpSpPr/>
            <p:nvPr/>
          </p:nvGrpSpPr>
          <p:grpSpPr>
            <a:xfrm>
              <a:off x="839787" y="5054147"/>
              <a:ext cx="640142" cy="633828"/>
              <a:chOff x="839787" y="5054147"/>
              <a:chExt cx="640142" cy="633828"/>
            </a:xfrm>
          </p:grpSpPr>
          <p:sp>
            <p:nvSpPr>
              <p:cNvPr id="64" name="Oval 63">
                <a:extLst>
                  <a:ext uri="{FF2B5EF4-FFF2-40B4-BE49-F238E27FC236}">
                    <a16:creationId xmlns:a16="http://schemas.microsoft.com/office/drawing/2014/main" id="{ED8F54F3-89D0-4B7C-89A1-745CA27FBABA}"/>
                  </a:ext>
                </a:extLst>
              </p:cNvPr>
              <p:cNvSpPr/>
              <p:nvPr/>
            </p:nvSpPr>
            <p:spPr>
              <a:xfrm>
                <a:off x="839787" y="5054147"/>
                <a:ext cx="633828" cy="633828"/>
              </a:xfrm>
              <a:prstGeom prst="ellipse">
                <a:avLst/>
              </a:prstGeom>
              <a:solidFill>
                <a:schemeClr val="bg1"/>
              </a:solidFill>
              <a:ln w="31750">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sp>
            <p:nvSpPr>
              <p:cNvPr id="26" name="TextBox 25">
                <a:extLst>
                  <a:ext uri="{FF2B5EF4-FFF2-40B4-BE49-F238E27FC236}">
                    <a16:creationId xmlns:a16="http://schemas.microsoft.com/office/drawing/2014/main" id="{725A6A09-AEF9-4A7D-BC04-2292BD97D636}"/>
                  </a:ext>
                </a:extLst>
              </p:cNvPr>
              <p:cNvSpPr txBox="1"/>
              <p:nvPr/>
            </p:nvSpPr>
            <p:spPr>
              <a:xfrm>
                <a:off x="846101" y="5197936"/>
                <a:ext cx="633828" cy="346249"/>
              </a:xfrm>
              <a:prstGeom prst="rect">
                <a:avLst/>
              </a:prstGeom>
              <a:noFill/>
            </p:spPr>
            <p:txBody>
              <a:bodyPr wrap="none" rtlCol="0" anchor="ctr" anchorCtr="0">
                <a:noAutofit/>
              </a:bodyPr>
              <a:lstStyle/>
              <a:p>
                <a:pPr algn="ctr"/>
                <a:r>
                  <a:rPr lang="en-US" sz="1400" b="1">
                    <a:solidFill>
                      <a:schemeClr val="accent1"/>
                    </a:solidFill>
                  </a:rPr>
                  <a:t>SEN5x</a:t>
                </a:r>
              </a:p>
            </p:txBody>
          </p:sp>
        </p:grpSp>
        <p:grpSp>
          <p:nvGrpSpPr>
            <p:cNvPr id="11" name="Group 10">
              <a:extLst>
                <a:ext uri="{FF2B5EF4-FFF2-40B4-BE49-F238E27FC236}">
                  <a16:creationId xmlns:a16="http://schemas.microsoft.com/office/drawing/2014/main" id="{19950C61-E4E6-470C-887C-446B5EC87D36}"/>
                </a:ext>
              </a:extLst>
            </p:cNvPr>
            <p:cNvGrpSpPr>
              <a:grpSpLocks noChangeAspect="1"/>
            </p:cNvGrpSpPr>
            <p:nvPr/>
          </p:nvGrpSpPr>
          <p:grpSpPr>
            <a:xfrm>
              <a:off x="1610759" y="3895344"/>
              <a:ext cx="2389425" cy="1147320"/>
              <a:chOff x="2610321" y="4574118"/>
              <a:chExt cx="1978506" cy="950009"/>
            </a:xfrm>
          </p:grpSpPr>
          <p:grpSp>
            <p:nvGrpSpPr>
              <p:cNvPr id="3" name="Group 2">
                <a:extLst>
                  <a:ext uri="{FF2B5EF4-FFF2-40B4-BE49-F238E27FC236}">
                    <a16:creationId xmlns:a16="http://schemas.microsoft.com/office/drawing/2014/main" id="{B2DA8D51-221D-4866-AC34-F60A7907EB3D}"/>
                  </a:ext>
                </a:extLst>
              </p:cNvPr>
              <p:cNvGrpSpPr>
                <a:grpSpLocks noChangeAspect="1"/>
              </p:cNvGrpSpPr>
              <p:nvPr/>
            </p:nvGrpSpPr>
            <p:grpSpPr>
              <a:xfrm>
                <a:off x="2610321" y="4574119"/>
                <a:ext cx="457200" cy="457200"/>
                <a:chOff x="1057967" y="4802579"/>
                <a:chExt cx="457200" cy="457200"/>
              </a:xfrm>
            </p:grpSpPr>
            <p:sp>
              <p:nvSpPr>
                <p:cNvPr id="32" name="Oval 31">
                  <a:extLst>
                    <a:ext uri="{FF2B5EF4-FFF2-40B4-BE49-F238E27FC236}">
                      <a16:creationId xmlns:a16="http://schemas.microsoft.com/office/drawing/2014/main" id="{91172223-F0F9-4266-A179-503ECE380FC6}"/>
                    </a:ext>
                  </a:extLst>
                </p:cNvPr>
                <p:cNvSpPr/>
                <p:nvPr/>
              </p:nvSpPr>
              <p:spPr>
                <a:xfrm>
                  <a:off x="1057967" y="4802579"/>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21" name="Graphic 20">
                  <a:extLst>
                    <a:ext uri="{FF2B5EF4-FFF2-40B4-BE49-F238E27FC236}">
                      <a16:creationId xmlns:a16="http://schemas.microsoft.com/office/drawing/2014/main" id="{CA746011-818D-41F6-9667-22EEE547344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8524" y="4848299"/>
                  <a:ext cx="336088" cy="365760"/>
                </a:xfrm>
                <a:prstGeom prst="rect">
                  <a:avLst/>
                </a:prstGeom>
              </p:spPr>
            </p:pic>
          </p:grpSp>
          <p:grpSp>
            <p:nvGrpSpPr>
              <p:cNvPr id="7" name="Group 6">
                <a:extLst>
                  <a:ext uri="{FF2B5EF4-FFF2-40B4-BE49-F238E27FC236}">
                    <a16:creationId xmlns:a16="http://schemas.microsoft.com/office/drawing/2014/main" id="{210B8A51-DA98-48D1-A726-AD82199C4FDF}"/>
                  </a:ext>
                </a:extLst>
              </p:cNvPr>
              <p:cNvGrpSpPr>
                <a:grpSpLocks noChangeAspect="1"/>
              </p:cNvGrpSpPr>
              <p:nvPr/>
            </p:nvGrpSpPr>
            <p:grpSpPr>
              <a:xfrm>
                <a:off x="4131627" y="4574118"/>
                <a:ext cx="457200" cy="457200"/>
                <a:chOff x="2938096" y="4802578"/>
                <a:chExt cx="457200" cy="457200"/>
              </a:xfrm>
            </p:grpSpPr>
            <p:sp>
              <p:nvSpPr>
                <p:cNvPr id="43" name="Oval 42">
                  <a:extLst>
                    <a:ext uri="{FF2B5EF4-FFF2-40B4-BE49-F238E27FC236}">
                      <a16:creationId xmlns:a16="http://schemas.microsoft.com/office/drawing/2014/main" id="{C57C12B5-C013-4F7E-919D-14416ECF1AED}"/>
                    </a:ext>
                  </a:extLst>
                </p:cNvPr>
                <p:cNvSpPr/>
                <p:nvPr/>
              </p:nvSpPr>
              <p:spPr>
                <a:xfrm>
                  <a:off x="2938096" y="4802578"/>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24" name="Graphic 23">
                  <a:extLst>
                    <a:ext uri="{FF2B5EF4-FFF2-40B4-BE49-F238E27FC236}">
                      <a16:creationId xmlns:a16="http://schemas.microsoft.com/office/drawing/2014/main" id="{F04CD459-8955-4037-B339-0D310429533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98652" y="4848298"/>
                  <a:ext cx="336088" cy="365760"/>
                </a:xfrm>
                <a:prstGeom prst="rect">
                  <a:avLst/>
                </a:prstGeom>
              </p:spPr>
            </p:pic>
          </p:grpSp>
          <p:grpSp>
            <p:nvGrpSpPr>
              <p:cNvPr id="4" name="Group 3">
                <a:extLst>
                  <a:ext uri="{FF2B5EF4-FFF2-40B4-BE49-F238E27FC236}">
                    <a16:creationId xmlns:a16="http://schemas.microsoft.com/office/drawing/2014/main" id="{8059E1D1-2E35-47CF-B112-CE9D24DC399C}"/>
                  </a:ext>
                </a:extLst>
              </p:cNvPr>
              <p:cNvGrpSpPr>
                <a:grpSpLocks noChangeAspect="1"/>
              </p:cNvGrpSpPr>
              <p:nvPr/>
            </p:nvGrpSpPr>
            <p:grpSpPr>
              <a:xfrm>
                <a:off x="3370975" y="4574119"/>
                <a:ext cx="457200" cy="457200"/>
                <a:chOff x="1925115" y="4802579"/>
                <a:chExt cx="457200" cy="457200"/>
              </a:xfrm>
            </p:grpSpPr>
            <p:sp>
              <p:nvSpPr>
                <p:cNvPr id="40" name="Oval 39">
                  <a:extLst>
                    <a:ext uri="{FF2B5EF4-FFF2-40B4-BE49-F238E27FC236}">
                      <a16:creationId xmlns:a16="http://schemas.microsoft.com/office/drawing/2014/main" id="{C8E0C511-5941-4EAF-81D4-66DB40E8E954}"/>
                    </a:ext>
                  </a:extLst>
                </p:cNvPr>
                <p:cNvSpPr/>
                <p:nvPr/>
              </p:nvSpPr>
              <p:spPr>
                <a:xfrm>
                  <a:off x="1925115" y="4802579"/>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25" name="Graphic 24">
                  <a:extLst>
                    <a:ext uri="{FF2B5EF4-FFF2-40B4-BE49-F238E27FC236}">
                      <a16:creationId xmlns:a16="http://schemas.microsoft.com/office/drawing/2014/main" id="{7F2476FF-E8DE-490B-97D2-6C4B46B4900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85671" y="4848299"/>
                  <a:ext cx="336089" cy="365760"/>
                </a:xfrm>
                <a:prstGeom prst="rect">
                  <a:avLst/>
                </a:prstGeom>
              </p:spPr>
            </p:pic>
          </p:grpSp>
          <p:grpSp>
            <p:nvGrpSpPr>
              <p:cNvPr id="8" name="Group 7">
                <a:extLst>
                  <a:ext uri="{FF2B5EF4-FFF2-40B4-BE49-F238E27FC236}">
                    <a16:creationId xmlns:a16="http://schemas.microsoft.com/office/drawing/2014/main" id="{AF92467A-95B6-4DAA-BA49-62B464AA516F}"/>
                  </a:ext>
                </a:extLst>
              </p:cNvPr>
              <p:cNvGrpSpPr>
                <a:grpSpLocks noChangeAspect="1"/>
              </p:cNvGrpSpPr>
              <p:nvPr/>
            </p:nvGrpSpPr>
            <p:grpSpPr>
              <a:xfrm>
                <a:off x="3751302" y="5066927"/>
                <a:ext cx="457200" cy="457200"/>
                <a:chOff x="2378078" y="5399885"/>
                <a:chExt cx="457200" cy="457200"/>
              </a:xfrm>
            </p:grpSpPr>
            <p:sp>
              <p:nvSpPr>
                <p:cNvPr id="49" name="Oval 48">
                  <a:extLst>
                    <a:ext uri="{FF2B5EF4-FFF2-40B4-BE49-F238E27FC236}">
                      <a16:creationId xmlns:a16="http://schemas.microsoft.com/office/drawing/2014/main" id="{17EB945C-5D9C-4016-8E15-18C99800ADB9}"/>
                    </a:ext>
                  </a:extLst>
                </p:cNvPr>
                <p:cNvSpPr/>
                <p:nvPr/>
              </p:nvSpPr>
              <p:spPr>
                <a:xfrm>
                  <a:off x="2378078" y="5399885"/>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22" name="Graphic 21">
                  <a:extLst>
                    <a:ext uri="{FF2B5EF4-FFF2-40B4-BE49-F238E27FC236}">
                      <a16:creationId xmlns:a16="http://schemas.microsoft.com/office/drawing/2014/main" id="{BBABEADF-7999-49A7-9EE2-B3475DBD508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38634" y="5445605"/>
                  <a:ext cx="336089" cy="365760"/>
                </a:xfrm>
                <a:prstGeom prst="rect">
                  <a:avLst/>
                </a:prstGeom>
              </p:spPr>
            </p:pic>
          </p:grpSp>
          <p:grpSp>
            <p:nvGrpSpPr>
              <p:cNvPr id="9" name="Group 8">
                <a:extLst>
                  <a:ext uri="{FF2B5EF4-FFF2-40B4-BE49-F238E27FC236}">
                    <a16:creationId xmlns:a16="http://schemas.microsoft.com/office/drawing/2014/main" id="{F4A845BA-7F65-4169-BF31-0D41CC12E811}"/>
                  </a:ext>
                </a:extLst>
              </p:cNvPr>
              <p:cNvGrpSpPr>
                <a:grpSpLocks noChangeAspect="1"/>
              </p:cNvGrpSpPr>
              <p:nvPr/>
            </p:nvGrpSpPr>
            <p:grpSpPr>
              <a:xfrm>
                <a:off x="2990648" y="5054205"/>
                <a:ext cx="457200" cy="457200"/>
                <a:chOff x="1748682" y="5282614"/>
                <a:chExt cx="457200" cy="457200"/>
              </a:xfrm>
            </p:grpSpPr>
            <p:sp>
              <p:nvSpPr>
                <p:cNvPr id="46" name="Oval 45">
                  <a:extLst>
                    <a:ext uri="{FF2B5EF4-FFF2-40B4-BE49-F238E27FC236}">
                      <a16:creationId xmlns:a16="http://schemas.microsoft.com/office/drawing/2014/main" id="{7F01F401-2C56-40FD-A7D3-ACF334BAA7BE}"/>
                    </a:ext>
                  </a:extLst>
                </p:cNvPr>
                <p:cNvSpPr/>
                <p:nvPr/>
              </p:nvSpPr>
              <p:spPr>
                <a:xfrm>
                  <a:off x="1748682" y="5282614"/>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23" name="Graphic 22">
                  <a:extLst>
                    <a:ext uri="{FF2B5EF4-FFF2-40B4-BE49-F238E27FC236}">
                      <a16:creationId xmlns:a16="http://schemas.microsoft.com/office/drawing/2014/main" id="{2E6793E5-1433-4F57-A866-B0E8A44EA81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09238" y="5328334"/>
                  <a:ext cx="336089" cy="365760"/>
                </a:xfrm>
                <a:prstGeom prst="rect">
                  <a:avLst/>
                </a:prstGeom>
              </p:spPr>
            </p:pic>
          </p:grpSp>
        </p:grpSp>
        <p:sp>
          <p:nvSpPr>
            <p:cNvPr id="79" name="TextBox 78">
              <a:extLst>
                <a:ext uri="{FF2B5EF4-FFF2-40B4-BE49-F238E27FC236}">
                  <a16:creationId xmlns:a16="http://schemas.microsoft.com/office/drawing/2014/main" id="{CF683A16-07EF-426E-A1E9-F6CAC0029A35}"/>
                </a:ext>
              </a:extLst>
            </p:cNvPr>
            <p:cNvSpPr txBox="1"/>
            <p:nvPr/>
          </p:nvSpPr>
          <p:spPr>
            <a:xfrm>
              <a:off x="1539593" y="5130784"/>
              <a:ext cx="2858315" cy="584775"/>
            </a:xfrm>
            <a:prstGeom prst="rect">
              <a:avLst/>
            </a:prstGeom>
            <a:noFill/>
          </p:spPr>
          <p:txBody>
            <a:bodyPr wrap="square" anchor="ctr" anchorCtr="0">
              <a:spAutoFit/>
            </a:bodyPr>
            <a:lstStyle/>
            <a:p>
              <a:r>
                <a:rPr lang="en-US" sz="1600"/>
                <a:t>Quicker and more compact design of multiple components</a:t>
              </a:r>
            </a:p>
          </p:txBody>
        </p:sp>
      </p:grpSp>
      <p:sp>
        <p:nvSpPr>
          <p:cNvPr id="110" name="Arrow: Chevron 109">
            <a:extLst>
              <a:ext uri="{FF2B5EF4-FFF2-40B4-BE49-F238E27FC236}">
                <a16:creationId xmlns:a16="http://schemas.microsoft.com/office/drawing/2014/main" id="{84F0E967-511C-4B30-9F65-4ACA0B346210}"/>
              </a:ext>
            </a:extLst>
          </p:cNvPr>
          <p:cNvSpPr/>
          <p:nvPr/>
        </p:nvSpPr>
        <p:spPr>
          <a:xfrm>
            <a:off x="4068445" y="1893475"/>
            <a:ext cx="353377" cy="509542"/>
          </a:xfrm>
          <a:prstGeom prst="chevron">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1" name="Arrow: Chevron 110">
            <a:extLst>
              <a:ext uri="{FF2B5EF4-FFF2-40B4-BE49-F238E27FC236}">
                <a16:creationId xmlns:a16="http://schemas.microsoft.com/office/drawing/2014/main" id="{FCF34E7E-7E36-4452-98C3-3B408884E162}"/>
              </a:ext>
            </a:extLst>
          </p:cNvPr>
          <p:cNvSpPr/>
          <p:nvPr/>
        </p:nvSpPr>
        <p:spPr>
          <a:xfrm>
            <a:off x="7770178" y="1893475"/>
            <a:ext cx="353377" cy="509542"/>
          </a:xfrm>
          <a:prstGeom prst="chevron">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33" name="Straight Connector 132">
            <a:extLst>
              <a:ext uri="{FF2B5EF4-FFF2-40B4-BE49-F238E27FC236}">
                <a16:creationId xmlns:a16="http://schemas.microsoft.com/office/drawing/2014/main" id="{5092493F-EFB6-45B8-BE6F-87B4402D0677}"/>
              </a:ext>
            </a:extLst>
          </p:cNvPr>
          <p:cNvCxnSpPr>
            <a:cxnSpLocks/>
            <a:stCxn id="107" idx="2"/>
            <a:endCxn id="17" idx="1"/>
          </p:cNvCxnSpPr>
          <p:nvPr/>
        </p:nvCxnSpPr>
        <p:spPr>
          <a:xfrm flipV="1">
            <a:off x="4541520" y="2148246"/>
            <a:ext cx="0" cy="2429952"/>
          </a:xfrm>
          <a:prstGeom prst="line">
            <a:avLst/>
          </a:prstGeom>
          <a:ln>
            <a:solidFill>
              <a:srgbClr val="66CC33"/>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B22136B-2C56-43A4-B49F-BE44C0A15C50}"/>
              </a:ext>
            </a:extLst>
          </p:cNvPr>
          <p:cNvCxnSpPr>
            <a:cxnSpLocks/>
            <a:stCxn id="126" idx="2"/>
          </p:cNvCxnSpPr>
          <p:nvPr/>
        </p:nvCxnSpPr>
        <p:spPr>
          <a:xfrm flipV="1">
            <a:off x="8243253" y="2126022"/>
            <a:ext cx="0" cy="1623018"/>
          </a:xfrm>
          <a:prstGeom prst="line">
            <a:avLst/>
          </a:prstGeom>
          <a:ln>
            <a:solidFill>
              <a:srgbClr val="66CC33"/>
            </a:solidFill>
            <a:prstDash val="dash"/>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B79A6135-4D92-0548-804E-20BCAFB340E3}"/>
              </a:ext>
            </a:extLst>
          </p:cNvPr>
          <p:cNvGrpSpPr/>
          <p:nvPr/>
        </p:nvGrpSpPr>
        <p:grpSpPr>
          <a:xfrm>
            <a:off x="4541520" y="1142406"/>
            <a:ext cx="3108960" cy="2011680"/>
            <a:chOff x="4541520" y="1142406"/>
            <a:chExt cx="3108960" cy="2011680"/>
          </a:xfrm>
        </p:grpSpPr>
        <p:sp>
          <p:nvSpPr>
            <p:cNvPr id="17" name="Rectangle: Rounded Corners 49">
              <a:extLst>
                <a:ext uri="{FF2B5EF4-FFF2-40B4-BE49-F238E27FC236}">
                  <a16:creationId xmlns:a16="http://schemas.microsoft.com/office/drawing/2014/main" id="{8687E4CF-96D6-40E0-B6E0-60E9476B1837}"/>
                </a:ext>
              </a:extLst>
            </p:cNvPr>
            <p:cNvSpPr/>
            <p:nvPr/>
          </p:nvSpPr>
          <p:spPr>
            <a:xfrm>
              <a:off x="4541520" y="1142406"/>
              <a:ext cx="3108960" cy="2011680"/>
            </a:xfrm>
            <a:prstGeom prst="roundRect">
              <a:avLst>
                <a:gd name="adj" fmla="val 3993"/>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80" name="Picture 2" descr="Timeline - Image - Our company milestones">
              <a:extLst>
                <a:ext uri="{FF2B5EF4-FFF2-40B4-BE49-F238E27FC236}">
                  <a16:creationId xmlns:a16="http://schemas.microsoft.com/office/drawing/2014/main" id="{055BC781-D309-4B38-9576-D0656031E995}"/>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9843" t="18203" b="10145"/>
            <a:stretch/>
          </p:blipFill>
          <p:spPr bwMode="auto">
            <a:xfrm>
              <a:off x="4926104" y="1218492"/>
              <a:ext cx="2339792" cy="18595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9" name="Picture 108" descr="Indoor Air Quality_Yoga_Mops_Air Purifier">
            <a:extLst>
              <a:ext uri="{FF2B5EF4-FFF2-40B4-BE49-F238E27FC236}">
                <a16:creationId xmlns:a16="http://schemas.microsoft.com/office/drawing/2014/main" id="{E80184F5-9195-4911-89F3-530B99A3FEF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l="4604" t="1454" b="5898"/>
          <a:stretch>
            <a:fillRect/>
          </a:stretch>
        </p:blipFill>
        <p:spPr bwMode="auto">
          <a:xfrm>
            <a:off x="8243253" y="1142406"/>
            <a:ext cx="3108960" cy="2011680"/>
          </a:xfrm>
          <a:custGeom>
            <a:avLst/>
            <a:gdLst>
              <a:gd name="connsiteX0" fmla="*/ 80326 w 3108960"/>
              <a:gd name="connsiteY0" fmla="*/ 0 h 2011680"/>
              <a:gd name="connsiteX1" fmla="*/ 3028634 w 3108960"/>
              <a:gd name="connsiteY1" fmla="*/ 0 h 2011680"/>
              <a:gd name="connsiteX2" fmla="*/ 3108960 w 3108960"/>
              <a:gd name="connsiteY2" fmla="*/ 80326 h 2011680"/>
              <a:gd name="connsiteX3" fmla="*/ 3108960 w 3108960"/>
              <a:gd name="connsiteY3" fmla="*/ 1931354 h 2011680"/>
              <a:gd name="connsiteX4" fmla="*/ 3028634 w 3108960"/>
              <a:gd name="connsiteY4" fmla="*/ 2011680 h 2011680"/>
              <a:gd name="connsiteX5" fmla="*/ 80326 w 3108960"/>
              <a:gd name="connsiteY5" fmla="*/ 2011680 h 2011680"/>
              <a:gd name="connsiteX6" fmla="*/ 0 w 3108960"/>
              <a:gd name="connsiteY6" fmla="*/ 1931354 h 2011680"/>
              <a:gd name="connsiteX7" fmla="*/ 0 w 3108960"/>
              <a:gd name="connsiteY7" fmla="*/ 80326 h 2011680"/>
              <a:gd name="connsiteX8" fmla="*/ 80326 w 3108960"/>
              <a:gd name="connsiteY8" fmla="*/ 0 h 20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8960" h="2011680">
                <a:moveTo>
                  <a:pt x="80326" y="0"/>
                </a:moveTo>
                <a:lnTo>
                  <a:pt x="3028634" y="0"/>
                </a:lnTo>
                <a:cubicBezTo>
                  <a:pt x="3072997" y="0"/>
                  <a:pt x="3108960" y="35963"/>
                  <a:pt x="3108960" y="80326"/>
                </a:cubicBezTo>
                <a:lnTo>
                  <a:pt x="3108960" y="1931354"/>
                </a:lnTo>
                <a:cubicBezTo>
                  <a:pt x="3108960" y="1975717"/>
                  <a:pt x="3072997" y="2011680"/>
                  <a:pt x="3028634" y="2011680"/>
                </a:cubicBezTo>
                <a:lnTo>
                  <a:pt x="80326" y="2011680"/>
                </a:lnTo>
                <a:cubicBezTo>
                  <a:pt x="35963" y="2011680"/>
                  <a:pt x="0" y="1975717"/>
                  <a:pt x="0" y="1931354"/>
                </a:cubicBezTo>
                <a:lnTo>
                  <a:pt x="0" y="80326"/>
                </a:lnTo>
                <a:cubicBezTo>
                  <a:pt x="0" y="35963"/>
                  <a:pt x="35963" y="0"/>
                  <a:pt x="80326" y="0"/>
                </a:cubicBezTo>
                <a:close/>
              </a:path>
            </a:pathLst>
          </a:custGeom>
          <a:noFill/>
          <a:effectLst>
            <a:outerShdw blurRad="190500" dir="2700000" algn="ctr" rotWithShape="0">
              <a:srgbClr val="000000">
                <a:alpha val="10000"/>
              </a:srgbClr>
            </a:outerShdw>
          </a:effectLst>
          <a:extLst>
            <a:ext uri="{909E8E84-426E-40DD-AFC4-6F175D3DCCD1}">
              <a14:hiddenFill xmlns:a14="http://schemas.microsoft.com/office/drawing/2010/main">
                <a:solidFill>
                  <a:srgbClr val="FFFFFF"/>
                </a:solidFill>
              </a14:hiddenFill>
            </a:ext>
          </a:extLst>
        </p:spPr>
      </p:pic>
      <p:grpSp>
        <p:nvGrpSpPr>
          <p:cNvPr id="16" name="Group 15">
            <a:extLst>
              <a:ext uri="{FF2B5EF4-FFF2-40B4-BE49-F238E27FC236}">
                <a16:creationId xmlns:a16="http://schemas.microsoft.com/office/drawing/2014/main" id="{6BE8CD15-24B4-D94B-B196-035E966BBF10}"/>
              </a:ext>
            </a:extLst>
          </p:cNvPr>
          <p:cNvGrpSpPr/>
          <p:nvPr/>
        </p:nvGrpSpPr>
        <p:grpSpPr>
          <a:xfrm>
            <a:off x="4541520" y="4135047"/>
            <a:ext cx="3415235" cy="830997"/>
            <a:chOff x="4541520" y="4135047"/>
            <a:chExt cx="3415235" cy="830997"/>
          </a:xfrm>
        </p:grpSpPr>
        <p:sp>
          <p:nvSpPr>
            <p:cNvPr id="88" name="TextBox 87">
              <a:extLst>
                <a:ext uri="{FF2B5EF4-FFF2-40B4-BE49-F238E27FC236}">
                  <a16:creationId xmlns:a16="http://schemas.microsoft.com/office/drawing/2014/main" id="{E256B5A5-EEE1-4C33-8F49-12D651981664}"/>
                </a:ext>
              </a:extLst>
            </p:cNvPr>
            <p:cNvSpPr txBox="1"/>
            <p:nvPr/>
          </p:nvSpPr>
          <p:spPr>
            <a:xfrm>
              <a:off x="5210916" y="4135047"/>
              <a:ext cx="2745839" cy="830997"/>
            </a:xfrm>
            <a:prstGeom prst="rect">
              <a:avLst/>
            </a:prstGeom>
            <a:noFill/>
          </p:spPr>
          <p:txBody>
            <a:bodyPr wrap="square" anchor="ctr" anchorCtr="0">
              <a:spAutoFit/>
            </a:bodyPr>
            <a:lstStyle/>
            <a:p>
              <a:r>
                <a:rPr lang="en-US" sz="1600"/>
                <a:t>Simplified engineering by optimized flow control and sensor compensation</a:t>
              </a:r>
            </a:p>
          </p:txBody>
        </p:sp>
        <p:grpSp>
          <p:nvGrpSpPr>
            <p:cNvPr id="105" name="Group 104">
              <a:extLst>
                <a:ext uri="{FF2B5EF4-FFF2-40B4-BE49-F238E27FC236}">
                  <a16:creationId xmlns:a16="http://schemas.microsoft.com/office/drawing/2014/main" id="{D56B7E76-D3B0-4CCC-A1B9-FC81DB677C96}"/>
                </a:ext>
              </a:extLst>
            </p:cNvPr>
            <p:cNvGrpSpPr/>
            <p:nvPr/>
          </p:nvGrpSpPr>
          <p:grpSpPr>
            <a:xfrm>
              <a:off x="4541520" y="4258158"/>
              <a:ext cx="640080" cy="640080"/>
              <a:chOff x="6661431" y="2189755"/>
              <a:chExt cx="640080" cy="640080"/>
            </a:xfrm>
          </p:grpSpPr>
          <p:sp>
            <p:nvSpPr>
              <p:cNvPr id="107" name="Oval 106">
                <a:extLst>
                  <a:ext uri="{FF2B5EF4-FFF2-40B4-BE49-F238E27FC236}">
                    <a16:creationId xmlns:a16="http://schemas.microsoft.com/office/drawing/2014/main" id="{31635B2C-C538-45AF-AC3F-A2140DCC6212}"/>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8" name="Oval 107">
                <a:extLst>
                  <a:ext uri="{FF2B5EF4-FFF2-40B4-BE49-F238E27FC236}">
                    <a16:creationId xmlns:a16="http://schemas.microsoft.com/office/drawing/2014/main" id="{BDEE5F0C-4B02-4B07-A91B-D26C19FB1883}"/>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pic>
          <p:nvPicPr>
            <p:cNvPr id="141" name="Graphic 140">
              <a:extLst>
                <a:ext uri="{FF2B5EF4-FFF2-40B4-BE49-F238E27FC236}">
                  <a16:creationId xmlns:a16="http://schemas.microsoft.com/office/drawing/2014/main" id="{DA602C3D-0BAA-4940-B46C-B510FB4B4CF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32960" y="4349598"/>
              <a:ext cx="457200" cy="457200"/>
            </a:xfrm>
            <a:prstGeom prst="rect">
              <a:avLst/>
            </a:prstGeom>
          </p:spPr>
        </p:pic>
      </p:grpSp>
      <p:grpSp>
        <p:nvGrpSpPr>
          <p:cNvPr id="18" name="Group 17">
            <a:extLst>
              <a:ext uri="{FF2B5EF4-FFF2-40B4-BE49-F238E27FC236}">
                <a16:creationId xmlns:a16="http://schemas.microsoft.com/office/drawing/2014/main" id="{D13E927D-E433-D94C-B6D6-6E1266323786}"/>
              </a:ext>
            </a:extLst>
          </p:cNvPr>
          <p:cNvGrpSpPr/>
          <p:nvPr/>
        </p:nvGrpSpPr>
        <p:grpSpPr>
          <a:xfrm>
            <a:off x="8243253" y="3305889"/>
            <a:ext cx="3229716" cy="830997"/>
            <a:chOff x="8243253" y="3305889"/>
            <a:chExt cx="3229716" cy="830997"/>
          </a:xfrm>
        </p:grpSpPr>
        <p:sp>
          <p:nvSpPr>
            <p:cNvPr id="122" name="TextBox 121">
              <a:extLst>
                <a:ext uri="{FF2B5EF4-FFF2-40B4-BE49-F238E27FC236}">
                  <a16:creationId xmlns:a16="http://schemas.microsoft.com/office/drawing/2014/main" id="{7E6E774B-2901-4706-8AF7-A89B50B6D3FF}"/>
                </a:ext>
              </a:extLst>
            </p:cNvPr>
            <p:cNvSpPr txBox="1"/>
            <p:nvPr/>
          </p:nvSpPr>
          <p:spPr>
            <a:xfrm>
              <a:off x="8912649" y="3305889"/>
              <a:ext cx="2560320" cy="830997"/>
            </a:xfrm>
            <a:prstGeom prst="rect">
              <a:avLst/>
            </a:prstGeom>
            <a:noFill/>
          </p:spPr>
          <p:txBody>
            <a:bodyPr wrap="square" anchor="ctr" anchorCtr="0">
              <a:spAutoFit/>
            </a:bodyPr>
            <a:lstStyle/>
            <a:p>
              <a:r>
                <a:rPr lang="en-US" sz="1600"/>
                <a:t>Quicker software design due to the single interface and implemented algorithm</a:t>
              </a:r>
            </a:p>
          </p:txBody>
        </p:sp>
        <p:grpSp>
          <p:nvGrpSpPr>
            <p:cNvPr id="144" name="Group 143">
              <a:extLst>
                <a:ext uri="{FF2B5EF4-FFF2-40B4-BE49-F238E27FC236}">
                  <a16:creationId xmlns:a16="http://schemas.microsoft.com/office/drawing/2014/main" id="{824A4D73-8463-4F30-A659-F4431A793720}"/>
                </a:ext>
              </a:extLst>
            </p:cNvPr>
            <p:cNvGrpSpPr/>
            <p:nvPr/>
          </p:nvGrpSpPr>
          <p:grpSpPr>
            <a:xfrm>
              <a:off x="8243253" y="3429000"/>
              <a:ext cx="640080" cy="640080"/>
              <a:chOff x="8243253" y="3429000"/>
              <a:chExt cx="640080" cy="640080"/>
            </a:xfrm>
          </p:grpSpPr>
          <p:grpSp>
            <p:nvGrpSpPr>
              <p:cNvPr id="124" name="Group 123">
                <a:extLst>
                  <a:ext uri="{FF2B5EF4-FFF2-40B4-BE49-F238E27FC236}">
                    <a16:creationId xmlns:a16="http://schemas.microsoft.com/office/drawing/2014/main" id="{C8F6195A-01F4-4409-BDB4-C694FAE91E63}"/>
                  </a:ext>
                </a:extLst>
              </p:cNvPr>
              <p:cNvGrpSpPr/>
              <p:nvPr/>
            </p:nvGrpSpPr>
            <p:grpSpPr>
              <a:xfrm>
                <a:off x="8243253" y="3429000"/>
                <a:ext cx="640080" cy="640080"/>
                <a:chOff x="6661431" y="2189755"/>
                <a:chExt cx="640080" cy="640080"/>
              </a:xfrm>
            </p:grpSpPr>
            <p:sp>
              <p:nvSpPr>
                <p:cNvPr id="126" name="Oval 125">
                  <a:extLst>
                    <a:ext uri="{FF2B5EF4-FFF2-40B4-BE49-F238E27FC236}">
                      <a16:creationId xmlns:a16="http://schemas.microsoft.com/office/drawing/2014/main" id="{4B37640F-BAB3-4762-B2EE-7E90275CF7E5}"/>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7" name="Oval 126">
                  <a:extLst>
                    <a:ext uri="{FF2B5EF4-FFF2-40B4-BE49-F238E27FC236}">
                      <a16:creationId xmlns:a16="http://schemas.microsoft.com/office/drawing/2014/main" id="{57CCA135-5DE6-48D6-880D-5E80714C3F1E}"/>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pic>
            <p:nvPicPr>
              <p:cNvPr id="142" name="Graphic 141">
                <a:extLst>
                  <a:ext uri="{FF2B5EF4-FFF2-40B4-BE49-F238E27FC236}">
                    <a16:creationId xmlns:a16="http://schemas.microsoft.com/office/drawing/2014/main" id="{E871B116-0AE0-4185-A49B-3D9F1A1A29D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416989" y="3602736"/>
                <a:ext cx="292608" cy="292608"/>
              </a:xfrm>
              <a:prstGeom prst="rect">
                <a:avLst/>
              </a:prstGeom>
            </p:spPr>
          </p:pic>
        </p:grpSp>
      </p:grpSp>
      <p:grpSp>
        <p:nvGrpSpPr>
          <p:cNvPr id="13" name="Group 12">
            <a:extLst>
              <a:ext uri="{FF2B5EF4-FFF2-40B4-BE49-F238E27FC236}">
                <a16:creationId xmlns:a16="http://schemas.microsoft.com/office/drawing/2014/main" id="{170DCE2A-1848-B346-9FEB-36BE552867FB}"/>
              </a:ext>
            </a:extLst>
          </p:cNvPr>
          <p:cNvGrpSpPr/>
          <p:nvPr/>
        </p:nvGrpSpPr>
        <p:grpSpPr>
          <a:xfrm>
            <a:off x="839787" y="1142406"/>
            <a:ext cx="3124980" cy="2011680"/>
            <a:chOff x="839787" y="1142406"/>
            <a:chExt cx="3124980" cy="2011680"/>
          </a:xfrm>
        </p:grpSpPr>
        <p:sp>
          <p:nvSpPr>
            <p:cNvPr id="6" name="Rectangle: Rounded Corners 49">
              <a:extLst>
                <a:ext uri="{FF2B5EF4-FFF2-40B4-BE49-F238E27FC236}">
                  <a16:creationId xmlns:a16="http://schemas.microsoft.com/office/drawing/2014/main" id="{24429C5D-953E-4FB8-948D-683DD9B90264}"/>
                </a:ext>
              </a:extLst>
            </p:cNvPr>
            <p:cNvSpPr/>
            <p:nvPr/>
          </p:nvSpPr>
          <p:spPr>
            <a:xfrm>
              <a:off x="839787" y="1142406"/>
              <a:ext cx="3108960" cy="2011680"/>
            </a:xfrm>
            <a:prstGeom prst="roundRect">
              <a:avLst>
                <a:gd name="adj" fmla="val 3993"/>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81" name="Picture 4" descr="SEK-SEN5x Composition">
              <a:extLst>
                <a:ext uri="{FF2B5EF4-FFF2-40B4-BE49-F238E27FC236}">
                  <a16:creationId xmlns:a16="http://schemas.microsoft.com/office/drawing/2014/main" id="{2C7D8D3D-3E4D-4947-AFDA-0B241CEEFB6E}"/>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32075" y="1218492"/>
              <a:ext cx="2324385" cy="1859508"/>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EB77177B-EC11-9541-9712-AB0CD3FAEC7F}"/>
                </a:ext>
              </a:extLst>
            </p:cNvPr>
            <p:cNvSpPr txBox="1"/>
            <p:nvPr/>
          </p:nvSpPr>
          <p:spPr>
            <a:xfrm>
              <a:off x="2014173" y="2885211"/>
              <a:ext cx="1950594" cy="230832"/>
            </a:xfrm>
            <a:prstGeom prst="rect">
              <a:avLst/>
            </a:prstGeom>
            <a:solidFill>
              <a:schemeClr val="bg1"/>
            </a:solidFill>
          </p:spPr>
          <p:txBody>
            <a:bodyPr wrap="square" anchor="ctr" anchorCtr="0">
              <a:spAutoFit/>
            </a:bodyPr>
            <a:lstStyle/>
            <a:p>
              <a:pPr algn="ctr"/>
              <a:r>
                <a:rPr lang="en-US" sz="900"/>
                <a:t>SEN5x environmental node</a:t>
              </a:r>
            </a:p>
          </p:txBody>
        </p:sp>
        <p:sp>
          <p:nvSpPr>
            <p:cNvPr id="45" name="TextBox 44">
              <a:extLst>
                <a:ext uri="{FF2B5EF4-FFF2-40B4-BE49-F238E27FC236}">
                  <a16:creationId xmlns:a16="http://schemas.microsoft.com/office/drawing/2014/main" id="{B4394858-6607-394F-BF7B-9235486C89BE}"/>
                </a:ext>
              </a:extLst>
            </p:cNvPr>
            <p:cNvSpPr txBox="1"/>
            <p:nvPr/>
          </p:nvSpPr>
          <p:spPr>
            <a:xfrm>
              <a:off x="2832269" y="1762953"/>
              <a:ext cx="784218" cy="230832"/>
            </a:xfrm>
            <a:prstGeom prst="rect">
              <a:avLst/>
            </a:prstGeom>
            <a:solidFill>
              <a:schemeClr val="bg1"/>
            </a:solidFill>
          </p:spPr>
          <p:txBody>
            <a:bodyPr wrap="square" anchor="ctr" anchorCtr="0">
              <a:spAutoFit/>
            </a:bodyPr>
            <a:lstStyle/>
            <a:p>
              <a:pPr algn="ctr"/>
              <a:r>
                <a:rPr lang="en-US" sz="900"/>
                <a:t>Adapter cable</a:t>
              </a:r>
            </a:p>
          </p:txBody>
        </p:sp>
        <p:sp>
          <p:nvSpPr>
            <p:cNvPr id="47" name="TextBox 46">
              <a:extLst>
                <a:ext uri="{FF2B5EF4-FFF2-40B4-BE49-F238E27FC236}">
                  <a16:creationId xmlns:a16="http://schemas.microsoft.com/office/drawing/2014/main" id="{9CECFA41-A1E0-3A4E-B4B4-9B3758A48A86}"/>
                </a:ext>
              </a:extLst>
            </p:cNvPr>
            <p:cNvSpPr txBox="1"/>
            <p:nvPr/>
          </p:nvSpPr>
          <p:spPr>
            <a:xfrm>
              <a:off x="1120456" y="2267676"/>
              <a:ext cx="888237" cy="230832"/>
            </a:xfrm>
            <a:prstGeom prst="rect">
              <a:avLst/>
            </a:prstGeom>
            <a:solidFill>
              <a:schemeClr val="bg1"/>
            </a:solidFill>
          </p:spPr>
          <p:txBody>
            <a:bodyPr wrap="square" anchor="ctr" anchorCtr="0">
              <a:spAutoFit/>
            </a:bodyPr>
            <a:lstStyle/>
            <a:p>
              <a:pPr algn="ctr"/>
              <a:r>
                <a:rPr lang="en-US" sz="900"/>
                <a:t>Jumper wire set</a:t>
              </a:r>
            </a:p>
          </p:txBody>
        </p:sp>
      </p:grpSp>
      <p:pic>
        <p:nvPicPr>
          <p:cNvPr id="10" name="Picture 9" descr="A picture containing logo&#10;&#10;Description automatically generated">
            <a:extLst>
              <a:ext uri="{FF2B5EF4-FFF2-40B4-BE49-F238E27FC236}">
                <a16:creationId xmlns:a16="http://schemas.microsoft.com/office/drawing/2014/main" id="{2084EE12-9310-A535-D0FA-CB24AA6A8718}"/>
              </a:ext>
            </a:extLst>
          </p:cNvPr>
          <p:cNvPicPr>
            <a:picLocks noChangeAspect="1"/>
          </p:cNvPicPr>
          <p:nvPr/>
        </p:nvPicPr>
        <p:blipFill>
          <a:blip r:embed="rId20"/>
          <a:stretch>
            <a:fillRect/>
          </a:stretch>
        </p:blipFill>
        <p:spPr>
          <a:xfrm>
            <a:off x="9774691" y="6175829"/>
            <a:ext cx="1895475" cy="457200"/>
          </a:xfrm>
          <a:prstGeom prst="rect">
            <a:avLst/>
          </a:prstGeom>
        </p:spPr>
      </p:pic>
    </p:spTree>
    <p:extLst>
      <p:ext uri="{BB962C8B-B14F-4D97-AF65-F5344CB8AC3E}">
        <p14:creationId xmlns:p14="http://schemas.microsoft.com/office/powerpoint/2010/main" val="2520368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nodeType="clickEffect">
                                  <p:stCondLst>
                                    <p:cond delay="0"/>
                                  </p:stCondLst>
                                  <p:childTnLst>
                                    <p:set>
                                      <p:cBhvr>
                                        <p:cTn id="10" dur="1" fill="hold">
                                          <p:stCondLst>
                                            <p:cond delay="0"/>
                                          </p:stCondLst>
                                        </p:cTn>
                                        <p:tgtEl>
                                          <p:spTgt spid="129"/>
                                        </p:tgtEl>
                                        <p:attrNameLst>
                                          <p:attrName>style.visibility</p:attrName>
                                        </p:attrNameLst>
                                      </p:cBhvr>
                                      <p:to>
                                        <p:strVal val="visible"/>
                                      </p:to>
                                    </p:set>
                                    <p:animEffect transition="in" filter="wipe(up)">
                                      <p:cBhvr>
                                        <p:cTn id="11" dur="500"/>
                                        <p:tgtEl>
                                          <p:spTgt spid="129"/>
                                        </p:tgtEl>
                                      </p:cBhvr>
                                    </p:animEffect>
                                  </p:childTnLst>
                                </p:cTn>
                              </p:par>
                            </p:childTnLst>
                          </p:cTn>
                        </p:par>
                        <p:par>
                          <p:cTn id="12" fill="hold">
                            <p:stCondLst>
                              <p:cond delay="500"/>
                            </p:stCondLst>
                            <p:childTnLst>
                              <p:par>
                                <p:cTn id="13" presetID="1"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wipe(up)">
                                      <p:cBhvr>
                                        <p:cTn id="26" dur="500"/>
                                        <p:tgtEl>
                                          <p:spTgt spid="133"/>
                                        </p:tgtEl>
                                      </p:cBhvr>
                                    </p:animEffect>
                                  </p:childTnLst>
                                </p:cTn>
                              </p:par>
                            </p:childTnLst>
                          </p:cTn>
                        </p:par>
                        <p:par>
                          <p:cTn id="27" fill="hold">
                            <p:stCondLst>
                              <p:cond delay="500"/>
                            </p:stCondLst>
                            <p:childTnLst>
                              <p:par>
                                <p:cTn id="28" presetID="1" presetClass="entr" presetSubtype="0"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11"/>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nodeType="afterEffect">
                                  <p:stCondLst>
                                    <p:cond delay="0"/>
                                  </p:stCondLst>
                                  <p:childTnLst>
                                    <p:set>
                                      <p:cBhvr>
                                        <p:cTn id="36" dur="1" fill="hold">
                                          <p:stCondLst>
                                            <p:cond delay="0"/>
                                          </p:stCondLst>
                                        </p:cTn>
                                        <p:tgtEl>
                                          <p:spTgt spid="10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up)">
                                      <p:cBhvr>
                                        <p:cTn id="41" dur="500"/>
                                        <p:tgtEl>
                                          <p:spTgt spid="137"/>
                                        </p:tgtEl>
                                      </p:cBhvr>
                                    </p:animEffect>
                                  </p:childTnLst>
                                </p:cTn>
                              </p:par>
                            </p:childTnLst>
                          </p:cTn>
                        </p:par>
                        <p:par>
                          <p:cTn id="42" fill="hold">
                            <p:stCondLst>
                              <p:cond delay="500"/>
                            </p:stCondLst>
                            <p:childTnLst>
                              <p:par>
                                <p:cTn id="43" presetID="1" presetClass="entr" presetSubtype="0" fill="hold" nodeType="after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1D51D-86CB-4391-88AB-850EB39C4328}"/>
              </a:ext>
            </a:extLst>
          </p:cNvPr>
          <p:cNvSpPr>
            <a:spLocks noGrp="1"/>
          </p:cNvSpPr>
          <p:nvPr>
            <p:ph type="title"/>
          </p:nvPr>
        </p:nvSpPr>
        <p:spPr/>
        <p:txBody>
          <a:bodyPr/>
          <a:lstStyle/>
          <a:p>
            <a:r>
              <a:rPr lang="de-CH"/>
              <a:t>Competition and </a:t>
            </a:r>
            <a:r>
              <a:rPr lang="de-CH" err="1"/>
              <a:t>market</a:t>
            </a:r>
            <a:r>
              <a:rPr lang="de-CH"/>
              <a:t> </a:t>
            </a:r>
            <a:r>
              <a:rPr lang="de-CH" err="1"/>
              <a:t>dynamics</a:t>
            </a:r>
            <a:endParaRPr lang="de-CH"/>
          </a:p>
        </p:txBody>
      </p:sp>
      <p:sp>
        <p:nvSpPr>
          <p:cNvPr id="3" name="Content Placeholder 2">
            <a:extLst>
              <a:ext uri="{FF2B5EF4-FFF2-40B4-BE49-F238E27FC236}">
                <a16:creationId xmlns:a16="http://schemas.microsoft.com/office/drawing/2014/main" id="{3F5A94A9-285B-4460-A5A8-A3DA6512A3F3}"/>
              </a:ext>
            </a:extLst>
          </p:cNvPr>
          <p:cNvSpPr>
            <a:spLocks noGrp="1"/>
          </p:cNvSpPr>
          <p:nvPr>
            <p:ph idx="1"/>
          </p:nvPr>
        </p:nvSpPr>
        <p:spPr/>
        <p:txBody>
          <a:bodyPr/>
          <a:lstStyle/>
          <a:p>
            <a:pPr lvl="1"/>
            <a:endParaRPr lang="de-CH" dirty="0"/>
          </a:p>
          <a:p>
            <a:pPr lvl="1"/>
            <a:r>
              <a:rPr lang="de-CH" dirty="0"/>
              <a:t>Main </a:t>
            </a:r>
            <a:r>
              <a:rPr lang="de-CH" dirty="0" err="1"/>
              <a:t>competion</a:t>
            </a:r>
            <a:r>
              <a:rPr lang="de-CH" dirty="0"/>
              <a:t>: PM-</a:t>
            </a:r>
            <a:r>
              <a:rPr lang="de-CH" dirty="0" err="1"/>
              <a:t>only</a:t>
            </a:r>
            <a:r>
              <a:rPr lang="de-CH" dirty="0"/>
              <a:t> (</a:t>
            </a:r>
            <a:r>
              <a:rPr lang="de-CH" dirty="0" err="1"/>
              <a:t>price</a:t>
            </a:r>
            <a:r>
              <a:rPr lang="de-CH" dirty="0"/>
              <a:t> </a:t>
            </a:r>
            <a:r>
              <a:rPr lang="de-CH" dirty="0" err="1"/>
              <a:t>pressure</a:t>
            </a:r>
            <a:r>
              <a:rPr lang="de-CH" dirty="0"/>
              <a:t>): Call </a:t>
            </a:r>
            <a:r>
              <a:rPr lang="de-CH" dirty="0" err="1"/>
              <a:t>to</a:t>
            </a:r>
            <a:r>
              <a:rPr lang="de-CH" dirty="0"/>
              <a:t> Action </a:t>
            </a:r>
            <a:r>
              <a:rPr lang="de-CH" dirty="0" err="1"/>
              <a:t>here</a:t>
            </a:r>
            <a:r>
              <a:rPr lang="de-CH" dirty="0"/>
              <a:t> </a:t>
            </a:r>
            <a:r>
              <a:rPr lang="de-CH" dirty="0" err="1"/>
              <a:t>is</a:t>
            </a:r>
            <a:r>
              <a:rPr lang="de-CH" dirty="0"/>
              <a:t> </a:t>
            </a:r>
            <a:r>
              <a:rPr lang="de-CH" dirty="0" err="1"/>
              <a:t>to</a:t>
            </a:r>
            <a:r>
              <a:rPr lang="de-CH" dirty="0"/>
              <a:t>….</a:t>
            </a:r>
            <a:br>
              <a:rPr lang="de-CH" dirty="0"/>
            </a:br>
            <a:r>
              <a:rPr lang="de-CH" dirty="0">
                <a:sym typeface="Wingdings" panose="05000000000000000000" pitchFamily="2" charset="2"/>
              </a:rPr>
              <a:t> Push</a:t>
            </a:r>
            <a:r>
              <a:rPr lang="de-CH" dirty="0"/>
              <a:t> Sensirion’s </a:t>
            </a:r>
            <a:r>
              <a:rPr lang="de-CH" dirty="0" err="1"/>
              <a:t>combo</a:t>
            </a:r>
            <a:r>
              <a:rPr lang="de-CH" dirty="0"/>
              <a:t> </a:t>
            </a:r>
            <a:r>
              <a:rPr lang="de-CH" dirty="0" err="1"/>
              <a:t>approach</a:t>
            </a:r>
            <a:r>
              <a:rPr lang="de-CH" dirty="0"/>
              <a:t> and </a:t>
            </a:r>
            <a:r>
              <a:rPr lang="de-CH" dirty="0" err="1"/>
              <a:t>solution</a:t>
            </a:r>
            <a:r>
              <a:rPr lang="de-CH" dirty="0"/>
              <a:t>. </a:t>
            </a:r>
          </a:p>
          <a:p>
            <a:pPr lvl="1"/>
            <a:r>
              <a:rPr lang="de-CH" dirty="0" err="1"/>
              <a:t>Competitors</a:t>
            </a:r>
            <a:r>
              <a:rPr lang="de-CH" dirty="0"/>
              <a:t> </a:t>
            </a:r>
            <a:r>
              <a:rPr lang="de-CH" dirty="0" err="1"/>
              <a:t>are</a:t>
            </a:r>
            <a:r>
              <a:rPr lang="de-CH" dirty="0"/>
              <a:t> </a:t>
            </a:r>
            <a:r>
              <a:rPr lang="de-CH" dirty="0" err="1"/>
              <a:t>launching</a:t>
            </a:r>
            <a:r>
              <a:rPr lang="de-CH" dirty="0"/>
              <a:t> </a:t>
            </a:r>
            <a:r>
              <a:rPr lang="de-CH" dirty="0" err="1"/>
              <a:t>combo</a:t>
            </a:r>
            <a:r>
              <a:rPr lang="de-CH" dirty="0"/>
              <a:t> </a:t>
            </a:r>
            <a:r>
              <a:rPr lang="de-CH" dirty="0" err="1"/>
              <a:t>sensors</a:t>
            </a:r>
            <a:br>
              <a:rPr lang="de-CH" dirty="0"/>
            </a:br>
            <a:r>
              <a:rPr lang="de-CH" dirty="0">
                <a:sym typeface="Wingdings" panose="05000000000000000000" pitchFamily="2" charset="2"/>
              </a:rPr>
              <a:t> Sensirion’s </a:t>
            </a:r>
            <a:r>
              <a:rPr lang="de-CH" dirty="0" err="1">
                <a:sym typeface="Wingdings" panose="05000000000000000000" pitchFamily="2" charset="2"/>
              </a:rPr>
              <a:t>first</a:t>
            </a:r>
            <a:r>
              <a:rPr lang="de-CH" dirty="0">
                <a:sym typeface="Wingdings" panose="05000000000000000000" pitchFamily="2" charset="2"/>
              </a:rPr>
              <a:t> </a:t>
            </a:r>
            <a:r>
              <a:rPr lang="de-CH" dirty="0" err="1">
                <a:sym typeface="Wingdings" panose="05000000000000000000" pitchFamily="2" charset="2"/>
              </a:rPr>
              <a:t>mover</a:t>
            </a:r>
            <a:r>
              <a:rPr lang="de-CH" dirty="0">
                <a:sym typeface="Wingdings" panose="05000000000000000000" pitchFamily="2" charset="2"/>
              </a:rPr>
              <a:t> - </a:t>
            </a:r>
            <a:r>
              <a:rPr lang="de-CH" dirty="0" err="1">
                <a:sym typeface="Wingdings" panose="05000000000000000000" pitchFamily="2" charset="2"/>
              </a:rPr>
              <a:t>advantage</a:t>
            </a:r>
            <a:r>
              <a:rPr lang="de-CH" dirty="0">
                <a:sym typeface="Wingdings" panose="05000000000000000000" pitchFamily="2" charset="2"/>
              </a:rPr>
              <a:t> and </a:t>
            </a:r>
            <a:r>
              <a:rPr lang="de-CH" dirty="0" err="1">
                <a:sym typeface="Wingdings" panose="05000000000000000000" pitchFamily="2" charset="2"/>
              </a:rPr>
              <a:t>expertise</a:t>
            </a:r>
            <a:r>
              <a:rPr lang="de-CH" dirty="0">
                <a:sym typeface="Wingdings" panose="05000000000000000000" pitchFamily="2" charset="2"/>
              </a:rPr>
              <a:t>. </a:t>
            </a:r>
            <a:r>
              <a:rPr lang="de-CH" dirty="0" err="1">
                <a:sym typeface="Wingdings" panose="05000000000000000000" pitchFamily="2" charset="2"/>
              </a:rPr>
              <a:t>Underline</a:t>
            </a:r>
            <a:r>
              <a:rPr lang="de-CH" dirty="0">
                <a:sym typeface="Wingdings" panose="05000000000000000000" pitchFamily="2" charset="2"/>
              </a:rPr>
              <a:t> </a:t>
            </a:r>
            <a:r>
              <a:rPr lang="de-CH" dirty="0" err="1">
                <a:sym typeface="Wingdings" panose="05000000000000000000" pitchFamily="2" charset="2"/>
              </a:rPr>
              <a:t>our</a:t>
            </a:r>
            <a:r>
              <a:rPr lang="de-CH" dirty="0">
                <a:sym typeface="Wingdings" panose="05000000000000000000" pitchFamily="2" charset="2"/>
              </a:rPr>
              <a:t> </a:t>
            </a:r>
            <a:r>
              <a:rPr lang="de-CH" dirty="0" err="1">
                <a:sym typeface="Wingdings" panose="05000000000000000000" pitchFamily="2" charset="2"/>
              </a:rPr>
              <a:t>added</a:t>
            </a:r>
            <a:r>
              <a:rPr lang="de-CH" dirty="0">
                <a:sym typeface="Wingdings" panose="05000000000000000000" pitchFamily="2" charset="2"/>
              </a:rPr>
              <a:t> </a:t>
            </a:r>
            <a:r>
              <a:rPr lang="de-CH" dirty="0" err="1">
                <a:sym typeface="Wingdings" panose="05000000000000000000" pitchFamily="2" charset="2"/>
              </a:rPr>
              <a:t>values</a:t>
            </a:r>
            <a:r>
              <a:rPr lang="de-CH" dirty="0">
                <a:sym typeface="Wingdings" panose="05000000000000000000" pitchFamily="2" charset="2"/>
              </a:rPr>
              <a:t> </a:t>
            </a:r>
            <a:r>
              <a:rPr lang="de-CH" dirty="0" err="1">
                <a:sym typeface="Wingdings" panose="05000000000000000000" pitchFamily="2" charset="2"/>
              </a:rPr>
              <a:t>with</a:t>
            </a:r>
            <a:r>
              <a:rPr lang="de-CH" dirty="0">
                <a:sym typeface="Wingdings" panose="05000000000000000000" pitchFamily="2" charset="2"/>
              </a:rPr>
              <a:t> </a:t>
            </a:r>
            <a:r>
              <a:rPr lang="de-CH" dirty="0" err="1">
                <a:sym typeface="Wingdings" panose="05000000000000000000" pitchFamily="2" charset="2"/>
              </a:rPr>
              <a:t>sensor</a:t>
            </a:r>
            <a:r>
              <a:rPr lang="de-CH" dirty="0">
                <a:sym typeface="Wingdings" panose="05000000000000000000" pitchFamily="2" charset="2"/>
              </a:rPr>
              <a:t> </a:t>
            </a:r>
            <a:r>
              <a:rPr lang="de-CH" dirty="0" err="1">
                <a:sym typeface="Wingdings" panose="05000000000000000000" pitchFamily="2" charset="2"/>
              </a:rPr>
              <a:t>fusion</a:t>
            </a:r>
            <a:r>
              <a:rPr lang="de-CH" dirty="0">
                <a:sym typeface="Wingdings" panose="05000000000000000000" pitchFamily="2" charset="2"/>
              </a:rPr>
              <a:t>.</a:t>
            </a:r>
            <a:endParaRPr lang="de-CH" dirty="0"/>
          </a:p>
          <a:p>
            <a:pPr lvl="1"/>
            <a:r>
              <a:rPr lang="de-CH" dirty="0" err="1"/>
              <a:t>What</a:t>
            </a:r>
            <a:r>
              <a:rPr lang="de-CH" dirty="0"/>
              <a:t> </a:t>
            </a:r>
            <a:r>
              <a:rPr lang="de-CH" dirty="0" err="1"/>
              <a:t>is</a:t>
            </a:r>
            <a:r>
              <a:rPr lang="de-CH" dirty="0"/>
              <a:t> </a:t>
            </a:r>
            <a:r>
              <a:rPr lang="de-CH" dirty="0" err="1"/>
              <a:t>our</a:t>
            </a:r>
            <a:r>
              <a:rPr lang="de-CH" dirty="0"/>
              <a:t> </a:t>
            </a:r>
            <a:r>
              <a:rPr lang="de-CH" dirty="0" err="1"/>
              <a:t>differentiation</a:t>
            </a:r>
            <a:endParaRPr lang="de-CH" dirty="0"/>
          </a:p>
          <a:p>
            <a:pPr lvl="2"/>
            <a:r>
              <a:rPr lang="de-CH" dirty="0"/>
              <a:t>Performance (D2D, </a:t>
            </a:r>
            <a:r>
              <a:rPr lang="de-CH" dirty="0" err="1"/>
              <a:t>binning</a:t>
            </a:r>
            <a:r>
              <a:rPr lang="de-CH" dirty="0"/>
              <a:t>)</a:t>
            </a:r>
          </a:p>
          <a:p>
            <a:pPr lvl="2"/>
            <a:r>
              <a:rPr lang="de-CH" dirty="0"/>
              <a:t>Lifetime and </a:t>
            </a:r>
            <a:r>
              <a:rPr lang="de-CH" dirty="0" err="1"/>
              <a:t>dust</a:t>
            </a:r>
            <a:r>
              <a:rPr lang="de-CH" dirty="0"/>
              <a:t> </a:t>
            </a:r>
            <a:r>
              <a:rPr lang="de-CH" dirty="0" err="1"/>
              <a:t>resistance</a:t>
            </a:r>
            <a:endParaRPr lang="de-CH" dirty="0"/>
          </a:p>
          <a:p>
            <a:pPr lvl="2"/>
            <a:r>
              <a:rPr lang="de-CH" dirty="0"/>
              <a:t>Combo </a:t>
            </a:r>
            <a:r>
              <a:rPr lang="de-CH" dirty="0" err="1"/>
              <a:t>approach</a:t>
            </a:r>
            <a:endParaRPr lang="de-CH" dirty="0"/>
          </a:p>
          <a:p>
            <a:pPr lvl="2"/>
            <a:r>
              <a:rPr lang="de-CH" dirty="0" err="1"/>
              <a:t>Facilitate</a:t>
            </a:r>
            <a:r>
              <a:rPr lang="de-CH" dirty="0"/>
              <a:t> </a:t>
            </a:r>
            <a:r>
              <a:rPr lang="de-CH" dirty="0" err="1"/>
              <a:t>the</a:t>
            </a:r>
            <a:r>
              <a:rPr lang="de-CH" dirty="0"/>
              <a:t> design-in</a:t>
            </a:r>
          </a:p>
          <a:p>
            <a:pPr lvl="2"/>
            <a:r>
              <a:rPr lang="de-CH" dirty="0" err="1"/>
              <a:t>Integrate</a:t>
            </a:r>
            <a:r>
              <a:rPr lang="de-CH" dirty="0"/>
              <a:t> </a:t>
            </a:r>
            <a:r>
              <a:rPr lang="de-CH" dirty="0" err="1"/>
              <a:t>more</a:t>
            </a:r>
            <a:r>
              <a:rPr lang="de-CH" dirty="0"/>
              <a:t> and </a:t>
            </a:r>
            <a:r>
              <a:rPr lang="de-CH" dirty="0" err="1"/>
              <a:t>more</a:t>
            </a:r>
            <a:r>
              <a:rPr lang="de-CH" dirty="0"/>
              <a:t> </a:t>
            </a:r>
            <a:r>
              <a:rPr lang="de-CH" dirty="0" err="1"/>
              <a:t>sensors</a:t>
            </a:r>
            <a:r>
              <a:rPr lang="de-CH" dirty="0"/>
              <a:t>…</a:t>
            </a:r>
          </a:p>
        </p:txBody>
      </p:sp>
      <p:pic>
        <p:nvPicPr>
          <p:cNvPr id="5" name="Picture 9" descr="A picture containing logo&#10;&#10;Description automatically generated">
            <a:extLst>
              <a:ext uri="{FF2B5EF4-FFF2-40B4-BE49-F238E27FC236}">
                <a16:creationId xmlns:a16="http://schemas.microsoft.com/office/drawing/2014/main" id="{1AB2F498-B159-54C8-63ED-49E9DC1DCB23}"/>
              </a:ext>
            </a:extLst>
          </p:cNvPr>
          <p:cNvPicPr>
            <a:picLocks noChangeAspect="1"/>
          </p:cNvPicPr>
          <p:nvPr/>
        </p:nvPicPr>
        <p:blipFill>
          <a:blip r:embed="rId2"/>
          <a:stretch>
            <a:fillRect/>
          </a:stretch>
        </p:blipFill>
        <p:spPr>
          <a:xfrm>
            <a:off x="9774691" y="6175829"/>
            <a:ext cx="1895475" cy="457200"/>
          </a:xfrm>
          <a:prstGeom prst="rect">
            <a:avLst/>
          </a:prstGeom>
        </p:spPr>
      </p:pic>
    </p:spTree>
    <p:extLst>
      <p:ext uri="{BB962C8B-B14F-4D97-AF65-F5344CB8AC3E}">
        <p14:creationId xmlns:p14="http://schemas.microsoft.com/office/powerpoint/2010/main" val="233062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fade">
                                      <p:cBhvr>
                                        <p:cTn id="30"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Rounded Corners 49">
            <a:extLst>
              <a:ext uri="{FF2B5EF4-FFF2-40B4-BE49-F238E27FC236}">
                <a16:creationId xmlns:a16="http://schemas.microsoft.com/office/drawing/2014/main" id="{63CEA330-BFA5-6B13-80CD-5494351CB7D5}"/>
              </a:ext>
            </a:extLst>
          </p:cNvPr>
          <p:cNvSpPr/>
          <p:nvPr/>
        </p:nvSpPr>
        <p:spPr>
          <a:xfrm>
            <a:off x="843921" y="3123691"/>
            <a:ext cx="5580494" cy="3191867"/>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ttps://www.youtube.com/watch?v=ZWgm5ve_lsY</a:t>
            </a:r>
          </a:p>
        </p:txBody>
      </p:sp>
      <p:sp>
        <p:nvSpPr>
          <p:cNvPr id="73" name="Rectangle: Rounded Corners 49">
            <a:extLst>
              <a:ext uri="{FF2B5EF4-FFF2-40B4-BE49-F238E27FC236}">
                <a16:creationId xmlns:a16="http://schemas.microsoft.com/office/drawing/2014/main" id="{BE64514B-8FBD-FF39-CC7F-19AADB24616C}"/>
              </a:ext>
            </a:extLst>
          </p:cNvPr>
          <p:cNvSpPr/>
          <p:nvPr/>
        </p:nvSpPr>
        <p:spPr>
          <a:xfrm>
            <a:off x="847428" y="902310"/>
            <a:ext cx="5580494" cy="200865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8FE974C-CC84-9412-9840-21168DAAD584}"/>
              </a:ext>
            </a:extLst>
          </p:cNvPr>
          <p:cNvSpPr>
            <a:spLocks noGrp="1"/>
          </p:cNvSpPr>
          <p:nvPr>
            <p:ph type="title"/>
          </p:nvPr>
        </p:nvSpPr>
        <p:spPr/>
        <p:txBody>
          <a:bodyPr/>
          <a:lstStyle/>
          <a:p>
            <a:r>
              <a:rPr lang="en-US" err="1"/>
              <a:t>SENxx</a:t>
            </a:r>
            <a:r>
              <a:rPr lang="en-US"/>
              <a:t> – PM2.5 Sensors and Environmental Nodes</a:t>
            </a:r>
          </a:p>
        </p:txBody>
      </p:sp>
      <p:sp>
        <p:nvSpPr>
          <p:cNvPr id="4" name="Slide Number Placeholder 3">
            <a:extLst>
              <a:ext uri="{FF2B5EF4-FFF2-40B4-BE49-F238E27FC236}">
                <a16:creationId xmlns:a16="http://schemas.microsoft.com/office/drawing/2014/main" id="{475E965A-64C9-9586-F595-03467F250BBB}"/>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37</a:t>
            </a:fld>
            <a:endParaRPr lang="en-US"/>
          </a:p>
        </p:txBody>
      </p:sp>
      <p:sp>
        <p:nvSpPr>
          <p:cNvPr id="14" name="Flowchart: Decision 13">
            <a:extLst>
              <a:ext uri="{FF2B5EF4-FFF2-40B4-BE49-F238E27FC236}">
                <a16:creationId xmlns:a16="http://schemas.microsoft.com/office/drawing/2014/main" id="{5F63E87C-DFD6-65F5-08EF-C58C179C2FE7}"/>
              </a:ext>
            </a:extLst>
          </p:cNvPr>
          <p:cNvSpPr/>
          <p:nvPr/>
        </p:nvSpPr>
        <p:spPr>
          <a:xfrm>
            <a:off x="6870445" y="2752901"/>
            <a:ext cx="1440000" cy="493486"/>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HT &amp; VOC</a:t>
            </a:r>
          </a:p>
        </p:txBody>
      </p:sp>
      <p:sp>
        <p:nvSpPr>
          <p:cNvPr id="15" name="Flowchart: Decision 14">
            <a:extLst>
              <a:ext uri="{FF2B5EF4-FFF2-40B4-BE49-F238E27FC236}">
                <a16:creationId xmlns:a16="http://schemas.microsoft.com/office/drawing/2014/main" id="{92234A46-996B-6C81-BA71-35456CA75182}"/>
              </a:ext>
            </a:extLst>
          </p:cNvPr>
          <p:cNvSpPr/>
          <p:nvPr/>
        </p:nvSpPr>
        <p:spPr>
          <a:xfrm>
            <a:off x="6868981" y="1707929"/>
            <a:ext cx="1440000" cy="493486"/>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NO</a:t>
            </a:r>
            <a:r>
              <a:rPr lang="en-US" sz="1200" baseline="-25000">
                <a:solidFill>
                  <a:schemeClr val="tx1"/>
                </a:solidFill>
              </a:rPr>
              <a:t>x</a:t>
            </a:r>
          </a:p>
        </p:txBody>
      </p:sp>
      <p:sp>
        <p:nvSpPr>
          <p:cNvPr id="17" name="Flowchart: Decision 16">
            <a:extLst>
              <a:ext uri="{FF2B5EF4-FFF2-40B4-BE49-F238E27FC236}">
                <a16:creationId xmlns:a16="http://schemas.microsoft.com/office/drawing/2014/main" id="{A740326E-2224-1038-B017-2B3E2935E866}"/>
              </a:ext>
            </a:extLst>
          </p:cNvPr>
          <p:cNvSpPr/>
          <p:nvPr/>
        </p:nvSpPr>
        <p:spPr>
          <a:xfrm>
            <a:off x="6868981" y="3798518"/>
            <a:ext cx="1440000" cy="493486"/>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ze irrelevant</a:t>
            </a:r>
          </a:p>
        </p:txBody>
      </p:sp>
      <p:pic>
        <p:nvPicPr>
          <p:cNvPr id="11" name="Picture 10" descr="A picture containing text, electronics, businesscard&#10;&#10;Description automatically generated">
            <a:extLst>
              <a:ext uri="{FF2B5EF4-FFF2-40B4-BE49-F238E27FC236}">
                <a16:creationId xmlns:a16="http://schemas.microsoft.com/office/drawing/2014/main" id="{22B6C8B7-2EF3-3220-2E3D-32111B89FBE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350" t="26980" r="25441" b="19229"/>
          <a:stretch/>
        </p:blipFill>
        <p:spPr>
          <a:xfrm>
            <a:off x="1036517" y="1348418"/>
            <a:ext cx="597972" cy="400616"/>
          </a:xfrm>
          <a:prstGeom prst="rect">
            <a:avLst/>
          </a:prstGeom>
        </p:spPr>
      </p:pic>
      <p:pic>
        <p:nvPicPr>
          <p:cNvPr id="9" name="Content Placeholder 8" descr="A picture containing text, electronics&#10;&#10;Description automatically generated">
            <a:extLst>
              <a:ext uri="{FF2B5EF4-FFF2-40B4-BE49-F238E27FC236}">
                <a16:creationId xmlns:a16="http://schemas.microsoft.com/office/drawing/2014/main" id="{B500EA1C-DC90-4158-A591-238F1944F150}"/>
              </a:ext>
            </a:extLst>
          </p:cNvPr>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12763" t="10710" r="11257" b="10601"/>
          <a:stretch/>
        </p:blipFill>
        <p:spPr>
          <a:xfrm>
            <a:off x="959550" y="2103035"/>
            <a:ext cx="1147402" cy="742706"/>
          </a:xfrm>
        </p:spPr>
      </p:pic>
      <p:cxnSp>
        <p:nvCxnSpPr>
          <p:cNvPr id="35" name="Straight Arrow Connector 34">
            <a:extLst>
              <a:ext uri="{FF2B5EF4-FFF2-40B4-BE49-F238E27FC236}">
                <a16:creationId xmlns:a16="http://schemas.microsoft.com/office/drawing/2014/main" id="{E464327C-0E59-A2ED-EFBD-EA38AB251C2F}"/>
              </a:ext>
            </a:extLst>
          </p:cNvPr>
          <p:cNvCxnSpPr>
            <a:cxnSpLocks/>
            <a:stCxn id="15" idx="3"/>
            <a:endCxn id="76" idx="1"/>
          </p:cNvCxnSpPr>
          <p:nvPr/>
        </p:nvCxnSpPr>
        <p:spPr>
          <a:xfrm>
            <a:off x="8308981" y="1954672"/>
            <a:ext cx="468824"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6E9E5E95-B012-81B0-FD07-10345CBBE6AE}"/>
              </a:ext>
            </a:extLst>
          </p:cNvPr>
          <p:cNvCxnSpPr>
            <a:cxnSpLocks/>
            <a:stCxn id="14" idx="3"/>
            <a:endCxn id="80" idx="1"/>
          </p:cNvCxnSpPr>
          <p:nvPr/>
        </p:nvCxnSpPr>
        <p:spPr>
          <a:xfrm>
            <a:off x="8310445" y="2999644"/>
            <a:ext cx="467360"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493A414-F683-7430-DB1F-DF8BCD787AB9}"/>
              </a:ext>
            </a:extLst>
          </p:cNvPr>
          <p:cNvCxnSpPr>
            <a:cxnSpLocks/>
            <a:stCxn id="17" idx="3"/>
            <a:endCxn id="83" idx="1"/>
          </p:cNvCxnSpPr>
          <p:nvPr/>
        </p:nvCxnSpPr>
        <p:spPr>
          <a:xfrm>
            <a:off x="8308981" y="4045261"/>
            <a:ext cx="464656" cy="4541"/>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AFFA4D82-7CB2-A170-0E4E-4268F0F0C504}"/>
              </a:ext>
            </a:extLst>
          </p:cNvPr>
          <p:cNvCxnSpPr>
            <a:cxnSpLocks/>
            <a:endCxn id="15" idx="0"/>
          </p:cNvCxnSpPr>
          <p:nvPr/>
        </p:nvCxnSpPr>
        <p:spPr>
          <a:xfrm>
            <a:off x="7588981" y="1363133"/>
            <a:ext cx="0" cy="34479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3FC5BE8-92C6-E216-0AD0-1F5F2C38B3E6}"/>
              </a:ext>
            </a:extLst>
          </p:cNvPr>
          <p:cNvCxnSpPr>
            <a:cxnSpLocks/>
            <a:stCxn id="15" idx="2"/>
            <a:endCxn id="14" idx="0"/>
          </p:cNvCxnSpPr>
          <p:nvPr/>
        </p:nvCxnSpPr>
        <p:spPr>
          <a:xfrm>
            <a:off x="7588981" y="2201415"/>
            <a:ext cx="1464" cy="55148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83B6CA2-B08B-E291-2602-C48C22900A97}"/>
              </a:ext>
            </a:extLst>
          </p:cNvPr>
          <p:cNvCxnSpPr>
            <a:cxnSpLocks/>
            <a:stCxn id="14" idx="2"/>
            <a:endCxn id="17" idx="0"/>
          </p:cNvCxnSpPr>
          <p:nvPr/>
        </p:nvCxnSpPr>
        <p:spPr>
          <a:xfrm flipH="1">
            <a:off x="7588981" y="3246387"/>
            <a:ext cx="1464" cy="552131"/>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DFFFACB-9767-A43C-A1F6-6DE8B330B2DD}"/>
              </a:ext>
            </a:extLst>
          </p:cNvPr>
          <p:cNvCxnSpPr>
            <a:cxnSpLocks/>
            <a:stCxn id="17" idx="2"/>
            <a:endCxn id="86" idx="1"/>
          </p:cNvCxnSpPr>
          <p:nvPr/>
        </p:nvCxnSpPr>
        <p:spPr>
          <a:xfrm rot="16200000" flipH="1">
            <a:off x="7775817" y="4105168"/>
            <a:ext cx="802770" cy="1176442"/>
          </a:xfrm>
          <a:prstGeom prst="bentConnector2">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BDA6A1CF-493E-EE38-8934-8B5DDFFAE53A}"/>
              </a:ext>
            </a:extLst>
          </p:cNvPr>
          <p:cNvSpPr txBox="1"/>
          <p:nvPr/>
        </p:nvSpPr>
        <p:spPr>
          <a:xfrm>
            <a:off x="7551632" y="2191453"/>
            <a:ext cx="395093" cy="246221"/>
          </a:xfrm>
          <a:prstGeom prst="rect">
            <a:avLst/>
          </a:prstGeom>
          <a:noFill/>
        </p:spPr>
        <p:txBody>
          <a:bodyPr wrap="square" rtlCol="0">
            <a:spAutoFit/>
          </a:bodyPr>
          <a:lstStyle/>
          <a:p>
            <a:r>
              <a:rPr lang="en-US" sz="1000" b="1"/>
              <a:t>no</a:t>
            </a:r>
          </a:p>
        </p:txBody>
      </p:sp>
      <p:sp>
        <p:nvSpPr>
          <p:cNvPr id="66" name="TextBox 65">
            <a:extLst>
              <a:ext uri="{FF2B5EF4-FFF2-40B4-BE49-F238E27FC236}">
                <a16:creationId xmlns:a16="http://schemas.microsoft.com/office/drawing/2014/main" id="{0F72A137-6F6B-9D8D-9DD6-6CA65EBBF775}"/>
              </a:ext>
            </a:extLst>
          </p:cNvPr>
          <p:cNvSpPr txBox="1"/>
          <p:nvPr/>
        </p:nvSpPr>
        <p:spPr>
          <a:xfrm>
            <a:off x="7552346" y="3233118"/>
            <a:ext cx="395093" cy="246221"/>
          </a:xfrm>
          <a:prstGeom prst="rect">
            <a:avLst/>
          </a:prstGeom>
          <a:noFill/>
        </p:spPr>
        <p:txBody>
          <a:bodyPr wrap="square" rtlCol="0">
            <a:spAutoFit/>
          </a:bodyPr>
          <a:lstStyle/>
          <a:p>
            <a:r>
              <a:rPr lang="en-US" sz="1000" b="1"/>
              <a:t>no</a:t>
            </a:r>
          </a:p>
        </p:txBody>
      </p:sp>
      <p:sp>
        <p:nvSpPr>
          <p:cNvPr id="68" name="TextBox 67">
            <a:extLst>
              <a:ext uri="{FF2B5EF4-FFF2-40B4-BE49-F238E27FC236}">
                <a16:creationId xmlns:a16="http://schemas.microsoft.com/office/drawing/2014/main" id="{EEA007FB-7E53-3B1D-D83B-8E648C277915}"/>
              </a:ext>
            </a:extLst>
          </p:cNvPr>
          <p:cNvSpPr txBox="1"/>
          <p:nvPr/>
        </p:nvSpPr>
        <p:spPr>
          <a:xfrm>
            <a:off x="8242633" y="1719207"/>
            <a:ext cx="395093" cy="246221"/>
          </a:xfrm>
          <a:prstGeom prst="rect">
            <a:avLst/>
          </a:prstGeom>
          <a:noFill/>
        </p:spPr>
        <p:txBody>
          <a:bodyPr wrap="square" rtlCol="0">
            <a:spAutoFit/>
          </a:bodyPr>
          <a:lstStyle/>
          <a:p>
            <a:r>
              <a:rPr lang="en-US" sz="1000" b="1"/>
              <a:t>yes</a:t>
            </a:r>
          </a:p>
        </p:txBody>
      </p:sp>
      <p:sp>
        <p:nvSpPr>
          <p:cNvPr id="67" name="TextBox 66">
            <a:extLst>
              <a:ext uri="{FF2B5EF4-FFF2-40B4-BE49-F238E27FC236}">
                <a16:creationId xmlns:a16="http://schemas.microsoft.com/office/drawing/2014/main" id="{25D4401B-E4BF-7C53-B5BB-BCFED2592908}"/>
              </a:ext>
            </a:extLst>
          </p:cNvPr>
          <p:cNvSpPr txBox="1"/>
          <p:nvPr/>
        </p:nvSpPr>
        <p:spPr>
          <a:xfrm>
            <a:off x="7551633" y="4280366"/>
            <a:ext cx="395093" cy="246221"/>
          </a:xfrm>
          <a:prstGeom prst="rect">
            <a:avLst/>
          </a:prstGeom>
          <a:noFill/>
        </p:spPr>
        <p:txBody>
          <a:bodyPr wrap="square" rtlCol="0">
            <a:spAutoFit/>
          </a:bodyPr>
          <a:lstStyle/>
          <a:p>
            <a:r>
              <a:rPr lang="en-US" sz="1000" b="1"/>
              <a:t>no</a:t>
            </a:r>
          </a:p>
        </p:txBody>
      </p:sp>
      <p:sp>
        <p:nvSpPr>
          <p:cNvPr id="69" name="TextBox 68">
            <a:extLst>
              <a:ext uri="{FF2B5EF4-FFF2-40B4-BE49-F238E27FC236}">
                <a16:creationId xmlns:a16="http://schemas.microsoft.com/office/drawing/2014/main" id="{ECEA8C36-4601-CD6E-10B4-413BBE16A364}"/>
              </a:ext>
            </a:extLst>
          </p:cNvPr>
          <p:cNvSpPr txBox="1"/>
          <p:nvPr/>
        </p:nvSpPr>
        <p:spPr>
          <a:xfrm>
            <a:off x="8236298" y="2741385"/>
            <a:ext cx="395093" cy="246221"/>
          </a:xfrm>
          <a:prstGeom prst="rect">
            <a:avLst/>
          </a:prstGeom>
          <a:noFill/>
        </p:spPr>
        <p:txBody>
          <a:bodyPr wrap="square" rtlCol="0">
            <a:spAutoFit/>
          </a:bodyPr>
          <a:lstStyle/>
          <a:p>
            <a:r>
              <a:rPr lang="en-US" sz="1000" b="1"/>
              <a:t>yes</a:t>
            </a:r>
          </a:p>
        </p:txBody>
      </p:sp>
      <p:sp>
        <p:nvSpPr>
          <p:cNvPr id="70" name="TextBox 69">
            <a:extLst>
              <a:ext uri="{FF2B5EF4-FFF2-40B4-BE49-F238E27FC236}">
                <a16:creationId xmlns:a16="http://schemas.microsoft.com/office/drawing/2014/main" id="{0EC6FF41-9F77-9A96-A2F9-A2827E762F4F}"/>
              </a:ext>
            </a:extLst>
          </p:cNvPr>
          <p:cNvSpPr txBox="1"/>
          <p:nvPr/>
        </p:nvSpPr>
        <p:spPr>
          <a:xfrm>
            <a:off x="8242633" y="3803476"/>
            <a:ext cx="395093" cy="246221"/>
          </a:xfrm>
          <a:prstGeom prst="rect">
            <a:avLst/>
          </a:prstGeom>
          <a:noFill/>
        </p:spPr>
        <p:txBody>
          <a:bodyPr wrap="square" rtlCol="0">
            <a:spAutoFit/>
          </a:bodyPr>
          <a:lstStyle/>
          <a:p>
            <a:r>
              <a:rPr lang="en-US" sz="1000" b="1"/>
              <a:t>yes</a:t>
            </a:r>
          </a:p>
        </p:txBody>
      </p:sp>
      <p:pic>
        <p:nvPicPr>
          <p:cNvPr id="31" name="Content Placeholder 8" descr="A picture containing text, electronics&#10;&#10;Description automatically generated">
            <a:extLst>
              <a:ext uri="{FF2B5EF4-FFF2-40B4-BE49-F238E27FC236}">
                <a16:creationId xmlns:a16="http://schemas.microsoft.com/office/drawing/2014/main" id="{350AFB5F-C0D7-56D9-AE7C-17B0F37B67D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763" t="10710" r="11257" b="10601"/>
          <a:stretch/>
        </p:blipFill>
        <p:spPr>
          <a:xfrm>
            <a:off x="8848078" y="1882431"/>
            <a:ext cx="720000" cy="466051"/>
          </a:xfrm>
          <a:prstGeom prst="rect">
            <a:avLst/>
          </a:prstGeom>
        </p:spPr>
      </p:pic>
      <p:grpSp>
        <p:nvGrpSpPr>
          <p:cNvPr id="99" name="Group 98">
            <a:extLst>
              <a:ext uri="{FF2B5EF4-FFF2-40B4-BE49-F238E27FC236}">
                <a16:creationId xmlns:a16="http://schemas.microsoft.com/office/drawing/2014/main" id="{0D06CA49-037D-3182-C030-1F2F6DCD0ED2}"/>
              </a:ext>
            </a:extLst>
          </p:cNvPr>
          <p:cNvGrpSpPr/>
          <p:nvPr/>
        </p:nvGrpSpPr>
        <p:grpSpPr>
          <a:xfrm>
            <a:off x="8777805" y="1523785"/>
            <a:ext cx="2308984" cy="861774"/>
            <a:chOff x="8888786" y="2112773"/>
            <a:chExt cx="2308984" cy="861774"/>
          </a:xfrm>
        </p:grpSpPr>
        <p:sp>
          <p:nvSpPr>
            <p:cNvPr id="76" name="TextBox 75">
              <a:extLst>
                <a:ext uri="{FF2B5EF4-FFF2-40B4-BE49-F238E27FC236}">
                  <a16:creationId xmlns:a16="http://schemas.microsoft.com/office/drawing/2014/main" id="{A89B3558-62C9-1123-17E2-71FF4893E2A7}"/>
                </a:ext>
              </a:extLst>
            </p:cNvPr>
            <p:cNvSpPr txBox="1"/>
            <p:nvPr/>
          </p:nvSpPr>
          <p:spPr>
            <a:xfrm>
              <a:off x="8888786" y="2112773"/>
              <a:ext cx="2308984" cy="861774"/>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t>SEN55: </a:t>
              </a:r>
              <a:endParaRPr lang="en-US" sz="1050"/>
            </a:p>
            <a:p>
              <a:pPr marL="936000" lvl="2" indent="-171450">
                <a:buFont typeface="Symbol" panose="05050102010706020507" pitchFamily="18" charset="2"/>
                <a:buChar char="-"/>
              </a:pPr>
              <a:r>
                <a:rPr lang="en-US" sz="1000"/>
                <a:t>PM1, PM2.5, PM4, PM10</a:t>
              </a:r>
            </a:p>
            <a:p>
              <a:pPr marL="936000" lvl="2" indent="-171450">
                <a:buFont typeface="Symbol" panose="05050102010706020507" pitchFamily="18" charset="2"/>
                <a:buChar char="-"/>
              </a:pPr>
              <a:r>
                <a:rPr lang="en-US" sz="1000"/>
                <a:t>RH &amp; T</a:t>
              </a:r>
            </a:p>
            <a:p>
              <a:pPr marL="936000" lvl="2" indent="-171450">
                <a:buFont typeface="Symbol" panose="05050102010706020507" pitchFamily="18" charset="2"/>
                <a:buChar char="-"/>
              </a:pPr>
              <a:r>
                <a:rPr lang="en-US" sz="1000"/>
                <a:t>VOC &amp; NO</a:t>
              </a:r>
              <a:r>
                <a:rPr lang="en-US" sz="1000" baseline="-25000"/>
                <a:t>x</a:t>
              </a:r>
              <a:endParaRPr lang="en-US" sz="1000"/>
            </a:p>
            <a:p>
              <a:pPr marL="764550" lvl="2"/>
              <a:endParaRPr lang="en-US" sz="1000"/>
            </a:p>
          </p:txBody>
        </p:sp>
        <p:sp>
          <p:nvSpPr>
            <p:cNvPr id="98" name="TextBox 97">
              <a:extLst>
                <a:ext uri="{FF2B5EF4-FFF2-40B4-BE49-F238E27FC236}">
                  <a16:creationId xmlns:a16="http://schemas.microsoft.com/office/drawing/2014/main" id="{D91CF19D-E3C8-48A6-5461-604C7B9B3A73}"/>
                </a:ext>
              </a:extLst>
            </p:cNvPr>
            <p:cNvSpPr txBox="1"/>
            <p:nvPr/>
          </p:nvSpPr>
          <p:spPr>
            <a:xfrm>
              <a:off x="10561938" y="2668931"/>
              <a:ext cx="632453"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grpSp>
      <p:grpSp>
        <p:nvGrpSpPr>
          <p:cNvPr id="101" name="Group 100">
            <a:extLst>
              <a:ext uri="{FF2B5EF4-FFF2-40B4-BE49-F238E27FC236}">
                <a16:creationId xmlns:a16="http://schemas.microsoft.com/office/drawing/2014/main" id="{5847E395-9BD7-DFC9-59C8-5C6C2EDBDF66}"/>
              </a:ext>
            </a:extLst>
          </p:cNvPr>
          <p:cNvGrpSpPr/>
          <p:nvPr/>
        </p:nvGrpSpPr>
        <p:grpSpPr>
          <a:xfrm>
            <a:off x="8777805" y="2568757"/>
            <a:ext cx="2308984" cy="861774"/>
            <a:chOff x="8888786" y="3157745"/>
            <a:chExt cx="2308984" cy="861774"/>
          </a:xfrm>
        </p:grpSpPr>
        <p:grpSp>
          <p:nvGrpSpPr>
            <p:cNvPr id="79" name="Group 78">
              <a:extLst>
                <a:ext uri="{FF2B5EF4-FFF2-40B4-BE49-F238E27FC236}">
                  <a16:creationId xmlns:a16="http://schemas.microsoft.com/office/drawing/2014/main" id="{FACD5B4D-5021-56DB-622D-F360368F110F}"/>
                </a:ext>
              </a:extLst>
            </p:cNvPr>
            <p:cNvGrpSpPr/>
            <p:nvPr/>
          </p:nvGrpSpPr>
          <p:grpSpPr>
            <a:xfrm>
              <a:off x="8888786" y="3157745"/>
              <a:ext cx="2308984" cy="861774"/>
              <a:chOff x="8852501" y="1125069"/>
              <a:chExt cx="2308984" cy="861774"/>
            </a:xfrm>
          </p:grpSpPr>
          <p:sp>
            <p:nvSpPr>
              <p:cNvPr id="80" name="TextBox 79">
                <a:extLst>
                  <a:ext uri="{FF2B5EF4-FFF2-40B4-BE49-F238E27FC236}">
                    <a16:creationId xmlns:a16="http://schemas.microsoft.com/office/drawing/2014/main" id="{2B2CE231-290F-C6BF-A832-7F4E0E1927B6}"/>
                  </a:ext>
                </a:extLst>
              </p:cNvPr>
              <p:cNvSpPr txBox="1"/>
              <p:nvPr/>
            </p:nvSpPr>
            <p:spPr>
              <a:xfrm>
                <a:off x="8852501" y="1125069"/>
                <a:ext cx="2308984" cy="861774"/>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t>SEN54: </a:t>
                </a:r>
                <a:endParaRPr lang="en-US" sz="1050"/>
              </a:p>
              <a:p>
                <a:pPr marL="936000" lvl="2" indent="-171450">
                  <a:buFont typeface="Symbol" panose="05050102010706020507" pitchFamily="18" charset="2"/>
                  <a:buChar char="-"/>
                </a:pPr>
                <a:r>
                  <a:rPr lang="en-US" sz="1000"/>
                  <a:t>PM1, PM2.5, PM4, PM10</a:t>
                </a:r>
              </a:p>
              <a:p>
                <a:pPr marL="936000" lvl="2" indent="-171450">
                  <a:buFont typeface="Symbol" panose="05050102010706020507" pitchFamily="18" charset="2"/>
                  <a:buChar char="-"/>
                </a:pPr>
                <a:r>
                  <a:rPr lang="en-US" sz="1000"/>
                  <a:t>RH &amp; T</a:t>
                </a:r>
              </a:p>
              <a:p>
                <a:pPr marL="936000" lvl="2" indent="-171450">
                  <a:buFont typeface="Symbol" panose="05050102010706020507" pitchFamily="18" charset="2"/>
                  <a:buChar char="-"/>
                </a:pPr>
                <a:r>
                  <a:rPr lang="en-US" sz="1000"/>
                  <a:t>VOC </a:t>
                </a:r>
              </a:p>
            </p:txBody>
          </p:sp>
          <p:pic>
            <p:nvPicPr>
              <p:cNvPr id="81" name="Picture 2">
                <a:extLst>
                  <a:ext uri="{FF2B5EF4-FFF2-40B4-BE49-F238E27FC236}">
                    <a16:creationId xmlns:a16="http://schemas.microsoft.com/office/drawing/2014/main" id="{1CC00985-77A3-01DC-5B72-E032AA900E7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222" b="-13466"/>
              <a:stretch/>
            </p:blipFill>
            <p:spPr bwMode="auto">
              <a:xfrm>
                <a:off x="8924252" y="1396323"/>
                <a:ext cx="720000" cy="590519"/>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100" name="TextBox 99">
              <a:extLst>
                <a:ext uri="{FF2B5EF4-FFF2-40B4-BE49-F238E27FC236}">
                  <a16:creationId xmlns:a16="http://schemas.microsoft.com/office/drawing/2014/main" id="{B81697EF-237C-178B-6548-2C7B09ED4674}"/>
                </a:ext>
              </a:extLst>
            </p:cNvPr>
            <p:cNvSpPr txBox="1"/>
            <p:nvPr/>
          </p:nvSpPr>
          <p:spPr>
            <a:xfrm>
              <a:off x="10664803" y="3739427"/>
              <a:ext cx="529588"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grpSp>
      <p:grpSp>
        <p:nvGrpSpPr>
          <p:cNvPr id="104" name="Group 103">
            <a:extLst>
              <a:ext uri="{FF2B5EF4-FFF2-40B4-BE49-F238E27FC236}">
                <a16:creationId xmlns:a16="http://schemas.microsoft.com/office/drawing/2014/main" id="{48576443-A57E-7831-C4EF-2F850F726F29}"/>
              </a:ext>
            </a:extLst>
          </p:cNvPr>
          <p:cNvGrpSpPr/>
          <p:nvPr/>
        </p:nvGrpSpPr>
        <p:grpSpPr>
          <a:xfrm>
            <a:off x="8773637" y="3618915"/>
            <a:ext cx="2308984" cy="861774"/>
            <a:chOff x="8884618" y="4207903"/>
            <a:chExt cx="2308984" cy="861774"/>
          </a:xfrm>
        </p:grpSpPr>
        <p:grpSp>
          <p:nvGrpSpPr>
            <p:cNvPr id="82" name="Group 81">
              <a:extLst>
                <a:ext uri="{FF2B5EF4-FFF2-40B4-BE49-F238E27FC236}">
                  <a16:creationId xmlns:a16="http://schemas.microsoft.com/office/drawing/2014/main" id="{7DFC3467-C031-3E8B-26C9-76CE7ED369CE}"/>
                </a:ext>
              </a:extLst>
            </p:cNvPr>
            <p:cNvGrpSpPr/>
            <p:nvPr/>
          </p:nvGrpSpPr>
          <p:grpSpPr>
            <a:xfrm>
              <a:off x="8884618" y="4207903"/>
              <a:ext cx="2308984" cy="861774"/>
              <a:chOff x="8852501" y="1125069"/>
              <a:chExt cx="2308984" cy="861774"/>
            </a:xfrm>
          </p:grpSpPr>
          <p:sp>
            <p:nvSpPr>
              <p:cNvPr id="83" name="TextBox 82">
                <a:extLst>
                  <a:ext uri="{FF2B5EF4-FFF2-40B4-BE49-F238E27FC236}">
                    <a16:creationId xmlns:a16="http://schemas.microsoft.com/office/drawing/2014/main" id="{04641E71-4A7F-6EBE-2F93-DA20004798AA}"/>
                  </a:ext>
                </a:extLst>
              </p:cNvPr>
              <p:cNvSpPr txBox="1"/>
              <p:nvPr/>
            </p:nvSpPr>
            <p:spPr>
              <a:xfrm>
                <a:off x="8852501" y="1125069"/>
                <a:ext cx="2308984" cy="861774"/>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t>SEN50: </a:t>
                </a:r>
                <a:endParaRPr lang="en-US" sz="1050"/>
              </a:p>
              <a:p>
                <a:pPr marL="936000" lvl="2" indent="-171450">
                  <a:buFont typeface="Symbol" panose="05050102010706020507" pitchFamily="18" charset="2"/>
                  <a:buChar char="-"/>
                </a:pPr>
                <a:r>
                  <a:rPr lang="en-US" sz="1000"/>
                  <a:t>PM1, PM2.5, PM4, PM10</a:t>
                </a:r>
              </a:p>
            </p:txBody>
          </p:sp>
          <p:pic>
            <p:nvPicPr>
              <p:cNvPr id="84" name="Picture 2">
                <a:extLst>
                  <a:ext uri="{FF2B5EF4-FFF2-40B4-BE49-F238E27FC236}">
                    <a16:creationId xmlns:a16="http://schemas.microsoft.com/office/drawing/2014/main" id="{0A395C7B-890A-AC30-8998-7648FB2D91D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9452" b="-13466"/>
              <a:stretch/>
            </p:blipFill>
            <p:spPr bwMode="auto">
              <a:xfrm>
                <a:off x="8924252" y="1409337"/>
                <a:ext cx="720000" cy="577506"/>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102" name="TextBox 101">
              <a:extLst>
                <a:ext uri="{FF2B5EF4-FFF2-40B4-BE49-F238E27FC236}">
                  <a16:creationId xmlns:a16="http://schemas.microsoft.com/office/drawing/2014/main" id="{CB183157-40DD-B8CA-7AC5-0CA103C5986D}"/>
                </a:ext>
              </a:extLst>
            </p:cNvPr>
            <p:cNvSpPr txBox="1"/>
            <p:nvPr/>
          </p:nvSpPr>
          <p:spPr>
            <a:xfrm>
              <a:off x="10655800" y="4792678"/>
              <a:ext cx="529588"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grpSp>
      <p:grpSp>
        <p:nvGrpSpPr>
          <p:cNvPr id="105" name="Group 104">
            <a:extLst>
              <a:ext uri="{FF2B5EF4-FFF2-40B4-BE49-F238E27FC236}">
                <a16:creationId xmlns:a16="http://schemas.microsoft.com/office/drawing/2014/main" id="{E9C1EFE9-842D-477A-2D73-A098703A7F70}"/>
              </a:ext>
            </a:extLst>
          </p:cNvPr>
          <p:cNvGrpSpPr/>
          <p:nvPr/>
        </p:nvGrpSpPr>
        <p:grpSpPr>
          <a:xfrm>
            <a:off x="8765423" y="4663887"/>
            <a:ext cx="2317198" cy="861774"/>
            <a:chOff x="8876404" y="5252875"/>
            <a:chExt cx="2317198" cy="861774"/>
          </a:xfrm>
        </p:grpSpPr>
        <p:grpSp>
          <p:nvGrpSpPr>
            <p:cNvPr id="85" name="Group 84">
              <a:extLst>
                <a:ext uri="{FF2B5EF4-FFF2-40B4-BE49-F238E27FC236}">
                  <a16:creationId xmlns:a16="http://schemas.microsoft.com/office/drawing/2014/main" id="{998B766D-5987-32B2-0CE6-B3E469305855}"/>
                </a:ext>
              </a:extLst>
            </p:cNvPr>
            <p:cNvGrpSpPr/>
            <p:nvPr/>
          </p:nvGrpSpPr>
          <p:grpSpPr>
            <a:xfrm>
              <a:off x="8876404" y="5252875"/>
              <a:ext cx="2308984" cy="861774"/>
              <a:chOff x="8852501" y="1125069"/>
              <a:chExt cx="2308984" cy="861774"/>
            </a:xfrm>
          </p:grpSpPr>
          <p:sp>
            <p:nvSpPr>
              <p:cNvPr id="86" name="TextBox 85">
                <a:extLst>
                  <a:ext uri="{FF2B5EF4-FFF2-40B4-BE49-F238E27FC236}">
                    <a16:creationId xmlns:a16="http://schemas.microsoft.com/office/drawing/2014/main" id="{1F880F1B-0F7F-1F4F-A605-0D6EF9FFA72A}"/>
                  </a:ext>
                </a:extLst>
              </p:cNvPr>
              <p:cNvSpPr txBox="1"/>
              <p:nvPr/>
            </p:nvSpPr>
            <p:spPr>
              <a:xfrm>
                <a:off x="8852501" y="1125069"/>
                <a:ext cx="2308984" cy="861774"/>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t>SPS30: </a:t>
                </a:r>
                <a:endParaRPr lang="en-US" sz="1050"/>
              </a:p>
              <a:p>
                <a:pPr marL="936000" lvl="2" indent="-171450">
                  <a:buFont typeface="Symbol" panose="05050102010706020507" pitchFamily="18" charset="2"/>
                  <a:buChar char="-"/>
                </a:pPr>
                <a:r>
                  <a:rPr lang="en-US" sz="1000"/>
                  <a:t>PM1, PM2.5, PM4, PM10</a:t>
                </a:r>
              </a:p>
            </p:txBody>
          </p:sp>
          <p:pic>
            <p:nvPicPr>
              <p:cNvPr id="87" name="Picture 2">
                <a:extLst>
                  <a:ext uri="{FF2B5EF4-FFF2-40B4-BE49-F238E27FC236}">
                    <a16:creationId xmlns:a16="http://schemas.microsoft.com/office/drawing/2014/main" id="{EC00ACF0-AEA3-82E8-3BC1-3BEE5BCCFC6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4350" b="-10742"/>
              <a:stretch/>
            </p:blipFill>
            <p:spPr bwMode="auto">
              <a:xfrm>
                <a:off x="8924252" y="1372757"/>
                <a:ext cx="720000" cy="614085"/>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103" name="TextBox 102">
              <a:extLst>
                <a:ext uri="{FF2B5EF4-FFF2-40B4-BE49-F238E27FC236}">
                  <a16:creationId xmlns:a16="http://schemas.microsoft.com/office/drawing/2014/main" id="{6AC75E16-E2AE-0A9B-710D-4D5340D89C23}"/>
                </a:ext>
              </a:extLst>
            </p:cNvPr>
            <p:cNvSpPr txBox="1"/>
            <p:nvPr/>
          </p:nvSpPr>
          <p:spPr>
            <a:xfrm>
              <a:off x="10664014" y="5837649"/>
              <a:ext cx="529588"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grpSp>
      <p:pic>
        <p:nvPicPr>
          <p:cNvPr id="106" name="Picture 2">
            <a:extLst>
              <a:ext uri="{FF2B5EF4-FFF2-40B4-BE49-F238E27FC236}">
                <a16:creationId xmlns:a16="http://schemas.microsoft.com/office/drawing/2014/main" id="{C6162C95-392A-5360-2B43-3F91A0FEE46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222" b="-13466"/>
          <a:stretch/>
        </p:blipFill>
        <p:spPr bwMode="auto">
          <a:xfrm>
            <a:off x="8844190" y="1794650"/>
            <a:ext cx="720000" cy="590519"/>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B5682285-1A5D-82CB-5077-859620A00B0C}"/>
              </a:ext>
            </a:extLst>
          </p:cNvPr>
          <p:cNvSpPr txBox="1"/>
          <p:nvPr/>
        </p:nvSpPr>
        <p:spPr>
          <a:xfrm>
            <a:off x="3366476" y="1620081"/>
            <a:ext cx="3008711" cy="1169551"/>
          </a:xfrm>
          <a:prstGeom prst="rect">
            <a:avLst/>
          </a:prstGeom>
          <a:noFill/>
        </p:spPr>
        <p:txBody>
          <a:bodyPr wrap="square" rtlCol="0">
            <a:spAutoFit/>
          </a:bodyPr>
          <a:lstStyle/>
          <a:p>
            <a:r>
              <a:rPr lang="en-US" sz="1400" u="sng"/>
              <a:t>Unique Selling Points</a:t>
            </a:r>
          </a:p>
          <a:p>
            <a:pPr marL="285750" indent="-285750">
              <a:buFont typeface="Wingdings" panose="05000000000000000000" pitchFamily="2" charset="2"/>
              <a:buChar char="§"/>
            </a:pPr>
            <a:r>
              <a:rPr lang="en-US" sz="1400"/>
              <a:t>Long-life time </a:t>
            </a:r>
          </a:p>
          <a:p>
            <a:pPr marL="285750" indent="-285750">
              <a:buFont typeface="Wingdings" panose="05000000000000000000" pitchFamily="2" charset="2"/>
              <a:buChar char="§"/>
            </a:pPr>
            <a:r>
              <a:rPr lang="en-US" sz="1400"/>
              <a:t>Superior D2D</a:t>
            </a:r>
          </a:p>
          <a:p>
            <a:pPr marL="285750" indent="-285750">
              <a:buFont typeface="Wingdings" panose="05000000000000000000" pitchFamily="2" charset="2"/>
              <a:buChar char="§"/>
            </a:pPr>
            <a:r>
              <a:rPr lang="en-US" sz="1400"/>
              <a:t>Fast Design-In </a:t>
            </a:r>
          </a:p>
          <a:p>
            <a:pPr marL="285750" indent="-285750">
              <a:buFont typeface="Wingdings" panose="05000000000000000000" pitchFamily="2" charset="2"/>
              <a:buChar char="§"/>
            </a:pPr>
            <a:r>
              <a:rPr lang="en-US" sz="1400"/>
              <a:t>Temperature Acceleration Algorithm</a:t>
            </a:r>
          </a:p>
        </p:txBody>
      </p:sp>
      <p:pic>
        <p:nvPicPr>
          <p:cNvPr id="117" name="Picture 116" descr="A picture containing engineering drawing&#10;&#10;Description automatically generated">
            <a:extLst>
              <a:ext uri="{FF2B5EF4-FFF2-40B4-BE49-F238E27FC236}">
                <a16:creationId xmlns:a16="http://schemas.microsoft.com/office/drawing/2014/main" id="{15597616-0A89-2F71-21B6-F1723B328E9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2069" t="11197" r="14608" b="11400"/>
          <a:stretch/>
        </p:blipFill>
        <p:spPr>
          <a:xfrm>
            <a:off x="1063980" y="3655281"/>
            <a:ext cx="963949" cy="636000"/>
          </a:xfrm>
          <a:prstGeom prst="rect">
            <a:avLst/>
          </a:prstGeom>
        </p:spPr>
      </p:pic>
      <p:sp>
        <p:nvSpPr>
          <p:cNvPr id="120" name="TextBox 119">
            <a:extLst>
              <a:ext uri="{FF2B5EF4-FFF2-40B4-BE49-F238E27FC236}">
                <a16:creationId xmlns:a16="http://schemas.microsoft.com/office/drawing/2014/main" id="{39362DD2-34F5-5AB3-EA8C-775418827D9E}"/>
              </a:ext>
            </a:extLst>
          </p:cNvPr>
          <p:cNvSpPr txBox="1"/>
          <p:nvPr/>
        </p:nvSpPr>
        <p:spPr>
          <a:xfrm>
            <a:off x="853161" y="3195962"/>
            <a:ext cx="5405596" cy="2092881"/>
          </a:xfrm>
          <a:prstGeom prst="rect">
            <a:avLst/>
          </a:prstGeom>
          <a:noFill/>
        </p:spPr>
        <p:txBody>
          <a:bodyPr wrap="square" rtlCol="0">
            <a:spAutoFit/>
          </a:bodyPr>
          <a:lstStyle/>
          <a:p>
            <a:pPr algn="ctr"/>
            <a:r>
              <a:rPr lang="en-US" b="1">
                <a:solidFill>
                  <a:srgbClr val="66CC33"/>
                </a:solidFill>
              </a:rPr>
              <a:t>How to Evaluate</a:t>
            </a:r>
          </a:p>
          <a:p>
            <a:pPr algn="ctr"/>
            <a:endParaRPr lang="en-US" b="1">
              <a:solidFill>
                <a:srgbClr val="66CC33"/>
              </a:solidFill>
            </a:endParaRPr>
          </a:p>
          <a:p>
            <a:pPr algn="ctr"/>
            <a:endParaRPr lang="en-US" b="1">
              <a:solidFill>
                <a:srgbClr val="66CC33"/>
              </a:solidFill>
            </a:endParaRPr>
          </a:p>
          <a:p>
            <a:pPr algn="ctr"/>
            <a:endParaRPr lang="en-US" b="1">
              <a:solidFill>
                <a:srgbClr val="66CC33"/>
              </a:solidFill>
            </a:endParaRPr>
          </a:p>
          <a:p>
            <a:pPr algn="ctr"/>
            <a:endParaRPr lang="en-US" sz="1000" b="1">
              <a:solidFill>
                <a:srgbClr val="66CC33"/>
              </a:solidFill>
            </a:endParaRPr>
          </a:p>
          <a:p>
            <a:pPr algn="ctr"/>
            <a:r>
              <a:rPr lang="en-US" b="1">
                <a:solidFill>
                  <a:srgbClr val="66CC33"/>
                </a:solidFill>
              </a:rPr>
              <a:t>Useful Links</a:t>
            </a:r>
          </a:p>
          <a:p>
            <a:pPr algn="ctr"/>
            <a:endParaRPr lang="en-US" b="1">
              <a:solidFill>
                <a:srgbClr val="66CC33"/>
              </a:solidFill>
            </a:endParaRPr>
          </a:p>
        </p:txBody>
      </p:sp>
      <p:sp>
        <p:nvSpPr>
          <p:cNvPr id="124" name="TextBox 123">
            <a:extLst>
              <a:ext uri="{FF2B5EF4-FFF2-40B4-BE49-F238E27FC236}">
                <a16:creationId xmlns:a16="http://schemas.microsoft.com/office/drawing/2014/main" id="{23EA3926-47DB-571E-6F94-F87B1915E32B}"/>
              </a:ext>
            </a:extLst>
          </p:cNvPr>
          <p:cNvSpPr txBox="1"/>
          <p:nvPr/>
        </p:nvSpPr>
        <p:spPr>
          <a:xfrm>
            <a:off x="1114901" y="4650246"/>
            <a:ext cx="2943762" cy="1815882"/>
          </a:xfrm>
          <a:prstGeom prst="rect">
            <a:avLst/>
          </a:prstGeom>
          <a:noFill/>
        </p:spPr>
        <p:txBody>
          <a:bodyPr wrap="square" numCol="1"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Narrow"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Narrow" pitchFamily="34" charset="0"/>
                <a:ea typeface="+mn-ea"/>
                <a:cs typeface="Arial" charset="0"/>
              </a:rPr>
              <a:t>Basic Documen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err="1">
                <a:ln>
                  <a:noFill/>
                </a:ln>
                <a:solidFill>
                  <a:srgbClr val="000000"/>
                </a:solidFill>
                <a:effectLst/>
                <a:uLnTx/>
                <a:uFillTx/>
                <a:latin typeface="Arial Narrow" pitchFamily="34" charset="0"/>
                <a:ea typeface="+mn-ea"/>
                <a:cs typeface="Arial" charset="0"/>
                <a:hlinkClick r:id="rId8"/>
              </a:rPr>
              <a:t>Datashee</a:t>
            </a:r>
            <a:r>
              <a:rPr lang="en-US" sz="1400">
                <a:solidFill>
                  <a:srgbClr val="000000"/>
                </a:solidFill>
                <a:hlinkClick r:id="rId8"/>
              </a:rPr>
              <a:t>t SEN5x</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indent="-171450">
              <a:buFont typeface="Arial" panose="020B0604020202020204" pitchFamily="34" charset="0"/>
              <a:buChar char="•"/>
              <a:defRPr/>
            </a:pPr>
            <a:r>
              <a:rPr lang="en-US" sz="1400">
                <a:hlinkClick r:id="rId9"/>
              </a:rPr>
              <a:t>Datasheet SPS30</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indent="-171450">
              <a:buFont typeface="Arial" panose="020B0604020202020204" pitchFamily="34" charset="0"/>
              <a:buChar char="•"/>
              <a:defRPr/>
            </a:pPr>
            <a:r>
              <a:rPr lang="en-US" sz="1400">
                <a:solidFill>
                  <a:srgbClr val="000000"/>
                </a:solidFill>
                <a:hlinkClick r:id="rId10"/>
              </a:rPr>
              <a:t>Engineering guidelines</a:t>
            </a:r>
            <a:endParaRPr lang="en-US" sz="1400">
              <a:solidFill>
                <a:srgbClr val="000000"/>
              </a:solidFill>
              <a:hlinkClick r:id="rId11"/>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12"/>
              </a:rPr>
              <a:t>Handling Instructions</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11"/>
              </a:rPr>
              <a:t>Mechanical assembly guidelines</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endParaRPr lang="en-US" sz="1400"/>
          </a:p>
        </p:txBody>
      </p:sp>
      <p:pic>
        <p:nvPicPr>
          <p:cNvPr id="115" name="Picture 114" descr="A picture containing electronics, cable, jack, connector&#10;&#10;Description automatically generated">
            <a:extLst>
              <a:ext uri="{FF2B5EF4-FFF2-40B4-BE49-F238E27FC236}">
                <a16:creationId xmlns:a16="http://schemas.microsoft.com/office/drawing/2014/main" id="{2EC288D8-5D61-F22F-B0BC-E235022592A6}"/>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20194" t="18932" r="20031" b="20758"/>
          <a:stretch/>
        </p:blipFill>
        <p:spPr>
          <a:xfrm>
            <a:off x="3611517" y="3711315"/>
            <a:ext cx="804689" cy="507443"/>
          </a:xfrm>
          <a:prstGeom prst="rect">
            <a:avLst/>
          </a:prstGeom>
        </p:spPr>
      </p:pic>
      <p:pic>
        <p:nvPicPr>
          <p:cNvPr id="119" name="Picture 118" descr="A picture containing electronics&#10;&#10;Description automatically generated">
            <a:extLst>
              <a:ext uri="{FF2B5EF4-FFF2-40B4-BE49-F238E27FC236}">
                <a16:creationId xmlns:a16="http://schemas.microsoft.com/office/drawing/2014/main" id="{8FDCB831-6482-3624-A77A-06A889CF0615}"/>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8384" t="9773" r="9045" b="13889"/>
          <a:stretch/>
        </p:blipFill>
        <p:spPr>
          <a:xfrm>
            <a:off x="2676827" y="3715766"/>
            <a:ext cx="872379" cy="504077"/>
          </a:xfrm>
          <a:prstGeom prst="rect">
            <a:avLst/>
          </a:prstGeom>
        </p:spPr>
      </p:pic>
      <p:sp>
        <p:nvSpPr>
          <p:cNvPr id="88" name="TextBox 87">
            <a:extLst>
              <a:ext uri="{FF2B5EF4-FFF2-40B4-BE49-F238E27FC236}">
                <a16:creationId xmlns:a16="http://schemas.microsoft.com/office/drawing/2014/main" id="{15F6EB94-1D14-FEB5-5EF6-6BDF34EAC08C}"/>
              </a:ext>
            </a:extLst>
          </p:cNvPr>
          <p:cNvSpPr txBox="1"/>
          <p:nvPr/>
        </p:nvSpPr>
        <p:spPr>
          <a:xfrm>
            <a:off x="3369787" y="1000565"/>
            <a:ext cx="2929053" cy="523220"/>
          </a:xfrm>
          <a:prstGeom prst="rect">
            <a:avLst/>
          </a:prstGeom>
          <a:noFill/>
        </p:spPr>
        <p:txBody>
          <a:bodyPr wrap="square" rtlCol="0">
            <a:spAutoFit/>
          </a:bodyPr>
          <a:lstStyle/>
          <a:p>
            <a:r>
              <a:rPr lang="en-US" sz="1400" i="1"/>
              <a:t>SEN5x: “</a:t>
            </a:r>
            <a:r>
              <a:rPr lang="en-US" sz="1400" i="1">
                <a:solidFill>
                  <a:schemeClr val="accent1"/>
                </a:solidFill>
              </a:rPr>
              <a:t>Accelerate time-to-market </a:t>
            </a:r>
            <a:r>
              <a:rPr lang="en-US" sz="1400" i="1"/>
              <a:t>while reducing the </a:t>
            </a:r>
            <a:r>
              <a:rPr lang="en-US" sz="1400" i="1">
                <a:solidFill>
                  <a:schemeClr val="accent1"/>
                </a:solidFill>
              </a:rPr>
              <a:t>total cost of ownership</a:t>
            </a:r>
            <a:r>
              <a:rPr lang="en-US" sz="1400" i="1"/>
              <a:t>”</a:t>
            </a:r>
          </a:p>
        </p:txBody>
      </p:sp>
      <p:sp>
        <p:nvSpPr>
          <p:cNvPr id="3" name="TextBox 2">
            <a:extLst>
              <a:ext uri="{FF2B5EF4-FFF2-40B4-BE49-F238E27FC236}">
                <a16:creationId xmlns:a16="http://schemas.microsoft.com/office/drawing/2014/main" id="{C903B28D-3736-E2B8-9398-6BA7D88E742B}"/>
              </a:ext>
            </a:extLst>
          </p:cNvPr>
          <p:cNvSpPr txBox="1"/>
          <p:nvPr/>
        </p:nvSpPr>
        <p:spPr>
          <a:xfrm>
            <a:off x="1697397" y="1129894"/>
            <a:ext cx="569387" cy="400110"/>
          </a:xfrm>
          <a:prstGeom prst="rect">
            <a:avLst/>
          </a:prstGeom>
          <a:noFill/>
        </p:spPr>
        <p:txBody>
          <a:bodyPr wrap="none" rtlCol="0">
            <a:spAutoFit/>
          </a:bodyPr>
          <a:lstStyle/>
          <a:p>
            <a:r>
              <a:rPr lang="en-US" sz="1000" b="1"/>
              <a:t>SPS30</a:t>
            </a:r>
            <a:r>
              <a:rPr lang="en-US" sz="1000"/>
              <a:t>: </a:t>
            </a:r>
          </a:p>
          <a:p>
            <a:r>
              <a:rPr lang="en-US" sz="1000"/>
              <a:t>PM</a:t>
            </a:r>
          </a:p>
        </p:txBody>
      </p:sp>
      <p:sp>
        <p:nvSpPr>
          <p:cNvPr id="89" name="TextBox 88">
            <a:extLst>
              <a:ext uri="{FF2B5EF4-FFF2-40B4-BE49-F238E27FC236}">
                <a16:creationId xmlns:a16="http://schemas.microsoft.com/office/drawing/2014/main" id="{52A0CCCF-5FC0-7D83-639F-106FA0514BE3}"/>
              </a:ext>
            </a:extLst>
          </p:cNvPr>
          <p:cNvSpPr txBox="1"/>
          <p:nvPr/>
        </p:nvSpPr>
        <p:spPr>
          <a:xfrm>
            <a:off x="1697397" y="1743254"/>
            <a:ext cx="1168910" cy="400110"/>
          </a:xfrm>
          <a:prstGeom prst="rect">
            <a:avLst/>
          </a:prstGeom>
          <a:noFill/>
        </p:spPr>
        <p:txBody>
          <a:bodyPr wrap="none" rtlCol="0">
            <a:spAutoFit/>
          </a:bodyPr>
          <a:lstStyle/>
          <a:p>
            <a:r>
              <a:rPr lang="en-US" sz="1000" b="1"/>
              <a:t>SEN5x:</a:t>
            </a:r>
            <a:r>
              <a:rPr lang="en-US" sz="1000"/>
              <a:t> </a:t>
            </a:r>
          </a:p>
          <a:p>
            <a:r>
              <a:rPr lang="en-US" sz="1000"/>
              <a:t>PM, </a:t>
            </a:r>
            <a:r>
              <a:rPr lang="en-US" sz="1000">
                <a:solidFill>
                  <a:schemeClr val="bg1">
                    <a:lumMod val="50000"/>
                  </a:schemeClr>
                </a:solidFill>
              </a:rPr>
              <a:t>RHT, VOC, NOx</a:t>
            </a:r>
          </a:p>
        </p:txBody>
      </p:sp>
      <p:sp>
        <p:nvSpPr>
          <p:cNvPr id="91" name="TextBox 90">
            <a:extLst>
              <a:ext uri="{FF2B5EF4-FFF2-40B4-BE49-F238E27FC236}">
                <a16:creationId xmlns:a16="http://schemas.microsoft.com/office/drawing/2014/main" id="{2CA6A4E9-7CBA-D0B7-7CFE-D02D076EA8C9}"/>
              </a:ext>
            </a:extLst>
          </p:cNvPr>
          <p:cNvSpPr txBox="1"/>
          <p:nvPr/>
        </p:nvSpPr>
        <p:spPr>
          <a:xfrm>
            <a:off x="1114901" y="4238575"/>
            <a:ext cx="1449932" cy="276999"/>
          </a:xfrm>
          <a:prstGeom prst="rect">
            <a:avLst/>
          </a:prstGeom>
          <a:noFill/>
        </p:spPr>
        <p:txBody>
          <a:bodyPr wrap="square">
            <a:spAutoFit/>
          </a:bodyPr>
          <a:lstStyle/>
          <a:p>
            <a:r>
              <a:rPr lang="en-US" sz="1200"/>
              <a:t>SEK-SPS30</a:t>
            </a:r>
          </a:p>
        </p:txBody>
      </p:sp>
      <p:sp>
        <p:nvSpPr>
          <p:cNvPr id="92" name="TextBox 91">
            <a:extLst>
              <a:ext uri="{FF2B5EF4-FFF2-40B4-BE49-F238E27FC236}">
                <a16:creationId xmlns:a16="http://schemas.microsoft.com/office/drawing/2014/main" id="{C2FFD7FD-9130-5942-7EC6-F74D2BA8196A}"/>
              </a:ext>
            </a:extLst>
          </p:cNvPr>
          <p:cNvSpPr txBox="1"/>
          <p:nvPr/>
        </p:nvSpPr>
        <p:spPr>
          <a:xfrm>
            <a:off x="2573047" y="4241548"/>
            <a:ext cx="2161513" cy="276999"/>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200">
                <a:hlinkClick r:id="rId15"/>
              </a:rPr>
              <a:t>SEK-SEN5x</a:t>
            </a:r>
            <a:r>
              <a:rPr lang="en-US" sz="1200"/>
              <a:t> + </a:t>
            </a:r>
            <a:r>
              <a:rPr lang="en-US" sz="1200">
                <a:hlinkClick r:id="rId16"/>
              </a:rPr>
              <a:t>SEK-</a:t>
            </a:r>
            <a:r>
              <a:rPr lang="en-US" sz="1200" err="1">
                <a:hlinkClick r:id="rId16"/>
              </a:rPr>
              <a:t>SensorBridge</a:t>
            </a:r>
            <a:endParaRPr kumimoji="0" lang="en-US" sz="12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3" name="TextBox 92">
            <a:extLst>
              <a:ext uri="{FF2B5EF4-FFF2-40B4-BE49-F238E27FC236}">
                <a16:creationId xmlns:a16="http://schemas.microsoft.com/office/drawing/2014/main" id="{2D46AC2A-E649-4679-C29C-B1393058DB7D}"/>
              </a:ext>
            </a:extLst>
          </p:cNvPr>
          <p:cNvSpPr txBox="1"/>
          <p:nvPr/>
        </p:nvSpPr>
        <p:spPr>
          <a:xfrm>
            <a:off x="4771728" y="3913474"/>
            <a:ext cx="1643439" cy="276999"/>
          </a:xfrm>
          <a:prstGeom prst="rect">
            <a:avLst/>
          </a:prstGeom>
          <a:noFill/>
        </p:spPr>
        <p:txBody>
          <a:bodyPr wrap="square">
            <a:spAutoFit/>
          </a:bodyPr>
          <a:lstStyle/>
          <a:p>
            <a:r>
              <a:rPr lang="en-US" sz="1200">
                <a:hlinkClick r:id="rId17"/>
              </a:rPr>
              <a:t>Tutorial SEN5x Eval. Kit</a:t>
            </a:r>
            <a:endParaRPr lang="en-US" sz="1200"/>
          </a:p>
        </p:txBody>
      </p:sp>
      <p:pic>
        <p:nvPicPr>
          <p:cNvPr id="1026" name="Picture 2" descr="The YouTube logo: a history | Creative Bloq">
            <a:extLst>
              <a:ext uri="{FF2B5EF4-FFF2-40B4-BE49-F238E27FC236}">
                <a16:creationId xmlns:a16="http://schemas.microsoft.com/office/drawing/2014/main" id="{A091400C-154D-DD26-5E07-0AB6A9326F3E}"/>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5457" t="26465" r="5460" b="30188"/>
          <a:stretch/>
        </p:blipFill>
        <p:spPr bwMode="auto">
          <a:xfrm>
            <a:off x="4886009" y="3564779"/>
            <a:ext cx="1196698" cy="326990"/>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A6DD742A-B5D9-FFC5-4C7A-6FBF34BFC4A8}"/>
              </a:ext>
            </a:extLst>
          </p:cNvPr>
          <p:cNvSpPr txBox="1"/>
          <p:nvPr/>
        </p:nvSpPr>
        <p:spPr>
          <a:xfrm>
            <a:off x="4003273" y="4857441"/>
            <a:ext cx="2526464" cy="1600438"/>
          </a:xfrm>
          <a:prstGeom prst="rect">
            <a:avLst/>
          </a:prstGeom>
          <a:noFill/>
        </p:spPr>
        <p:txBody>
          <a:bodyPr wrap="square">
            <a:spAutoFit/>
          </a:bodyPr>
          <a:lstStyle/>
          <a:p>
            <a:pPr marR="0" lvl="0" algn="l" defTabSz="914400" rtl="0" eaLnBrk="1" fontAlgn="base" latinLnBrk="0" hangingPunct="1">
              <a:lnSpc>
                <a:spcPct val="100000"/>
              </a:lnSpc>
              <a:spcBef>
                <a:spcPct val="0"/>
              </a:spcBef>
              <a:spcAft>
                <a:spcPct val="0"/>
              </a:spcAft>
              <a:buClrTx/>
              <a:buSzTx/>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rPr>
              <a:t>Driver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19"/>
              </a:rPr>
              <a:t>Arduino Driver</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20"/>
              </a:rPr>
              <a:t>Embedded Driver</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indent="-171450">
              <a:buFont typeface="Arial" panose="020B0604020202020204" pitchFamily="34" charset="0"/>
              <a:buChar char="•"/>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21"/>
              </a:rPr>
              <a:t>Raspberry Pi Driver</a:t>
            </a: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rPr>
              <a:t>12</a:t>
            </a:r>
          </a:p>
          <a:p>
            <a:pPr marL="171450" indent="-171450">
              <a:buFont typeface="Arial" panose="020B0604020202020204" pitchFamily="34" charset="0"/>
              <a:buChar char="•"/>
              <a:defRPr/>
            </a:pPr>
            <a:r>
              <a:rPr lang="en-US" sz="1400">
                <a:solidFill>
                  <a:srgbClr val="000000"/>
                </a:solidFill>
                <a:hlinkClick r:id="rId22"/>
              </a:rPr>
              <a:t>Temperature acceleration and compensation instructions</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p:txBody>
      </p:sp>
    </p:spTree>
    <p:extLst>
      <p:ext uri="{BB962C8B-B14F-4D97-AF65-F5344CB8AC3E}">
        <p14:creationId xmlns:p14="http://schemas.microsoft.com/office/powerpoint/2010/main" val="28831639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F36039-71F6-434E-BCA2-7718DA9ED0E1}"/>
              </a:ext>
            </a:extLst>
          </p:cNvPr>
          <p:cNvPicPr>
            <a:picLocks noChangeAspect="1"/>
          </p:cNvPicPr>
          <p:nvPr/>
        </p:nvPicPr>
        <p:blipFill>
          <a:blip r:embed="rId3"/>
          <a:stretch>
            <a:fillRect/>
          </a:stretch>
        </p:blipFill>
        <p:spPr>
          <a:xfrm>
            <a:off x="623524" y="191069"/>
            <a:ext cx="10944952" cy="5663821"/>
          </a:xfrm>
          <a:prstGeom prst="rect">
            <a:avLst/>
          </a:prstGeom>
        </p:spPr>
      </p:pic>
    </p:spTree>
    <p:extLst>
      <p:ext uri="{BB962C8B-B14F-4D97-AF65-F5344CB8AC3E}">
        <p14:creationId xmlns:p14="http://schemas.microsoft.com/office/powerpoint/2010/main" val="13717475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2B7A4DD-DCF0-4B06-9F9A-A57E401F2380}"/>
              </a:ext>
            </a:extLst>
          </p:cNvPr>
          <p:cNvPicPr>
            <a:picLocks noChangeAspect="1"/>
          </p:cNvPicPr>
          <p:nvPr/>
        </p:nvPicPr>
        <p:blipFill>
          <a:blip r:embed="rId3"/>
          <a:stretch>
            <a:fillRect/>
          </a:stretch>
        </p:blipFill>
        <p:spPr>
          <a:xfrm>
            <a:off x="551651" y="193450"/>
            <a:ext cx="11088698" cy="5702382"/>
          </a:xfrm>
          <a:prstGeom prst="rect">
            <a:avLst/>
          </a:prstGeom>
          <a:solidFill>
            <a:schemeClr val="bg1"/>
          </a:solidFill>
          <a:ln>
            <a:solidFill>
              <a:schemeClr val="bg1"/>
            </a:solidFill>
          </a:ln>
        </p:spPr>
      </p:pic>
      <p:sp>
        <p:nvSpPr>
          <p:cNvPr id="2" name="Rectangle 1">
            <a:extLst>
              <a:ext uri="{FF2B5EF4-FFF2-40B4-BE49-F238E27FC236}">
                <a16:creationId xmlns:a16="http://schemas.microsoft.com/office/drawing/2014/main" id="{93EB3F6E-4F24-46F8-B2F8-FF1CB4FBADF5}"/>
              </a:ext>
            </a:extLst>
          </p:cNvPr>
          <p:cNvSpPr/>
          <p:nvPr/>
        </p:nvSpPr>
        <p:spPr>
          <a:xfrm>
            <a:off x="5671335" y="1097280"/>
            <a:ext cx="1054585" cy="192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2F42160-20D1-4C1D-AD8F-75A2B22EEB15}"/>
              </a:ext>
            </a:extLst>
          </p:cNvPr>
          <p:cNvPicPr>
            <a:picLocks noChangeAspect="1"/>
          </p:cNvPicPr>
          <p:nvPr/>
        </p:nvPicPr>
        <p:blipFill>
          <a:blip r:embed="rId4"/>
          <a:stretch>
            <a:fillRect/>
          </a:stretch>
        </p:blipFill>
        <p:spPr>
          <a:xfrm>
            <a:off x="7434121" y="1113119"/>
            <a:ext cx="487255" cy="181425"/>
          </a:xfrm>
          <a:prstGeom prst="rect">
            <a:avLst/>
          </a:prstGeom>
        </p:spPr>
      </p:pic>
      <p:pic>
        <p:nvPicPr>
          <p:cNvPr id="6" name="Picture 5">
            <a:extLst>
              <a:ext uri="{FF2B5EF4-FFF2-40B4-BE49-F238E27FC236}">
                <a16:creationId xmlns:a16="http://schemas.microsoft.com/office/drawing/2014/main" id="{356555B3-20D5-43C4-861E-0BB9B32C3D93}"/>
              </a:ext>
            </a:extLst>
          </p:cNvPr>
          <p:cNvPicPr>
            <a:picLocks noChangeAspect="1"/>
          </p:cNvPicPr>
          <p:nvPr/>
        </p:nvPicPr>
        <p:blipFill>
          <a:blip r:embed="rId4"/>
          <a:stretch>
            <a:fillRect/>
          </a:stretch>
        </p:blipFill>
        <p:spPr>
          <a:xfrm>
            <a:off x="5954999" y="1114660"/>
            <a:ext cx="487255" cy="181425"/>
          </a:xfrm>
          <a:prstGeom prst="rect">
            <a:avLst/>
          </a:prstGeom>
        </p:spPr>
      </p:pic>
    </p:spTree>
    <p:extLst>
      <p:ext uri="{BB962C8B-B14F-4D97-AF65-F5344CB8AC3E}">
        <p14:creationId xmlns:p14="http://schemas.microsoft.com/office/powerpoint/2010/main" val="12812793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20537-5C63-454C-AC6B-7E3FED3749CA}"/>
              </a:ext>
            </a:extLst>
          </p:cNvPr>
          <p:cNvSpPr>
            <a:spLocks noGrp="1"/>
          </p:cNvSpPr>
          <p:nvPr>
            <p:ph type="title"/>
          </p:nvPr>
        </p:nvSpPr>
        <p:spPr/>
        <p:txBody>
          <a:bodyPr/>
          <a:lstStyle/>
          <a:p>
            <a:r>
              <a:rPr lang="en-US" dirty="0"/>
              <a:t>Global footprint</a:t>
            </a:r>
          </a:p>
        </p:txBody>
      </p:sp>
      <p:sp>
        <p:nvSpPr>
          <p:cNvPr id="3" name="Slide Number Placeholder 2">
            <a:extLst>
              <a:ext uri="{FF2B5EF4-FFF2-40B4-BE49-F238E27FC236}">
                <a16:creationId xmlns:a16="http://schemas.microsoft.com/office/drawing/2014/main" id="{59A3A569-1F11-4CCF-97B1-151046497111}"/>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4</a:t>
            </a:fld>
            <a:endParaRPr lang="en-US" dirty="0"/>
          </a:p>
        </p:txBody>
      </p:sp>
      <p:pic>
        <p:nvPicPr>
          <p:cNvPr id="4" name="Grafik 6">
            <a:extLst>
              <a:ext uri="{FF2B5EF4-FFF2-40B4-BE49-F238E27FC236}">
                <a16:creationId xmlns:a16="http://schemas.microsoft.com/office/drawing/2014/main" id="{33A8467E-BF1E-4526-9A4F-D19F022264F8}"/>
              </a:ext>
            </a:extLst>
          </p:cNvPr>
          <p:cNvPicPr>
            <a:picLocks noChangeAspect="1"/>
          </p:cNvPicPr>
          <p:nvPr/>
        </p:nvPicPr>
        <p:blipFill>
          <a:blip r:embed="rId3"/>
          <a:stretch>
            <a:fillRect/>
          </a:stretch>
        </p:blipFill>
        <p:spPr>
          <a:xfrm>
            <a:off x="1072787" y="1146138"/>
            <a:ext cx="9849316" cy="5011200"/>
          </a:xfrm>
          <a:prstGeom prst="rect">
            <a:avLst/>
          </a:prstGeom>
        </p:spPr>
      </p:pic>
      <p:cxnSp>
        <p:nvCxnSpPr>
          <p:cNvPr id="5" name="Gerader Verbinder 32">
            <a:extLst>
              <a:ext uri="{FF2B5EF4-FFF2-40B4-BE49-F238E27FC236}">
                <a16:creationId xmlns:a16="http://schemas.microsoft.com/office/drawing/2014/main" id="{838E3CDF-E955-4219-9744-B8DF7DAC2375}"/>
              </a:ext>
            </a:extLst>
          </p:cNvPr>
          <p:cNvCxnSpPr>
            <a:cxnSpLocks/>
          </p:cNvCxnSpPr>
          <p:nvPr/>
        </p:nvCxnSpPr>
        <p:spPr>
          <a:xfrm>
            <a:off x="3065068" y="3455572"/>
            <a:ext cx="0" cy="739832"/>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6" name="Gerader Verbinder 33">
            <a:extLst>
              <a:ext uri="{FF2B5EF4-FFF2-40B4-BE49-F238E27FC236}">
                <a16:creationId xmlns:a16="http://schemas.microsoft.com/office/drawing/2014/main" id="{702148F1-8076-4426-9BE3-8D9CDD343F7A}"/>
              </a:ext>
            </a:extLst>
          </p:cNvPr>
          <p:cNvCxnSpPr/>
          <p:nvPr/>
        </p:nvCxnSpPr>
        <p:spPr>
          <a:xfrm flipH="1">
            <a:off x="1428006" y="4193847"/>
            <a:ext cx="1637062"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7" name="Gerader Verbinder 36">
            <a:extLst>
              <a:ext uri="{FF2B5EF4-FFF2-40B4-BE49-F238E27FC236}">
                <a16:creationId xmlns:a16="http://schemas.microsoft.com/office/drawing/2014/main" id="{D7108681-0421-4329-A328-7DBA0333EBEE}"/>
              </a:ext>
            </a:extLst>
          </p:cNvPr>
          <p:cNvCxnSpPr>
            <a:cxnSpLocks/>
          </p:cNvCxnSpPr>
          <p:nvPr/>
        </p:nvCxnSpPr>
        <p:spPr>
          <a:xfrm flipH="1">
            <a:off x="8019292" y="4603614"/>
            <a:ext cx="677742"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8" name="Gerader Verbinder 40">
            <a:extLst>
              <a:ext uri="{FF2B5EF4-FFF2-40B4-BE49-F238E27FC236}">
                <a16:creationId xmlns:a16="http://schemas.microsoft.com/office/drawing/2014/main" id="{0A5DE3F8-ED3C-4B67-8021-79865190D6F7}"/>
              </a:ext>
            </a:extLst>
          </p:cNvPr>
          <p:cNvCxnSpPr/>
          <p:nvPr/>
        </p:nvCxnSpPr>
        <p:spPr>
          <a:xfrm flipH="1">
            <a:off x="9246667" y="2558725"/>
            <a:ext cx="1691597"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41">
            <a:extLst>
              <a:ext uri="{FF2B5EF4-FFF2-40B4-BE49-F238E27FC236}">
                <a16:creationId xmlns:a16="http://schemas.microsoft.com/office/drawing/2014/main" id="{93106261-38FA-4261-B40C-9A1CA05B1775}"/>
              </a:ext>
            </a:extLst>
          </p:cNvPr>
          <p:cNvCxnSpPr/>
          <p:nvPr/>
        </p:nvCxnSpPr>
        <p:spPr>
          <a:xfrm flipH="1">
            <a:off x="9203369" y="3877275"/>
            <a:ext cx="1" cy="735083"/>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10" name="Gerader Verbinder 42">
            <a:extLst>
              <a:ext uri="{FF2B5EF4-FFF2-40B4-BE49-F238E27FC236}">
                <a16:creationId xmlns:a16="http://schemas.microsoft.com/office/drawing/2014/main" id="{328B1157-234C-423C-B581-DAFC4B7E2B54}"/>
              </a:ext>
            </a:extLst>
          </p:cNvPr>
          <p:cNvCxnSpPr>
            <a:cxnSpLocks/>
          </p:cNvCxnSpPr>
          <p:nvPr/>
        </p:nvCxnSpPr>
        <p:spPr>
          <a:xfrm flipH="1">
            <a:off x="9197150" y="4615586"/>
            <a:ext cx="726050"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r Verbinder 43">
            <a:extLst>
              <a:ext uri="{FF2B5EF4-FFF2-40B4-BE49-F238E27FC236}">
                <a16:creationId xmlns:a16="http://schemas.microsoft.com/office/drawing/2014/main" id="{CB0BB7A5-E831-4649-8BDB-9A63FB14634F}"/>
              </a:ext>
            </a:extLst>
          </p:cNvPr>
          <p:cNvCxnSpPr/>
          <p:nvPr/>
        </p:nvCxnSpPr>
        <p:spPr>
          <a:xfrm flipH="1">
            <a:off x="9643846" y="3870282"/>
            <a:ext cx="924626"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12" name="Gerader Verbinder 44">
            <a:extLst>
              <a:ext uri="{FF2B5EF4-FFF2-40B4-BE49-F238E27FC236}">
                <a16:creationId xmlns:a16="http://schemas.microsoft.com/office/drawing/2014/main" id="{44F982DA-25C3-4757-9AD7-F6939D4C652D}"/>
              </a:ext>
            </a:extLst>
          </p:cNvPr>
          <p:cNvCxnSpPr/>
          <p:nvPr/>
        </p:nvCxnSpPr>
        <p:spPr>
          <a:xfrm>
            <a:off x="9639152" y="3403749"/>
            <a:ext cx="4624" cy="470539"/>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45">
            <a:extLst>
              <a:ext uri="{FF2B5EF4-FFF2-40B4-BE49-F238E27FC236}">
                <a16:creationId xmlns:a16="http://schemas.microsoft.com/office/drawing/2014/main" id="{801ABF8C-A024-409F-8B0D-D5D249375F30}"/>
              </a:ext>
            </a:extLst>
          </p:cNvPr>
          <p:cNvCxnSpPr>
            <a:cxnSpLocks/>
          </p:cNvCxnSpPr>
          <p:nvPr/>
        </p:nvCxnSpPr>
        <p:spPr>
          <a:xfrm flipH="1">
            <a:off x="4994988" y="2253176"/>
            <a:ext cx="908350"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r Verbinder 48">
            <a:extLst>
              <a:ext uri="{FF2B5EF4-FFF2-40B4-BE49-F238E27FC236}">
                <a16:creationId xmlns:a16="http://schemas.microsoft.com/office/drawing/2014/main" id="{32354EA5-4D9B-44CE-9025-667D8D944A68}"/>
              </a:ext>
            </a:extLst>
          </p:cNvPr>
          <p:cNvCxnSpPr>
            <a:cxnSpLocks/>
          </p:cNvCxnSpPr>
          <p:nvPr/>
        </p:nvCxnSpPr>
        <p:spPr>
          <a:xfrm>
            <a:off x="8700355" y="3596350"/>
            <a:ext cx="0" cy="1007264"/>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r Verbinder 49">
            <a:extLst>
              <a:ext uri="{FF2B5EF4-FFF2-40B4-BE49-F238E27FC236}">
                <a16:creationId xmlns:a16="http://schemas.microsoft.com/office/drawing/2014/main" id="{8346D2D3-3DF5-4639-96D9-B73B47E96179}"/>
              </a:ext>
            </a:extLst>
          </p:cNvPr>
          <p:cNvCxnSpPr/>
          <p:nvPr/>
        </p:nvCxnSpPr>
        <p:spPr>
          <a:xfrm>
            <a:off x="9246667" y="2555702"/>
            <a:ext cx="0" cy="73919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r Verbinder 50">
            <a:extLst>
              <a:ext uri="{FF2B5EF4-FFF2-40B4-BE49-F238E27FC236}">
                <a16:creationId xmlns:a16="http://schemas.microsoft.com/office/drawing/2014/main" id="{C4C06155-E8EF-49A7-A8AE-BB0AEA0E8D96}"/>
              </a:ext>
            </a:extLst>
          </p:cNvPr>
          <p:cNvCxnSpPr>
            <a:cxnSpLocks/>
          </p:cNvCxnSpPr>
          <p:nvPr/>
        </p:nvCxnSpPr>
        <p:spPr>
          <a:xfrm>
            <a:off x="5903337" y="2253176"/>
            <a:ext cx="0" cy="66577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36CF165-640A-4D1F-BB0B-BD6BF59B5D88}"/>
              </a:ext>
            </a:extLst>
          </p:cNvPr>
          <p:cNvSpPr/>
          <p:nvPr/>
        </p:nvSpPr>
        <p:spPr>
          <a:xfrm>
            <a:off x="2376068" y="3257572"/>
            <a:ext cx="198000" cy="198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20002663-B192-4BDB-A7D7-2A3B2DC01CD8}"/>
              </a:ext>
            </a:extLst>
          </p:cNvPr>
          <p:cNvSpPr/>
          <p:nvPr/>
        </p:nvSpPr>
        <p:spPr>
          <a:xfrm>
            <a:off x="3301016" y="3105554"/>
            <a:ext cx="198000" cy="198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FBD06C01-D546-457D-ACB4-3FAEB5F0D0B1}"/>
              </a:ext>
            </a:extLst>
          </p:cNvPr>
          <p:cNvSpPr/>
          <p:nvPr/>
        </p:nvSpPr>
        <p:spPr>
          <a:xfrm>
            <a:off x="9539019" y="3307318"/>
            <a:ext cx="198000" cy="198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C83BFF7-7B8D-49EC-9AF5-5116717F4856}"/>
              </a:ext>
            </a:extLst>
          </p:cNvPr>
          <p:cNvSpPr/>
          <p:nvPr/>
        </p:nvSpPr>
        <p:spPr>
          <a:xfrm>
            <a:off x="9101485" y="3699529"/>
            <a:ext cx="198000" cy="198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BE9091CE-C284-49F4-A811-C577614DF13D}"/>
              </a:ext>
            </a:extLst>
          </p:cNvPr>
          <p:cNvSpPr/>
          <p:nvPr/>
        </p:nvSpPr>
        <p:spPr>
          <a:xfrm>
            <a:off x="8898862" y="3754344"/>
            <a:ext cx="198000" cy="198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D49DCE55-615B-4735-80C2-5BCB548E032B}"/>
              </a:ext>
            </a:extLst>
          </p:cNvPr>
          <p:cNvSpPr>
            <a:spLocks/>
          </p:cNvSpPr>
          <p:nvPr/>
        </p:nvSpPr>
        <p:spPr>
          <a:xfrm>
            <a:off x="1269897" y="3974845"/>
            <a:ext cx="1226469"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solidFill>
                  <a:sysClr val="windowText" lastClr="000000"/>
                </a:solidFill>
                <a:ea typeface="LF_Kai"/>
              </a:rPr>
              <a:t>United States</a:t>
            </a:r>
            <a:endParaRPr lang="en-US" sz="1200" kern="0" dirty="0">
              <a:solidFill>
                <a:sysClr val="windowText" lastClr="000000"/>
              </a:solidFill>
              <a:ea typeface="LF_Kai"/>
            </a:endParaRPr>
          </a:p>
        </p:txBody>
      </p:sp>
      <p:sp>
        <p:nvSpPr>
          <p:cNvPr id="23" name="Rectangle 22">
            <a:extLst>
              <a:ext uri="{FF2B5EF4-FFF2-40B4-BE49-F238E27FC236}">
                <a16:creationId xmlns:a16="http://schemas.microsoft.com/office/drawing/2014/main" id="{FB434AA3-F947-404A-836A-F2611EE337CE}"/>
              </a:ext>
            </a:extLst>
          </p:cNvPr>
          <p:cNvSpPr>
            <a:spLocks/>
          </p:cNvSpPr>
          <p:nvPr/>
        </p:nvSpPr>
        <p:spPr>
          <a:xfrm>
            <a:off x="7857183" y="4432358"/>
            <a:ext cx="591665"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ea typeface="LF_Kai"/>
              </a:rPr>
              <a:t>China</a:t>
            </a:r>
            <a:endParaRPr lang="en-US" sz="1200" kern="0" dirty="0">
              <a:ea typeface="LF_Kai"/>
            </a:endParaRPr>
          </a:p>
        </p:txBody>
      </p:sp>
      <p:sp>
        <p:nvSpPr>
          <p:cNvPr id="24" name="Rectangle 23">
            <a:extLst>
              <a:ext uri="{FF2B5EF4-FFF2-40B4-BE49-F238E27FC236}">
                <a16:creationId xmlns:a16="http://schemas.microsoft.com/office/drawing/2014/main" id="{EC2FDF9D-66C9-411D-AE66-559306BD6C01}"/>
              </a:ext>
            </a:extLst>
          </p:cNvPr>
          <p:cNvSpPr>
            <a:spLocks/>
          </p:cNvSpPr>
          <p:nvPr/>
        </p:nvSpPr>
        <p:spPr>
          <a:xfrm>
            <a:off x="10115107" y="2300824"/>
            <a:ext cx="1080194"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solidFill>
                  <a:sysClr val="windowText" lastClr="000000"/>
                </a:solidFill>
                <a:ea typeface="LF_Kai"/>
              </a:rPr>
              <a:t>South Korea</a:t>
            </a:r>
            <a:endParaRPr lang="en-US" sz="1200" kern="0" dirty="0">
              <a:solidFill>
                <a:sysClr val="windowText" lastClr="000000"/>
              </a:solidFill>
              <a:ea typeface="LF_Kai"/>
            </a:endParaRPr>
          </a:p>
        </p:txBody>
      </p:sp>
      <p:sp>
        <p:nvSpPr>
          <p:cNvPr id="25" name="Rectangle 24">
            <a:extLst>
              <a:ext uri="{FF2B5EF4-FFF2-40B4-BE49-F238E27FC236}">
                <a16:creationId xmlns:a16="http://schemas.microsoft.com/office/drawing/2014/main" id="{ACC58085-08EB-4B8C-B866-3F52E30D372D}"/>
              </a:ext>
            </a:extLst>
          </p:cNvPr>
          <p:cNvSpPr>
            <a:spLocks/>
          </p:cNvSpPr>
          <p:nvPr/>
        </p:nvSpPr>
        <p:spPr>
          <a:xfrm>
            <a:off x="10539634" y="3619886"/>
            <a:ext cx="646418"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solidFill>
                  <a:sysClr val="windowText" lastClr="000000"/>
                </a:solidFill>
                <a:ea typeface="LF_Kai"/>
              </a:rPr>
              <a:t>Japan</a:t>
            </a:r>
            <a:endParaRPr lang="en-US" sz="1200" kern="0" dirty="0">
              <a:solidFill>
                <a:sysClr val="windowText" lastClr="000000"/>
              </a:solidFill>
              <a:ea typeface="LF_Kai"/>
            </a:endParaRPr>
          </a:p>
        </p:txBody>
      </p:sp>
      <p:sp>
        <p:nvSpPr>
          <p:cNvPr id="26" name="Rectangle 25">
            <a:extLst>
              <a:ext uri="{FF2B5EF4-FFF2-40B4-BE49-F238E27FC236}">
                <a16:creationId xmlns:a16="http://schemas.microsoft.com/office/drawing/2014/main" id="{F7E6C73C-715B-499C-95BF-8A9389FFBBA2}"/>
              </a:ext>
            </a:extLst>
          </p:cNvPr>
          <p:cNvSpPr>
            <a:spLocks/>
          </p:cNvSpPr>
          <p:nvPr/>
        </p:nvSpPr>
        <p:spPr>
          <a:xfrm>
            <a:off x="9542677" y="4397630"/>
            <a:ext cx="761046"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solidFill>
                  <a:sysClr val="windowText" lastClr="000000"/>
                </a:solidFill>
                <a:ea typeface="LF_Kai"/>
              </a:rPr>
              <a:t>Taiwan</a:t>
            </a:r>
            <a:endParaRPr lang="en-US" sz="1200" kern="0" dirty="0">
              <a:solidFill>
                <a:sysClr val="windowText" lastClr="000000"/>
              </a:solidFill>
              <a:ea typeface="LF_Kai"/>
            </a:endParaRPr>
          </a:p>
        </p:txBody>
      </p:sp>
      <p:sp>
        <p:nvSpPr>
          <p:cNvPr id="27" name="Rechteck 11">
            <a:extLst>
              <a:ext uri="{FF2B5EF4-FFF2-40B4-BE49-F238E27FC236}">
                <a16:creationId xmlns:a16="http://schemas.microsoft.com/office/drawing/2014/main" id="{63B3A0FA-CCEE-48AC-A03A-657608510173}"/>
              </a:ext>
            </a:extLst>
          </p:cNvPr>
          <p:cNvSpPr/>
          <p:nvPr/>
        </p:nvSpPr>
        <p:spPr>
          <a:xfrm>
            <a:off x="850071" y="6116060"/>
            <a:ext cx="2516188" cy="161583"/>
          </a:xfrm>
          <a:prstGeom prst="rect">
            <a:avLst/>
          </a:prstGeom>
          <a:noFill/>
        </p:spPr>
        <p:txBody>
          <a:bodyPr wrap="square" lIns="0" tIns="0" rIns="0" bIns="0" rtlCol="0" anchor="t">
            <a:spAutoFit/>
          </a:bodyPr>
          <a:lstStyle/>
          <a:p>
            <a:pPr marL="0" lvl="1">
              <a:spcBef>
                <a:spcPts val="0"/>
              </a:spcBef>
            </a:pPr>
            <a:r>
              <a:rPr lang="en-US" sz="1050" dirty="0"/>
              <a:t>* As of 31 Dec 2021</a:t>
            </a:r>
            <a:endParaRPr lang="en-US" sz="1050" b="1" dirty="0"/>
          </a:p>
        </p:txBody>
      </p:sp>
      <p:sp>
        <p:nvSpPr>
          <p:cNvPr id="28" name="Oval 27">
            <a:extLst>
              <a:ext uri="{FF2B5EF4-FFF2-40B4-BE49-F238E27FC236}">
                <a16:creationId xmlns:a16="http://schemas.microsoft.com/office/drawing/2014/main" id="{B2383CA0-70F6-4961-8A6A-9CF29DD25DAE}"/>
              </a:ext>
            </a:extLst>
          </p:cNvPr>
          <p:cNvSpPr/>
          <p:nvPr/>
        </p:nvSpPr>
        <p:spPr>
          <a:xfrm>
            <a:off x="3531276" y="3130297"/>
            <a:ext cx="198000" cy="198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roup 28">
            <a:extLst>
              <a:ext uri="{FF2B5EF4-FFF2-40B4-BE49-F238E27FC236}">
                <a16:creationId xmlns:a16="http://schemas.microsoft.com/office/drawing/2014/main" id="{998DCDD6-DE99-4A5F-B684-0C8BF6457EA0}"/>
              </a:ext>
            </a:extLst>
          </p:cNvPr>
          <p:cNvGrpSpPr/>
          <p:nvPr/>
        </p:nvGrpSpPr>
        <p:grpSpPr>
          <a:xfrm>
            <a:off x="864763" y="887871"/>
            <a:ext cx="1541228" cy="591069"/>
            <a:chOff x="735441" y="4790655"/>
            <a:chExt cx="1541228" cy="591069"/>
          </a:xfrm>
        </p:grpSpPr>
        <p:pic>
          <p:nvPicPr>
            <p:cNvPr id="30" name="Bild 23">
              <a:extLst>
                <a:ext uri="{FF2B5EF4-FFF2-40B4-BE49-F238E27FC236}">
                  <a16:creationId xmlns:a16="http://schemas.microsoft.com/office/drawing/2014/main" id="{3545C03D-FA0A-4DED-895B-2633FC54A7C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605" y="4866063"/>
              <a:ext cx="258077" cy="440252"/>
            </a:xfrm>
            <a:prstGeom prst="rect">
              <a:avLst/>
            </a:prstGeom>
          </p:spPr>
        </p:pic>
        <p:sp>
          <p:nvSpPr>
            <p:cNvPr id="31" name="Rectangle 30">
              <a:extLst>
                <a:ext uri="{FF2B5EF4-FFF2-40B4-BE49-F238E27FC236}">
                  <a16:creationId xmlns:a16="http://schemas.microsoft.com/office/drawing/2014/main" id="{27E69EE9-ED6B-4816-8442-724F0B982DF4}"/>
                </a:ext>
              </a:extLst>
            </p:cNvPr>
            <p:cNvSpPr>
              <a:spLocks/>
            </p:cNvSpPr>
            <p:nvPr/>
          </p:nvSpPr>
          <p:spPr>
            <a:xfrm>
              <a:off x="1111917" y="4790655"/>
              <a:ext cx="1164752" cy="591069"/>
            </a:xfrm>
            <a:prstGeom prst="rect">
              <a:avLst/>
            </a:prstGeom>
            <a:noFill/>
            <a:ln w="9525" cap="flat" cmpd="sng" algn="ctr">
              <a:noFill/>
              <a:prstDash val="solid"/>
            </a:ln>
            <a:effectLst/>
          </p:spPr>
          <p:txBody>
            <a:bodyPr rtlCol="0" anchor="ctr"/>
            <a:lstStyle/>
            <a:p>
              <a:pPr fontAlgn="auto">
                <a:spcBef>
                  <a:spcPts val="0"/>
                </a:spcBef>
                <a:spcAft>
                  <a:spcPts val="0"/>
                </a:spcAft>
                <a:defRPr/>
              </a:pPr>
              <a:r>
                <a:rPr lang="en-US" sz="1400" b="1" kern="0" dirty="0">
                  <a:ea typeface="LF_Kai"/>
                </a:rPr>
                <a:t>974 FTEs*</a:t>
              </a:r>
              <a:endParaRPr lang="en-US" sz="1400" b="1" kern="0" baseline="30000" dirty="0">
                <a:ea typeface="LF_Kai"/>
              </a:endParaRPr>
            </a:p>
          </p:txBody>
        </p:sp>
        <p:sp>
          <p:nvSpPr>
            <p:cNvPr id="32" name="Rectangle 31">
              <a:extLst>
                <a:ext uri="{FF2B5EF4-FFF2-40B4-BE49-F238E27FC236}">
                  <a16:creationId xmlns:a16="http://schemas.microsoft.com/office/drawing/2014/main" id="{D2AB714A-A4C9-43EC-AA3F-46EE923A73EE}"/>
                </a:ext>
              </a:extLst>
            </p:cNvPr>
            <p:cNvSpPr>
              <a:spLocks/>
            </p:cNvSpPr>
            <p:nvPr/>
          </p:nvSpPr>
          <p:spPr>
            <a:xfrm>
              <a:off x="735441" y="4790655"/>
              <a:ext cx="1334893" cy="591069"/>
            </a:xfrm>
            <a:prstGeom prst="rect">
              <a:avLst/>
            </a:prstGeom>
            <a:noFill/>
            <a:ln w="9525" cap="flat" cmpd="sng" algn="ctr">
              <a:solidFill>
                <a:srgbClr val="66CC33"/>
              </a:solidFill>
              <a:prstDash val="solid"/>
            </a:ln>
            <a:effectLst/>
          </p:spPr>
          <p:txBody>
            <a:bodyPr rtlCol="0" anchor="ctr"/>
            <a:lstStyle/>
            <a:p>
              <a:pPr fontAlgn="auto">
                <a:spcBef>
                  <a:spcPts val="0"/>
                </a:spcBef>
                <a:spcAft>
                  <a:spcPts val="0"/>
                </a:spcAft>
                <a:defRPr/>
              </a:pPr>
              <a:endParaRPr lang="en-US" sz="1200" kern="0" dirty="0">
                <a:ea typeface="LF_Kai"/>
              </a:endParaRPr>
            </a:p>
          </p:txBody>
        </p:sp>
      </p:grpSp>
      <p:grpSp>
        <p:nvGrpSpPr>
          <p:cNvPr id="33" name="Group 32">
            <a:extLst>
              <a:ext uri="{FF2B5EF4-FFF2-40B4-BE49-F238E27FC236}">
                <a16:creationId xmlns:a16="http://schemas.microsoft.com/office/drawing/2014/main" id="{EFAB9CE6-702A-452F-A8B9-6E42F883DAB1}"/>
              </a:ext>
            </a:extLst>
          </p:cNvPr>
          <p:cNvGrpSpPr/>
          <p:nvPr/>
        </p:nvGrpSpPr>
        <p:grpSpPr>
          <a:xfrm>
            <a:off x="820937" y="5063674"/>
            <a:ext cx="1334893" cy="779707"/>
            <a:chOff x="760559" y="5136707"/>
            <a:chExt cx="1334893" cy="779707"/>
          </a:xfrm>
        </p:grpSpPr>
        <p:sp>
          <p:nvSpPr>
            <p:cNvPr id="34" name="Rectangle 33">
              <a:extLst>
                <a:ext uri="{FF2B5EF4-FFF2-40B4-BE49-F238E27FC236}">
                  <a16:creationId xmlns:a16="http://schemas.microsoft.com/office/drawing/2014/main" id="{EC9FBA7B-1440-4BF1-BF3E-6BE4D0F33E73}"/>
                </a:ext>
              </a:extLst>
            </p:cNvPr>
            <p:cNvSpPr>
              <a:spLocks/>
            </p:cNvSpPr>
            <p:nvPr/>
          </p:nvSpPr>
          <p:spPr>
            <a:xfrm>
              <a:off x="760559" y="5136707"/>
              <a:ext cx="1334893" cy="779707"/>
            </a:xfrm>
            <a:prstGeom prst="rect">
              <a:avLst/>
            </a:prstGeom>
            <a:noFill/>
            <a:ln w="9525" cap="flat" cmpd="sng" algn="ctr">
              <a:solidFill>
                <a:srgbClr val="66CC33"/>
              </a:solidFill>
              <a:prstDash val="solid"/>
            </a:ln>
            <a:effectLst/>
          </p:spPr>
          <p:txBody>
            <a:bodyPr rtlCol="0" anchor="t"/>
            <a:lstStyle/>
            <a:p>
              <a:pPr fontAlgn="auto">
                <a:spcBef>
                  <a:spcPts val="0"/>
                </a:spcBef>
                <a:spcAft>
                  <a:spcPts val="0"/>
                </a:spcAft>
                <a:defRPr/>
              </a:pPr>
              <a:r>
                <a:rPr lang="en-US" sz="1400" kern="0" dirty="0">
                  <a:solidFill>
                    <a:prstClr val="black"/>
                  </a:solidFill>
                  <a:ea typeface="LF_Kai"/>
                </a:rPr>
                <a:t>Production</a:t>
              </a:r>
            </a:p>
            <a:p>
              <a:pPr fontAlgn="auto">
                <a:spcBef>
                  <a:spcPts val="0"/>
                </a:spcBef>
                <a:spcAft>
                  <a:spcPts val="0"/>
                </a:spcAft>
                <a:defRPr/>
              </a:pPr>
              <a:r>
                <a:rPr lang="en-US" sz="1400" kern="0" dirty="0">
                  <a:solidFill>
                    <a:prstClr val="black"/>
                  </a:solidFill>
                  <a:ea typeface="LF_Kai"/>
                </a:rPr>
                <a:t>R&amp;D</a:t>
              </a:r>
            </a:p>
            <a:p>
              <a:pPr fontAlgn="auto">
                <a:spcBef>
                  <a:spcPts val="0"/>
                </a:spcBef>
                <a:spcAft>
                  <a:spcPts val="0"/>
                </a:spcAft>
                <a:defRPr/>
              </a:pPr>
              <a:r>
                <a:rPr lang="en-US" sz="1400" kern="0" dirty="0">
                  <a:solidFill>
                    <a:prstClr val="black"/>
                  </a:solidFill>
                  <a:ea typeface="LF_Kai"/>
                </a:rPr>
                <a:t>Sales</a:t>
              </a:r>
              <a:endParaRPr lang="en-US" sz="1100" kern="0" dirty="0">
                <a:solidFill>
                  <a:prstClr val="black"/>
                </a:solidFill>
                <a:ea typeface="LF_Kai"/>
              </a:endParaRPr>
            </a:p>
          </p:txBody>
        </p:sp>
        <p:sp>
          <p:nvSpPr>
            <p:cNvPr id="35" name="Oval 34">
              <a:extLst>
                <a:ext uri="{FF2B5EF4-FFF2-40B4-BE49-F238E27FC236}">
                  <a16:creationId xmlns:a16="http://schemas.microsoft.com/office/drawing/2014/main" id="{ADA0D6DF-BB54-41C7-AD17-A42DFC77A814}"/>
                </a:ext>
              </a:extLst>
            </p:cNvPr>
            <p:cNvSpPr/>
            <p:nvPr/>
          </p:nvSpPr>
          <p:spPr>
            <a:xfrm>
              <a:off x="1728698" y="5667624"/>
              <a:ext cx="144000" cy="144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5961A85E-ED9D-4844-8B7F-4BC03368E4B3}"/>
                </a:ext>
              </a:extLst>
            </p:cNvPr>
            <p:cNvSpPr/>
            <p:nvPr/>
          </p:nvSpPr>
          <p:spPr>
            <a:xfrm>
              <a:off x="1723936" y="5226138"/>
              <a:ext cx="144000" cy="144000"/>
            </a:xfrm>
            <a:prstGeom prst="ellipse">
              <a:avLst/>
            </a:prstGeom>
            <a:solidFill>
              <a:srgbClr val="EB871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6B227836-1662-44DD-91BB-051DFCEE3C8B}"/>
                </a:ext>
              </a:extLst>
            </p:cNvPr>
            <p:cNvSpPr/>
            <p:nvPr/>
          </p:nvSpPr>
          <p:spPr>
            <a:xfrm>
              <a:off x="1723936" y="5441612"/>
              <a:ext cx="144000" cy="144000"/>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38" name="Chart 37">
            <a:extLst>
              <a:ext uri="{FF2B5EF4-FFF2-40B4-BE49-F238E27FC236}">
                <a16:creationId xmlns:a16="http://schemas.microsoft.com/office/drawing/2014/main" id="{4DB7CBDD-AF82-43F2-B88B-B3881A95B462}"/>
              </a:ext>
            </a:extLst>
          </p:cNvPr>
          <p:cNvGraphicFramePr/>
          <p:nvPr/>
        </p:nvGraphicFramePr>
        <p:xfrm>
          <a:off x="8891463" y="3108619"/>
          <a:ext cx="719556" cy="479705"/>
        </p:xfrm>
        <a:graphic>
          <a:graphicData uri="http://schemas.openxmlformats.org/drawingml/2006/chart">
            <c:chart xmlns:c="http://schemas.openxmlformats.org/drawingml/2006/chart" xmlns:r="http://schemas.openxmlformats.org/officeDocument/2006/relationships" r:id="rId5"/>
          </a:graphicData>
        </a:graphic>
      </p:graphicFrame>
      <p:sp>
        <p:nvSpPr>
          <p:cNvPr id="39" name="Rectangle 38">
            <a:extLst>
              <a:ext uri="{FF2B5EF4-FFF2-40B4-BE49-F238E27FC236}">
                <a16:creationId xmlns:a16="http://schemas.microsoft.com/office/drawing/2014/main" id="{73967F66-F067-428F-887E-979BB8335437}"/>
              </a:ext>
            </a:extLst>
          </p:cNvPr>
          <p:cNvSpPr>
            <a:spLocks/>
          </p:cNvSpPr>
          <p:nvPr/>
        </p:nvSpPr>
        <p:spPr>
          <a:xfrm>
            <a:off x="4454241" y="2073176"/>
            <a:ext cx="1204462"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solidFill>
                  <a:schemeClr val="tx2"/>
                </a:solidFill>
                <a:ea typeface="LF_Kai"/>
              </a:rPr>
              <a:t>Netherlands</a:t>
            </a:r>
            <a:endParaRPr lang="en-US" sz="1200" kern="0" dirty="0">
              <a:solidFill>
                <a:schemeClr val="tx2"/>
              </a:solidFill>
              <a:ea typeface="LF_Kai"/>
            </a:endParaRPr>
          </a:p>
        </p:txBody>
      </p:sp>
      <p:graphicFrame>
        <p:nvGraphicFramePr>
          <p:cNvPr id="40" name="Chart 39">
            <a:extLst>
              <a:ext uri="{FF2B5EF4-FFF2-40B4-BE49-F238E27FC236}">
                <a16:creationId xmlns:a16="http://schemas.microsoft.com/office/drawing/2014/main" id="{92331FAB-D979-4F52-B393-5AE4819F4F74}"/>
              </a:ext>
            </a:extLst>
          </p:cNvPr>
          <p:cNvGraphicFramePr/>
          <p:nvPr/>
        </p:nvGraphicFramePr>
        <p:xfrm>
          <a:off x="5550445" y="2670187"/>
          <a:ext cx="719556" cy="479705"/>
        </p:xfrm>
        <a:graphic>
          <a:graphicData uri="http://schemas.openxmlformats.org/drawingml/2006/chart">
            <c:chart xmlns:c="http://schemas.openxmlformats.org/drawingml/2006/chart" xmlns:r="http://schemas.openxmlformats.org/officeDocument/2006/relationships" r:id="rId6"/>
          </a:graphicData>
        </a:graphic>
      </p:graphicFrame>
      <p:cxnSp>
        <p:nvCxnSpPr>
          <p:cNvPr id="41" name="Gerader Verbinder 36">
            <a:extLst>
              <a:ext uri="{FF2B5EF4-FFF2-40B4-BE49-F238E27FC236}">
                <a16:creationId xmlns:a16="http://schemas.microsoft.com/office/drawing/2014/main" id="{09A591B0-8F51-4D89-BC65-2D319F0E1C59}"/>
              </a:ext>
            </a:extLst>
          </p:cNvPr>
          <p:cNvCxnSpPr>
            <a:cxnSpLocks/>
          </p:cNvCxnSpPr>
          <p:nvPr/>
        </p:nvCxnSpPr>
        <p:spPr>
          <a:xfrm flipH="1">
            <a:off x="5337429" y="4017550"/>
            <a:ext cx="677742"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42" name="Gerader Verbinder 48">
            <a:extLst>
              <a:ext uri="{FF2B5EF4-FFF2-40B4-BE49-F238E27FC236}">
                <a16:creationId xmlns:a16="http://schemas.microsoft.com/office/drawing/2014/main" id="{A052D116-0DEC-432D-AD6C-B0910E4F7A86}"/>
              </a:ext>
            </a:extLst>
          </p:cNvPr>
          <p:cNvCxnSpPr>
            <a:cxnSpLocks/>
          </p:cNvCxnSpPr>
          <p:nvPr/>
        </p:nvCxnSpPr>
        <p:spPr>
          <a:xfrm>
            <a:off x="6018492" y="3153347"/>
            <a:ext cx="0" cy="858398"/>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7B35336A-A1C1-47D7-8A39-A45A6944F103}"/>
              </a:ext>
            </a:extLst>
          </p:cNvPr>
          <p:cNvSpPr>
            <a:spLocks/>
          </p:cNvSpPr>
          <p:nvPr/>
        </p:nvSpPr>
        <p:spPr>
          <a:xfrm>
            <a:off x="4533731" y="3758784"/>
            <a:ext cx="1278907" cy="505938"/>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solidFill>
                  <a:sysClr val="windowText" lastClr="000000"/>
                </a:solidFill>
                <a:ea typeface="LF_Kai"/>
              </a:rPr>
              <a:t>Switzerland </a:t>
            </a:r>
            <a:br>
              <a:rPr lang="en-US" sz="1400" b="1" kern="0" dirty="0">
                <a:solidFill>
                  <a:sysClr val="windowText" lastClr="000000"/>
                </a:solidFill>
                <a:ea typeface="LF_Kai"/>
              </a:rPr>
            </a:br>
            <a:r>
              <a:rPr lang="en-US" sz="1400" kern="0" dirty="0">
                <a:solidFill>
                  <a:sysClr val="windowText" lastClr="000000"/>
                </a:solidFill>
                <a:ea typeface="LF_Kai"/>
              </a:rPr>
              <a:t>(Headquarters)</a:t>
            </a:r>
            <a:endParaRPr lang="en-US" sz="1200" kern="0" dirty="0">
              <a:solidFill>
                <a:sysClr val="windowText" lastClr="000000"/>
              </a:solidFill>
              <a:ea typeface="LF_Kai"/>
            </a:endParaRPr>
          </a:p>
        </p:txBody>
      </p:sp>
      <p:graphicFrame>
        <p:nvGraphicFramePr>
          <p:cNvPr id="44" name="Chart 43">
            <a:extLst>
              <a:ext uri="{FF2B5EF4-FFF2-40B4-BE49-F238E27FC236}">
                <a16:creationId xmlns:a16="http://schemas.microsoft.com/office/drawing/2014/main" id="{BFFA9B36-AB96-44E0-B4C0-A7D29FB86B6B}"/>
              </a:ext>
            </a:extLst>
          </p:cNvPr>
          <p:cNvGraphicFramePr/>
          <p:nvPr/>
        </p:nvGraphicFramePr>
        <p:xfrm>
          <a:off x="5658714" y="2872609"/>
          <a:ext cx="719556" cy="479705"/>
        </p:xfrm>
        <a:graphic>
          <a:graphicData uri="http://schemas.openxmlformats.org/drawingml/2006/chart">
            <c:chart xmlns:c="http://schemas.openxmlformats.org/drawingml/2006/chart" xmlns:r="http://schemas.openxmlformats.org/officeDocument/2006/relationships" r:id="rId7"/>
          </a:graphicData>
        </a:graphic>
      </p:graphicFrame>
      <p:cxnSp>
        <p:nvCxnSpPr>
          <p:cNvPr id="45" name="Gerader Verbinder 36">
            <a:extLst>
              <a:ext uri="{FF2B5EF4-FFF2-40B4-BE49-F238E27FC236}">
                <a16:creationId xmlns:a16="http://schemas.microsoft.com/office/drawing/2014/main" id="{E781935A-B882-40F7-B8B4-32D5B1A3D333}"/>
              </a:ext>
            </a:extLst>
          </p:cNvPr>
          <p:cNvCxnSpPr>
            <a:cxnSpLocks/>
          </p:cNvCxnSpPr>
          <p:nvPr/>
        </p:nvCxnSpPr>
        <p:spPr>
          <a:xfrm flipH="1">
            <a:off x="6366905" y="3871378"/>
            <a:ext cx="677742"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46" name="Gerader Verbinder 48">
            <a:extLst>
              <a:ext uri="{FF2B5EF4-FFF2-40B4-BE49-F238E27FC236}">
                <a16:creationId xmlns:a16="http://schemas.microsoft.com/office/drawing/2014/main" id="{1231851B-E095-407B-8B27-C16F2EBF9F03}"/>
              </a:ext>
            </a:extLst>
          </p:cNvPr>
          <p:cNvCxnSpPr>
            <a:cxnSpLocks/>
          </p:cNvCxnSpPr>
          <p:nvPr/>
        </p:nvCxnSpPr>
        <p:spPr>
          <a:xfrm>
            <a:off x="6376166" y="3125357"/>
            <a:ext cx="0" cy="748931"/>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5F3F07F-1F13-46C2-935C-A06BF9E2E89C}"/>
              </a:ext>
            </a:extLst>
          </p:cNvPr>
          <p:cNvSpPr>
            <a:spLocks/>
          </p:cNvSpPr>
          <p:nvPr/>
        </p:nvSpPr>
        <p:spPr>
          <a:xfrm>
            <a:off x="6589742" y="3685263"/>
            <a:ext cx="924896"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ea typeface="LF_Kai"/>
              </a:rPr>
              <a:t>Hungary</a:t>
            </a:r>
            <a:endParaRPr lang="en-US" sz="1200" kern="0" dirty="0">
              <a:ea typeface="LF_Kai"/>
            </a:endParaRPr>
          </a:p>
        </p:txBody>
      </p:sp>
      <p:sp>
        <p:nvSpPr>
          <p:cNvPr id="48" name="Oval 47">
            <a:extLst>
              <a:ext uri="{FF2B5EF4-FFF2-40B4-BE49-F238E27FC236}">
                <a16:creationId xmlns:a16="http://schemas.microsoft.com/office/drawing/2014/main" id="{D64ABA95-3B2A-4761-BD33-B466944BCE0E}"/>
              </a:ext>
            </a:extLst>
          </p:cNvPr>
          <p:cNvSpPr/>
          <p:nvPr/>
        </p:nvSpPr>
        <p:spPr>
          <a:xfrm>
            <a:off x="6277714" y="2999204"/>
            <a:ext cx="198000" cy="198000"/>
          </a:xfrm>
          <a:prstGeom prst="ellipse">
            <a:avLst/>
          </a:prstGeom>
          <a:solidFill>
            <a:srgbClr val="EB871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9" name="Chart 48">
            <a:extLst>
              <a:ext uri="{FF2B5EF4-FFF2-40B4-BE49-F238E27FC236}">
                <a16:creationId xmlns:a16="http://schemas.microsoft.com/office/drawing/2014/main" id="{8EC43572-4224-4A5C-AC20-1BD3FC1528D3}"/>
              </a:ext>
            </a:extLst>
          </p:cNvPr>
          <p:cNvGraphicFramePr/>
          <p:nvPr/>
        </p:nvGraphicFramePr>
        <p:xfrm>
          <a:off x="8784815" y="3319470"/>
          <a:ext cx="719556" cy="479705"/>
        </p:xfrm>
        <a:graphic>
          <a:graphicData uri="http://schemas.openxmlformats.org/drawingml/2006/chart">
            <c:chart xmlns:c="http://schemas.openxmlformats.org/drawingml/2006/chart" xmlns:r="http://schemas.openxmlformats.org/officeDocument/2006/relationships" r:id="rId8"/>
          </a:graphicData>
        </a:graphic>
      </p:graphicFrame>
      <p:sp>
        <p:nvSpPr>
          <p:cNvPr id="50" name="Oval 98">
            <a:extLst>
              <a:ext uri="{FF2B5EF4-FFF2-40B4-BE49-F238E27FC236}">
                <a16:creationId xmlns:a16="http://schemas.microsoft.com/office/drawing/2014/main" id="{FE8114D2-2C89-45DB-9795-2DF9284DA7B3}"/>
              </a:ext>
            </a:extLst>
          </p:cNvPr>
          <p:cNvSpPr/>
          <p:nvPr/>
        </p:nvSpPr>
        <p:spPr>
          <a:xfrm>
            <a:off x="8713755" y="3298229"/>
            <a:ext cx="198000" cy="198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1" name="Chart 45">
            <a:extLst>
              <a:ext uri="{FF2B5EF4-FFF2-40B4-BE49-F238E27FC236}">
                <a16:creationId xmlns:a16="http://schemas.microsoft.com/office/drawing/2014/main" id="{9602EC79-DA09-41C2-A555-FD75E64866CF}"/>
              </a:ext>
            </a:extLst>
          </p:cNvPr>
          <p:cNvGraphicFramePr/>
          <p:nvPr/>
        </p:nvGraphicFramePr>
        <p:xfrm>
          <a:off x="8784745" y="3326635"/>
          <a:ext cx="484286" cy="478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2" name="Chart 45">
            <a:extLst>
              <a:ext uri="{FF2B5EF4-FFF2-40B4-BE49-F238E27FC236}">
                <a16:creationId xmlns:a16="http://schemas.microsoft.com/office/drawing/2014/main" id="{8D4E3462-99E3-43B1-9ED3-791C67D589E5}"/>
              </a:ext>
            </a:extLst>
          </p:cNvPr>
          <p:cNvGraphicFramePr/>
          <p:nvPr/>
        </p:nvGraphicFramePr>
        <p:xfrm>
          <a:off x="5929354" y="2660824"/>
          <a:ext cx="518354" cy="485656"/>
        </p:xfrm>
        <a:graphic>
          <a:graphicData uri="http://schemas.openxmlformats.org/drawingml/2006/chart">
            <c:chart xmlns:c="http://schemas.openxmlformats.org/drawingml/2006/chart" xmlns:r="http://schemas.openxmlformats.org/officeDocument/2006/relationships" r:id="rId10"/>
          </a:graphicData>
        </a:graphic>
      </p:graphicFrame>
      <p:sp>
        <p:nvSpPr>
          <p:cNvPr id="53" name="Rectangle 52">
            <a:extLst>
              <a:ext uri="{FF2B5EF4-FFF2-40B4-BE49-F238E27FC236}">
                <a16:creationId xmlns:a16="http://schemas.microsoft.com/office/drawing/2014/main" id="{E5D4182D-32A5-472F-BE59-6D892F1313ED}"/>
              </a:ext>
            </a:extLst>
          </p:cNvPr>
          <p:cNvSpPr>
            <a:spLocks/>
          </p:cNvSpPr>
          <p:nvPr/>
        </p:nvSpPr>
        <p:spPr>
          <a:xfrm>
            <a:off x="6560125" y="2025493"/>
            <a:ext cx="1204462"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solidFill>
                  <a:schemeClr val="tx2"/>
                </a:solidFill>
                <a:ea typeface="LF_Kai"/>
              </a:rPr>
              <a:t>Germany</a:t>
            </a:r>
            <a:endParaRPr lang="en-US" sz="1200" kern="0" dirty="0">
              <a:solidFill>
                <a:schemeClr val="tx2"/>
              </a:solidFill>
              <a:ea typeface="LF_Kai"/>
            </a:endParaRPr>
          </a:p>
        </p:txBody>
      </p:sp>
      <p:cxnSp>
        <p:nvCxnSpPr>
          <p:cNvPr id="54" name="Gerader Verbinder 40">
            <a:extLst>
              <a:ext uri="{FF2B5EF4-FFF2-40B4-BE49-F238E27FC236}">
                <a16:creationId xmlns:a16="http://schemas.microsoft.com/office/drawing/2014/main" id="{1C6B394A-E364-4442-9D62-8AB6325E9C83}"/>
              </a:ext>
            </a:extLst>
          </p:cNvPr>
          <p:cNvCxnSpPr>
            <a:cxnSpLocks/>
          </p:cNvCxnSpPr>
          <p:nvPr/>
        </p:nvCxnSpPr>
        <p:spPr>
          <a:xfrm flipH="1">
            <a:off x="6188531" y="2208154"/>
            <a:ext cx="371594"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57" name="Gerader Verbinder 49">
            <a:extLst>
              <a:ext uri="{FF2B5EF4-FFF2-40B4-BE49-F238E27FC236}">
                <a16:creationId xmlns:a16="http://schemas.microsoft.com/office/drawing/2014/main" id="{E29D7064-8B0B-49D4-B9C6-41052EA8F0E8}"/>
              </a:ext>
            </a:extLst>
          </p:cNvPr>
          <p:cNvCxnSpPr>
            <a:cxnSpLocks/>
          </p:cNvCxnSpPr>
          <p:nvPr/>
        </p:nvCxnSpPr>
        <p:spPr>
          <a:xfrm>
            <a:off x="6188531" y="2208154"/>
            <a:ext cx="0" cy="575686"/>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55" name="Gerader Verbinder 36">
            <a:extLst>
              <a:ext uri="{FF2B5EF4-FFF2-40B4-BE49-F238E27FC236}">
                <a16:creationId xmlns:a16="http://schemas.microsoft.com/office/drawing/2014/main" id="{480D2B2F-E6FB-4578-0B2C-8302D043A787}"/>
              </a:ext>
            </a:extLst>
          </p:cNvPr>
          <p:cNvCxnSpPr>
            <a:cxnSpLocks/>
          </p:cNvCxnSpPr>
          <p:nvPr/>
        </p:nvCxnSpPr>
        <p:spPr>
          <a:xfrm flipH="1">
            <a:off x="8130683" y="5405847"/>
            <a:ext cx="677742" cy="0"/>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56" name="Gerader Verbinder 48">
            <a:extLst>
              <a:ext uri="{FF2B5EF4-FFF2-40B4-BE49-F238E27FC236}">
                <a16:creationId xmlns:a16="http://schemas.microsoft.com/office/drawing/2014/main" id="{2BDBF42E-D9FE-A908-D72F-F2D454E535B4}"/>
              </a:ext>
            </a:extLst>
          </p:cNvPr>
          <p:cNvCxnSpPr>
            <a:cxnSpLocks/>
          </p:cNvCxnSpPr>
          <p:nvPr/>
        </p:nvCxnSpPr>
        <p:spPr>
          <a:xfrm>
            <a:off x="8811746" y="4398583"/>
            <a:ext cx="0" cy="1007264"/>
          </a:xfrm>
          <a:prstGeom prst="line">
            <a:avLst/>
          </a:prstGeom>
          <a:ln w="9525">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92685BA3-9F52-9401-DA08-6C9FA95AE5D4}"/>
              </a:ext>
            </a:extLst>
          </p:cNvPr>
          <p:cNvSpPr>
            <a:spLocks/>
          </p:cNvSpPr>
          <p:nvPr/>
        </p:nvSpPr>
        <p:spPr>
          <a:xfrm>
            <a:off x="7628710" y="5234591"/>
            <a:ext cx="931530" cy="360000"/>
          </a:xfrm>
          <a:prstGeom prst="rect">
            <a:avLst/>
          </a:prstGeom>
          <a:solidFill>
            <a:schemeClr val="bg1"/>
          </a:solid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1400" b="1" kern="0" dirty="0">
                <a:ea typeface="LF_Kai"/>
              </a:rPr>
              <a:t>Singapore</a:t>
            </a:r>
            <a:endParaRPr lang="en-US" sz="1200" kern="0" dirty="0">
              <a:ea typeface="LF_Kai"/>
            </a:endParaRPr>
          </a:p>
        </p:txBody>
      </p:sp>
      <p:sp>
        <p:nvSpPr>
          <p:cNvPr id="59" name="TextBox 58">
            <a:extLst>
              <a:ext uri="{FF2B5EF4-FFF2-40B4-BE49-F238E27FC236}">
                <a16:creationId xmlns:a16="http://schemas.microsoft.com/office/drawing/2014/main" id="{4362BABB-4B5B-75D8-6131-A164078FC925}"/>
              </a:ext>
            </a:extLst>
          </p:cNvPr>
          <p:cNvSpPr txBox="1"/>
          <p:nvPr/>
        </p:nvSpPr>
        <p:spPr>
          <a:xfrm rot="19504466">
            <a:off x="7325582" y="5000772"/>
            <a:ext cx="606256" cy="400110"/>
          </a:xfrm>
          <a:prstGeom prst="rect">
            <a:avLst/>
          </a:prstGeom>
          <a:noFill/>
        </p:spPr>
        <p:txBody>
          <a:bodyPr wrap="none" rtlCol="0">
            <a:spAutoFit/>
          </a:bodyPr>
          <a:lstStyle/>
          <a:p>
            <a:r>
              <a:rPr lang="en-US" dirty="0">
                <a:solidFill>
                  <a:schemeClr val="accent1"/>
                </a:solidFill>
              </a:rPr>
              <a:t>New</a:t>
            </a:r>
          </a:p>
        </p:txBody>
      </p:sp>
      <p:sp>
        <p:nvSpPr>
          <p:cNvPr id="60" name="Oval 59">
            <a:extLst>
              <a:ext uri="{FF2B5EF4-FFF2-40B4-BE49-F238E27FC236}">
                <a16:creationId xmlns:a16="http://schemas.microsoft.com/office/drawing/2014/main" id="{0B2919FD-B0B3-9AB0-76EC-FB61C16CB298}"/>
              </a:ext>
            </a:extLst>
          </p:cNvPr>
          <p:cNvSpPr/>
          <p:nvPr/>
        </p:nvSpPr>
        <p:spPr>
          <a:xfrm>
            <a:off x="8738891" y="4232488"/>
            <a:ext cx="198000" cy="198000"/>
          </a:xfrm>
          <a:prstGeom prst="ellipse">
            <a:avLst/>
          </a:prstGeom>
          <a:solidFill>
            <a:srgbClr val="0057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25238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9"/>
                                        </p:tgtEl>
                                        <p:attrNameLst>
                                          <p:attrName>style.visibility</p:attrName>
                                        </p:attrNameLst>
                                      </p:cBhvr>
                                      <p:to>
                                        <p:strVal val="visible"/>
                                      </p:to>
                                    </p:set>
                                    <p:animEffect transition="in" filter="fade">
                                      <p:cBhvr>
                                        <p:cTn id="16" dur="500"/>
                                        <p:tgtEl>
                                          <p:spTgt spid="5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fade">
                                      <p:cBhvr>
                                        <p:cTn id="19"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9B965AA-516E-43BC-8589-068EE4DDA402}"/>
              </a:ext>
            </a:extLst>
          </p:cNvPr>
          <p:cNvPicPr>
            <a:picLocks noChangeAspect="1"/>
          </p:cNvPicPr>
          <p:nvPr/>
        </p:nvPicPr>
        <p:blipFill rotWithShape="1">
          <a:blip r:embed="rId3"/>
          <a:srcRect t="5980" r="2890" b="7216"/>
          <a:stretch/>
        </p:blipFill>
        <p:spPr>
          <a:xfrm>
            <a:off x="24871" y="0"/>
            <a:ext cx="12149069" cy="6073254"/>
          </a:xfrm>
          <a:prstGeom prst="rect">
            <a:avLst/>
          </a:prstGeom>
        </p:spPr>
      </p:pic>
    </p:spTree>
    <p:extLst>
      <p:ext uri="{BB962C8B-B14F-4D97-AF65-F5344CB8AC3E}">
        <p14:creationId xmlns:p14="http://schemas.microsoft.com/office/powerpoint/2010/main" val="40840344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Rounded Corners 49">
            <a:extLst>
              <a:ext uri="{FF2B5EF4-FFF2-40B4-BE49-F238E27FC236}">
                <a16:creationId xmlns:a16="http://schemas.microsoft.com/office/drawing/2014/main" id="{63CEA330-BFA5-6B13-80CD-5494351CB7D5}"/>
              </a:ext>
            </a:extLst>
          </p:cNvPr>
          <p:cNvSpPr/>
          <p:nvPr/>
        </p:nvSpPr>
        <p:spPr>
          <a:xfrm>
            <a:off x="843921" y="3849974"/>
            <a:ext cx="5580494" cy="2360326"/>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ttps://www.youtube.com/watch?v=ZWgm5ve_lsY</a:t>
            </a:r>
          </a:p>
        </p:txBody>
      </p:sp>
      <p:sp>
        <p:nvSpPr>
          <p:cNvPr id="73" name="Rectangle: Rounded Corners 49">
            <a:extLst>
              <a:ext uri="{FF2B5EF4-FFF2-40B4-BE49-F238E27FC236}">
                <a16:creationId xmlns:a16="http://schemas.microsoft.com/office/drawing/2014/main" id="{BE64514B-8FBD-FF39-CC7F-19AADB24616C}"/>
              </a:ext>
            </a:extLst>
          </p:cNvPr>
          <p:cNvSpPr/>
          <p:nvPr/>
        </p:nvSpPr>
        <p:spPr>
          <a:xfrm>
            <a:off x="847428" y="902309"/>
            <a:ext cx="5580494" cy="2845801"/>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80EC6FE9-91E5-C9FB-AE43-FDD87EB2F0DC}"/>
              </a:ext>
            </a:extLst>
          </p:cNvPr>
          <p:cNvSpPr txBox="1"/>
          <p:nvPr/>
        </p:nvSpPr>
        <p:spPr>
          <a:xfrm>
            <a:off x="8283764" y="1416383"/>
            <a:ext cx="395093" cy="246221"/>
          </a:xfrm>
          <a:prstGeom prst="rect">
            <a:avLst/>
          </a:prstGeom>
          <a:noFill/>
        </p:spPr>
        <p:txBody>
          <a:bodyPr wrap="square" rtlCol="0">
            <a:spAutoFit/>
          </a:bodyPr>
          <a:lstStyle/>
          <a:p>
            <a:r>
              <a:rPr lang="en-US" sz="1000" b="1"/>
              <a:t>yes</a:t>
            </a:r>
          </a:p>
        </p:txBody>
      </p:sp>
      <p:sp>
        <p:nvSpPr>
          <p:cNvPr id="2" name="Title 1">
            <a:extLst>
              <a:ext uri="{FF2B5EF4-FFF2-40B4-BE49-F238E27FC236}">
                <a16:creationId xmlns:a16="http://schemas.microsoft.com/office/drawing/2014/main" id="{78FE974C-CC84-9412-9840-21168DAAD584}"/>
              </a:ext>
            </a:extLst>
          </p:cNvPr>
          <p:cNvSpPr>
            <a:spLocks noGrp="1"/>
          </p:cNvSpPr>
          <p:nvPr>
            <p:ph type="title"/>
          </p:nvPr>
        </p:nvSpPr>
        <p:spPr/>
        <p:txBody>
          <a:bodyPr/>
          <a:lstStyle/>
          <a:p>
            <a:r>
              <a:rPr lang="en-US"/>
              <a:t>SGP4x – VOC and NO</a:t>
            </a:r>
            <a:r>
              <a:rPr lang="en-US" baseline="-25000"/>
              <a:t>x</a:t>
            </a:r>
            <a:r>
              <a:rPr lang="en-US"/>
              <a:t> Multipixel Gas Sensors</a:t>
            </a:r>
          </a:p>
        </p:txBody>
      </p:sp>
      <p:sp>
        <p:nvSpPr>
          <p:cNvPr id="15" name="Flowchart: Decision 14">
            <a:extLst>
              <a:ext uri="{FF2B5EF4-FFF2-40B4-BE49-F238E27FC236}">
                <a16:creationId xmlns:a16="http://schemas.microsoft.com/office/drawing/2014/main" id="{92234A46-996B-6C81-BA71-35456CA75182}"/>
              </a:ext>
            </a:extLst>
          </p:cNvPr>
          <p:cNvSpPr/>
          <p:nvPr/>
        </p:nvSpPr>
        <p:spPr>
          <a:xfrm>
            <a:off x="6910112" y="2449317"/>
            <a:ext cx="1440000" cy="493486"/>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a:solidFill>
                  <a:schemeClr val="tx1"/>
                </a:solidFill>
              </a:rPr>
              <a:t>VOC + NO</a:t>
            </a:r>
            <a:r>
              <a:rPr lang="en-US" sz="1200" baseline="-25000">
                <a:solidFill>
                  <a:schemeClr val="tx1"/>
                </a:solidFill>
              </a:rPr>
              <a:t>x</a:t>
            </a:r>
            <a:r>
              <a:rPr lang="en-US" sz="1200">
                <a:solidFill>
                  <a:schemeClr val="tx1"/>
                </a:solidFill>
              </a:rPr>
              <a:t>? </a:t>
            </a:r>
            <a:endParaRPr lang="en-US" sz="1200" baseline="-25000">
              <a:solidFill>
                <a:schemeClr val="tx1"/>
              </a:solidFill>
            </a:endParaRPr>
          </a:p>
        </p:txBody>
      </p:sp>
      <p:sp>
        <p:nvSpPr>
          <p:cNvPr id="16" name="Flowchart: Decision 15">
            <a:extLst>
              <a:ext uri="{FF2B5EF4-FFF2-40B4-BE49-F238E27FC236}">
                <a16:creationId xmlns:a16="http://schemas.microsoft.com/office/drawing/2014/main" id="{0F4E3E8C-1030-46D4-5593-D1E88F01E597}"/>
              </a:ext>
            </a:extLst>
          </p:cNvPr>
          <p:cNvSpPr/>
          <p:nvPr/>
        </p:nvSpPr>
        <p:spPr>
          <a:xfrm>
            <a:off x="6838971" y="1176354"/>
            <a:ext cx="1580817" cy="930348"/>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a:solidFill>
                  <a:schemeClr val="tx1"/>
                </a:solidFill>
              </a:rPr>
              <a:t>Selectivity/</a:t>
            </a:r>
            <a:br>
              <a:rPr lang="en-US" sz="1200">
                <a:solidFill>
                  <a:schemeClr val="tx1"/>
                </a:solidFill>
              </a:rPr>
            </a:br>
            <a:r>
              <a:rPr lang="en-US" sz="1200">
                <a:solidFill>
                  <a:schemeClr val="tx1"/>
                </a:solidFill>
              </a:rPr>
              <a:t>absolute </a:t>
            </a:r>
          </a:p>
          <a:p>
            <a:pPr algn="ctr"/>
            <a:r>
              <a:rPr lang="en-US" sz="1200">
                <a:solidFill>
                  <a:schemeClr val="tx1"/>
                </a:solidFill>
              </a:rPr>
              <a:t>concentration?</a:t>
            </a:r>
          </a:p>
          <a:p>
            <a:pPr algn="ctr"/>
            <a:endParaRPr lang="en-US" sz="700" baseline="-25000">
              <a:solidFill>
                <a:schemeClr val="tx1"/>
              </a:solidFill>
            </a:endParaRPr>
          </a:p>
        </p:txBody>
      </p:sp>
      <p:cxnSp>
        <p:nvCxnSpPr>
          <p:cNvPr id="35" name="Straight Arrow Connector 34">
            <a:extLst>
              <a:ext uri="{FF2B5EF4-FFF2-40B4-BE49-F238E27FC236}">
                <a16:creationId xmlns:a16="http://schemas.microsoft.com/office/drawing/2014/main" id="{E464327C-0E59-A2ED-EFBD-EA38AB251C2F}"/>
              </a:ext>
            </a:extLst>
          </p:cNvPr>
          <p:cNvCxnSpPr>
            <a:cxnSpLocks/>
            <a:stCxn id="15" idx="3"/>
            <a:endCxn id="76" idx="1"/>
          </p:cNvCxnSpPr>
          <p:nvPr/>
        </p:nvCxnSpPr>
        <p:spPr>
          <a:xfrm>
            <a:off x="8350112" y="2696060"/>
            <a:ext cx="357012"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AFFA4D82-7CB2-A170-0E4E-4268F0F0C504}"/>
              </a:ext>
            </a:extLst>
          </p:cNvPr>
          <p:cNvCxnSpPr>
            <a:cxnSpLocks/>
            <a:stCxn id="16" idx="2"/>
          </p:cNvCxnSpPr>
          <p:nvPr/>
        </p:nvCxnSpPr>
        <p:spPr>
          <a:xfrm>
            <a:off x="7629380" y="2106702"/>
            <a:ext cx="4494" cy="36421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5A61F65-23B9-271D-D9EE-A05E862E4DD9}"/>
              </a:ext>
            </a:extLst>
          </p:cNvPr>
          <p:cNvCxnSpPr>
            <a:cxnSpLocks/>
          </p:cNvCxnSpPr>
          <p:nvPr/>
        </p:nvCxnSpPr>
        <p:spPr>
          <a:xfrm>
            <a:off x="7630554" y="902309"/>
            <a:ext cx="0" cy="27404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C69340B9-4888-FA08-6AE5-D6DA232E8C3B}"/>
              </a:ext>
            </a:extLst>
          </p:cNvPr>
          <p:cNvCxnSpPr>
            <a:cxnSpLocks/>
            <a:stCxn id="16" idx="3"/>
            <a:endCxn id="71" idx="1"/>
          </p:cNvCxnSpPr>
          <p:nvPr/>
        </p:nvCxnSpPr>
        <p:spPr>
          <a:xfrm>
            <a:off x="8419788" y="1641528"/>
            <a:ext cx="287336" cy="256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E853DD27-42BA-0490-194B-CD561706D449}"/>
              </a:ext>
            </a:extLst>
          </p:cNvPr>
          <p:cNvSpPr txBox="1"/>
          <p:nvPr/>
        </p:nvSpPr>
        <p:spPr>
          <a:xfrm>
            <a:off x="7946138" y="2224695"/>
            <a:ext cx="395093" cy="246221"/>
          </a:xfrm>
          <a:prstGeom prst="rect">
            <a:avLst/>
          </a:prstGeom>
          <a:noFill/>
        </p:spPr>
        <p:txBody>
          <a:bodyPr wrap="square" rtlCol="0">
            <a:spAutoFit/>
          </a:bodyPr>
          <a:lstStyle/>
          <a:p>
            <a:r>
              <a:rPr lang="en-US" sz="1000" b="1"/>
              <a:t>no</a:t>
            </a:r>
          </a:p>
        </p:txBody>
      </p:sp>
      <p:sp>
        <p:nvSpPr>
          <p:cNvPr id="68" name="TextBox 67">
            <a:extLst>
              <a:ext uri="{FF2B5EF4-FFF2-40B4-BE49-F238E27FC236}">
                <a16:creationId xmlns:a16="http://schemas.microsoft.com/office/drawing/2014/main" id="{EEA007FB-7E53-3B1D-D83B-8E648C277915}"/>
              </a:ext>
            </a:extLst>
          </p:cNvPr>
          <p:cNvSpPr txBox="1"/>
          <p:nvPr/>
        </p:nvSpPr>
        <p:spPr>
          <a:xfrm>
            <a:off x="8283764" y="2460595"/>
            <a:ext cx="395093" cy="246221"/>
          </a:xfrm>
          <a:prstGeom prst="rect">
            <a:avLst/>
          </a:prstGeom>
          <a:noFill/>
        </p:spPr>
        <p:txBody>
          <a:bodyPr wrap="square" rtlCol="0">
            <a:spAutoFit/>
          </a:bodyPr>
          <a:lstStyle/>
          <a:p>
            <a:r>
              <a:rPr lang="en-US" sz="1000" b="1"/>
              <a:t>yes</a:t>
            </a:r>
          </a:p>
        </p:txBody>
      </p:sp>
      <p:sp>
        <p:nvSpPr>
          <p:cNvPr id="71" name="TextBox 70">
            <a:extLst>
              <a:ext uri="{FF2B5EF4-FFF2-40B4-BE49-F238E27FC236}">
                <a16:creationId xmlns:a16="http://schemas.microsoft.com/office/drawing/2014/main" id="{1D59C507-B482-D356-AA31-5D545C05DC7A}"/>
              </a:ext>
            </a:extLst>
          </p:cNvPr>
          <p:cNvSpPr txBox="1"/>
          <p:nvPr/>
        </p:nvSpPr>
        <p:spPr>
          <a:xfrm>
            <a:off x="8707124" y="1213206"/>
            <a:ext cx="2420796" cy="861774"/>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00" b="1"/>
              <a:t>Check out </a:t>
            </a:r>
            <a:r>
              <a:rPr lang="en-US" sz="1000" b="1" err="1"/>
              <a:t>Sensirion’s</a:t>
            </a:r>
            <a:r>
              <a:rPr lang="en-US" sz="1000" b="1"/>
              <a:t> other gas sensors products: </a:t>
            </a:r>
            <a:r>
              <a:rPr lang="en-US" sz="1000" b="1" err="1"/>
              <a:t>SCDxx</a:t>
            </a:r>
            <a:r>
              <a:rPr lang="en-US" sz="1000" b="1"/>
              <a:t>, SFA30</a:t>
            </a:r>
            <a:endParaRPr lang="en-US" sz="1000"/>
          </a:p>
        </p:txBody>
      </p:sp>
      <p:sp>
        <p:nvSpPr>
          <p:cNvPr id="76" name="TextBox 75">
            <a:extLst>
              <a:ext uri="{FF2B5EF4-FFF2-40B4-BE49-F238E27FC236}">
                <a16:creationId xmlns:a16="http://schemas.microsoft.com/office/drawing/2014/main" id="{A89B3558-62C9-1123-17E2-71FF4893E2A7}"/>
              </a:ext>
            </a:extLst>
          </p:cNvPr>
          <p:cNvSpPr txBox="1"/>
          <p:nvPr/>
        </p:nvSpPr>
        <p:spPr>
          <a:xfrm>
            <a:off x="8707124" y="2265173"/>
            <a:ext cx="2420796" cy="861774"/>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00" b="1"/>
              <a:t>SGP41: </a:t>
            </a:r>
            <a:endParaRPr lang="en-US" sz="1000"/>
          </a:p>
          <a:p>
            <a:pPr marL="936000" lvl="2" indent="-171450">
              <a:buFont typeface="Symbol" panose="05050102010706020507" pitchFamily="18" charset="2"/>
              <a:buChar char="-"/>
            </a:pPr>
            <a:r>
              <a:rPr lang="en-US" sz="1000"/>
              <a:t>VOC </a:t>
            </a:r>
            <a:r>
              <a:rPr lang="en-US" sz="1000" i="1"/>
              <a:t>(</a:t>
            </a:r>
            <a:r>
              <a:rPr lang="en-US" sz="1000" b="1" i="1"/>
              <a:t>indoor</a:t>
            </a:r>
            <a:r>
              <a:rPr lang="en-US" sz="1000" i="1"/>
              <a:t> air pollutant)</a:t>
            </a:r>
          </a:p>
          <a:p>
            <a:pPr marL="936000" lvl="2" indent="-171450">
              <a:buFont typeface="Symbol" panose="05050102010706020507" pitchFamily="18" charset="2"/>
              <a:buChar char="-"/>
            </a:pPr>
            <a:r>
              <a:rPr lang="en-US" sz="1000"/>
              <a:t>NO</a:t>
            </a:r>
            <a:r>
              <a:rPr lang="en-US" sz="1000" baseline="-25000"/>
              <a:t>x </a:t>
            </a:r>
            <a:r>
              <a:rPr lang="en-US" sz="1000" i="1"/>
              <a:t>(</a:t>
            </a:r>
            <a:r>
              <a:rPr lang="en-US" sz="1000" b="1" i="1"/>
              <a:t>indoor + outdoor </a:t>
            </a:r>
            <a:r>
              <a:rPr lang="en-US" sz="1000" i="1"/>
              <a:t>air     </a:t>
            </a:r>
            <a:r>
              <a:rPr lang="en-US" sz="1000" i="1">
                <a:solidFill>
                  <a:schemeClr val="bg1"/>
                </a:solidFill>
              </a:rPr>
              <a:t>.</a:t>
            </a:r>
            <a:r>
              <a:rPr lang="en-US" sz="1000" i="1"/>
              <a:t>        pollutant)</a:t>
            </a:r>
          </a:p>
          <a:p>
            <a:pPr marL="936000" lvl="2" indent="-171450">
              <a:buFont typeface="Symbol" panose="05050102010706020507" pitchFamily="18" charset="2"/>
              <a:buChar char="-"/>
            </a:pPr>
            <a:endParaRPr lang="en-US" sz="1000"/>
          </a:p>
        </p:txBody>
      </p:sp>
      <p:sp>
        <p:nvSpPr>
          <p:cNvPr id="120" name="TextBox 119">
            <a:extLst>
              <a:ext uri="{FF2B5EF4-FFF2-40B4-BE49-F238E27FC236}">
                <a16:creationId xmlns:a16="http://schemas.microsoft.com/office/drawing/2014/main" id="{39362DD2-34F5-5AB3-EA8C-775418827D9E}"/>
              </a:ext>
            </a:extLst>
          </p:cNvPr>
          <p:cNvSpPr txBox="1"/>
          <p:nvPr/>
        </p:nvSpPr>
        <p:spPr>
          <a:xfrm>
            <a:off x="853161" y="3922244"/>
            <a:ext cx="5580494" cy="400110"/>
          </a:xfrm>
          <a:prstGeom prst="rect">
            <a:avLst/>
          </a:prstGeom>
          <a:noFill/>
        </p:spPr>
        <p:txBody>
          <a:bodyPr wrap="square" rtlCol="0">
            <a:spAutoFit/>
          </a:bodyPr>
          <a:lstStyle/>
          <a:p>
            <a:pPr algn="ctr"/>
            <a:r>
              <a:rPr lang="en-US" b="1">
                <a:solidFill>
                  <a:srgbClr val="66CC33"/>
                </a:solidFill>
              </a:rPr>
              <a:t>Useful Links</a:t>
            </a:r>
          </a:p>
        </p:txBody>
      </p:sp>
      <p:sp>
        <p:nvSpPr>
          <p:cNvPr id="124" name="TextBox 123">
            <a:extLst>
              <a:ext uri="{FF2B5EF4-FFF2-40B4-BE49-F238E27FC236}">
                <a16:creationId xmlns:a16="http://schemas.microsoft.com/office/drawing/2014/main" id="{23EA3926-47DB-571E-6F94-F87B1915E32B}"/>
              </a:ext>
            </a:extLst>
          </p:cNvPr>
          <p:cNvSpPr txBox="1"/>
          <p:nvPr/>
        </p:nvSpPr>
        <p:spPr>
          <a:xfrm>
            <a:off x="994229" y="4385928"/>
            <a:ext cx="3064434" cy="1600438"/>
          </a:xfrm>
          <a:prstGeom prst="rect">
            <a:avLst/>
          </a:prstGeom>
          <a:noFill/>
        </p:spPr>
        <p:txBody>
          <a:bodyPr wrap="square" numCol="1"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rPr>
              <a:t>Basic Documen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2"/>
              </a:rPr>
              <a:t>Datasheet SGP40</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3"/>
              </a:rPr>
              <a:t>Datasheet SGP41</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4"/>
              </a:rPr>
              <a:t>Handling and Assembly Instructions</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5"/>
              </a:rPr>
              <a:t>Design-In Guide</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6"/>
              </a:rPr>
              <a:t>Quick Testing Guide SGP40</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7"/>
              </a:rPr>
              <a:t>Quick Testing Guides SGP41</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74" name="TextBox 73">
            <a:extLst>
              <a:ext uri="{FF2B5EF4-FFF2-40B4-BE49-F238E27FC236}">
                <a16:creationId xmlns:a16="http://schemas.microsoft.com/office/drawing/2014/main" id="{A6DD742A-B5D9-FFC5-4C7A-6FBF34BFC4A8}"/>
              </a:ext>
            </a:extLst>
          </p:cNvPr>
          <p:cNvSpPr txBox="1"/>
          <p:nvPr/>
        </p:nvSpPr>
        <p:spPr>
          <a:xfrm>
            <a:off x="3762375" y="4385928"/>
            <a:ext cx="2662040" cy="1600438"/>
          </a:xfrm>
          <a:prstGeom prst="rect">
            <a:avLst/>
          </a:prstGeom>
          <a:noFill/>
        </p:spPr>
        <p:txBody>
          <a:bodyPr wrap="square">
            <a:spAutoFit/>
          </a:bodyPr>
          <a:lstStyle/>
          <a:p>
            <a:pPr marR="0" lvl="0" algn="l" defTabSz="914400" rtl="0" eaLnBrk="1" fontAlgn="base" latinLnBrk="0" hangingPunct="1">
              <a:lnSpc>
                <a:spcPct val="100000"/>
              </a:lnSpc>
              <a:spcBef>
                <a:spcPct val="0"/>
              </a:spcBef>
              <a:spcAft>
                <a:spcPct val="0"/>
              </a:spcAft>
              <a:buClrTx/>
              <a:buSzTx/>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rPr>
              <a:t>Drivers &amp; Tool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8"/>
              </a:rPr>
              <a:t>Drivers SGP4x</a:t>
            </a:r>
            <a:endParaRPr lang="en-US" sz="1400">
              <a:solidFill>
                <a:srgbClr val="000000"/>
              </a:solidFill>
            </a:endParaRPr>
          </a:p>
          <a:p>
            <a:pPr marL="171450" indent="-171450">
              <a:buFont typeface="Arial" panose="020B0604020202020204" pitchFamily="34" charset="0"/>
              <a:buChar char="•"/>
              <a:defRPr/>
            </a:pPr>
            <a:r>
              <a:rPr lang="en-US" sz="1400">
                <a:solidFill>
                  <a:srgbClr val="000000"/>
                </a:solidFill>
                <a:hlinkClick r:id="rId9"/>
              </a:rPr>
              <a:t>Drivers SVM41</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10"/>
              </a:rPr>
              <a:t>Technical Description SEK-SVM4x</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11"/>
              </a:rPr>
              <a:t>I</a:t>
            </a:r>
            <a:r>
              <a:rPr lang="en-US" sz="1400" baseline="30000">
                <a:solidFill>
                  <a:srgbClr val="000000"/>
                </a:solidFill>
                <a:hlinkClick r:id="rId11"/>
              </a:rPr>
              <a:t>2</a:t>
            </a:r>
            <a:r>
              <a:rPr lang="en-US" sz="1400">
                <a:solidFill>
                  <a:srgbClr val="000000"/>
                </a:solidFill>
                <a:hlinkClick r:id="rId11"/>
              </a:rPr>
              <a:t>C Interface Description SVM41</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12"/>
              </a:rPr>
              <a:t>UART Interface Description SVM41</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13"/>
              </a:rPr>
              <a:t>Reference Design SVM41</a:t>
            </a:r>
            <a:endParaRPr lang="en-US" sz="1400">
              <a:solidFill>
                <a:srgbClr val="000000"/>
              </a:solidFill>
            </a:endParaRPr>
          </a:p>
        </p:txBody>
      </p:sp>
      <p:pic>
        <p:nvPicPr>
          <p:cNvPr id="4" name="Picture 3" descr="A picture containing text, electronics, iPod&#10;&#10;Description automatically generated">
            <a:extLst>
              <a:ext uri="{FF2B5EF4-FFF2-40B4-BE49-F238E27FC236}">
                <a16:creationId xmlns:a16="http://schemas.microsoft.com/office/drawing/2014/main" id="{03A750E1-703F-954B-8C68-9E3648DB1B6C}"/>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7514" t="19325" r="15908" b="10946"/>
          <a:stretch/>
        </p:blipFill>
        <p:spPr>
          <a:xfrm>
            <a:off x="994229" y="1327638"/>
            <a:ext cx="1148895" cy="962602"/>
          </a:xfrm>
          <a:prstGeom prst="rect">
            <a:avLst/>
          </a:prstGeom>
        </p:spPr>
      </p:pic>
      <p:pic>
        <p:nvPicPr>
          <p:cNvPr id="6" name="Picture 5" descr="A picture containing text, electronics, iPod&#10;&#10;Description automatically generated">
            <a:extLst>
              <a:ext uri="{FF2B5EF4-FFF2-40B4-BE49-F238E27FC236}">
                <a16:creationId xmlns:a16="http://schemas.microsoft.com/office/drawing/2014/main" id="{1AFCBED3-1DAA-460B-97E4-8908C4194ACA}"/>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17894" t="5834" r="16006" b="12083"/>
          <a:stretch/>
        </p:blipFill>
        <p:spPr>
          <a:xfrm>
            <a:off x="1404724" y="2118141"/>
            <a:ext cx="1108217" cy="970658"/>
          </a:xfrm>
          <a:prstGeom prst="rect">
            <a:avLst/>
          </a:prstGeom>
        </p:spPr>
      </p:pic>
      <p:sp>
        <p:nvSpPr>
          <p:cNvPr id="26" name="TextBox 25">
            <a:extLst>
              <a:ext uri="{FF2B5EF4-FFF2-40B4-BE49-F238E27FC236}">
                <a16:creationId xmlns:a16="http://schemas.microsoft.com/office/drawing/2014/main" id="{945FDAB3-4B91-E21C-48FF-2C7A64DBFC1E}"/>
              </a:ext>
            </a:extLst>
          </p:cNvPr>
          <p:cNvSpPr txBox="1"/>
          <p:nvPr/>
        </p:nvSpPr>
        <p:spPr>
          <a:xfrm>
            <a:off x="2512942" y="1953456"/>
            <a:ext cx="3862246" cy="1600438"/>
          </a:xfrm>
          <a:prstGeom prst="rect">
            <a:avLst/>
          </a:prstGeom>
          <a:noFill/>
        </p:spPr>
        <p:txBody>
          <a:bodyPr wrap="square" rtlCol="0">
            <a:spAutoFit/>
          </a:bodyPr>
          <a:lstStyle/>
          <a:p>
            <a:r>
              <a:rPr lang="en-US" sz="1400" b="1"/>
              <a:t>Customer Value Proposition</a:t>
            </a:r>
          </a:p>
          <a:p>
            <a:pPr marL="285750" indent="-285750">
              <a:buFont typeface="Wingdings" panose="05000000000000000000" pitchFamily="2" charset="2"/>
              <a:buChar char="§"/>
            </a:pPr>
            <a:r>
              <a:rPr lang="en-US" sz="1400"/>
              <a:t>Reliable user experience throughout lifetime thanks to siloxane resilience</a:t>
            </a:r>
          </a:p>
          <a:p>
            <a:pPr marL="285750" indent="-285750">
              <a:buFont typeface="Wingdings" panose="05000000000000000000" pitchFamily="2" charset="2"/>
              <a:buChar char="§"/>
            </a:pPr>
            <a:r>
              <a:rPr lang="en-US" sz="1400"/>
              <a:t>Save design-in and BOM costs thanks to proven multipixel technology</a:t>
            </a:r>
          </a:p>
          <a:p>
            <a:pPr marL="285750" indent="-285750">
              <a:buFont typeface="Wingdings" panose="05000000000000000000" pitchFamily="2" charset="2"/>
              <a:buChar char="§"/>
            </a:pPr>
            <a:r>
              <a:rPr lang="en-US" sz="1400"/>
              <a:t>Optimal, customized user experience thanks to tunability of best-in-class algorithms</a:t>
            </a:r>
          </a:p>
        </p:txBody>
      </p:sp>
      <p:sp>
        <p:nvSpPr>
          <p:cNvPr id="27" name="TextBox 26">
            <a:extLst>
              <a:ext uri="{FF2B5EF4-FFF2-40B4-BE49-F238E27FC236}">
                <a16:creationId xmlns:a16="http://schemas.microsoft.com/office/drawing/2014/main" id="{852DCDB6-975F-BADD-EB39-4B33FD7A06E2}"/>
              </a:ext>
            </a:extLst>
          </p:cNvPr>
          <p:cNvSpPr txBox="1"/>
          <p:nvPr/>
        </p:nvSpPr>
        <p:spPr>
          <a:xfrm>
            <a:off x="2512941" y="1152965"/>
            <a:ext cx="3785899" cy="523220"/>
          </a:xfrm>
          <a:prstGeom prst="rect">
            <a:avLst/>
          </a:prstGeom>
          <a:noFill/>
        </p:spPr>
        <p:txBody>
          <a:bodyPr wrap="square" rtlCol="0">
            <a:spAutoFit/>
          </a:bodyPr>
          <a:lstStyle/>
          <a:p>
            <a:r>
              <a:rPr lang="en-US" sz="1400" i="1" dirty="0"/>
              <a:t>SGP4x: “</a:t>
            </a:r>
            <a:r>
              <a:rPr lang="en-US" sz="1400" i="1" dirty="0">
                <a:solidFill>
                  <a:schemeClr val="accent1"/>
                </a:solidFill>
              </a:rPr>
              <a:t>Sensirion facilitates </a:t>
            </a:r>
            <a:r>
              <a:rPr lang="en-US" sz="1400" i="1" dirty="0"/>
              <a:t>the </a:t>
            </a:r>
            <a:r>
              <a:rPr lang="en-US" sz="1400" i="1" dirty="0">
                <a:solidFill>
                  <a:schemeClr val="accent1"/>
                </a:solidFill>
              </a:rPr>
              <a:t>design-in and handling </a:t>
            </a:r>
            <a:r>
              <a:rPr lang="en-US" sz="1400" i="1" dirty="0"/>
              <a:t>of the challenging MOX technology for its customers”</a:t>
            </a:r>
          </a:p>
        </p:txBody>
      </p:sp>
      <p:sp>
        <p:nvSpPr>
          <p:cNvPr id="53" name="TextBox 52">
            <a:extLst>
              <a:ext uri="{FF2B5EF4-FFF2-40B4-BE49-F238E27FC236}">
                <a16:creationId xmlns:a16="http://schemas.microsoft.com/office/drawing/2014/main" id="{382A6287-705D-E94F-E8C6-1E3A1E6E76F8}"/>
              </a:ext>
            </a:extLst>
          </p:cNvPr>
          <p:cNvSpPr txBox="1"/>
          <p:nvPr/>
        </p:nvSpPr>
        <p:spPr>
          <a:xfrm>
            <a:off x="8707124" y="3310145"/>
            <a:ext cx="2420796" cy="861774"/>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00" b="1"/>
              <a:t>SGP40: </a:t>
            </a:r>
            <a:endParaRPr lang="en-US" sz="1000"/>
          </a:p>
          <a:p>
            <a:pPr marL="936000" lvl="2" indent="-171450">
              <a:buFont typeface="Symbol" panose="05050102010706020507" pitchFamily="18" charset="2"/>
              <a:buChar char="-"/>
            </a:pPr>
            <a:r>
              <a:rPr lang="en-US" sz="1000"/>
              <a:t>VOC </a:t>
            </a:r>
            <a:r>
              <a:rPr lang="en-US" sz="1000" i="1"/>
              <a:t>(indoor air pollutant)</a:t>
            </a:r>
          </a:p>
          <a:p>
            <a:pPr marL="936000" lvl="2" indent="-171450">
              <a:buFont typeface="Symbol" panose="05050102010706020507" pitchFamily="18" charset="2"/>
              <a:buChar char="-"/>
            </a:pPr>
            <a:endParaRPr lang="en-US" sz="1000"/>
          </a:p>
        </p:txBody>
      </p:sp>
      <p:sp>
        <p:nvSpPr>
          <p:cNvPr id="54" name="Rectangle: Rounded Corners 49">
            <a:extLst>
              <a:ext uri="{FF2B5EF4-FFF2-40B4-BE49-F238E27FC236}">
                <a16:creationId xmlns:a16="http://schemas.microsoft.com/office/drawing/2014/main" id="{350D6494-BE1B-12B4-855C-1E10FD75B946}"/>
              </a:ext>
            </a:extLst>
          </p:cNvPr>
          <p:cNvSpPr/>
          <p:nvPr/>
        </p:nvSpPr>
        <p:spPr>
          <a:xfrm>
            <a:off x="6552510" y="4417764"/>
            <a:ext cx="4645260" cy="1792536"/>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ttps://www.youtube.com/watch?v=ZWgm5ve_lsY</a:t>
            </a:r>
          </a:p>
        </p:txBody>
      </p:sp>
      <p:sp>
        <p:nvSpPr>
          <p:cNvPr id="55" name="TextBox 54">
            <a:extLst>
              <a:ext uri="{FF2B5EF4-FFF2-40B4-BE49-F238E27FC236}">
                <a16:creationId xmlns:a16="http://schemas.microsoft.com/office/drawing/2014/main" id="{FD9A5F3E-C930-E9F7-9329-6CF7976E7315}"/>
              </a:ext>
            </a:extLst>
          </p:cNvPr>
          <p:cNvSpPr txBox="1"/>
          <p:nvPr/>
        </p:nvSpPr>
        <p:spPr>
          <a:xfrm>
            <a:off x="6552510" y="4417764"/>
            <a:ext cx="4645260" cy="400110"/>
          </a:xfrm>
          <a:prstGeom prst="rect">
            <a:avLst/>
          </a:prstGeom>
          <a:noFill/>
        </p:spPr>
        <p:txBody>
          <a:bodyPr wrap="square" rtlCol="0">
            <a:spAutoFit/>
          </a:bodyPr>
          <a:lstStyle/>
          <a:p>
            <a:pPr algn="ctr"/>
            <a:r>
              <a:rPr lang="en-US" b="1">
                <a:solidFill>
                  <a:srgbClr val="66CC33"/>
                </a:solidFill>
              </a:rPr>
              <a:t>How to Evaluate</a:t>
            </a:r>
          </a:p>
        </p:txBody>
      </p:sp>
      <p:pic>
        <p:nvPicPr>
          <p:cNvPr id="8" name="Picture 7" descr="A close-up of a magnifying glass&#10;&#10;Description automatically generated with low confidence">
            <a:extLst>
              <a:ext uri="{FF2B5EF4-FFF2-40B4-BE49-F238E27FC236}">
                <a16:creationId xmlns:a16="http://schemas.microsoft.com/office/drawing/2014/main" id="{429F84B0-748B-D1A8-F758-43A7313A8333}"/>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l="9005" t="19337" r="9929" b="13879"/>
          <a:stretch/>
        </p:blipFill>
        <p:spPr>
          <a:xfrm>
            <a:off x="7661130" y="4893087"/>
            <a:ext cx="1571856" cy="833934"/>
          </a:xfrm>
          <a:prstGeom prst="rect">
            <a:avLst/>
          </a:prstGeom>
        </p:spPr>
      </p:pic>
      <p:pic>
        <p:nvPicPr>
          <p:cNvPr id="10" name="Picture 9" descr="A picture containing scene, colorful&#10;&#10;Description automatically generated">
            <a:extLst>
              <a:ext uri="{FF2B5EF4-FFF2-40B4-BE49-F238E27FC236}">
                <a16:creationId xmlns:a16="http://schemas.microsoft.com/office/drawing/2014/main" id="{E70F2E03-50F6-A9AF-D031-7D2137E10A43}"/>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9144" t="20311" r="9765" b="15044"/>
          <a:stretch/>
        </p:blipFill>
        <p:spPr>
          <a:xfrm>
            <a:off x="6755270" y="5147456"/>
            <a:ext cx="1121905" cy="454349"/>
          </a:xfrm>
          <a:prstGeom prst="rect">
            <a:avLst/>
          </a:prstGeom>
        </p:spPr>
      </p:pic>
      <p:sp>
        <p:nvSpPr>
          <p:cNvPr id="56" name="TextBox 55">
            <a:extLst>
              <a:ext uri="{FF2B5EF4-FFF2-40B4-BE49-F238E27FC236}">
                <a16:creationId xmlns:a16="http://schemas.microsoft.com/office/drawing/2014/main" id="{AF954F4A-E0AF-FEB2-D8FB-5134DDC9CAE6}"/>
              </a:ext>
            </a:extLst>
          </p:cNvPr>
          <p:cNvSpPr txBox="1"/>
          <p:nvPr/>
        </p:nvSpPr>
        <p:spPr>
          <a:xfrm>
            <a:off x="9276463" y="5212521"/>
            <a:ext cx="1964784" cy="461665"/>
          </a:xfrm>
          <a:prstGeom prst="rect">
            <a:avLst/>
          </a:prstGeom>
          <a:noFill/>
        </p:spPr>
        <p:txBody>
          <a:bodyPr wrap="square">
            <a:spAutoFit/>
          </a:bodyPr>
          <a:lstStyle/>
          <a:p>
            <a:r>
              <a:rPr lang="en-US" sz="1200">
                <a:hlinkClick r:id="rId18"/>
              </a:rPr>
              <a:t>Tutorial: Introduction</a:t>
            </a:r>
            <a:endParaRPr lang="en-US" sz="1200"/>
          </a:p>
          <a:p>
            <a:r>
              <a:rPr lang="en-US" sz="1200">
                <a:hlinkClick r:id="rId19"/>
              </a:rPr>
              <a:t>Tutorial: tuning of the algorithm</a:t>
            </a:r>
            <a:endParaRPr lang="en-US" sz="1200"/>
          </a:p>
        </p:txBody>
      </p:sp>
      <p:pic>
        <p:nvPicPr>
          <p:cNvPr id="57" name="Picture 2" descr="The YouTube logo: a history | Creative Bloq">
            <a:extLst>
              <a:ext uri="{FF2B5EF4-FFF2-40B4-BE49-F238E27FC236}">
                <a16:creationId xmlns:a16="http://schemas.microsoft.com/office/drawing/2014/main" id="{1A6E0316-B775-4353-6625-13AF561EAEB7}"/>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5457" t="26465" r="5460" b="30188"/>
          <a:stretch/>
        </p:blipFill>
        <p:spPr bwMode="auto">
          <a:xfrm>
            <a:off x="9339211" y="4863826"/>
            <a:ext cx="1196698" cy="326990"/>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F694CE96-D599-1D20-3618-164E06715EE5}"/>
              </a:ext>
            </a:extLst>
          </p:cNvPr>
          <p:cNvSpPr txBox="1"/>
          <p:nvPr/>
        </p:nvSpPr>
        <p:spPr>
          <a:xfrm>
            <a:off x="7237133" y="5759911"/>
            <a:ext cx="1449932" cy="276999"/>
          </a:xfrm>
          <a:prstGeom prst="rect">
            <a:avLst/>
          </a:prstGeom>
          <a:noFill/>
        </p:spPr>
        <p:txBody>
          <a:bodyPr wrap="square">
            <a:spAutoFit/>
          </a:bodyPr>
          <a:lstStyle/>
          <a:p>
            <a:pPr algn="ctr"/>
            <a:r>
              <a:rPr lang="en-US" sz="1200">
                <a:hlinkClick r:id="rId21"/>
              </a:rPr>
              <a:t>SEK-SVM4x</a:t>
            </a:r>
            <a:endParaRPr lang="en-US" sz="1200"/>
          </a:p>
        </p:txBody>
      </p:sp>
      <p:cxnSp>
        <p:nvCxnSpPr>
          <p:cNvPr id="59" name="Connector: Elbow 58">
            <a:extLst>
              <a:ext uri="{FF2B5EF4-FFF2-40B4-BE49-F238E27FC236}">
                <a16:creationId xmlns:a16="http://schemas.microsoft.com/office/drawing/2014/main" id="{4E45D04F-38FB-2CCD-4B97-5F7147186F22}"/>
              </a:ext>
            </a:extLst>
          </p:cNvPr>
          <p:cNvCxnSpPr>
            <a:cxnSpLocks/>
            <a:stCxn id="15" idx="2"/>
            <a:endCxn id="53" idx="1"/>
          </p:cNvCxnSpPr>
          <p:nvPr/>
        </p:nvCxnSpPr>
        <p:spPr>
          <a:xfrm rot="16200000" flipH="1">
            <a:off x="7769504" y="2803411"/>
            <a:ext cx="798229" cy="1077012"/>
          </a:xfrm>
          <a:prstGeom prst="bentConnector2">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E89BA0A-0BA9-8031-5C4A-2B1305140AD0}"/>
              </a:ext>
            </a:extLst>
          </p:cNvPr>
          <p:cNvSpPr txBox="1"/>
          <p:nvPr/>
        </p:nvSpPr>
        <p:spPr>
          <a:xfrm>
            <a:off x="10492088" y="2821331"/>
            <a:ext cx="632453"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sp>
        <p:nvSpPr>
          <p:cNvPr id="66" name="TextBox 65">
            <a:extLst>
              <a:ext uri="{FF2B5EF4-FFF2-40B4-BE49-F238E27FC236}">
                <a16:creationId xmlns:a16="http://schemas.microsoft.com/office/drawing/2014/main" id="{B5A02A07-EAD4-952D-9667-3BD07A0AB451}"/>
              </a:ext>
            </a:extLst>
          </p:cNvPr>
          <p:cNvSpPr txBox="1"/>
          <p:nvPr/>
        </p:nvSpPr>
        <p:spPr>
          <a:xfrm>
            <a:off x="10594953" y="3891827"/>
            <a:ext cx="529588"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pic>
        <p:nvPicPr>
          <p:cNvPr id="70" name="Picture 69" descr="A picture containing text, electronics, iPod&#10;&#10;Description automatically generated">
            <a:extLst>
              <a:ext uri="{FF2B5EF4-FFF2-40B4-BE49-F238E27FC236}">
                <a16:creationId xmlns:a16="http://schemas.microsoft.com/office/drawing/2014/main" id="{AC179C5A-7303-DCA8-1FEB-DB5B434A434E}"/>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17514" t="19325" r="15908" b="10946"/>
          <a:stretch/>
        </p:blipFill>
        <p:spPr>
          <a:xfrm>
            <a:off x="8832124" y="3473737"/>
            <a:ext cx="912244" cy="764324"/>
          </a:xfrm>
          <a:prstGeom prst="rect">
            <a:avLst/>
          </a:prstGeom>
        </p:spPr>
      </p:pic>
      <p:pic>
        <p:nvPicPr>
          <p:cNvPr id="72" name="Picture 71" descr="A picture containing text, electronics, iPod&#10;&#10;Description automatically generated">
            <a:extLst>
              <a:ext uri="{FF2B5EF4-FFF2-40B4-BE49-F238E27FC236}">
                <a16:creationId xmlns:a16="http://schemas.microsoft.com/office/drawing/2014/main" id="{564FCC54-841C-47D8-8486-F6EDB834A175}"/>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17894" t="5834" r="16006" b="12083"/>
          <a:stretch/>
        </p:blipFill>
        <p:spPr>
          <a:xfrm>
            <a:off x="8804482" y="2451529"/>
            <a:ext cx="857008" cy="750631"/>
          </a:xfrm>
          <a:prstGeom prst="rect">
            <a:avLst/>
          </a:prstGeom>
        </p:spPr>
      </p:pic>
      <p:sp>
        <p:nvSpPr>
          <p:cNvPr id="77" name="TextBox 76">
            <a:extLst>
              <a:ext uri="{FF2B5EF4-FFF2-40B4-BE49-F238E27FC236}">
                <a16:creationId xmlns:a16="http://schemas.microsoft.com/office/drawing/2014/main" id="{E5D8FF23-2283-4A66-8AAC-9C91B070ECEC}"/>
              </a:ext>
            </a:extLst>
          </p:cNvPr>
          <p:cNvSpPr txBox="1"/>
          <p:nvPr/>
        </p:nvSpPr>
        <p:spPr>
          <a:xfrm>
            <a:off x="7592763" y="2932841"/>
            <a:ext cx="395093" cy="246221"/>
          </a:xfrm>
          <a:prstGeom prst="rect">
            <a:avLst/>
          </a:prstGeom>
          <a:noFill/>
        </p:spPr>
        <p:txBody>
          <a:bodyPr wrap="square" rtlCol="0">
            <a:spAutoFit/>
          </a:bodyPr>
          <a:lstStyle/>
          <a:p>
            <a:r>
              <a:rPr lang="en-US" sz="1000" b="1"/>
              <a:t>no</a:t>
            </a:r>
          </a:p>
        </p:txBody>
      </p:sp>
      <p:sp>
        <p:nvSpPr>
          <p:cNvPr id="78" name="TextBox 77">
            <a:extLst>
              <a:ext uri="{FF2B5EF4-FFF2-40B4-BE49-F238E27FC236}">
                <a16:creationId xmlns:a16="http://schemas.microsoft.com/office/drawing/2014/main" id="{0E19A14E-6496-1239-BA26-76E21E1EFE9E}"/>
              </a:ext>
            </a:extLst>
          </p:cNvPr>
          <p:cNvSpPr txBox="1"/>
          <p:nvPr/>
        </p:nvSpPr>
        <p:spPr>
          <a:xfrm>
            <a:off x="9276463" y="5759911"/>
            <a:ext cx="1449932" cy="276999"/>
          </a:xfrm>
          <a:prstGeom prst="rect">
            <a:avLst/>
          </a:prstGeom>
          <a:noFill/>
        </p:spPr>
        <p:txBody>
          <a:bodyPr wrap="square">
            <a:spAutoFit/>
          </a:bodyPr>
          <a:lstStyle/>
          <a:p>
            <a:r>
              <a:rPr lang="en-US" sz="1200">
                <a:hlinkClick r:id="rId24"/>
              </a:rPr>
              <a:t>landing page</a:t>
            </a:r>
            <a:endParaRPr lang="en-US" sz="1200"/>
          </a:p>
        </p:txBody>
      </p:sp>
      <p:pic>
        <p:nvPicPr>
          <p:cNvPr id="30" name="Picture 5" descr="A picture containing text, electronics, circuit&#10;&#10;Description automatically generated">
            <a:extLst>
              <a:ext uri="{FF2B5EF4-FFF2-40B4-BE49-F238E27FC236}">
                <a16:creationId xmlns:a16="http://schemas.microsoft.com/office/drawing/2014/main" id="{3FE812C7-3DB9-B543-BDF7-6FEF5441F1A6}"/>
              </a:ext>
            </a:extLst>
          </p:cNvPr>
          <p:cNvPicPr>
            <a:picLocks noChangeAspect="1"/>
          </p:cNvPicPr>
          <p:nvPr/>
        </p:nvPicPr>
        <p:blipFill>
          <a:blip r:embed="rId25"/>
          <a:stretch>
            <a:fillRect/>
          </a:stretch>
        </p:blipFill>
        <p:spPr>
          <a:xfrm>
            <a:off x="8961924" y="1446512"/>
            <a:ext cx="1227302" cy="707791"/>
          </a:xfrm>
          <a:prstGeom prst="rect">
            <a:avLst/>
          </a:prstGeom>
        </p:spPr>
      </p:pic>
      <p:pic>
        <p:nvPicPr>
          <p:cNvPr id="31" name="Picture 4" descr="SCD4x CO2 Sensors | Sensirion">
            <a:extLst>
              <a:ext uri="{FF2B5EF4-FFF2-40B4-BE49-F238E27FC236}">
                <a16:creationId xmlns:a16="http://schemas.microsoft.com/office/drawing/2014/main" id="{DD08284F-EF5D-D6C0-FAD0-91D1155AF5F8}"/>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21408" r="17829"/>
          <a:stretch/>
        </p:blipFill>
        <p:spPr bwMode="auto">
          <a:xfrm>
            <a:off x="10123650" y="1645049"/>
            <a:ext cx="418501" cy="344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5596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Rounded Corners 49">
            <a:extLst>
              <a:ext uri="{FF2B5EF4-FFF2-40B4-BE49-F238E27FC236}">
                <a16:creationId xmlns:a16="http://schemas.microsoft.com/office/drawing/2014/main" id="{63CEA330-BFA5-6B13-80CD-5494351CB7D5}"/>
              </a:ext>
            </a:extLst>
          </p:cNvPr>
          <p:cNvSpPr/>
          <p:nvPr/>
        </p:nvSpPr>
        <p:spPr>
          <a:xfrm>
            <a:off x="843921" y="3123691"/>
            <a:ext cx="5580494" cy="3191867"/>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ttps://www.youtube.com/watch?v=ZWgm5ve_lsY</a:t>
            </a:r>
          </a:p>
        </p:txBody>
      </p:sp>
      <p:sp>
        <p:nvSpPr>
          <p:cNvPr id="73" name="Rectangle: Rounded Corners 49">
            <a:extLst>
              <a:ext uri="{FF2B5EF4-FFF2-40B4-BE49-F238E27FC236}">
                <a16:creationId xmlns:a16="http://schemas.microsoft.com/office/drawing/2014/main" id="{BE64514B-8FBD-FF39-CC7F-19AADB24616C}"/>
              </a:ext>
            </a:extLst>
          </p:cNvPr>
          <p:cNvSpPr/>
          <p:nvPr/>
        </p:nvSpPr>
        <p:spPr>
          <a:xfrm>
            <a:off x="847428" y="902310"/>
            <a:ext cx="5580494" cy="200865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8FE974C-CC84-9412-9840-21168DAAD584}"/>
              </a:ext>
            </a:extLst>
          </p:cNvPr>
          <p:cNvSpPr>
            <a:spLocks noGrp="1"/>
          </p:cNvSpPr>
          <p:nvPr>
            <p:ph type="title"/>
          </p:nvPr>
        </p:nvSpPr>
        <p:spPr/>
        <p:txBody>
          <a:bodyPr/>
          <a:lstStyle/>
          <a:p>
            <a:r>
              <a:rPr lang="en-US">
                <a:latin typeface="Arial Narrow"/>
              </a:rPr>
              <a:t>SFA30 – Formaldehyde Sensor </a:t>
            </a:r>
            <a:endParaRPr lang="en-US"/>
          </a:p>
        </p:txBody>
      </p:sp>
      <p:sp>
        <p:nvSpPr>
          <p:cNvPr id="120" name="TextBox 119">
            <a:extLst>
              <a:ext uri="{FF2B5EF4-FFF2-40B4-BE49-F238E27FC236}">
                <a16:creationId xmlns:a16="http://schemas.microsoft.com/office/drawing/2014/main" id="{39362DD2-34F5-5AB3-EA8C-775418827D9E}"/>
              </a:ext>
            </a:extLst>
          </p:cNvPr>
          <p:cNvSpPr txBox="1"/>
          <p:nvPr/>
        </p:nvSpPr>
        <p:spPr>
          <a:xfrm>
            <a:off x="853161" y="3195962"/>
            <a:ext cx="5405596" cy="2092881"/>
          </a:xfrm>
          <a:prstGeom prst="rect">
            <a:avLst/>
          </a:prstGeom>
          <a:noFill/>
        </p:spPr>
        <p:txBody>
          <a:bodyPr wrap="square" rtlCol="0">
            <a:spAutoFit/>
          </a:bodyPr>
          <a:lstStyle/>
          <a:p>
            <a:pPr algn="ctr"/>
            <a:r>
              <a:rPr lang="en-US" b="1">
                <a:solidFill>
                  <a:srgbClr val="66CC33"/>
                </a:solidFill>
              </a:rPr>
              <a:t>How to Evaluate</a:t>
            </a:r>
          </a:p>
          <a:p>
            <a:pPr algn="ctr"/>
            <a:endParaRPr lang="en-US" b="1">
              <a:solidFill>
                <a:srgbClr val="66CC33"/>
              </a:solidFill>
            </a:endParaRPr>
          </a:p>
          <a:p>
            <a:pPr algn="ctr"/>
            <a:endParaRPr lang="en-US" b="1">
              <a:solidFill>
                <a:srgbClr val="66CC33"/>
              </a:solidFill>
            </a:endParaRPr>
          </a:p>
          <a:p>
            <a:pPr algn="ctr"/>
            <a:endParaRPr lang="en-US" b="1">
              <a:solidFill>
                <a:srgbClr val="66CC33"/>
              </a:solidFill>
            </a:endParaRPr>
          </a:p>
          <a:p>
            <a:pPr algn="ctr"/>
            <a:endParaRPr lang="en-US" sz="1000" b="1">
              <a:solidFill>
                <a:srgbClr val="66CC33"/>
              </a:solidFill>
            </a:endParaRPr>
          </a:p>
          <a:p>
            <a:pPr algn="ctr"/>
            <a:r>
              <a:rPr lang="en-US" b="1">
                <a:solidFill>
                  <a:srgbClr val="66CC33"/>
                </a:solidFill>
              </a:rPr>
              <a:t>Useful Links</a:t>
            </a:r>
          </a:p>
          <a:p>
            <a:pPr algn="ctr"/>
            <a:endParaRPr lang="en-US" b="1">
              <a:solidFill>
                <a:srgbClr val="66CC33"/>
              </a:solidFill>
            </a:endParaRPr>
          </a:p>
        </p:txBody>
      </p:sp>
      <p:sp>
        <p:nvSpPr>
          <p:cNvPr id="124" name="TextBox 123">
            <a:extLst>
              <a:ext uri="{FF2B5EF4-FFF2-40B4-BE49-F238E27FC236}">
                <a16:creationId xmlns:a16="http://schemas.microsoft.com/office/drawing/2014/main" id="{23EA3926-47DB-571E-6F94-F87B1915E32B}"/>
              </a:ext>
            </a:extLst>
          </p:cNvPr>
          <p:cNvSpPr txBox="1"/>
          <p:nvPr/>
        </p:nvSpPr>
        <p:spPr>
          <a:xfrm>
            <a:off x="1114901" y="4650246"/>
            <a:ext cx="2943762" cy="1384995"/>
          </a:xfrm>
          <a:prstGeom prst="rect">
            <a:avLst/>
          </a:prstGeom>
          <a:noFill/>
        </p:spPr>
        <p:txBody>
          <a:bodyPr wrap="square" lIns="91440" tIns="45720" rIns="91440" bIns="45720" numCol="1"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Narrow"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Narrow" pitchFamily="34" charset="0"/>
                <a:ea typeface="+mn-ea"/>
                <a:cs typeface="Arial" charset="0"/>
              </a:rPr>
              <a:t>Basic Documents</a:t>
            </a:r>
          </a:p>
          <a:p>
            <a:pPr marL="171450" indent="-171450">
              <a:buFont typeface="Arial" panose="020B0604020202020204" pitchFamily="34" charset="0"/>
              <a:buChar char="•"/>
              <a:defRPr/>
            </a:pPr>
            <a:r>
              <a:rPr lang="en-US" sz="1400">
                <a:solidFill>
                  <a:srgbClr val="000000"/>
                </a:solidFill>
                <a:latin typeface="Arial Narrow"/>
                <a:cs typeface="Arial"/>
                <a:hlinkClick r:id="rId2"/>
              </a:rPr>
              <a:t>SFA30 Flyer</a:t>
            </a:r>
            <a:endParaRPr lang="en-US" sz="1400">
              <a:solidFill>
                <a:srgbClr val="000000"/>
              </a:solidFill>
              <a:latin typeface="Arial Narrow"/>
              <a:cs typeface="Arial"/>
              <a:hlinkClick r:id="" action="ppaction://noaction"/>
            </a:endParaRPr>
          </a:p>
          <a:p>
            <a:pPr marL="171450" indent="-171450">
              <a:buFont typeface="Arial" panose="020B0604020202020204" pitchFamily="34" charset="0"/>
              <a:buChar char="•"/>
              <a:defRPr/>
            </a:pPr>
            <a:r>
              <a:rPr lang="en-US" sz="1400">
                <a:solidFill>
                  <a:srgbClr val="000000"/>
                </a:solidFill>
                <a:latin typeface="Arial Narrow"/>
                <a:cs typeface="Arial"/>
                <a:hlinkClick r:id="" action="ppaction://noaction"/>
              </a:rPr>
              <a:t>Datasheet SFA30</a:t>
            </a:r>
            <a:endParaRPr lang="en-US" sz="1400" b="0" i="0" strike="noStrike" kern="1200" cap="none" spc="0" normalizeH="0" baseline="0" noProof="0">
              <a:ln>
                <a:noFill/>
              </a:ln>
              <a:solidFill>
                <a:srgbClr val="000000"/>
              </a:solidFill>
              <a:effectLst/>
              <a:uLnTx/>
              <a:uFillTx/>
              <a:latin typeface="Arial Narrow"/>
              <a:cs typeface="Arial"/>
              <a:hlinkClick r:id="rId3"/>
            </a:endParaRPr>
          </a:p>
          <a:p>
            <a:pPr marL="171450" indent="-171450">
              <a:buFont typeface="Arial" panose="020B0604020202020204" pitchFamily="34" charset="0"/>
              <a:buChar char="•"/>
              <a:defRPr/>
            </a:pPr>
            <a:r>
              <a:rPr lang="en-US" sz="1400">
                <a:solidFill>
                  <a:srgbClr val="000000"/>
                </a:solidFill>
                <a:latin typeface="Arial Narrow"/>
                <a:cs typeface="Arial"/>
                <a:hlinkClick r:id="rId4"/>
              </a:rPr>
              <a:t>Handling and Assembly Instructions</a:t>
            </a:r>
          </a:p>
          <a:p>
            <a:pPr marL="171450" indent="-171450">
              <a:buFont typeface="Arial" panose="020B0604020202020204" pitchFamily="34" charset="0"/>
              <a:buChar char="•"/>
              <a:defRPr/>
            </a:pPr>
            <a:r>
              <a:rPr lang="en-US" sz="1400">
                <a:solidFill>
                  <a:srgbClr val="000000"/>
                </a:solidFill>
                <a:latin typeface="Arial Narrow"/>
                <a:cs typeface="Arial"/>
              </a:rPr>
              <a:t>Design-in Guide</a:t>
            </a:r>
            <a:endParaRPr lang="en-US" sz="1400">
              <a:solidFill>
                <a:srgbClr val="000000"/>
              </a:solidFill>
            </a:endParaRPr>
          </a:p>
        </p:txBody>
      </p:sp>
      <p:sp>
        <p:nvSpPr>
          <p:cNvPr id="74" name="TextBox 73">
            <a:extLst>
              <a:ext uri="{FF2B5EF4-FFF2-40B4-BE49-F238E27FC236}">
                <a16:creationId xmlns:a16="http://schemas.microsoft.com/office/drawing/2014/main" id="{A6DD742A-B5D9-FFC5-4C7A-6FBF34BFC4A8}"/>
              </a:ext>
            </a:extLst>
          </p:cNvPr>
          <p:cNvSpPr txBox="1"/>
          <p:nvPr/>
        </p:nvSpPr>
        <p:spPr>
          <a:xfrm>
            <a:off x="4003273" y="4857441"/>
            <a:ext cx="2526464" cy="1600438"/>
          </a:xfrm>
          <a:prstGeom prst="rect">
            <a:avLst/>
          </a:prstGeom>
          <a:noFill/>
        </p:spPr>
        <p:txBody>
          <a:bodyPr wrap="square">
            <a:spAutoFit/>
          </a:bodyPr>
          <a:lstStyle/>
          <a:p>
            <a:pPr marR="0" lvl="0" algn="l" defTabSz="914400" rtl="0" eaLnBrk="1" fontAlgn="base" latinLnBrk="0" hangingPunct="1">
              <a:lnSpc>
                <a:spcPct val="100000"/>
              </a:lnSpc>
              <a:spcBef>
                <a:spcPct val="0"/>
              </a:spcBef>
              <a:spcAft>
                <a:spcPct val="0"/>
              </a:spcAft>
              <a:buClrTx/>
              <a:buSzTx/>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rPr>
              <a:t>Drivers &amp; Tool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5"/>
              </a:rPr>
              <a:t>Arduino Driver I2C</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6"/>
              </a:rPr>
              <a:t>Arduino Driver UART</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7"/>
              </a:rPr>
              <a:t>RaspberryPi Driver I2C</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8"/>
              </a:rPr>
              <a:t>RaspberryPi Driver UART</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9"/>
              </a:rPr>
              <a:t>Embedded Drivers</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 name="TextBox 3">
            <a:extLst>
              <a:ext uri="{FF2B5EF4-FFF2-40B4-BE49-F238E27FC236}">
                <a16:creationId xmlns:a16="http://schemas.microsoft.com/office/drawing/2014/main" id="{21F57734-30C6-ABCD-735B-17D9F85D8DCC}"/>
              </a:ext>
            </a:extLst>
          </p:cNvPr>
          <p:cNvSpPr txBox="1"/>
          <p:nvPr/>
        </p:nvSpPr>
        <p:spPr>
          <a:xfrm>
            <a:off x="3369787" y="1000565"/>
            <a:ext cx="2929053" cy="523220"/>
          </a:xfrm>
          <a:prstGeom prst="rect">
            <a:avLst/>
          </a:prstGeom>
          <a:noFill/>
        </p:spPr>
        <p:txBody>
          <a:bodyPr wrap="square" lIns="91440" tIns="45720" rIns="91440" bIns="45720" rtlCol="0" anchor="t">
            <a:spAutoFit/>
          </a:bodyPr>
          <a:lstStyle/>
          <a:p>
            <a:r>
              <a:rPr lang="en-US" sz="1400" i="1">
                <a:latin typeface="Arial Narrow"/>
                <a:cs typeface="Arial"/>
              </a:rPr>
              <a:t>“</a:t>
            </a:r>
            <a:r>
              <a:rPr lang="en-US" sz="1400" i="1">
                <a:solidFill>
                  <a:srgbClr val="000000"/>
                </a:solidFill>
                <a:latin typeface="Arial Narrow"/>
                <a:cs typeface="Arial"/>
              </a:rPr>
              <a:t>Win customer trust with unprecedented sensor accuracy in the field</a:t>
            </a:r>
            <a:r>
              <a:rPr lang="en-US" sz="1400" i="1">
                <a:latin typeface="Arial Narrow"/>
                <a:cs typeface="Arial"/>
              </a:rPr>
              <a:t>”</a:t>
            </a:r>
          </a:p>
        </p:txBody>
      </p:sp>
      <p:pic>
        <p:nvPicPr>
          <p:cNvPr id="5" name="Picture 5" descr="A picture containing text, electronics, circuit&#10;&#10;Description automatically generated">
            <a:extLst>
              <a:ext uri="{FF2B5EF4-FFF2-40B4-BE49-F238E27FC236}">
                <a16:creationId xmlns:a16="http://schemas.microsoft.com/office/drawing/2014/main" id="{3DD0EF25-0F61-2A69-351A-04C49DEC544B}"/>
              </a:ext>
            </a:extLst>
          </p:cNvPr>
          <p:cNvPicPr>
            <a:picLocks noChangeAspect="1"/>
          </p:cNvPicPr>
          <p:nvPr/>
        </p:nvPicPr>
        <p:blipFill>
          <a:blip r:embed="rId10"/>
          <a:stretch>
            <a:fillRect/>
          </a:stretch>
        </p:blipFill>
        <p:spPr>
          <a:xfrm>
            <a:off x="844216" y="923492"/>
            <a:ext cx="2743200" cy="1582016"/>
          </a:xfrm>
          <a:prstGeom prst="rect">
            <a:avLst/>
          </a:prstGeom>
        </p:spPr>
      </p:pic>
      <p:sp>
        <p:nvSpPr>
          <p:cNvPr id="7" name="TextBox 6">
            <a:extLst>
              <a:ext uri="{FF2B5EF4-FFF2-40B4-BE49-F238E27FC236}">
                <a16:creationId xmlns:a16="http://schemas.microsoft.com/office/drawing/2014/main" id="{9C06B5DF-A64D-1CE3-9205-E15465CADE80}"/>
              </a:ext>
            </a:extLst>
          </p:cNvPr>
          <p:cNvSpPr txBox="1"/>
          <p:nvPr/>
        </p:nvSpPr>
        <p:spPr>
          <a:xfrm>
            <a:off x="3366476" y="1620081"/>
            <a:ext cx="3008711" cy="1169551"/>
          </a:xfrm>
          <a:prstGeom prst="rect">
            <a:avLst/>
          </a:prstGeom>
          <a:noFill/>
        </p:spPr>
        <p:txBody>
          <a:bodyPr wrap="square" lIns="91440" tIns="45720" rIns="91440" bIns="45720" rtlCol="0" anchor="t">
            <a:spAutoFit/>
          </a:bodyPr>
          <a:lstStyle/>
          <a:p>
            <a:r>
              <a:rPr lang="en-US" sz="1400" u="sng">
                <a:latin typeface="Arial Narrow"/>
                <a:cs typeface="Arial"/>
              </a:rPr>
              <a:t>Key Features</a:t>
            </a:r>
          </a:p>
          <a:p>
            <a:pPr marL="285750" indent="-285750">
              <a:buFont typeface="Wingdings" panose="05000000000000000000" pitchFamily="2" charset="2"/>
              <a:buChar char="§"/>
            </a:pPr>
            <a:r>
              <a:rPr lang="en-US" sz="1400">
                <a:latin typeface="Arial Narrow"/>
                <a:cs typeface="Arial"/>
              </a:rPr>
              <a:t>Low cross-sensitivity to common indoor VOCs, e.g. EtOH &lt;0.5% </a:t>
            </a:r>
          </a:p>
          <a:p>
            <a:pPr marL="285750" indent="-285750">
              <a:buFont typeface="Wingdings" panose="05000000000000000000" pitchFamily="2" charset="2"/>
              <a:buChar char="§"/>
            </a:pPr>
            <a:r>
              <a:rPr lang="en-US" sz="1400">
                <a:latin typeface="Arial Narrow"/>
                <a:cs typeface="Arial"/>
              </a:rPr>
              <a:t>Long lifetime of &gt;6 years</a:t>
            </a:r>
            <a:endParaRPr lang="en-US" sz="1400"/>
          </a:p>
          <a:p>
            <a:pPr marL="285750" indent="-285750">
              <a:buFont typeface="Wingdings" panose="05000000000000000000" pitchFamily="2" charset="2"/>
              <a:buChar char="§"/>
            </a:pPr>
            <a:r>
              <a:rPr lang="en-US" sz="1400">
                <a:latin typeface="Arial Narrow"/>
                <a:cs typeface="Arial"/>
              </a:rPr>
              <a:t>Integrated RHT sensor</a:t>
            </a:r>
            <a:endParaRPr lang="en-US" sz="1400"/>
          </a:p>
        </p:txBody>
      </p:sp>
      <p:sp>
        <p:nvSpPr>
          <p:cNvPr id="8" name="TextBox 7">
            <a:extLst>
              <a:ext uri="{FF2B5EF4-FFF2-40B4-BE49-F238E27FC236}">
                <a16:creationId xmlns:a16="http://schemas.microsoft.com/office/drawing/2014/main" id="{52907B76-8CA7-F80D-E6C0-8303CF7BA676}"/>
              </a:ext>
            </a:extLst>
          </p:cNvPr>
          <p:cNvSpPr txBox="1"/>
          <p:nvPr/>
        </p:nvSpPr>
        <p:spPr>
          <a:xfrm>
            <a:off x="2055274" y="2107767"/>
            <a:ext cx="835485" cy="400110"/>
          </a:xfrm>
          <a:prstGeom prst="rect">
            <a:avLst/>
          </a:prstGeom>
          <a:noFill/>
        </p:spPr>
        <p:txBody>
          <a:bodyPr wrap="none" lIns="91440" tIns="45720" rIns="91440" bIns="45720" rtlCol="0" anchor="t">
            <a:spAutoFit/>
          </a:bodyPr>
          <a:lstStyle/>
          <a:p>
            <a:r>
              <a:rPr lang="en-US" sz="1000" b="1">
                <a:latin typeface="Arial Narrow"/>
                <a:cs typeface="Arial"/>
              </a:rPr>
              <a:t>SFA30</a:t>
            </a:r>
            <a:r>
              <a:rPr lang="en-US" sz="1000">
                <a:latin typeface="Arial Narrow"/>
                <a:cs typeface="Arial"/>
              </a:rPr>
              <a:t>: </a:t>
            </a:r>
            <a:endParaRPr lang="en-US" sz="1000"/>
          </a:p>
          <a:p>
            <a:r>
              <a:rPr lang="en-US" sz="1000">
                <a:latin typeface="Arial Narrow"/>
                <a:cs typeface="Arial"/>
              </a:rPr>
              <a:t>HCHO sensor</a:t>
            </a:r>
            <a:endParaRPr lang="en-US" sz="1000"/>
          </a:p>
        </p:txBody>
      </p:sp>
      <p:sp>
        <p:nvSpPr>
          <p:cNvPr id="9" name="TextBox 8">
            <a:extLst>
              <a:ext uri="{FF2B5EF4-FFF2-40B4-BE49-F238E27FC236}">
                <a16:creationId xmlns:a16="http://schemas.microsoft.com/office/drawing/2014/main" id="{7987FBFF-7740-2679-0D43-9E38947CAB5F}"/>
              </a:ext>
            </a:extLst>
          </p:cNvPr>
          <p:cNvSpPr txBox="1"/>
          <p:nvPr/>
        </p:nvSpPr>
        <p:spPr>
          <a:xfrm>
            <a:off x="3665609" y="4033133"/>
            <a:ext cx="1449932" cy="276999"/>
          </a:xfrm>
          <a:prstGeom prst="rect">
            <a:avLst/>
          </a:prstGeom>
          <a:noFill/>
        </p:spPr>
        <p:txBody>
          <a:bodyPr wrap="square" lIns="91440" tIns="45720" rIns="91440" bIns="45720" anchor="t">
            <a:spAutoFit/>
          </a:bodyPr>
          <a:lstStyle/>
          <a:p>
            <a:r>
              <a:rPr lang="en-US" sz="1200">
                <a:latin typeface="Arial Narrow"/>
                <a:cs typeface="Arial"/>
                <a:hlinkClick r:id="rId11"/>
              </a:rPr>
              <a:t>SEK-SFA30</a:t>
            </a:r>
            <a:endParaRPr lang="en-US" sz="1200"/>
          </a:p>
        </p:txBody>
      </p:sp>
      <p:pic>
        <p:nvPicPr>
          <p:cNvPr id="10" name="Picture 10">
            <a:extLst>
              <a:ext uri="{FF2B5EF4-FFF2-40B4-BE49-F238E27FC236}">
                <a16:creationId xmlns:a16="http://schemas.microsoft.com/office/drawing/2014/main" id="{DFDEB6DA-EFCC-6290-7B95-4F7DCDC21D04}"/>
              </a:ext>
            </a:extLst>
          </p:cNvPr>
          <p:cNvPicPr>
            <a:picLocks noChangeAspect="1"/>
          </p:cNvPicPr>
          <p:nvPr/>
        </p:nvPicPr>
        <p:blipFill>
          <a:blip r:embed="rId12"/>
          <a:stretch>
            <a:fillRect/>
          </a:stretch>
        </p:blipFill>
        <p:spPr>
          <a:xfrm>
            <a:off x="2332134" y="3689783"/>
            <a:ext cx="1369595" cy="872290"/>
          </a:xfrm>
          <a:prstGeom prst="rect">
            <a:avLst/>
          </a:prstGeom>
        </p:spPr>
      </p:pic>
      <p:sp>
        <p:nvSpPr>
          <p:cNvPr id="11" name="TextBox 10">
            <a:extLst>
              <a:ext uri="{FF2B5EF4-FFF2-40B4-BE49-F238E27FC236}">
                <a16:creationId xmlns:a16="http://schemas.microsoft.com/office/drawing/2014/main" id="{45293388-7AD5-ABFB-5E6A-2B3807813F10}"/>
              </a:ext>
            </a:extLst>
          </p:cNvPr>
          <p:cNvSpPr txBox="1"/>
          <p:nvPr/>
        </p:nvSpPr>
        <p:spPr>
          <a:xfrm>
            <a:off x="7018968" y="1229728"/>
            <a:ext cx="2799971" cy="1815882"/>
          </a:xfrm>
          <a:prstGeom prst="rect">
            <a:avLst/>
          </a:prstGeom>
          <a:noFill/>
        </p:spPr>
        <p:txBody>
          <a:bodyPr wrap="square" lIns="91440" tIns="45720" rIns="91440" bIns="45720" rtlCol="0" anchor="t">
            <a:spAutoFit/>
          </a:bodyPr>
          <a:lstStyle/>
          <a:p>
            <a:r>
              <a:rPr lang="en-US" sz="1400" i="1">
                <a:latin typeface="Arial Narrow"/>
                <a:cs typeface="Arial"/>
              </a:rPr>
              <a:t>Improve indoor air quality with the help of an SFA30 formaldehyde sensor</a:t>
            </a:r>
          </a:p>
          <a:p>
            <a:endParaRPr lang="en-US" sz="1400" i="1">
              <a:latin typeface="Arial Narrow"/>
              <a:cs typeface="Arial"/>
            </a:endParaRPr>
          </a:p>
          <a:p>
            <a:r>
              <a:rPr lang="en-US" sz="1400" err="1">
                <a:latin typeface="Arial Narrow"/>
                <a:cs typeface="Arial"/>
              </a:rPr>
              <a:t>Optimised</a:t>
            </a:r>
            <a:r>
              <a:rPr lang="en-US" sz="1400">
                <a:latin typeface="Arial Narrow"/>
                <a:cs typeface="Arial"/>
              </a:rPr>
              <a:t> for low-ppb detection of formaldehyde in an indoor environment:</a:t>
            </a:r>
          </a:p>
          <a:p>
            <a:pPr marL="285750" indent="-285750">
              <a:buFont typeface="Wingdings" panose="05000000000000000000" pitchFamily="2" charset="2"/>
              <a:buChar char="§"/>
            </a:pPr>
            <a:r>
              <a:rPr lang="en-US" sz="1400">
                <a:latin typeface="Arial Narrow"/>
                <a:cs typeface="Arial"/>
              </a:rPr>
              <a:t>Meets WHO recommendations</a:t>
            </a:r>
          </a:p>
          <a:p>
            <a:pPr marL="285750" indent="-285750">
              <a:buFont typeface="Wingdings" panose="05000000000000000000" pitchFamily="2" charset="2"/>
              <a:buChar char="§"/>
            </a:pPr>
            <a:r>
              <a:rPr lang="en-US" sz="1400">
                <a:latin typeface="Arial Narrow"/>
                <a:cs typeface="Arial"/>
              </a:rPr>
              <a:t>Ideally suited for air purifiers and indoor air quality monitors</a:t>
            </a:r>
          </a:p>
        </p:txBody>
      </p:sp>
      <p:pic>
        <p:nvPicPr>
          <p:cNvPr id="6" name="Picture 2" descr="The YouTube logo: a history | Creative Bloq">
            <a:extLst>
              <a:ext uri="{FF2B5EF4-FFF2-40B4-BE49-F238E27FC236}">
                <a16:creationId xmlns:a16="http://schemas.microsoft.com/office/drawing/2014/main" id="{888B9E01-C75A-2192-3B51-0D3C5E8CA9F9}"/>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457" t="26465" r="5460" b="30188"/>
          <a:stretch/>
        </p:blipFill>
        <p:spPr bwMode="auto">
          <a:xfrm>
            <a:off x="10155516" y="1780777"/>
            <a:ext cx="1196698" cy="32699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EDFA2833-DF3E-38F2-090F-70DAFE83A093}"/>
              </a:ext>
            </a:extLst>
          </p:cNvPr>
          <p:cNvSpPr txBox="1"/>
          <p:nvPr/>
        </p:nvSpPr>
        <p:spPr>
          <a:xfrm>
            <a:off x="10054373" y="2157949"/>
            <a:ext cx="1643439" cy="461665"/>
          </a:xfrm>
          <a:prstGeom prst="rect">
            <a:avLst/>
          </a:prstGeom>
          <a:noFill/>
        </p:spPr>
        <p:txBody>
          <a:bodyPr wrap="square">
            <a:spAutoFit/>
          </a:bodyPr>
          <a:lstStyle/>
          <a:p>
            <a:r>
              <a:rPr lang="en-US" sz="1200">
                <a:hlinkClick r:id="rId14"/>
              </a:rPr>
              <a:t>Formaldehyde sensing made easy</a:t>
            </a:r>
            <a:endParaRPr lang="en-US" sz="1200"/>
          </a:p>
        </p:txBody>
      </p:sp>
      <p:pic>
        <p:nvPicPr>
          <p:cNvPr id="12" name="Picture 11">
            <a:extLst>
              <a:ext uri="{FF2B5EF4-FFF2-40B4-BE49-F238E27FC236}">
                <a16:creationId xmlns:a16="http://schemas.microsoft.com/office/drawing/2014/main" id="{6C6554D7-CECC-21CE-A8B5-C8F30C9F6FED}"/>
              </a:ext>
            </a:extLst>
          </p:cNvPr>
          <p:cNvPicPr>
            <a:picLocks noChangeAspect="1"/>
          </p:cNvPicPr>
          <p:nvPr/>
        </p:nvPicPr>
        <p:blipFill>
          <a:blip r:embed="rId15"/>
          <a:stretch>
            <a:fillRect/>
          </a:stretch>
        </p:blipFill>
        <p:spPr>
          <a:xfrm>
            <a:off x="6740546" y="3570525"/>
            <a:ext cx="4813166" cy="2410704"/>
          </a:xfrm>
          <a:prstGeom prst="rect">
            <a:avLst/>
          </a:prstGeom>
        </p:spPr>
      </p:pic>
    </p:spTree>
    <p:extLst>
      <p:ext uri="{BB962C8B-B14F-4D97-AF65-F5344CB8AC3E}">
        <p14:creationId xmlns:p14="http://schemas.microsoft.com/office/powerpoint/2010/main" val="31889893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Possible IAQ Applications</a:t>
            </a:r>
            <a:endParaRPr lang="zh-TW" altLang="en-US"/>
          </a:p>
        </p:txBody>
      </p:sp>
      <p:sp>
        <p:nvSpPr>
          <p:cNvPr id="3" name="Content Placeholder 2"/>
          <p:cNvSpPr>
            <a:spLocks noGrp="1"/>
          </p:cNvSpPr>
          <p:nvPr>
            <p:ph idx="1"/>
          </p:nvPr>
        </p:nvSpPr>
        <p:spPr/>
        <p:txBody>
          <a:bodyPr/>
          <a:lstStyle/>
          <a:p>
            <a:pPr marL="342900" indent="-342900">
              <a:buFont typeface="Wingdings" panose="05000000000000000000" pitchFamily="2" charset="2"/>
              <a:buChar char="§"/>
            </a:pPr>
            <a:r>
              <a:rPr lang="en-US" altLang="zh-TW"/>
              <a:t>Air Treatment (includes air purifiers, humidifiers, dehumidifiers, air conditioners, PTAC, HVAC Systems, vent hoods, fume hoods, exhaust fans in bathrooms) </a:t>
            </a:r>
          </a:p>
          <a:p>
            <a:pPr marL="342900" indent="-342900">
              <a:buFont typeface="Wingdings" panose="05000000000000000000" pitchFamily="2" charset="2"/>
              <a:buChar char="§"/>
            </a:pPr>
            <a:r>
              <a:rPr lang="en-US" altLang="zh-TW"/>
              <a:t>Air Quality Monitors (Wall mount sensors, IAQ device/monitors that plug into smart speaker, mobile phones, etc.)</a:t>
            </a:r>
          </a:p>
          <a:p>
            <a:pPr algn="ctr"/>
            <a:endParaRPr lang="en-US" altLang="zh-TW"/>
          </a:p>
          <a:p>
            <a:pPr marL="342900" indent="-342900">
              <a:buFont typeface="Wingdings" panose="05000000000000000000" pitchFamily="2" charset="2"/>
              <a:buChar char="§"/>
            </a:pPr>
            <a:endParaRPr lang="en-US" altLang="zh-TW"/>
          </a:p>
        </p:txBody>
      </p:sp>
      <p:pic>
        <p:nvPicPr>
          <p:cNvPr id="4" name="Picture 2" descr="https://cdn-assets-eu.frontify.com/s3/frontify-enterprise-files-eu/eyJwYXRoIjoic2Vuc2lyaW9uXC9hY2NvdW50c1wvNGZcLzQwMDA0MDRcL3Byb2plY3RzXC8xOVwvYXNzZXRzXC9jNVwvMzIxMTZcLzZiOTQ2NmQ3MmE5MTgyMDY2OTU5YzcwNTIzMDMzOWY0LTE1ODYyNjI4NDEuanBnIn0:sensirion:F9tRAkmm-5F9fWNDZTrEm6613s0OFW1099ifKtgn4MY?width=800"/>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6000" b="90000" l="5125" r="90000">
                        <a14:foregroundMark x1="28500" y1="17500" x2="75750" y2="29125"/>
                        <a14:foregroundMark x1="27375" y1="59375" x2="76000" y2="74125"/>
                      </a14:backgroundRemoval>
                    </a14:imgEffect>
                  </a14:imgLayer>
                </a14:imgProps>
              </a:ext>
              <a:ext uri="{28A0092B-C50C-407E-A947-70E740481C1C}">
                <a14:useLocalDpi xmlns:a14="http://schemas.microsoft.com/office/drawing/2010/main" val="0"/>
              </a:ext>
            </a:extLst>
          </a:blip>
          <a:srcRect/>
          <a:stretch>
            <a:fillRect/>
          </a:stretch>
        </p:blipFill>
        <p:spPr bwMode="auto">
          <a:xfrm>
            <a:off x="3402998" y="3131025"/>
            <a:ext cx="1896070" cy="189607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673331" y="5145741"/>
            <a:ext cx="1456660" cy="400110"/>
          </a:xfrm>
          <a:prstGeom prst="rect">
            <a:avLst/>
          </a:prstGeom>
          <a:noFill/>
        </p:spPr>
        <p:txBody>
          <a:bodyPr wrap="square" rtlCol="0">
            <a:spAutoFit/>
          </a:bodyPr>
          <a:lstStyle/>
          <a:p>
            <a:r>
              <a:rPr lang="en-US"/>
              <a:t>De-</a:t>
            </a:r>
            <a:r>
              <a:rPr lang="en-US" err="1"/>
              <a:t>Humidifer</a:t>
            </a:r>
            <a:endParaRPr lang="en-US"/>
          </a:p>
        </p:txBody>
      </p:sp>
      <p:sp>
        <p:nvSpPr>
          <p:cNvPr id="6" name="TextBox 5"/>
          <p:cNvSpPr txBox="1"/>
          <p:nvPr/>
        </p:nvSpPr>
        <p:spPr>
          <a:xfrm>
            <a:off x="953891" y="5185638"/>
            <a:ext cx="1456660" cy="400110"/>
          </a:xfrm>
          <a:prstGeom prst="rect">
            <a:avLst/>
          </a:prstGeom>
          <a:noFill/>
        </p:spPr>
        <p:txBody>
          <a:bodyPr wrap="square" rtlCol="0">
            <a:spAutoFit/>
          </a:bodyPr>
          <a:lstStyle/>
          <a:p>
            <a:r>
              <a:rPr lang="en-US"/>
              <a:t>Air Purifier </a:t>
            </a:r>
          </a:p>
        </p:txBody>
      </p:sp>
      <p:pic>
        <p:nvPicPr>
          <p:cNvPr id="7" name="Picture 6"/>
          <p:cNvPicPr>
            <a:picLocks noChangeAspect="1"/>
          </p:cNvPicPr>
          <p:nvPr/>
        </p:nvPicPr>
        <p:blipFill>
          <a:blip r:embed="rId5"/>
          <a:stretch>
            <a:fillRect/>
          </a:stretch>
        </p:blipFill>
        <p:spPr>
          <a:xfrm>
            <a:off x="960786" y="2567189"/>
            <a:ext cx="1309161" cy="2368258"/>
          </a:xfrm>
          <a:prstGeom prst="rect">
            <a:avLst/>
          </a:prstGeom>
        </p:spPr>
      </p:pic>
      <p:pic>
        <p:nvPicPr>
          <p:cNvPr id="8" name="Picture 4" descr="https://cdn-assets-eu.frontify.com/s3/frontify-enterprise-files-eu/eyJwYXRoIjoic2Vuc2lyaW9uXC9hY2NvdW50c1wvNGZcLzQwMDA0MDRcL3Byb2plY3RzXC8xOVwvYXNzZXRzXC9lZFwvMzIxMjBcLzY4NTAwMTM1YzdkMTE3ZDM0YTY3M2QzM2NmNzUxZjA3LTE1ODYyNjI4NDEuanBnIn0:sensirion:Jr8XIHddGin2uRPDqCaEuG63tVj_VD4IeQXBYriCq7s?width=800"/>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78092" y="3203183"/>
            <a:ext cx="1733107" cy="173310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254539" y="5145741"/>
            <a:ext cx="1456660" cy="400110"/>
          </a:xfrm>
          <a:prstGeom prst="rect">
            <a:avLst/>
          </a:prstGeom>
          <a:noFill/>
        </p:spPr>
        <p:txBody>
          <a:bodyPr wrap="square" rtlCol="0">
            <a:spAutoFit/>
          </a:bodyPr>
          <a:lstStyle/>
          <a:p>
            <a:r>
              <a:rPr lang="en-US"/>
              <a:t>Sensor Node</a:t>
            </a:r>
          </a:p>
        </p:txBody>
      </p:sp>
      <p:sp>
        <p:nvSpPr>
          <p:cNvPr id="11" name="TextBox 10"/>
          <p:cNvSpPr txBox="1"/>
          <p:nvPr/>
        </p:nvSpPr>
        <p:spPr>
          <a:xfrm>
            <a:off x="8634636" y="5206451"/>
            <a:ext cx="2717576" cy="400110"/>
          </a:xfrm>
          <a:prstGeom prst="rect">
            <a:avLst/>
          </a:prstGeom>
          <a:noFill/>
        </p:spPr>
        <p:txBody>
          <a:bodyPr wrap="square" rtlCol="0">
            <a:spAutoFit/>
          </a:bodyPr>
          <a:lstStyle/>
          <a:p>
            <a:r>
              <a:rPr lang="en-US"/>
              <a:t>Smart Air Quality Monitor</a:t>
            </a:r>
          </a:p>
        </p:txBody>
      </p:sp>
      <p:pic>
        <p:nvPicPr>
          <p:cNvPr id="1026" name="Picture 2" descr="Amazon Smart Air Quality Monitor puts your breath in Alexa&amp;#39;s hands -  SlashGear">
            <a:extLst>
              <a:ext uri="{FF2B5EF4-FFF2-40B4-BE49-F238E27FC236}">
                <a16:creationId xmlns:a16="http://schemas.microsoft.com/office/drawing/2014/main" id="{CE78C0EA-7B0E-4F32-B670-5531D6568F8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28189" y="3107818"/>
            <a:ext cx="2717576" cy="1526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79497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9" descr="A picture containing logo&#10;&#10;Description automatically generated">
            <a:extLst>
              <a:ext uri="{FF2B5EF4-FFF2-40B4-BE49-F238E27FC236}">
                <a16:creationId xmlns:a16="http://schemas.microsoft.com/office/drawing/2014/main" id="{A7549E8D-5280-EF16-4EB5-D2B262DC6BD0}"/>
              </a:ext>
            </a:extLst>
          </p:cNvPr>
          <p:cNvPicPr>
            <a:picLocks noChangeAspect="1"/>
          </p:cNvPicPr>
          <p:nvPr/>
        </p:nvPicPr>
        <p:blipFill>
          <a:blip r:embed="rId3"/>
          <a:stretch>
            <a:fillRect/>
          </a:stretch>
        </p:blipFill>
        <p:spPr>
          <a:xfrm>
            <a:off x="9774691" y="6175829"/>
            <a:ext cx="1895475" cy="457200"/>
          </a:xfrm>
          <a:prstGeom prst="rect">
            <a:avLst/>
          </a:prstGeom>
        </p:spPr>
      </p:pic>
      <p:sp>
        <p:nvSpPr>
          <p:cNvPr id="2" name="Title 1">
            <a:extLst>
              <a:ext uri="{FF2B5EF4-FFF2-40B4-BE49-F238E27FC236}">
                <a16:creationId xmlns:a16="http://schemas.microsoft.com/office/drawing/2014/main" id="{8483AE64-266D-7445-9F55-5BB600FDE3EE}"/>
              </a:ext>
            </a:extLst>
          </p:cNvPr>
          <p:cNvSpPr>
            <a:spLocks noGrp="1"/>
          </p:cNvSpPr>
          <p:nvPr>
            <p:ph type="title"/>
          </p:nvPr>
        </p:nvSpPr>
        <p:spPr>
          <a:xfrm>
            <a:off x="945925" y="474257"/>
            <a:ext cx="10512000" cy="505939"/>
          </a:xfrm>
        </p:spPr>
        <p:txBody>
          <a:bodyPr/>
          <a:lstStyle/>
          <a:p>
            <a:r>
              <a:rPr lang="en-US">
                <a:solidFill>
                  <a:schemeClr val="accent1"/>
                </a:solidFill>
              </a:rPr>
              <a:t>Summary</a:t>
            </a:r>
          </a:p>
        </p:txBody>
      </p:sp>
      <p:sp>
        <p:nvSpPr>
          <p:cNvPr id="50" name="Rectangle: Rounded Corners 49">
            <a:extLst>
              <a:ext uri="{FF2B5EF4-FFF2-40B4-BE49-F238E27FC236}">
                <a16:creationId xmlns:a16="http://schemas.microsoft.com/office/drawing/2014/main" id="{82C1C6EC-04DF-5543-BCEB-088025A2BAAA}"/>
              </a:ext>
            </a:extLst>
          </p:cNvPr>
          <p:cNvSpPr/>
          <p:nvPr/>
        </p:nvSpPr>
        <p:spPr>
          <a:xfrm>
            <a:off x="5142055" y="1412038"/>
            <a:ext cx="1934409" cy="2352701"/>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49">
            <a:extLst>
              <a:ext uri="{FF2B5EF4-FFF2-40B4-BE49-F238E27FC236}">
                <a16:creationId xmlns:a16="http://schemas.microsoft.com/office/drawing/2014/main" id="{6E73553E-3901-CE40-A72B-5C73099852B3}"/>
              </a:ext>
            </a:extLst>
          </p:cNvPr>
          <p:cNvSpPr/>
          <p:nvPr/>
        </p:nvSpPr>
        <p:spPr>
          <a:xfrm>
            <a:off x="857538" y="1412038"/>
            <a:ext cx="4078806" cy="2352701"/>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49">
            <a:extLst>
              <a:ext uri="{FF2B5EF4-FFF2-40B4-BE49-F238E27FC236}">
                <a16:creationId xmlns:a16="http://schemas.microsoft.com/office/drawing/2014/main" id="{03F77B88-2BA8-124A-8047-4C01D58021BF}"/>
              </a:ext>
            </a:extLst>
          </p:cNvPr>
          <p:cNvSpPr/>
          <p:nvPr/>
        </p:nvSpPr>
        <p:spPr>
          <a:xfrm>
            <a:off x="9523516" y="1439246"/>
            <a:ext cx="1934409" cy="4813820"/>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49">
            <a:extLst>
              <a:ext uri="{FF2B5EF4-FFF2-40B4-BE49-F238E27FC236}">
                <a16:creationId xmlns:a16="http://schemas.microsoft.com/office/drawing/2014/main" id="{B41F1EA4-D02F-D846-90CE-56D37D4ECD11}"/>
              </a:ext>
            </a:extLst>
          </p:cNvPr>
          <p:cNvSpPr/>
          <p:nvPr/>
        </p:nvSpPr>
        <p:spPr>
          <a:xfrm>
            <a:off x="5098759" y="3965444"/>
            <a:ext cx="1934409" cy="2292720"/>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49">
            <a:extLst>
              <a:ext uri="{FF2B5EF4-FFF2-40B4-BE49-F238E27FC236}">
                <a16:creationId xmlns:a16="http://schemas.microsoft.com/office/drawing/2014/main" id="{49947ECE-C334-C744-9F61-4F18898BEE34}"/>
              </a:ext>
            </a:extLst>
          </p:cNvPr>
          <p:cNvSpPr/>
          <p:nvPr/>
        </p:nvSpPr>
        <p:spPr>
          <a:xfrm>
            <a:off x="857538" y="3965444"/>
            <a:ext cx="1934409" cy="2292720"/>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Rounded Corners 49">
            <a:extLst>
              <a:ext uri="{FF2B5EF4-FFF2-40B4-BE49-F238E27FC236}">
                <a16:creationId xmlns:a16="http://schemas.microsoft.com/office/drawing/2014/main" id="{16475F12-A46A-9E48-8AB5-CF320ECAE6BF}"/>
              </a:ext>
            </a:extLst>
          </p:cNvPr>
          <p:cNvSpPr/>
          <p:nvPr/>
        </p:nvSpPr>
        <p:spPr>
          <a:xfrm>
            <a:off x="7227441" y="3965444"/>
            <a:ext cx="1934409" cy="2292720"/>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2">
            <a:extLst>
              <a:ext uri="{FF2B5EF4-FFF2-40B4-BE49-F238E27FC236}">
                <a16:creationId xmlns:a16="http://schemas.microsoft.com/office/drawing/2014/main" id="{CF851751-1A44-4046-8D87-557B6C34BC9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914" t="8551" r="13879" b="11897"/>
          <a:stretch/>
        </p:blipFill>
        <p:spPr bwMode="auto">
          <a:xfrm>
            <a:off x="9622634" y="4572235"/>
            <a:ext cx="1643080" cy="111592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236AA0E-7B2F-1B40-B909-397E0B86D799}"/>
              </a:ext>
            </a:extLst>
          </p:cNvPr>
          <p:cNvSpPr/>
          <p:nvPr/>
        </p:nvSpPr>
        <p:spPr>
          <a:xfrm>
            <a:off x="5305464" y="2980751"/>
            <a:ext cx="1554652" cy="738664"/>
          </a:xfrm>
          <a:prstGeom prst="rect">
            <a:avLst/>
          </a:prstGeom>
        </p:spPr>
        <p:txBody>
          <a:bodyPr wrap="square">
            <a:spAutoFit/>
          </a:bodyPr>
          <a:lstStyle/>
          <a:p>
            <a:pPr algn="ctr"/>
            <a:r>
              <a:rPr lang="en-US" sz="1400" b="1" dirty="0">
                <a:latin typeface="Arial Narrow (Headings)"/>
                <a:cs typeface="Arial" panose="020B0604020202020204" pitchFamily="34" charset="0"/>
              </a:rPr>
              <a:t>Highest number of different sensors in a node ever</a:t>
            </a:r>
          </a:p>
        </p:txBody>
      </p:sp>
      <p:grpSp>
        <p:nvGrpSpPr>
          <p:cNvPr id="53" name="Group 52">
            <a:extLst>
              <a:ext uri="{FF2B5EF4-FFF2-40B4-BE49-F238E27FC236}">
                <a16:creationId xmlns:a16="http://schemas.microsoft.com/office/drawing/2014/main" id="{A22CCAC9-3C7E-7E44-B310-74BFBAAED145}"/>
              </a:ext>
            </a:extLst>
          </p:cNvPr>
          <p:cNvGrpSpPr/>
          <p:nvPr/>
        </p:nvGrpSpPr>
        <p:grpSpPr>
          <a:xfrm>
            <a:off x="5857341" y="2437004"/>
            <a:ext cx="503837" cy="498867"/>
            <a:chOff x="839787" y="5054147"/>
            <a:chExt cx="640142" cy="633828"/>
          </a:xfrm>
        </p:grpSpPr>
        <p:sp>
          <p:nvSpPr>
            <p:cNvPr id="54" name="Oval 53">
              <a:extLst>
                <a:ext uri="{FF2B5EF4-FFF2-40B4-BE49-F238E27FC236}">
                  <a16:creationId xmlns:a16="http://schemas.microsoft.com/office/drawing/2014/main" id="{98F64914-1CDC-524D-8613-C83E61A5BADB}"/>
                </a:ext>
              </a:extLst>
            </p:cNvPr>
            <p:cNvSpPr/>
            <p:nvPr/>
          </p:nvSpPr>
          <p:spPr>
            <a:xfrm>
              <a:off x="839787" y="5054147"/>
              <a:ext cx="633828" cy="633828"/>
            </a:xfrm>
            <a:prstGeom prst="ellipse">
              <a:avLst/>
            </a:prstGeom>
            <a:solidFill>
              <a:schemeClr val="bg1"/>
            </a:solidFill>
            <a:ln w="31750">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sp>
          <p:nvSpPr>
            <p:cNvPr id="55" name="TextBox 54">
              <a:extLst>
                <a:ext uri="{FF2B5EF4-FFF2-40B4-BE49-F238E27FC236}">
                  <a16:creationId xmlns:a16="http://schemas.microsoft.com/office/drawing/2014/main" id="{5942BE6D-01C4-C942-B963-CBB261773731}"/>
                </a:ext>
              </a:extLst>
            </p:cNvPr>
            <p:cNvSpPr txBox="1"/>
            <p:nvPr/>
          </p:nvSpPr>
          <p:spPr>
            <a:xfrm>
              <a:off x="846101" y="5197936"/>
              <a:ext cx="633828" cy="346249"/>
            </a:xfrm>
            <a:prstGeom prst="rect">
              <a:avLst/>
            </a:prstGeom>
            <a:noFill/>
          </p:spPr>
          <p:txBody>
            <a:bodyPr wrap="none" rtlCol="0" anchor="ctr" anchorCtr="0">
              <a:noAutofit/>
            </a:bodyPr>
            <a:lstStyle/>
            <a:p>
              <a:pPr algn="ctr"/>
              <a:r>
                <a:rPr lang="en-US" sz="1200" b="1" dirty="0">
                  <a:solidFill>
                    <a:schemeClr val="accent1"/>
                  </a:solidFill>
                </a:rPr>
                <a:t>SEN5x</a:t>
              </a:r>
            </a:p>
          </p:txBody>
        </p:sp>
      </p:grpSp>
      <p:grpSp>
        <p:nvGrpSpPr>
          <p:cNvPr id="56" name="Group 55">
            <a:extLst>
              <a:ext uri="{FF2B5EF4-FFF2-40B4-BE49-F238E27FC236}">
                <a16:creationId xmlns:a16="http://schemas.microsoft.com/office/drawing/2014/main" id="{CDE28D79-6A5A-1D4A-9A31-19F1C4DD2F71}"/>
              </a:ext>
            </a:extLst>
          </p:cNvPr>
          <p:cNvGrpSpPr>
            <a:grpSpLocks noChangeAspect="1"/>
          </p:cNvGrpSpPr>
          <p:nvPr/>
        </p:nvGrpSpPr>
        <p:grpSpPr>
          <a:xfrm>
            <a:off x="5332615" y="1645632"/>
            <a:ext cx="1554650" cy="746491"/>
            <a:chOff x="2610321" y="4574118"/>
            <a:chExt cx="1978506" cy="950009"/>
          </a:xfrm>
        </p:grpSpPr>
        <p:grpSp>
          <p:nvGrpSpPr>
            <p:cNvPr id="57" name="Group 56">
              <a:extLst>
                <a:ext uri="{FF2B5EF4-FFF2-40B4-BE49-F238E27FC236}">
                  <a16:creationId xmlns:a16="http://schemas.microsoft.com/office/drawing/2014/main" id="{D3B31B20-46E2-E64C-9968-395BD7D38E17}"/>
                </a:ext>
              </a:extLst>
            </p:cNvPr>
            <p:cNvGrpSpPr>
              <a:grpSpLocks noChangeAspect="1"/>
            </p:cNvGrpSpPr>
            <p:nvPr/>
          </p:nvGrpSpPr>
          <p:grpSpPr>
            <a:xfrm>
              <a:off x="2610321" y="4574119"/>
              <a:ext cx="457200" cy="457200"/>
              <a:chOff x="1057967" y="4802579"/>
              <a:chExt cx="457200" cy="457200"/>
            </a:xfrm>
          </p:grpSpPr>
          <p:sp>
            <p:nvSpPr>
              <p:cNvPr id="71" name="Oval 70">
                <a:extLst>
                  <a:ext uri="{FF2B5EF4-FFF2-40B4-BE49-F238E27FC236}">
                    <a16:creationId xmlns:a16="http://schemas.microsoft.com/office/drawing/2014/main" id="{E731FBBC-2C84-2447-892B-F44282E0BA1B}"/>
                  </a:ext>
                </a:extLst>
              </p:cNvPr>
              <p:cNvSpPr/>
              <p:nvPr/>
            </p:nvSpPr>
            <p:spPr>
              <a:xfrm>
                <a:off x="1057967" y="4802579"/>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89" name="Graphic 88">
                <a:extLst>
                  <a:ext uri="{FF2B5EF4-FFF2-40B4-BE49-F238E27FC236}">
                    <a16:creationId xmlns:a16="http://schemas.microsoft.com/office/drawing/2014/main" id="{0EF6F775-4D93-104E-A34E-0D1D6E106A9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524" y="4848299"/>
                <a:ext cx="336088" cy="365760"/>
              </a:xfrm>
              <a:prstGeom prst="rect">
                <a:avLst/>
              </a:prstGeom>
            </p:spPr>
          </p:pic>
        </p:grpSp>
        <p:grpSp>
          <p:nvGrpSpPr>
            <p:cNvPr id="58" name="Group 57">
              <a:extLst>
                <a:ext uri="{FF2B5EF4-FFF2-40B4-BE49-F238E27FC236}">
                  <a16:creationId xmlns:a16="http://schemas.microsoft.com/office/drawing/2014/main" id="{57206A22-4229-4B4E-8F65-DDE2FB2BFA98}"/>
                </a:ext>
              </a:extLst>
            </p:cNvPr>
            <p:cNvGrpSpPr>
              <a:grpSpLocks noChangeAspect="1"/>
            </p:cNvGrpSpPr>
            <p:nvPr/>
          </p:nvGrpSpPr>
          <p:grpSpPr>
            <a:xfrm>
              <a:off x="4131627" y="4574118"/>
              <a:ext cx="457200" cy="457200"/>
              <a:chOff x="2938096" y="4802578"/>
              <a:chExt cx="457200" cy="457200"/>
            </a:xfrm>
          </p:grpSpPr>
          <p:sp>
            <p:nvSpPr>
              <p:cNvPr id="69" name="Oval 68">
                <a:extLst>
                  <a:ext uri="{FF2B5EF4-FFF2-40B4-BE49-F238E27FC236}">
                    <a16:creationId xmlns:a16="http://schemas.microsoft.com/office/drawing/2014/main" id="{31036C25-ED6C-8140-A42A-5A9D398BFF31}"/>
                  </a:ext>
                </a:extLst>
              </p:cNvPr>
              <p:cNvSpPr/>
              <p:nvPr/>
            </p:nvSpPr>
            <p:spPr>
              <a:xfrm>
                <a:off x="2938096" y="4802578"/>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70" name="Graphic 69">
                <a:extLst>
                  <a:ext uri="{FF2B5EF4-FFF2-40B4-BE49-F238E27FC236}">
                    <a16:creationId xmlns:a16="http://schemas.microsoft.com/office/drawing/2014/main" id="{28016271-0D77-124C-98F4-992EC121283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8652" y="4848298"/>
                <a:ext cx="336088" cy="365760"/>
              </a:xfrm>
              <a:prstGeom prst="rect">
                <a:avLst/>
              </a:prstGeom>
            </p:spPr>
          </p:pic>
        </p:grpSp>
        <p:grpSp>
          <p:nvGrpSpPr>
            <p:cNvPr id="59" name="Group 58">
              <a:extLst>
                <a:ext uri="{FF2B5EF4-FFF2-40B4-BE49-F238E27FC236}">
                  <a16:creationId xmlns:a16="http://schemas.microsoft.com/office/drawing/2014/main" id="{9C32D2FE-9CC5-254C-B2B4-D40825473CD4}"/>
                </a:ext>
              </a:extLst>
            </p:cNvPr>
            <p:cNvGrpSpPr>
              <a:grpSpLocks noChangeAspect="1"/>
            </p:cNvGrpSpPr>
            <p:nvPr/>
          </p:nvGrpSpPr>
          <p:grpSpPr>
            <a:xfrm>
              <a:off x="3370975" y="4574119"/>
              <a:ext cx="457200" cy="457200"/>
              <a:chOff x="1925115" y="4802579"/>
              <a:chExt cx="457200" cy="457200"/>
            </a:xfrm>
          </p:grpSpPr>
          <p:sp>
            <p:nvSpPr>
              <p:cNvPr id="67" name="Oval 66">
                <a:extLst>
                  <a:ext uri="{FF2B5EF4-FFF2-40B4-BE49-F238E27FC236}">
                    <a16:creationId xmlns:a16="http://schemas.microsoft.com/office/drawing/2014/main" id="{0CBC3AD0-641D-C141-A058-04ED82E0AE8A}"/>
                  </a:ext>
                </a:extLst>
              </p:cNvPr>
              <p:cNvSpPr/>
              <p:nvPr/>
            </p:nvSpPr>
            <p:spPr>
              <a:xfrm>
                <a:off x="1925115" y="4802579"/>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68" name="Graphic 67">
                <a:extLst>
                  <a:ext uri="{FF2B5EF4-FFF2-40B4-BE49-F238E27FC236}">
                    <a16:creationId xmlns:a16="http://schemas.microsoft.com/office/drawing/2014/main" id="{D394D812-32A0-7C49-AFCB-EE62EBD4FC5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85671" y="4848299"/>
                <a:ext cx="336089" cy="365760"/>
              </a:xfrm>
              <a:prstGeom prst="rect">
                <a:avLst/>
              </a:prstGeom>
            </p:spPr>
          </p:pic>
        </p:grpSp>
        <p:grpSp>
          <p:nvGrpSpPr>
            <p:cNvPr id="61" name="Group 60">
              <a:extLst>
                <a:ext uri="{FF2B5EF4-FFF2-40B4-BE49-F238E27FC236}">
                  <a16:creationId xmlns:a16="http://schemas.microsoft.com/office/drawing/2014/main" id="{81A117E7-58ED-0A43-A4FC-DF53D56E8651}"/>
                </a:ext>
              </a:extLst>
            </p:cNvPr>
            <p:cNvGrpSpPr>
              <a:grpSpLocks noChangeAspect="1"/>
            </p:cNvGrpSpPr>
            <p:nvPr/>
          </p:nvGrpSpPr>
          <p:grpSpPr>
            <a:xfrm>
              <a:off x="3751302" y="5066927"/>
              <a:ext cx="457200" cy="457200"/>
              <a:chOff x="2378078" y="5399885"/>
              <a:chExt cx="457200" cy="457200"/>
            </a:xfrm>
          </p:grpSpPr>
          <p:sp>
            <p:nvSpPr>
              <p:cNvPr id="65" name="Oval 64">
                <a:extLst>
                  <a:ext uri="{FF2B5EF4-FFF2-40B4-BE49-F238E27FC236}">
                    <a16:creationId xmlns:a16="http://schemas.microsoft.com/office/drawing/2014/main" id="{986A6310-D347-684C-B4AA-E1A6086312C3}"/>
                  </a:ext>
                </a:extLst>
              </p:cNvPr>
              <p:cNvSpPr/>
              <p:nvPr/>
            </p:nvSpPr>
            <p:spPr>
              <a:xfrm>
                <a:off x="2378078" y="5399885"/>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66" name="Graphic 65">
                <a:extLst>
                  <a:ext uri="{FF2B5EF4-FFF2-40B4-BE49-F238E27FC236}">
                    <a16:creationId xmlns:a16="http://schemas.microsoft.com/office/drawing/2014/main" id="{8E682B67-4548-3945-A2B8-12244DF6B1E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438634" y="5445605"/>
                <a:ext cx="336089" cy="365760"/>
              </a:xfrm>
              <a:prstGeom prst="rect">
                <a:avLst/>
              </a:prstGeom>
            </p:spPr>
          </p:pic>
        </p:grpSp>
        <p:grpSp>
          <p:nvGrpSpPr>
            <p:cNvPr id="62" name="Group 61">
              <a:extLst>
                <a:ext uri="{FF2B5EF4-FFF2-40B4-BE49-F238E27FC236}">
                  <a16:creationId xmlns:a16="http://schemas.microsoft.com/office/drawing/2014/main" id="{1E4C7F64-5C71-364D-AC43-D20B3EF2ACE9}"/>
                </a:ext>
              </a:extLst>
            </p:cNvPr>
            <p:cNvGrpSpPr>
              <a:grpSpLocks noChangeAspect="1"/>
            </p:cNvGrpSpPr>
            <p:nvPr/>
          </p:nvGrpSpPr>
          <p:grpSpPr>
            <a:xfrm>
              <a:off x="2990648" y="5054205"/>
              <a:ext cx="457200" cy="457200"/>
              <a:chOff x="1748682" y="5282614"/>
              <a:chExt cx="457200" cy="457200"/>
            </a:xfrm>
          </p:grpSpPr>
          <p:sp>
            <p:nvSpPr>
              <p:cNvPr id="63" name="Oval 62">
                <a:extLst>
                  <a:ext uri="{FF2B5EF4-FFF2-40B4-BE49-F238E27FC236}">
                    <a16:creationId xmlns:a16="http://schemas.microsoft.com/office/drawing/2014/main" id="{1277D850-9FCF-B443-B8AE-DD5641A409D5}"/>
                  </a:ext>
                </a:extLst>
              </p:cNvPr>
              <p:cNvSpPr/>
              <p:nvPr/>
            </p:nvSpPr>
            <p:spPr>
              <a:xfrm>
                <a:off x="1748682" y="5282614"/>
                <a:ext cx="457200" cy="457200"/>
              </a:xfrm>
              <a:prstGeom prst="ellipse">
                <a:avLst/>
              </a:prstGeom>
              <a:solidFill>
                <a:schemeClr val="bg1"/>
              </a:solidFill>
              <a:ln>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a:p>
            </p:txBody>
          </p:sp>
          <p:pic>
            <p:nvPicPr>
              <p:cNvPr id="64" name="Graphic 63">
                <a:extLst>
                  <a:ext uri="{FF2B5EF4-FFF2-40B4-BE49-F238E27FC236}">
                    <a16:creationId xmlns:a16="http://schemas.microsoft.com/office/drawing/2014/main" id="{2BF7B037-49B1-E840-849D-539A26AE5AB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09238" y="5328334"/>
                <a:ext cx="336089" cy="365760"/>
              </a:xfrm>
              <a:prstGeom prst="rect">
                <a:avLst/>
              </a:prstGeom>
            </p:spPr>
          </p:pic>
        </p:grpSp>
      </p:grpSp>
      <p:sp>
        <p:nvSpPr>
          <p:cNvPr id="102" name="Rectangle 101">
            <a:extLst>
              <a:ext uri="{FF2B5EF4-FFF2-40B4-BE49-F238E27FC236}">
                <a16:creationId xmlns:a16="http://schemas.microsoft.com/office/drawing/2014/main" id="{3F3B6DE1-3706-F37E-63AB-AE3AD3A23667}"/>
              </a:ext>
            </a:extLst>
          </p:cNvPr>
          <p:cNvSpPr/>
          <p:nvPr/>
        </p:nvSpPr>
        <p:spPr>
          <a:xfrm>
            <a:off x="2019268" y="3367401"/>
            <a:ext cx="2187874" cy="307777"/>
          </a:xfrm>
          <a:prstGeom prst="rect">
            <a:avLst/>
          </a:prstGeom>
        </p:spPr>
        <p:txBody>
          <a:bodyPr wrap="square">
            <a:spAutoFit/>
          </a:bodyPr>
          <a:lstStyle/>
          <a:p>
            <a:pPr algn="ctr"/>
            <a:r>
              <a:rPr lang="en-US" sz="1400" b="1" dirty="0">
                <a:latin typeface="Arial Narrow (Headings)"/>
                <a:cs typeface="Arial" panose="020B0604020202020204" pitchFamily="34" charset="0"/>
              </a:rPr>
              <a:t>Air quality parameters</a:t>
            </a:r>
          </a:p>
        </p:txBody>
      </p:sp>
      <p:sp>
        <p:nvSpPr>
          <p:cNvPr id="103" name="TextBox 102">
            <a:extLst>
              <a:ext uri="{FF2B5EF4-FFF2-40B4-BE49-F238E27FC236}">
                <a16:creationId xmlns:a16="http://schemas.microsoft.com/office/drawing/2014/main" id="{6DCA21F9-6ADA-BAAF-9B7D-0443E7B011E6}"/>
              </a:ext>
            </a:extLst>
          </p:cNvPr>
          <p:cNvSpPr txBox="1"/>
          <p:nvPr/>
        </p:nvSpPr>
        <p:spPr>
          <a:xfrm>
            <a:off x="1518422" y="2662310"/>
            <a:ext cx="701175" cy="307777"/>
          </a:xfrm>
          <a:prstGeom prst="rect">
            <a:avLst/>
          </a:prstGeom>
          <a:noFill/>
        </p:spPr>
        <p:txBody>
          <a:bodyPr wrap="square">
            <a:spAutoFit/>
          </a:bodyPr>
          <a:lstStyle/>
          <a:p>
            <a:pPr algn="ctr"/>
            <a:r>
              <a:rPr lang="en-US" sz="1400">
                <a:cs typeface="Arial Narrow" panose="020B0604020202020204" pitchFamily="34" charset="0"/>
              </a:rPr>
              <a:t>VOCs</a:t>
            </a:r>
          </a:p>
        </p:txBody>
      </p:sp>
      <p:sp>
        <p:nvSpPr>
          <p:cNvPr id="104" name="TextBox 103">
            <a:extLst>
              <a:ext uri="{FF2B5EF4-FFF2-40B4-BE49-F238E27FC236}">
                <a16:creationId xmlns:a16="http://schemas.microsoft.com/office/drawing/2014/main" id="{F1A48051-66AB-9702-9D8A-D746D26D3361}"/>
              </a:ext>
            </a:extLst>
          </p:cNvPr>
          <p:cNvSpPr txBox="1"/>
          <p:nvPr/>
        </p:nvSpPr>
        <p:spPr>
          <a:xfrm>
            <a:off x="2327061" y="2676461"/>
            <a:ext cx="505595" cy="307777"/>
          </a:xfrm>
          <a:prstGeom prst="rect">
            <a:avLst/>
          </a:prstGeom>
          <a:noFill/>
        </p:spPr>
        <p:txBody>
          <a:bodyPr wrap="square">
            <a:spAutoFit/>
          </a:bodyPr>
          <a:lstStyle/>
          <a:p>
            <a:pPr algn="ctr"/>
            <a:r>
              <a:rPr lang="en-US" sz="1400">
                <a:cs typeface="Arial Narrow" panose="020B0604020202020204" pitchFamily="34" charset="0"/>
              </a:rPr>
              <a:t>NO</a:t>
            </a:r>
            <a:r>
              <a:rPr lang="en-US" sz="1400" baseline="-25000">
                <a:cs typeface="Arial Narrow" panose="020B0604020202020204" pitchFamily="34" charset="0"/>
              </a:rPr>
              <a:t>x</a:t>
            </a:r>
          </a:p>
        </p:txBody>
      </p:sp>
      <p:sp>
        <p:nvSpPr>
          <p:cNvPr id="105" name="TextBox 104">
            <a:extLst>
              <a:ext uri="{FF2B5EF4-FFF2-40B4-BE49-F238E27FC236}">
                <a16:creationId xmlns:a16="http://schemas.microsoft.com/office/drawing/2014/main" id="{7DA780A8-C021-765D-D4D5-3AE0C9B8ECBB}"/>
              </a:ext>
            </a:extLst>
          </p:cNvPr>
          <p:cNvSpPr txBox="1"/>
          <p:nvPr/>
        </p:nvSpPr>
        <p:spPr>
          <a:xfrm>
            <a:off x="3016388" y="2676461"/>
            <a:ext cx="505595" cy="307777"/>
          </a:xfrm>
          <a:prstGeom prst="rect">
            <a:avLst/>
          </a:prstGeom>
          <a:noFill/>
        </p:spPr>
        <p:txBody>
          <a:bodyPr wrap="square">
            <a:spAutoFit/>
          </a:bodyPr>
          <a:lstStyle/>
          <a:p>
            <a:pPr algn="ctr"/>
            <a:r>
              <a:rPr lang="en-US" sz="1400">
                <a:cs typeface="Arial Narrow" panose="020B0604020202020204" pitchFamily="34" charset="0"/>
              </a:rPr>
              <a:t>CO</a:t>
            </a:r>
            <a:r>
              <a:rPr lang="en-US" sz="1400" baseline="-25000">
                <a:cs typeface="Arial Narrow" panose="020B0604020202020204" pitchFamily="34" charset="0"/>
              </a:rPr>
              <a:t>2</a:t>
            </a:r>
          </a:p>
        </p:txBody>
      </p:sp>
      <p:sp>
        <p:nvSpPr>
          <p:cNvPr id="106" name="TextBox 105">
            <a:extLst>
              <a:ext uri="{FF2B5EF4-FFF2-40B4-BE49-F238E27FC236}">
                <a16:creationId xmlns:a16="http://schemas.microsoft.com/office/drawing/2014/main" id="{844F9ED4-41CB-BEF4-FDDF-F4D3D758F741}"/>
              </a:ext>
            </a:extLst>
          </p:cNvPr>
          <p:cNvSpPr txBox="1"/>
          <p:nvPr/>
        </p:nvSpPr>
        <p:spPr>
          <a:xfrm>
            <a:off x="3493179" y="2679303"/>
            <a:ext cx="858935" cy="307777"/>
          </a:xfrm>
          <a:prstGeom prst="rect">
            <a:avLst/>
          </a:prstGeom>
          <a:noFill/>
        </p:spPr>
        <p:txBody>
          <a:bodyPr wrap="square">
            <a:spAutoFit/>
          </a:bodyPr>
          <a:lstStyle/>
          <a:p>
            <a:pPr algn="ctr"/>
            <a:r>
              <a:rPr lang="en-US" sz="1400">
                <a:cs typeface="Arial Narrow" panose="020B0604020202020204" pitchFamily="34" charset="0"/>
              </a:rPr>
              <a:t>PM2.5</a:t>
            </a:r>
          </a:p>
        </p:txBody>
      </p:sp>
      <p:grpSp>
        <p:nvGrpSpPr>
          <p:cNvPr id="110" name="Group 109">
            <a:extLst>
              <a:ext uri="{FF2B5EF4-FFF2-40B4-BE49-F238E27FC236}">
                <a16:creationId xmlns:a16="http://schemas.microsoft.com/office/drawing/2014/main" id="{B1AAC90C-933B-843E-D3A0-FEC98016F61F}"/>
              </a:ext>
            </a:extLst>
          </p:cNvPr>
          <p:cNvGrpSpPr/>
          <p:nvPr/>
        </p:nvGrpSpPr>
        <p:grpSpPr>
          <a:xfrm>
            <a:off x="3681183" y="2063493"/>
            <a:ext cx="528559" cy="505042"/>
            <a:chOff x="3789192" y="2369247"/>
            <a:chExt cx="720000" cy="720000"/>
          </a:xfrm>
        </p:grpSpPr>
        <p:sp>
          <p:nvSpPr>
            <p:cNvPr id="111" name="Oval 110">
              <a:extLst>
                <a:ext uri="{FF2B5EF4-FFF2-40B4-BE49-F238E27FC236}">
                  <a16:creationId xmlns:a16="http://schemas.microsoft.com/office/drawing/2014/main" id="{29B59558-34C7-AA12-9718-C9A78504D014}"/>
                </a:ext>
              </a:extLst>
            </p:cNvPr>
            <p:cNvSpPr/>
            <p:nvPr/>
          </p:nvSpPr>
          <p:spPr>
            <a:xfrm>
              <a:off x="3789192" y="2369247"/>
              <a:ext cx="720000" cy="720000"/>
            </a:xfrm>
            <a:prstGeom prst="ellipse">
              <a:avLst/>
            </a:prstGeom>
            <a:solidFill>
              <a:schemeClr val="bg1"/>
            </a:solidFill>
            <a:ln w="34925">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 name="Picture 111">
              <a:extLst>
                <a:ext uri="{FF2B5EF4-FFF2-40B4-BE49-F238E27FC236}">
                  <a16:creationId xmlns:a16="http://schemas.microsoft.com/office/drawing/2014/main" id="{46C7C9C3-A8E5-8072-F879-98EC9FDAFB8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888555" y="2494521"/>
              <a:ext cx="504000" cy="504000"/>
            </a:xfrm>
            <a:prstGeom prst="rect">
              <a:avLst/>
            </a:prstGeom>
          </p:spPr>
        </p:pic>
      </p:grpSp>
      <p:grpSp>
        <p:nvGrpSpPr>
          <p:cNvPr id="113" name="Group 112">
            <a:extLst>
              <a:ext uri="{FF2B5EF4-FFF2-40B4-BE49-F238E27FC236}">
                <a16:creationId xmlns:a16="http://schemas.microsoft.com/office/drawing/2014/main" id="{CF1A3AB5-5F02-0AF7-3BE3-7373AEA92D67}"/>
              </a:ext>
            </a:extLst>
          </p:cNvPr>
          <p:cNvGrpSpPr/>
          <p:nvPr/>
        </p:nvGrpSpPr>
        <p:grpSpPr>
          <a:xfrm>
            <a:off x="3001108" y="2063493"/>
            <a:ext cx="528559" cy="505042"/>
            <a:chOff x="2894791" y="2369247"/>
            <a:chExt cx="720000" cy="720000"/>
          </a:xfrm>
        </p:grpSpPr>
        <p:sp>
          <p:nvSpPr>
            <p:cNvPr id="114" name="Oval 113">
              <a:extLst>
                <a:ext uri="{FF2B5EF4-FFF2-40B4-BE49-F238E27FC236}">
                  <a16:creationId xmlns:a16="http://schemas.microsoft.com/office/drawing/2014/main" id="{9EEFE9A9-4F19-40BA-DB95-86EEB2FDEA8F}"/>
                </a:ext>
              </a:extLst>
            </p:cNvPr>
            <p:cNvSpPr/>
            <p:nvPr/>
          </p:nvSpPr>
          <p:spPr>
            <a:xfrm>
              <a:off x="2894791" y="2369247"/>
              <a:ext cx="720000" cy="720000"/>
            </a:xfrm>
            <a:prstGeom prst="ellipse">
              <a:avLst/>
            </a:prstGeom>
            <a:solidFill>
              <a:schemeClr val="bg1"/>
            </a:solidFill>
            <a:ln w="34925">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5" name="Picture 114">
              <a:extLst>
                <a:ext uri="{FF2B5EF4-FFF2-40B4-BE49-F238E27FC236}">
                  <a16:creationId xmlns:a16="http://schemas.microsoft.com/office/drawing/2014/main" id="{7F61DF0D-B802-503B-A584-0CAA79E03A7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02791" y="2494521"/>
              <a:ext cx="504000" cy="504000"/>
            </a:xfrm>
            <a:prstGeom prst="rect">
              <a:avLst/>
            </a:prstGeom>
          </p:spPr>
        </p:pic>
      </p:grpSp>
      <p:grpSp>
        <p:nvGrpSpPr>
          <p:cNvPr id="116" name="Group 115">
            <a:extLst>
              <a:ext uri="{FF2B5EF4-FFF2-40B4-BE49-F238E27FC236}">
                <a16:creationId xmlns:a16="http://schemas.microsoft.com/office/drawing/2014/main" id="{E9E3851A-147B-B080-20EA-5DAB74401F24}"/>
              </a:ext>
            </a:extLst>
          </p:cNvPr>
          <p:cNvGrpSpPr/>
          <p:nvPr/>
        </p:nvGrpSpPr>
        <p:grpSpPr>
          <a:xfrm>
            <a:off x="2311889" y="2063493"/>
            <a:ext cx="528559" cy="505042"/>
            <a:chOff x="2000390" y="2369247"/>
            <a:chExt cx="720000" cy="720000"/>
          </a:xfrm>
        </p:grpSpPr>
        <p:sp>
          <p:nvSpPr>
            <p:cNvPr id="117" name="Oval 116">
              <a:extLst>
                <a:ext uri="{FF2B5EF4-FFF2-40B4-BE49-F238E27FC236}">
                  <a16:creationId xmlns:a16="http://schemas.microsoft.com/office/drawing/2014/main" id="{AD855A5E-8546-2933-1974-940704208887}"/>
                </a:ext>
              </a:extLst>
            </p:cNvPr>
            <p:cNvSpPr/>
            <p:nvPr/>
          </p:nvSpPr>
          <p:spPr>
            <a:xfrm>
              <a:off x="2000390" y="2369247"/>
              <a:ext cx="720000" cy="720000"/>
            </a:xfrm>
            <a:prstGeom prst="ellipse">
              <a:avLst/>
            </a:prstGeom>
            <a:solidFill>
              <a:schemeClr val="bg1"/>
            </a:solidFill>
            <a:ln w="34925">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8" name="Picture 117">
              <a:extLst>
                <a:ext uri="{FF2B5EF4-FFF2-40B4-BE49-F238E27FC236}">
                  <a16:creationId xmlns:a16="http://schemas.microsoft.com/office/drawing/2014/main" id="{C9DBB508-9B45-56B8-6754-3E8C78165AAA}"/>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117027" y="2494521"/>
              <a:ext cx="504000" cy="504000"/>
            </a:xfrm>
            <a:prstGeom prst="rect">
              <a:avLst/>
            </a:prstGeom>
          </p:spPr>
        </p:pic>
      </p:grpSp>
      <p:grpSp>
        <p:nvGrpSpPr>
          <p:cNvPr id="119" name="Group 118">
            <a:extLst>
              <a:ext uri="{FF2B5EF4-FFF2-40B4-BE49-F238E27FC236}">
                <a16:creationId xmlns:a16="http://schemas.microsoft.com/office/drawing/2014/main" id="{6DFFA219-9FE3-4CB9-71F3-6C68588C3EF8}"/>
              </a:ext>
            </a:extLst>
          </p:cNvPr>
          <p:cNvGrpSpPr/>
          <p:nvPr/>
        </p:nvGrpSpPr>
        <p:grpSpPr>
          <a:xfrm>
            <a:off x="1615196" y="2060116"/>
            <a:ext cx="528559" cy="505042"/>
            <a:chOff x="1105989" y="2369247"/>
            <a:chExt cx="720000" cy="720000"/>
          </a:xfrm>
        </p:grpSpPr>
        <p:sp>
          <p:nvSpPr>
            <p:cNvPr id="120" name="Oval 119">
              <a:extLst>
                <a:ext uri="{FF2B5EF4-FFF2-40B4-BE49-F238E27FC236}">
                  <a16:creationId xmlns:a16="http://schemas.microsoft.com/office/drawing/2014/main" id="{8AE1ED77-37D1-9EA0-6D43-27BA0B9ED546}"/>
                </a:ext>
              </a:extLst>
            </p:cNvPr>
            <p:cNvSpPr/>
            <p:nvPr/>
          </p:nvSpPr>
          <p:spPr>
            <a:xfrm>
              <a:off x="1105989" y="2369247"/>
              <a:ext cx="720000" cy="720000"/>
            </a:xfrm>
            <a:prstGeom prst="ellipse">
              <a:avLst/>
            </a:prstGeom>
            <a:solidFill>
              <a:schemeClr val="bg1"/>
            </a:solidFill>
            <a:ln w="34925">
              <a:solidFill>
                <a:schemeClr val="accent1"/>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1" name="Picture 120">
              <a:extLst>
                <a:ext uri="{FF2B5EF4-FFF2-40B4-BE49-F238E27FC236}">
                  <a16:creationId xmlns:a16="http://schemas.microsoft.com/office/drawing/2014/main" id="{816927A7-3D99-40BD-BDDB-1DD4D5E6E10C}"/>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231263" y="2494521"/>
              <a:ext cx="504000" cy="504000"/>
            </a:xfrm>
            <a:prstGeom prst="rect">
              <a:avLst/>
            </a:prstGeom>
          </p:spPr>
        </p:pic>
      </p:grpSp>
      <p:pic>
        <p:nvPicPr>
          <p:cNvPr id="72" name="Picture 71">
            <a:extLst>
              <a:ext uri="{FF2B5EF4-FFF2-40B4-BE49-F238E27FC236}">
                <a16:creationId xmlns:a16="http://schemas.microsoft.com/office/drawing/2014/main" id="{970F1FBB-12DB-871C-F7F3-7C0057E9ACA0}"/>
              </a:ext>
            </a:extLst>
          </p:cNvPr>
          <p:cNvPicPr>
            <a:picLocks noChangeAspect="1"/>
          </p:cNvPicPr>
          <p:nvPr/>
        </p:nvPicPr>
        <p:blipFill>
          <a:blip r:embed="rId19"/>
          <a:stretch>
            <a:fillRect/>
          </a:stretch>
        </p:blipFill>
        <p:spPr>
          <a:xfrm>
            <a:off x="9535948" y="2636347"/>
            <a:ext cx="1697429" cy="1083068"/>
          </a:xfrm>
          <a:prstGeom prst="rect">
            <a:avLst/>
          </a:prstGeom>
        </p:spPr>
      </p:pic>
      <p:sp>
        <p:nvSpPr>
          <p:cNvPr id="73" name="Rectangle: Rounded Corners 72">
            <a:extLst>
              <a:ext uri="{FF2B5EF4-FFF2-40B4-BE49-F238E27FC236}">
                <a16:creationId xmlns:a16="http://schemas.microsoft.com/office/drawing/2014/main" id="{AFD63CBF-F953-B42F-CC51-57C7E4611EEE}"/>
              </a:ext>
            </a:extLst>
          </p:cNvPr>
          <p:cNvSpPr/>
          <p:nvPr/>
        </p:nvSpPr>
        <p:spPr>
          <a:xfrm>
            <a:off x="7239873" y="1412038"/>
            <a:ext cx="1934409" cy="2352700"/>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Rounded Corners 49">
            <a:extLst>
              <a:ext uri="{FF2B5EF4-FFF2-40B4-BE49-F238E27FC236}">
                <a16:creationId xmlns:a16="http://schemas.microsoft.com/office/drawing/2014/main" id="{4BC2DE46-2F91-FF77-EFD3-3A4D1A70A8BD}"/>
              </a:ext>
            </a:extLst>
          </p:cNvPr>
          <p:cNvSpPr/>
          <p:nvPr/>
        </p:nvSpPr>
        <p:spPr>
          <a:xfrm>
            <a:off x="2954362" y="3965444"/>
            <a:ext cx="1934409" cy="2292720"/>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id-17E69AF6-37DE-461F-A631-F58A5B360685" descr="Image.jpeg">
            <a:extLst>
              <a:ext uri="{FF2B5EF4-FFF2-40B4-BE49-F238E27FC236}">
                <a16:creationId xmlns:a16="http://schemas.microsoft.com/office/drawing/2014/main" id="{DF3BE360-2054-D890-6E87-2C1B49B5E61F}"/>
              </a:ext>
            </a:extLst>
          </p:cNvPr>
          <p:cNvPicPr>
            <a:picLocks noChangeAspect="1" noChangeArrowheads="1"/>
          </p:cNvPicPr>
          <p:nvPr/>
        </p:nvPicPr>
        <p:blipFill>
          <a:blip r:embed="rId20" r:link="rId22" cstate="print">
            <a:extLst>
              <a:ext uri="{BEBA8EAE-BF5A-486C-A8C5-ECC9F3942E4B}">
                <a14:imgProps xmlns:a14="http://schemas.microsoft.com/office/drawing/2010/main">
                  <a14:imgLayer r:embed="rId21">
                    <a14:imgEffect>
                      <a14:backgroundRemoval t="10000" b="90000" l="10000" r="90000">
                        <a14:foregroundMark x1="42262" y1="57143" x2="41369" y2="57705"/>
                        <a14:backgroundMark x1="68725" y1="62930" x2="42212" y2="65146"/>
                        <a14:backgroundMark x1="42212" y1="65146" x2="65600" y2="60714"/>
                        <a14:backgroundMark x1="32887" y1="39021" x2="54861" y2="39683"/>
                        <a14:backgroundMark x1="54861" y1="39683" x2="34846" y2="38360"/>
                        <a14:backgroundMark x1="34846" y1="38360" x2="34201" y2="38591"/>
                        <a14:backgroundMark x1="43254" y1="66865" x2="48834" y2="58763"/>
                        <a14:backgroundMark x1="43750" y1="62500" x2="42956" y2="62335"/>
                        <a14:backgroundMark x1="44544" y1="59623" x2="45610" y2="58499"/>
                        <a14:backgroundMark x1="43130" y1="59888" x2="41840" y2="61938"/>
                        <a14:backgroundMark x1="40799" y1="63161" x2="44122" y2="58829"/>
                        <a14:backgroundMark x1="42956" y1="59127" x2="40923" y2="62004"/>
                        <a14:backgroundMark x1="44618" y1="58333" x2="39856" y2="62500"/>
                        <a14:backgroundMark x1="44122" y1="58333" x2="40823" y2="60946"/>
                        <a14:backgroundMark x1="43626" y1="58995" x2="40675" y2="60946"/>
                        <a14:backgroundMark x1="42981" y1="58763" x2="40823" y2="60086"/>
                        <a14:backgroundMark x1="43651" y1="58102" x2="42212" y2="58763"/>
                      </a14:backgroundRemoval>
                    </a14:imgEffect>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flipH="1">
            <a:off x="7370686" y="1645632"/>
            <a:ext cx="1803596" cy="1352697"/>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85A56486-B2B1-B76C-F0A6-C767F6145CBA}"/>
              </a:ext>
            </a:extLst>
          </p:cNvPr>
          <p:cNvSpPr/>
          <p:nvPr/>
        </p:nvSpPr>
        <p:spPr>
          <a:xfrm>
            <a:off x="7468689" y="2959919"/>
            <a:ext cx="1554652" cy="738664"/>
          </a:xfrm>
          <a:prstGeom prst="rect">
            <a:avLst/>
          </a:prstGeom>
        </p:spPr>
        <p:txBody>
          <a:bodyPr wrap="square">
            <a:spAutoFit/>
          </a:bodyPr>
          <a:lstStyle/>
          <a:p>
            <a:pPr algn="ctr"/>
            <a:r>
              <a:rPr lang="en-US" sz="1400" b="1">
                <a:latin typeface="Arian narrow"/>
                <a:cs typeface="Arial" panose="020B0604020202020204" pitchFamily="34" charset="0"/>
              </a:rPr>
              <a:t>Highest performance in final product</a:t>
            </a:r>
          </a:p>
        </p:txBody>
      </p:sp>
      <p:pic>
        <p:nvPicPr>
          <p:cNvPr id="94" name="Picture 2">
            <a:extLst>
              <a:ext uri="{FF2B5EF4-FFF2-40B4-BE49-F238E27FC236}">
                <a16:creationId xmlns:a16="http://schemas.microsoft.com/office/drawing/2014/main" id="{97FD6F2F-7B09-5B07-4C22-3314ECA962D8}"/>
              </a:ext>
            </a:extLst>
          </p:cNvPr>
          <p:cNvPicPr>
            <a:picLocks noChangeAspect="1" noChangeArrowheads="1"/>
          </p:cNvPicPr>
          <p:nvPr/>
        </p:nvPicPr>
        <p:blipFill>
          <a:blip r:embed="rId23" cstate="print">
            <a:alphaModFix amt="70000"/>
            <a:extLst>
              <a:ext uri="{BEBA8EAE-BF5A-486C-A8C5-ECC9F3942E4B}">
                <a14:imgProps xmlns:a14="http://schemas.microsoft.com/office/drawing/2010/main">
                  <a14:imgLayer r:embed="rId24">
                    <a14:imgEffect>
                      <a14:brightnessContrast contrast="-40000"/>
                    </a14:imgEffect>
                  </a14:imgLayer>
                </a14:imgProps>
              </a:ext>
              <a:ext uri="{28A0092B-C50C-407E-A947-70E740481C1C}">
                <a14:useLocalDpi xmlns:a14="http://schemas.microsoft.com/office/drawing/2010/main" val="0"/>
              </a:ext>
            </a:extLst>
          </a:blip>
          <a:srcRect l="29" r="29"/>
          <a:stretch/>
        </p:blipFill>
        <p:spPr bwMode="auto">
          <a:xfrm>
            <a:off x="1102555" y="4177693"/>
            <a:ext cx="1528591" cy="1214821"/>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986522A5-3DA8-3028-C250-6711A3D38741}"/>
              </a:ext>
            </a:extLst>
          </p:cNvPr>
          <p:cNvSpPr/>
          <p:nvPr/>
        </p:nvSpPr>
        <p:spPr>
          <a:xfrm>
            <a:off x="926286" y="5423042"/>
            <a:ext cx="1881129" cy="646331"/>
          </a:xfrm>
          <a:prstGeom prst="rect">
            <a:avLst/>
          </a:prstGeom>
        </p:spPr>
        <p:txBody>
          <a:bodyPr wrap="square">
            <a:spAutoFit/>
          </a:bodyPr>
          <a:lstStyle/>
          <a:p>
            <a:pPr algn="ctr"/>
            <a:r>
              <a:rPr lang="en-US" sz="1200" b="1">
                <a:latin typeface="Arian narrow"/>
                <a:cs typeface="Arial" panose="020B0604020202020204" pitchFamily="34" charset="0"/>
              </a:rPr>
              <a:t>Simplest and quickest hardware and software implementation</a:t>
            </a:r>
          </a:p>
        </p:txBody>
      </p:sp>
      <p:sp>
        <p:nvSpPr>
          <p:cNvPr id="108" name="Rectangle 107">
            <a:extLst>
              <a:ext uri="{FF2B5EF4-FFF2-40B4-BE49-F238E27FC236}">
                <a16:creationId xmlns:a16="http://schemas.microsoft.com/office/drawing/2014/main" id="{F018CA18-C2CF-ED26-7B12-4DF5931D61A8}"/>
              </a:ext>
            </a:extLst>
          </p:cNvPr>
          <p:cNvSpPr/>
          <p:nvPr/>
        </p:nvSpPr>
        <p:spPr>
          <a:xfrm>
            <a:off x="3056047" y="5423041"/>
            <a:ext cx="1881129" cy="646331"/>
          </a:xfrm>
          <a:prstGeom prst="rect">
            <a:avLst/>
          </a:prstGeom>
        </p:spPr>
        <p:txBody>
          <a:bodyPr wrap="square">
            <a:spAutoFit/>
          </a:bodyPr>
          <a:lstStyle/>
          <a:p>
            <a:pPr algn="ctr"/>
            <a:r>
              <a:rPr lang="en-US" sz="1200" b="1">
                <a:latin typeface="Arian narrow"/>
                <a:cs typeface="Arial" panose="020B0604020202020204" pitchFamily="34" charset="0"/>
              </a:rPr>
              <a:t>Compact solution</a:t>
            </a:r>
            <a:br>
              <a:rPr lang="en-US" sz="1200" b="1">
                <a:latin typeface="Arian narrow"/>
                <a:cs typeface="Arial" panose="020B0604020202020204" pitchFamily="34" charset="0"/>
              </a:rPr>
            </a:br>
            <a:r>
              <a:rPr lang="en-US" sz="1200" b="1">
                <a:latin typeface="Arian narrow"/>
                <a:cs typeface="Arial" panose="020B0604020202020204" pitchFamily="34" charset="0"/>
              </a:rPr>
              <a:t>Fast go-to-market</a:t>
            </a:r>
            <a:br>
              <a:rPr lang="en-US" sz="1200" b="1">
                <a:latin typeface="Arian narrow"/>
                <a:cs typeface="Arial" panose="020B0604020202020204" pitchFamily="34" charset="0"/>
              </a:rPr>
            </a:br>
            <a:r>
              <a:rPr lang="en-US" sz="1200" b="1">
                <a:latin typeface="Arian narrow"/>
                <a:cs typeface="Arial" panose="020B0604020202020204" pitchFamily="34" charset="0"/>
              </a:rPr>
              <a:t>Robust supply chain</a:t>
            </a:r>
          </a:p>
        </p:txBody>
      </p:sp>
      <p:pic>
        <p:nvPicPr>
          <p:cNvPr id="109" name="Picture 108">
            <a:extLst>
              <a:ext uri="{FF2B5EF4-FFF2-40B4-BE49-F238E27FC236}">
                <a16:creationId xmlns:a16="http://schemas.microsoft.com/office/drawing/2014/main" id="{000763BD-6074-5958-5C00-F0025BED8D52}"/>
              </a:ext>
            </a:extLst>
          </p:cNvPr>
          <p:cNvPicPr>
            <a:picLocks noChangeAspect="1"/>
          </p:cNvPicPr>
          <p:nvPr/>
        </p:nvPicPr>
        <p:blipFill>
          <a:blip r:embed="rId25"/>
          <a:stretch>
            <a:fillRect/>
          </a:stretch>
        </p:blipFill>
        <p:spPr>
          <a:xfrm>
            <a:off x="3447285" y="4110337"/>
            <a:ext cx="1048478" cy="1048478"/>
          </a:xfrm>
          <a:prstGeom prst="rect">
            <a:avLst/>
          </a:prstGeom>
        </p:spPr>
      </p:pic>
      <p:grpSp>
        <p:nvGrpSpPr>
          <p:cNvPr id="122" name="Group 121">
            <a:extLst>
              <a:ext uri="{FF2B5EF4-FFF2-40B4-BE49-F238E27FC236}">
                <a16:creationId xmlns:a16="http://schemas.microsoft.com/office/drawing/2014/main" id="{C592A607-930D-22C8-4370-502B4C521519}"/>
              </a:ext>
            </a:extLst>
          </p:cNvPr>
          <p:cNvGrpSpPr/>
          <p:nvPr/>
        </p:nvGrpSpPr>
        <p:grpSpPr>
          <a:xfrm>
            <a:off x="5058488" y="4329248"/>
            <a:ext cx="1827814" cy="1056247"/>
            <a:chOff x="5048819" y="4412791"/>
            <a:chExt cx="1827814" cy="1056247"/>
          </a:xfrm>
        </p:grpSpPr>
        <p:pic>
          <p:nvPicPr>
            <p:cNvPr id="123" name="Picture 122">
              <a:extLst>
                <a:ext uri="{FF2B5EF4-FFF2-40B4-BE49-F238E27FC236}">
                  <a16:creationId xmlns:a16="http://schemas.microsoft.com/office/drawing/2014/main" id="{052D8DC3-8668-8CFF-FA58-51CA720DD26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048819" y="4412791"/>
              <a:ext cx="1056247" cy="1056247"/>
            </a:xfrm>
            <a:prstGeom prst="rect">
              <a:avLst/>
            </a:prstGeom>
          </p:spPr>
        </p:pic>
        <p:pic>
          <p:nvPicPr>
            <p:cNvPr id="124" name="Picture 123" descr="Amazon.com: Awair Element Indoor Air Quality Monitor: Home &amp; Kitchen">
              <a:extLst>
                <a:ext uri="{FF2B5EF4-FFF2-40B4-BE49-F238E27FC236}">
                  <a16:creationId xmlns:a16="http://schemas.microsoft.com/office/drawing/2014/main" id="{1CEACC4A-90F4-9997-C1FE-B8B59B8F8919}"/>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898842" y="4584357"/>
              <a:ext cx="977791" cy="742143"/>
            </a:xfrm>
            <a:prstGeom prst="rect">
              <a:avLst/>
            </a:prstGeom>
            <a:noFill/>
            <a:extLst>
              <a:ext uri="{909E8E84-426E-40DD-AFC4-6F175D3DCCD1}">
                <a14:hiddenFill xmlns:a14="http://schemas.microsoft.com/office/drawing/2010/main">
                  <a:solidFill>
                    <a:srgbClr val="FFFFFF"/>
                  </a:solidFill>
                </a14:hiddenFill>
              </a:ext>
            </a:extLst>
          </p:spPr>
        </p:pic>
      </p:grpSp>
      <p:sp>
        <p:nvSpPr>
          <p:cNvPr id="125" name="Rectangle 124">
            <a:extLst>
              <a:ext uri="{FF2B5EF4-FFF2-40B4-BE49-F238E27FC236}">
                <a16:creationId xmlns:a16="http://schemas.microsoft.com/office/drawing/2014/main" id="{6194E151-5723-D1A6-BE5A-40A1A94402E6}"/>
              </a:ext>
            </a:extLst>
          </p:cNvPr>
          <p:cNvSpPr/>
          <p:nvPr/>
        </p:nvSpPr>
        <p:spPr>
          <a:xfrm>
            <a:off x="5315772" y="5495310"/>
            <a:ext cx="1554652" cy="523220"/>
          </a:xfrm>
          <a:prstGeom prst="rect">
            <a:avLst/>
          </a:prstGeom>
        </p:spPr>
        <p:txBody>
          <a:bodyPr wrap="square">
            <a:spAutoFit/>
          </a:bodyPr>
          <a:lstStyle/>
          <a:p>
            <a:pPr algn="ctr"/>
            <a:r>
              <a:rPr lang="en-US" sz="1400" b="1">
                <a:latin typeface="Arial Narrow (Headings)"/>
                <a:cs typeface="Arial" panose="020B0604020202020204" pitchFamily="34" charset="0"/>
              </a:rPr>
              <a:t>Applications and Markets</a:t>
            </a:r>
          </a:p>
        </p:txBody>
      </p:sp>
      <p:pic>
        <p:nvPicPr>
          <p:cNvPr id="126" name="Picture 2">
            <a:extLst>
              <a:ext uri="{FF2B5EF4-FFF2-40B4-BE49-F238E27FC236}">
                <a16:creationId xmlns:a16="http://schemas.microsoft.com/office/drawing/2014/main" id="{4E22951E-6854-075A-0316-497A3620DBD6}"/>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22888" r="51881"/>
          <a:stretch/>
        </p:blipFill>
        <p:spPr bwMode="auto">
          <a:xfrm>
            <a:off x="8127404" y="4631710"/>
            <a:ext cx="990539" cy="894629"/>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2">
            <a:extLst>
              <a:ext uri="{FF2B5EF4-FFF2-40B4-BE49-F238E27FC236}">
                <a16:creationId xmlns:a16="http://schemas.microsoft.com/office/drawing/2014/main" id="{36AD9055-2A93-BF30-AED9-0FF953F18497}"/>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400395" y="4724288"/>
            <a:ext cx="788102" cy="675516"/>
          </a:xfrm>
          <a:prstGeom prst="rect">
            <a:avLst/>
          </a:prstGeom>
          <a:noFill/>
          <a:extLst>
            <a:ext uri="{909E8E84-426E-40DD-AFC4-6F175D3DCCD1}">
              <a14:hiddenFill xmlns:a14="http://schemas.microsoft.com/office/drawing/2010/main">
                <a:solidFill>
                  <a:srgbClr val="FFFFFF"/>
                </a:solidFill>
              </a14:hiddenFill>
            </a:ext>
          </a:extLst>
        </p:spPr>
      </p:pic>
      <p:sp>
        <p:nvSpPr>
          <p:cNvPr id="131" name="Rectangle 130">
            <a:extLst>
              <a:ext uri="{FF2B5EF4-FFF2-40B4-BE49-F238E27FC236}">
                <a16:creationId xmlns:a16="http://schemas.microsoft.com/office/drawing/2014/main" id="{9E398774-6C41-CA74-DDB0-49E5589B5909}"/>
              </a:ext>
            </a:extLst>
          </p:cNvPr>
          <p:cNvSpPr/>
          <p:nvPr/>
        </p:nvSpPr>
        <p:spPr>
          <a:xfrm>
            <a:off x="7404585" y="5614980"/>
            <a:ext cx="1554652" cy="307777"/>
          </a:xfrm>
          <a:prstGeom prst="rect">
            <a:avLst/>
          </a:prstGeom>
        </p:spPr>
        <p:txBody>
          <a:bodyPr wrap="square">
            <a:spAutoFit/>
          </a:bodyPr>
          <a:lstStyle/>
          <a:p>
            <a:pPr algn="ctr"/>
            <a:r>
              <a:rPr lang="en-US" sz="1400" b="1">
                <a:latin typeface="Arial Narrow (Headings)"/>
                <a:cs typeface="Arial" panose="020B0604020202020204" pitchFamily="34" charset="0"/>
              </a:rPr>
              <a:t>Success stories</a:t>
            </a:r>
          </a:p>
        </p:txBody>
      </p:sp>
      <p:sp>
        <p:nvSpPr>
          <p:cNvPr id="135" name="TextBox 134">
            <a:extLst>
              <a:ext uri="{FF2B5EF4-FFF2-40B4-BE49-F238E27FC236}">
                <a16:creationId xmlns:a16="http://schemas.microsoft.com/office/drawing/2014/main" id="{435544BC-47F3-13C3-C7DC-C82475B1BA33}"/>
              </a:ext>
            </a:extLst>
          </p:cNvPr>
          <p:cNvSpPr txBox="1"/>
          <p:nvPr/>
        </p:nvSpPr>
        <p:spPr>
          <a:xfrm>
            <a:off x="9758075" y="4129193"/>
            <a:ext cx="1175167" cy="400110"/>
          </a:xfrm>
          <a:prstGeom prst="rect">
            <a:avLst/>
          </a:prstGeom>
          <a:noFill/>
        </p:spPr>
        <p:txBody>
          <a:bodyPr wrap="square"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pitchFamily="34" charset="0"/>
                <a:ea typeface="+mn-ea"/>
                <a:cs typeface="Arial" charset="0"/>
              </a:rPr>
              <a:t>SEN5x</a:t>
            </a:r>
          </a:p>
        </p:txBody>
      </p:sp>
      <p:sp>
        <p:nvSpPr>
          <p:cNvPr id="136" name="TextBox 135">
            <a:extLst>
              <a:ext uri="{FF2B5EF4-FFF2-40B4-BE49-F238E27FC236}">
                <a16:creationId xmlns:a16="http://schemas.microsoft.com/office/drawing/2014/main" id="{F4432490-77F5-33B8-31C7-01CDEDAA8C1A}"/>
              </a:ext>
            </a:extLst>
          </p:cNvPr>
          <p:cNvSpPr txBox="1"/>
          <p:nvPr/>
        </p:nvSpPr>
        <p:spPr>
          <a:xfrm>
            <a:off x="9758074" y="2104785"/>
            <a:ext cx="1175167" cy="400110"/>
          </a:xfrm>
          <a:prstGeom prst="rect">
            <a:avLst/>
          </a:prstGeom>
          <a:noFill/>
        </p:spPr>
        <p:txBody>
          <a:bodyPr wrap="square"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pitchFamily="34" charset="0"/>
                <a:ea typeface="+mn-ea"/>
                <a:cs typeface="Arial" charset="0"/>
              </a:rPr>
              <a:t>SPS30</a:t>
            </a:r>
          </a:p>
        </p:txBody>
      </p:sp>
    </p:spTree>
    <p:extLst>
      <p:ext uri="{BB962C8B-B14F-4D97-AF65-F5344CB8AC3E}">
        <p14:creationId xmlns:p14="http://schemas.microsoft.com/office/powerpoint/2010/main" val="36851673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48932" y="917195"/>
            <a:ext cx="3974278" cy="5320093"/>
          </a:xfrm>
        </p:spPr>
        <p:txBody>
          <a:bodyPr/>
          <a:lstStyle/>
          <a:p>
            <a:pPr marL="342900" indent="-342900">
              <a:buFont typeface="Arial" panose="020B0604020202020204" pitchFamily="34" charset="0"/>
              <a:buChar char="•"/>
            </a:pPr>
            <a:r>
              <a:rPr lang="en-US"/>
              <a:t>SEK-SEN5x</a:t>
            </a:r>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endParaRPr lang="en-US"/>
          </a:p>
          <a:p>
            <a:pPr marL="342900" indent="-342900">
              <a:buFont typeface="Arial" panose="020B0604020202020204" pitchFamily="34" charset="0"/>
              <a:buChar char="•"/>
            </a:pPr>
            <a:r>
              <a:rPr lang="en-US"/>
              <a:t>SEK - </a:t>
            </a:r>
            <a:r>
              <a:rPr lang="en-US" err="1"/>
              <a:t>SensorBridge</a:t>
            </a:r>
            <a:endParaRPr lang="en-US"/>
          </a:p>
          <a:p>
            <a:pPr marL="342900" indent="-342900">
              <a:buFont typeface="Arial" panose="020B0604020202020204" pitchFamily="34" charset="0"/>
              <a:buChar char="•"/>
            </a:pPr>
            <a:endParaRPr lang="en-US"/>
          </a:p>
        </p:txBody>
      </p:sp>
      <p:sp>
        <p:nvSpPr>
          <p:cNvPr id="3" name="Title 2"/>
          <p:cNvSpPr>
            <a:spLocks noGrp="1"/>
          </p:cNvSpPr>
          <p:nvPr>
            <p:ph type="title"/>
          </p:nvPr>
        </p:nvSpPr>
        <p:spPr/>
        <p:txBody>
          <a:bodyPr/>
          <a:lstStyle/>
          <a:p>
            <a:r>
              <a:rPr lang="en-US"/>
              <a:t>Demonstrations – Seeing is Believing</a:t>
            </a:r>
          </a:p>
        </p:txBody>
      </p:sp>
      <p:pic>
        <p:nvPicPr>
          <p:cNvPr id="5" name="Picture 4">
            <a:extLst>
              <a:ext uri="{FF2B5EF4-FFF2-40B4-BE49-F238E27FC236}">
                <a16:creationId xmlns:a16="http://schemas.microsoft.com/office/drawing/2014/main" id="{364197D3-4091-F932-2CEB-30068158B497}"/>
              </a:ext>
            </a:extLst>
          </p:cNvPr>
          <p:cNvPicPr>
            <a:picLocks noChangeAspect="1"/>
          </p:cNvPicPr>
          <p:nvPr/>
        </p:nvPicPr>
        <p:blipFill>
          <a:blip r:embed="rId2"/>
          <a:stretch>
            <a:fillRect/>
          </a:stretch>
        </p:blipFill>
        <p:spPr>
          <a:xfrm>
            <a:off x="1092486" y="1513013"/>
            <a:ext cx="3027337" cy="1742565"/>
          </a:xfrm>
          <a:prstGeom prst="rect">
            <a:avLst/>
          </a:prstGeom>
        </p:spPr>
      </p:pic>
      <p:pic>
        <p:nvPicPr>
          <p:cNvPr id="9" name="Picture 8">
            <a:extLst>
              <a:ext uri="{FF2B5EF4-FFF2-40B4-BE49-F238E27FC236}">
                <a16:creationId xmlns:a16="http://schemas.microsoft.com/office/drawing/2014/main" id="{0BAB2469-073A-44DA-21EC-D2710612DF0C}"/>
              </a:ext>
            </a:extLst>
          </p:cNvPr>
          <p:cNvPicPr>
            <a:picLocks noChangeAspect="1"/>
          </p:cNvPicPr>
          <p:nvPr/>
        </p:nvPicPr>
        <p:blipFill>
          <a:blip r:embed="rId3"/>
          <a:stretch>
            <a:fillRect/>
          </a:stretch>
        </p:blipFill>
        <p:spPr>
          <a:xfrm>
            <a:off x="5056716" y="1353127"/>
            <a:ext cx="6320368" cy="4151745"/>
          </a:xfrm>
          <a:prstGeom prst="rect">
            <a:avLst/>
          </a:prstGeom>
        </p:spPr>
      </p:pic>
      <p:pic>
        <p:nvPicPr>
          <p:cNvPr id="10" name="Picture 9">
            <a:extLst>
              <a:ext uri="{FF2B5EF4-FFF2-40B4-BE49-F238E27FC236}">
                <a16:creationId xmlns:a16="http://schemas.microsoft.com/office/drawing/2014/main" id="{0C5998E3-DBEB-DE25-7B90-6B09CA52CF1A}"/>
              </a:ext>
            </a:extLst>
          </p:cNvPr>
          <p:cNvPicPr>
            <a:picLocks noChangeAspect="1"/>
          </p:cNvPicPr>
          <p:nvPr/>
        </p:nvPicPr>
        <p:blipFill>
          <a:blip r:embed="rId4"/>
          <a:stretch>
            <a:fillRect/>
          </a:stretch>
        </p:blipFill>
        <p:spPr>
          <a:xfrm>
            <a:off x="1092487" y="4041198"/>
            <a:ext cx="3027337" cy="2005119"/>
          </a:xfrm>
          <a:prstGeom prst="rect">
            <a:avLst/>
          </a:prstGeom>
        </p:spPr>
      </p:pic>
      <p:sp>
        <p:nvSpPr>
          <p:cNvPr id="11" name="Text Placeholder 1">
            <a:extLst>
              <a:ext uri="{FF2B5EF4-FFF2-40B4-BE49-F238E27FC236}">
                <a16:creationId xmlns:a16="http://schemas.microsoft.com/office/drawing/2014/main" id="{86019ADC-D31C-34A5-69EC-4D9BA18CDCC5}"/>
              </a:ext>
            </a:extLst>
          </p:cNvPr>
          <p:cNvSpPr txBox="1">
            <a:spLocks/>
          </p:cNvSpPr>
          <p:nvPr/>
        </p:nvSpPr>
        <p:spPr>
          <a:xfrm>
            <a:off x="4903596" y="996874"/>
            <a:ext cx="4054664" cy="618921"/>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b="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a:t>SEK - </a:t>
            </a:r>
            <a:r>
              <a:rPr lang="en-US" err="1"/>
              <a:t>ControlCenter</a:t>
            </a:r>
            <a:endParaRPr lang="en-US"/>
          </a:p>
        </p:txBody>
      </p:sp>
    </p:spTree>
    <p:extLst>
      <p:ext uri="{BB962C8B-B14F-4D97-AF65-F5344CB8AC3E}">
        <p14:creationId xmlns:p14="http://schemas.microsoft.com/office/powerpoint/2010/main" val="34643045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Rounded Corners 49">
            <a:extLst>
              <a:ext uri="{FF2B5EF4-FFF2-40B4-BE49-F238E27FC236}">
                <a16:creationId xmlns:a16="http://schemas.microsoft.com/office/drawing/2014/main" id="{A5815FC9-70A9-291D-151F-E4DE76B39562}"/>
              </a:ext>
            </a:extLst>
          </p:cNvPr>
          <p:cNvSpPr/>
          <p:nvPr/>
        </p:nvSpPr>
        <p:spPr>
          <a:xfrm>
            <a:off x="5688503" y="1119156"/>
            <a:ext cx="5663711" cy="150974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Rounded Corners 49">
            <a:extLst>
              <a:ext uri="{FF2B5EF4-FFF2-40B4-BE49-F238E27FC236}">
                <a16:creationId xmlns:a16="http://schemas.microsoft.com/office/drawing/2014/main" id="{A81CC16E-0AFE-9011-D3F2-3243CBB9B0A4}"/>
              </a:ext>
            </a:extLst>
          </p:cNvPr>
          <p:cNvSpPr/>
          <p:nvPr/>
        </p:nvSpPr>
        <p:spPr>
          <a:xfrm>
            <a:off x="5688503" y="2907015"/>
            <a:ext cx="5663711" cy="150974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Rounded Corners 49">
            <a:extLst>
              <a:ext uri="{FF2B5EF4-FFF2-40B4-BE49-F238E27FC236}">
                <a16:creationId xmlns:a16="http://schemas.microsoft.com/office/drawing/2014/main" id="{0A18BB5B-7998-B7CA-C7DE-C5AC62434975}"/>
              </a:ext>
            </a:extLst>
          </p:cNvPr>
          <p:cNvSpPr/>
          <p:nvPr/>
        </p:nvSpPr>
        <p:spPr>
          <a:xfrm>
            <a:off x="5688503" y="4667611"/>
            <a:ext cx="5663711" cy="150974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380AEA3-74A8-ABC7-9B73-58692BC18F62}"/>
              </a:ext>
            </a:extLst>
          </p:cNvPr>
          <p:cNvSpPr>
            <a:spLocks noGrp="1"/>
          </p:cNvSpPr>
          <p:nvPr>
            <p:ph type="title"/>
          </p:nvPr>
        </p:nvSpPr>
        <p:spPr/>
        <p:txBody>
          <a:bodyPr/>
          <a:lstStyle/>
          <a:p>
            <a:r>
              <a:rPr lang="en-US"/>
              <a:t>IAQ Application Overview: Clean Air in Buildings Challenge </a:t>
            </a:r>
          </a:p>
        </p:txBody>
      </p:sp>
      <p:sp>
        <p:nvSpPr>
          <p:cNvPr id="4" name="Slide Number Placeholder 3">
            <a:extLst>
              <a:ext uri="{FF2B5EF4-FFF2-40B4-BE49-F238E27FC236}">
                <a16:creationId xmlns:a16="http://schemas.microsoft.com/office/drawing/2014/main" id="{F4C01CF6-B584-C106-35C9-8C5FAA449C92}"/>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46</a:t>
            </a:fld>
            <a:endParaRPr lang="de-CH"/>
          </a:p>
        </p:txBody>
      </p:sp>
      <p:pic>
        <p:nvPicPr>
          <p:cNvPr id="12" name="Picture 11">
            <a:extLst>
              <a:ext uri="{FF2B5EF4-FFF2-40B4-BE49-F238E27FC236}">
                <a16:creationId xmlns:a16="http://schemas.microsoft.com/office/drawing/2014/main" id="{E51C5C38-F0E8-7314-BCE0-5909E1A41A60}"/>
              </a:ext>
            </a:extLst>
          </p:cNvPr>
          <p:cNvPicPr>
            <a:picLocks noChangeAspect="1"/>
          </p:cNvPicPr>
          <p:nvPr/>
        </p:nvPicPr>
        <p:blipFill>
          <a:blip r:embed="rId3"/>
          <a:stretch>
            <a:fillRect/>
          </a:stretch>
        </p:blipFill>
        <p:spPr>
          <a:xfrm>
            <a:off x="1006772" y="1325739"/>
            <a:ext cx="4055906" cy="828994"/>
          </a:xfrm>
          <a:prstGeom prst="rect">
            <a:avLst/>
          </a:prstGeom>
        </p:spPr>
      </p:pic>
      <p:grpSp>
        <p:nvGrpSpPr>
          <p:cNvPr id="14" name="Group 13">
            <a:extLst>
              <a:ext uri="{FF2B5EF4-FFF2-40B4-BE49-F238E27FC236}">
                <a16:creationId xmlns:a16="http://schemas.microsoft.com/office/drawing/2014/main" id="{CEDB6D48-73FD-4FAB-D554-192BA70A2E61}"/>
              </a:ext>
            </a:extLst>
          </p:cNvPr>
          <p:cNvGrpSpPr/>
          <p:nvPr/>
        </p:nvGrpSpPr>
        <p:grpSpPr>
          <a:xfrm>
            <a:off x="887415" y="1082869"/>
            <a:ext cx="4335747" cy="5049123"/>
            <a:chOff x="891715" y="1235274"/>
            <a:chExt cx="4335747" cy="5049123"/>
          </a:xfrm>
        </p:grpSpPr>
        <p:sp>
          <p:nvSpPr>
            <p:cNvPr id="15" name="Rectangle: Rounded Corners 49">
              <a:extLst>
                <a:ext uri="{FF2B5EF4-FFF2-40B4-BE49-F238E27FC236}">
                  <a16:creationId xmlns:a16="http://schemas.microsoft.com/office/drawing/2014/main" id="{A4D82F8C-357A-8AD0-F571-D3E3D9F94713}"/>
                </a:ext>
              </a:extLst>
            </p:cNvPr>
            <p:cNvSpPr/>
            <p:nvPr/>
          </p:nvSpPr>
          <p:spPr>
            <a:xfrm>
              <a:off x="891715" y="1235274"/>
              <a:ext cx="4335747" cy="5049123"/>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a:solidFill>
                  <a:schemeClr val="tx1"/>
                </a:solidFill>
              </a:endParaRPr>
            </a:p>
            <a:p>
              <a:pPr algn="ctr"/>
              <a:endParaRPr lang="en-US" sz="1600">
                <a:solidFill>
                  <a:schemeClr val="tx1"/>
                </a:solidFill>
              </a:endParaRPr>
            </a:p>
            <a:p>
              <a:pPr algn="ctr"/>
              <a:endParaRPr lang="en-US" sz="1600">
                <a:solidFill>
                  <a:schemeClr val="tx1"/>
                </a:solidFill>
              </a:endParaRPr>
            </a:p>
            <a:p>
              <a:pPr algn="ctr"/>
              <a:endParaRPr lang="en-US" sz="1600">
                <a:solidFill>
                  <a:schemeClr val="tx1"/>
                </a:solidFill>
              </a:endParaRPr>
            </a:p>
            <a:p>
              <a:pPr algn="just"/>
              <a:r>
                <a:rPr lang="en-US" sz="1600" b="1" u="sng">
                  <a:solidFill>
                    <a:schemeClr val="tx1"/>
                  </a:solidFill>
                  <a:sym typeface="Wingdings" panose="05000000000000000000" pitchFamily="2" charset="2"/>
                </a:rPr>
                <a:t>Call to action for building owners and operators: </a:t>
              </a:r>
            </a:p>
            <a:p>
              <a:pPr algn="just"/>
              <a:r>
                <a:rPr lang="en-US" sz="1600">
                  <a:solidFill>
                    <a:schemeClr val="tx1"/>
                  </a:solidFill>
                </a:rPr>
                <a:t>“basic principles and general actions recommended to improve indoor air quality (IAQ) in buildings and reduce the risk of airborne spread of viruses and other contaminants”</a:t>
              </a:r>
            </a:p>
            <a:p>
              <a:pPr algn="just"/>
              <a:endParaRPr lang="en-US" sz="1600">
                <a:solidFill>
                  <a:schemeClr val="tx1"/>
                </a:solidFill>
              </a:endParaRPr>
            </a:p>
            <a:p>
              <a:pPr marL="457200" indent="-457200">
                <a:buAutoNum type="arabicPeriod"/>
              </a:pPr>
              <a:r>
                <a:rPr lang="en-US" b="1">
                  <a:solidFill>
                    <a:schemeClr val="accent1"/>
                  </a:solidFill>
                  <a:sym typeface="Wingdings" panose="05000000000000000000" pitchFamily="2" charset="2"/>
                </a:rPr>
                <a:t>Create Action Plan</a:t>
              </a:r>
            </a:p>
            <a:p>
              <a:pPr marL="457200" indent="-457200">
                <a:buAutoNum type="arabicPeriod"/>
              </a:pPr>
              <a:endParaRPr lang="en-US" sz="1000">
                <a:solidFill>
                  <a:schemeClr val="tx1"/>
                </a:solidFill>
                <a:sym typeface="Wingdings" panose="05000000000000000000" pitchFamily="2" charset="2"/>
              </a:endParaRPr>
            </a:p>
            <a:p>
              <a:pPr marL="457200" indent="-457200">
                <a:buAutoNum type="arabicPeriod"/>
              </a:pPr>
              <a:r>
                <a:rPr lang="en-US" b="1">
                  <a:solidFill>
                    <a:schemeClr val="accent1"/>
                  </a:solidFill>
                  <a:sym typeface="Wingdings" panose="05000000000000000000" pitchFamily="2" charset="2"/>
                </a:rPr>
                <a:t>Optimize Air Ventilation </a:t>
              </a:r>
            </a:p>
            <a:p>
              <a:pPr marL="457200" indent="-457200">
                <a:buAutoNum type="arabicPeriod"/>
              </a:pPr>
              <a:endParaRPr lang="en-US" sz="1000" b="1">
                <a:solidFill>
                  <a:schemeClr val="accent1"/>
                </a:solidFill>
                <a:sym typeface="Wingdings" panose="05000000000000000000" pitchFamily="2" charset="2"/>
              </a:endParaRPr>
            </a:p>
            <a:p>
              <a:pPr marL="457200" indent="-457200">
                <a:buAutoNum type="arabicPeriod"/>
              </a:pPr>
              <a:r>
                <a:rPr lang="en-US" b="1">
                  <a:solidFill>
                    <a:schemeClr val="accent1"/>
                  </a:solidFill>
                  <a:sym typeface="Wingdings" panose="05000000000000000000" pitchFamily="2" charset="2"/>
                </a:rPr>
                <a:t>Enhance Air Filtration </a:t>
              </a:r>
            </a:p>
            <a:p>
              <a:pPr marL="457200" indent="-457200">
                <a:buAutoNum type="arabicPeriod"/>
              </a:pPr>
              <a:endParaRPr lang="en-US" sz="1000">
                <a:solidFill>
                  <a:schemeClr val="tx1"/>
                </a:solidFill>
                <a:sym typeface="Wingdings" panose="05000000000000000000" pitchFamily="2" charset="2"/>
              </a:endParaRPr>
            </a:p>
            <a:p>
              <a:pPr marL="457200" indent="-457200">
                <a:buAutoNum type="arabicPeriod"/>
              </a:pPr>
              <a:r>
                <a:rPr lang="en-US">
                  <a:solidFill>
                    <a:schemeClr val="tx1"/>
                  </a:solidFill>
                  <a:sym typeface="Wingdings" panose="05000000000000000000" pitchFamily="2" charset="2"/>
                </a:rPr>
                <a:t>Get your community engaged </a:t>
              </a:r>
              <a:endParaRPr lang="en-US">
                <a:solidFill>
                  <a:schemeClr val="tx1"/>
                </a:solidFill>
              </a:endParaRPr>
            </a:p>
          </p:txBody>
        </p:sp>
        <p:pic>
          <p:nvPicPr>
            <p:cNvPr id="16" name="Picture 15">
              <a:extLst>
                <a:ext uri="{FF2B5EF4-FFF2-40B4-BE49-F238E27FC236}">
                  <a16:creationId xmlns:a16="http://schemas.microsoft.com/office/drawing/2014/main" id="{7C8989EE-F941-583E-866F-DE86B6AC65DA}"/>
                </a:ext>
              </a:extLst>
            </p:cNvPr>
            <p:cNvPicPr>
              <a:picLocks noChangeAspect="1"/>
            </p:cNvPicPr>
            <p:nvPr/>
          </p:nvPicPr>
          <p:blipFill>
            <a:blip r:embed="rId3"/>
            <a:stretch>
              <a:fillRect/>
            </a:stretch>
          </p:blipFill>
          <p:spPr>
            <a:xfrm>
              <a:off x="1006772" y="1325739"/>
              <a:ext cx="4055906" cy="828994"/>
            </a:xfrm>
            <a:prstGeom prst="rect">
              <a:avLst/>
            </a:prstGeom>
          </p:spPr>
        </p:pic>
      </p:grpSp>
      <p:sp>
        <p:nvSpPr>
          <p:cNvPr id="26" name="TextBox 25">
            <a:extLst>
              <a:ext uri="{FF2B5EF4-FFF2-40B4-BE49-F238E27FC236}">
                <a16:creationId xmlns:a16="http://schemas.microsoft.com/office/drawing/2014/main" id="{F70D5826-2AC2-007E-1802-1952A9FEA70C}"/>
              </a:ext>
            </a:extLst>
          </p:cNvPr>
          <p:cNvSpPr txBox="1"/>
          <p:nvPr/>
        </p:nvSpPr>
        <p:spPr>
          <a:xfrm>
            <a:off x="7596353" y="3436989"/>
            <a:ext cx="3437579" cy="584775"/>
          </a:xfrm>
          <a:prstGeom prst="rect">
            <a:avLst/>
          </a:prstGeom>
          <a:noFill/>
        </p:spPr>
        <p:txBody>
          <a:bodyPr wrap="square">
            <a:spAutoFit/>
          </a:bodyPr>
          <a:lstStyle/>
          <a:p>
            <a:r>
              <a:rPr lang="de-CH" sz="1600" i="1">
                <a:effectLst/>
                <a:latin typeface="+mj-lt"/>
              </a:rPr>
              <a:t>«</a:t>
            </a:r>
            <a:r>
              <a:rPr lang="de-CH" sz="1600" i="1" err="1">
                <a:effectLst/>
                <a:latin typeface="+mj-lt"/>
              </a:rPr>
              <a:t>ventilation</a:t>
            </a:r>
            <a:r>
              <a:rPr lang="de-CH" sz="1600" i="1">
                <a:effectLst/>
                <a:latin typeface="+mj-lt"/>
              </a:rPr>
              <a:t> </a:t>
            </a:r>
            <a:r>
              <a:rPr lang="de-CH" sz="1600" i="1" err="1">
                <a:effectLst/>
                <a:latin typeface="+mj-lt"/>
              </a:rPr>
              <a:t>can</a:t>
            </a:r>
            <a:r>
              <a:rPr lang="de-CH" sz="1600" i="1">
                <a:effectLst/>
                <a:latin typeface="+mj-lt"/>
              </a:rPr>
              <a:t> </a:t>
            </a:r>
            <a:r>
              <a:rPr lang="de-CH" sz="1600" i="1" err="1">
                <a:effectLst/>
                <a:latin typeface="+mj-lt"/>
              </a:rPr>
              <a:t>reduce</a:t>
            </a:r>
            <a:r>
              <a:rPr lang="de-CH" sz="1600" i="1">
                <a:latin typeface="+mj-lt"/>
              </a:rPr>
              <a:t> COVID-19 </a:t>
            </a:r>
            <a:r>
              <a:rPr lang="de-CH" sz="1600" i="1" err="1">
                <a:latin typeface="+mj-lt"/>
              </a:rPr>
              <a:t>infection</a:t>
            </a:r>
            <a:r>
              <a:rPr lang="de-CH" sz="1600" i="1">
                <a:latin typeface="+mj-lt"/>
              </a:rPr>
              <a:t> </a:t>
            </a:r>
            <a:r>
              <a:rPr lang="de-CH" sz="1600" i="1" err="1">
                <a:latin typeface="+mj-lt"/>
              </a:rPr>
              <a:t>risk</a:t>
            </a:r>
            <a:r>
              <a:rPr lang="de-CH" sz="1600" i="1">
                <a:latin typeface="+mj-lt"/>
              </a:rPr>
              <a:t> </a:t>
            </a:r>
            <a:r>
              <a:rPr lang="de-CH" sz="1600" i="1" err="1">
                <a:latin typeface="+mj-lt"/>
              </a:rPr>
              <a:t>by</a:t>
            </a:r>
            <a:r>
              <a:rPr lang="de-CH" sz="1600" i="1">
                <a:latin typeface="+mj-lt"/>
              </a:rPr>
              <a:t> </a:t>
            </a:r>
            <a:r>
              <a:rPr lang="de-CH" sz="1600" i="1" err="1">
                <a:latin typeface="+mj-lt"/>
              </a:rPr>
              <a:t>up</a:t>
            </a:r>
            <a:r>
              <a:rPr lang="de-CH" sz="1600" i="1">
                <a:latin typeface="+mj-lt"/>
              </a:rPr>
              <a:t> </a:t>
            </a:r>
            <a:r>
              <a:rPr lang="de-CH" sz="1600" i="1" err="1">
                <a:latin typeface="+mj-lt"/>
              </a:rPr>
              <a:t>to</a:t>
            </a:r>
            <a:r>
              <a:rPr lang="de-CH" sz="1600" i="1">
                <a:latin typeface="+mj-lt"/>
              </a:rPr>
              <a:t> 80 %»</a:t>
            </a:r>
            <a:r>
              <a:rPr lang="de-CH" sz="1600" i="1" baseline="30000">
                <a:effectLst/>
                <a:latin typeface="+mj-lt"/>
              </a:rPr>
              <a:t>[2]</a:t>
            </a:r>
            <a:endParaRPr lang="en-US" sz="1600" i="1" baseline="30000">
              <a:latin typeface="+mj-lt"/>
            </a:endParaRPr>
          </a:p>
        </p:txBody>
      </p:sp>
      <p:sp>
        <p:nvSpPr>
          <p:cNvPr id="27" name="TextBox 26">
            <a:extLst>
              <a:ext uri="{FF2B5EF4-FFF2-40B4-BE49-F238E27FC236}">
                <a16:creationId xmlns:a16="http://schemas.microsoft.com/office/drawing/2014/main" id="{1CED111B-A203-E05D-23F0-FD678FA75566}"/>
              </a:ext>
            </a:extLst>
          </p:cNvPr>
          <p:cNvSpPr txBox="1"/>
          <p:nvPr/>
        </p:nvSpPr>
        <p:spPr>
          <a:xfrm>
            <a:off x="7574375" y="3020902"/>
            <a:ext cx="2699503" cy="400110"/>
          </a:xfrm>
          <a:prstGeom prst="rect">
            <a:avLst/>
          </a:prstGeom>
          <a:noFill/>
        </p:spPr>
        <p:txBody>
          <a:bodyPr wrap="square">
            <a:spAutoFit/>
          </a:bodyPr>
          <a:lstStyle/>
          <a:p>
            <a:r>
              <a:rPr lang="en-US" b="1">
                <a:solidFill>
                  <a:schemeClr val="tx1"/>
                </a:solidFill>
                <a:sym typeface="Wingdings" panose="05000000000000000000" pitchFamily="2" charset="2"/>
              </a:rPr>
              <a:t>2. HVAC Systems</a:t>
            </a:r>
          </a:p>
        </p:txBody>
      </p:sp>
      <p:grpSp>
        <p:nvGrpSpPr>
          <p:cNvPr id="99" name="Group 98">
            <a:extLst>
              <a:ext uri="{FF2B5EF4-FFF2-40B4-BE49-F238E27FC236}">
                <a16:creationId xmlns:a16="http://schemas.microsoft.com/office/drawing/2014/main" id="{481D6A67-426B-ABF8-209A-31AD1646B16D}"/>
              </a:ext>
            </a:extLst>
          </p:cNvPr>
          <p:cNvGrpSpPr/>
          <p:nvPr/>
        </p:nvGrpSpPr>
        <p:grpSpPr>
          <a:xfrm>
            <a:off x="5982437" y="4798913"/>
            <a:ext cx="1597447" cy="1333080"/>
            <a:chOff x="12867241" y="6633907"/>
            <a:chExt cx="2170223" cy="1811066"/>
          </a:xfrm>
        </p:grpSpPr>
        <p:pic>
          <p:nvPicPr>
            <p:cNvPr id="65" name="Picture 64">
              <a:extLst>
                <a:ext uri="{FF2B5EF4-FFF2-40B4-BE49-F238E27FC236}">
                  <a16:creationId xmlns:a16="http://schemas.microsoft.com/office/drawing/2014/main" id="{662814B1-368C-6A8B-28E1-67E9ADB27580}"/>
                </a:ext>
              </a:extLst>
            </p:cNvPr>
            <p:cNvPicPr>
              <a:picLocks noChangeAspect="1"/>
            </p:cNvPicPr>
            <p:nvPr/>
          </p:nvPicPr>
          <p:blipFill>
            <a:blip r:embed="rId4"/>
            <a:stretch>
              <a:fillRect/>
            </a:stretch>
          </p:blipFill>
          <p:spPr>
            <a:xfrm>
              <a:off x="13751105" y="6633907"/>
              <a:ext cx="892524" cy="936873"/>
            </a:xfrm>
            <a:prstGeom prst="rect">
              <a:avLst/>
            </a:prstGeom>
          </p:spPr>
        </p:pic>
        <p:pic>
          <p:nvPicPr>
            <p:cNvPr id="66" name="Picture 10" descr="Office, open work, work, working, working office icon - Download on  Iconfinder">
              <a:extLst>
                <a:ext uri="{FF2B5EF4-FFF2-40B4-BE49-F238E27FC236}">
                  <a16:creationId xmlns:a16="http://schemas.microsoft.com/office/drawing/2014/main" id="{2C9AF97F-26C8-21CE-120F-8C72CA9C6F03}"/>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2867241" y="7284617"/>
              <a:ext cx="1160356" cy="1160356"/>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A775C987-1FC8-9769-693F-488C784B9949}"/>
                </a:ext>
              </a:extLst>
            </p:cNvPr>
            <p:cNvGrpSpPr/>
            <p:nvPr/>
          </p:nvGrpSpPr>
          <p:grpSpPr>
            <a:xfrm>
              <a:off x="14115362" y="6962073"/>
              <a:ext cx="308210" cy="308623"/>
              <a:chOff x="5803369" y="2895080"/>
              <a:chExt cx="859867" cy="861018"/>
            </a:xfrm>
          </p:grpSpPr>
          <p:sp>
            <p:nvSpPr>
              <p:cNvPr id="60" name="Oval 59">
                <a:extLst>
                  <a:ext uri="{FF2B5EF4-FFF2-40B4-BE49-F238E27FC236}">
                    <a16:creationId xmlns:a16="http://schemas.microsoft.com/office/drawing/2014/main" id="{851B8CBC-906A-B544-767A-F354BD42E731}"/>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Picture 10" descr="Is COVID airborne? (Abstract Science, Aug. 30 – Sept. 5) | Charles River">
                <a:extLst>
                  <a:ext uri="{FF2B5EF4-FFF2-40B4-BE49-F238E27FC236}">
                    <a16:creationId xmlns:a16="http://schemas.microsoft.com/office/drawing/2014/main" id="{14F3118A-8119-7D17-6879-57400DC7F4E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62" name="Picture 10" descr="Is COVID airborne? (Abstract Science, Aug. 30 – Sept. 5) | Charles River">
                <a:extLst>
                  <a:ext uri="{FF2B5EF4-FFF2-40B4-BE49-F238E27FC236}">
                    <a16:creationId xmlns:a16="http://schemas.microsoft.com/office/drawing/2014/main" id="{4F2AC81B-79EE-ED8E-5F63-59FC8904F50B}"/>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63" name="Picture 10" descr="Is COVID airborne? (Abstract Science, Aug. 30 – Sept. 5) | Charles River">
                <a:extLst>
                  <a:ext uri="{FF2B5EF4-FFF2-40B4-BE49-F238E27FC236}">
                    <a16:creationId xmlns:a16="http://schemas.microsoft.com/office/drawing/2014/main" id="{B9D96E20-42C8-2D8F-00F8-425E1E39D190}"/>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47" name="Group 46">
              <a:extLst>
                <a:ext uri="{FF2B5EF4-FFF2-40B4-BE49-F238E27FC236}">
                  <a16:creationId xmlns:a16="http://schemas.microsoft.com/office/drawing/2014/main" id="{3D71E42B-A53C-30F4-F03B-852E560C54F0}"/>
                </a:ext>
              </a:extLst>
            </p:cNvPr>
            <p:cNvGrpSpPr/>
            <p:nvPr/>
          </p:nvGrpSpPr>
          <p:grpSpPr>
            <a:xfrm>
              <a:off x="13849765" y="6761295"/>
              <a:ext cx="308210" cy="308623"/>
              <a:chOff x="5803369" y="2895080"/>
              <a:chExt cx="859867" cy="861018"/>
            </a:xfrm>
          </p:grpSpPr>
          <p:sp>
            <p:nvSpPr>
              <p:cNvPr id="56" name="Oval 55">
                <a:extLst>
                  <a:ext uri="{FF2B5EF4-FFF2-40B4-BE49-F238E27FC236}">
                    <a16:creationId xmlns:a16="http://schemas.microsoft.com/office/drawing/2014/main" id="{9A5D9A50-040C-7393-7345-882ACED0DB31}"/>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Picture 10" descr="Is COVID airborne? (Abstract Science, Aug. 30 – Sept. 5) | Charles River">
                <a:extLst>
                  <a:ext uri="{FF2B5EF4-FFF2-40B4-BE49-F238E27FC236}">
                    <a16:creationId xmlns:a16="http://schemas.microsoft.com/office/drawing/2014/main" id="{FEB65974-85B5-642E-C495-2FA23FB5B93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58" name="Picture 10" descr="Is COVID airborne? (Abstract Science, Aug. 30 – Sept. 5) | Charles River">
                <a:extLst>
                  <a:ext uri="{FF2B5EF4-FFF2-40B4-BE49-F238E27FC236}">
                    <a16:creationId xmlns:a16="http://schemas.microsoft.com/office/drawing/2014/main" id="{5E857318-A1C7-1E57-F03A-9DAEFB7D0725}"/>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59" name="Picture 10" descr="Is COVID airborne? (Abstract Science, Aug. 30 – Sept. 5) | Charles River">
                <a:extLst>
                  <a:ext uri="{FF2B5EF4-FFF2-40B4-BE49-F238E27FC236}">
                    <a16:creationId xmlns:a16="http://schemas.microsoft.com/office/drawing/2014/main" id="{280BE5E1-AC11-37D3-6370-3B27E67F7F4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48" name="Group 47">
              <a:extLst>
                <a:ext uri="{FF2B5EF4-FFF2-40B4-BE49-F238E27FC236}">
                  <a16:creationId xmlns:a16="http://schemas.microsoft.com/office/drawing/2014/main" id="{1597463B-4179-EF9D-E812-21ED0280E970}"/>
                </a:ext>
              </a:extLst>
            </p:cNvPr>
            <p:cNvGrpSpPr/>
            <p:nvPr/>
          </p:nvGrpSpPr>
          <p:grpSpPr>
            <a:xfrm>
              <a:off x="14308809" y="7321463"/>
              <a:ext cx="252490" cy="252828"/>
              <a:chOff x="5803369" y="2895080"/>
              <a:chExt cx="859867" cy="861018"/>
            </a:xfrm>
          </p:grpSpPr>
          <p:sp>
            <p:nvSpPr>
              <p:cNvPr id="52" name="Oval 51">
                <a:extLst>
                  <a:ext uri="{FF2B5EF4-FFF2-40B4-BE49-F238E27FC236}">
                    <a16:creationId xmlns:a16="http://schemas.microsoft.com/office/drawing/2014/main" id="{9AE34448-F216-C679-F02D-F5B3CCE36EBC}"/>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10" descr="Is COVID airborne? (Abstract Science, Aug. 30 – Sept. 5) | Charles River">
                <a:extLst>
                  <a:ext uri="{FF2B5EF4-FFF2-40B4-BE49-F238E27FC236}">
                    <a16:creationId xmlns:a16="http://schemas.microsoft.com/office/drawing/2014/main" id="{BE965BE7-82F5-889C-FE44-ED96B3DB8B66}"/>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54" name="Picture 10" descr="Is COVID airborne? (Abstract Science, Aug. 30 – Sept. 5) | Charles River">
                <a:extLst>
                  <a:ext uri="{FF2B5EF4-FFF2-40B4-BE49-F238E27FC236}">
                    <a16:creationId xmlns:a16="http://schemas.microsoft.com/office/drawing/2014/main" id="{6888F2AB-18D6-FC82-6623-2B5BD00D2ADC}"/>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55" name="Picture 10" descr="Is COVID airborne? (Abstract Science, Aug. 30 – Sept. 5) | Charles River">
                <a:extLst>
                  <a:ext uri="{FF2B5EF4-FFF2-40B4-BE49-F238E27FC236}">
                    <a16:creationId xmlns:a16="http://schemas.microsoft.com/office/drawing/2014/main" id="{55EAD09C-7D01-B1D3-D647-3DC295B80072}"/>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sp>
          <p:nvSpPr>
            <p:cNvPr id="49" name="TextBox 48">
              <a:extLst>
                <a:ext uri="{FF2B5EF4-FFF2-40B4-BE49-F238E27FC236}">
                  <a16:creationId xmlns:a16="http://schemas.microsoft.com/office/drawing/2014/main" id="{38E7EF5C-6175-991F-C525-69616FC2A302}"/>
                </a:ext>
              </a:extLst>
            </p:cNvPr>
            <p:cNvSpPr txBox="1"/>
            <p:nvPr/>
          </p:nvSpPr>
          <p:spPr>
            <a:xfrm>
              <a:off x="14009190" y="7612333"/>
              <a:ext cx="1028274" cy="376319"/>
            </a:xfrm>
            <a:prstGeom prst="rect">
              <a:avLst/>
            </a:prstGeom>
            <a:noFill/>
          </p:spPr>
          <p:txBody>
            <a:bodyPr wrap="square">
              <a:spAutoFit/>
            </a:bodyPr>
            <a:lstStyle/>
            <a:p>
              <a:r>
                <a:rPr lang="de-CH" sz="1200" b="1"/>
                <a:t>MERV-13</a:t>
              </a:r>
              <a:endParaRPr lang="en-US" sz="1200" b="1"/>
            </a:p>
          </p:txBody>
        </p:sp>
      </p:grpSp>
      <p:sp>
        <p:nvSpPr>
          <p:cNvPr id="50" name="TextBox 49">
            <a:extLst>
              <a:ext uri="{FF2B5EF4-FFF2-40B4-BE49-F238E27FC236}">
                <a16:creationId xmlns:a16="http://schemas.microsoft.com/office/drawing/2014/main" id="{CA9249B7-2586-9753-4314-A8CD3C927FA8}"/>
              </a:ext>
            </a:extLst>
          </p:cNvPr>
          <p:cNvSpPr txBox="1"/>
          <p:nvPr/>
        </p:nvSpPr>
        <p:spPr>
          <a:xfrm>
            <a:off x="7694732" y="5130519"/>
            <a:ext cx="3643287" cy="830997"/>
          </a:xfrm>
          <a:prstGeom prst="rect">
            <a:avLst/>
          </a:prstGeom>
          <a:noFill/>
        </p:spPr>
        <p:txBody>
          <a:bodyPr wrap="square">
            <a:spAutoFit/>
          </a:bodyPr>
          <a:lstStyle/>
          <a:p>
            <a:r>
              <a:rPr lang="en-US" sz="1600" b="0" i="1">
                <a:effectLst/>
                <a:latin typeface="+mj-lt"/>
              </a:rPr>
              <a:t>“Portable HEPA cleaners usage allowed the removal of SARS CoV-2 […] displaying a 80% device effectiveness” </a:t>
            </a:r>
            <a:r>
              <a:rPr lang="en-US" sz="1600" b="0" i="1" baseline="30000">
                <a:effectLst/>
                <a:latin typeface="+mj-lt"/>
              </a:rPr>
              <a:t>[3]</a:t>
            </a:r>
            <a:endParaRPr lang="en-US" sz="1600" i="1" baseline="30000">
              <a:latin typeface="+mj-lt"/>
            </a:endParaRPr>
          </a:p>
        </p:txBody>
      </p:sp>
      <p:sp>
        <p:nvSpPr>
          <p:cNvPr id="51" name="TextBox 50">
            <a:extLst>
              <a:ext uri="{FF2B5EF4-FFF2-40B4-BE49-F238E27FC236}">
                <a16:creationId xmlns:a16="http://schemas.microsoft.com/office/drawing/2014/main" id="{B6646A94-EEAC-4D65-6F34-98CB8B897F93}"/>
              </a:ext>
            </a:extLst>
          </p:cNvPr>
          <p:cNvSpPr txBox="1"/>
          <p:nvPr/>
        </p:nvSpPr>
        <p:spPr>
          <a:xfrm>
            <a:off x="7694732" y="4733066"/>
            <a:ext cx="2534004" cy="332076"/>
          </a:xfrm>
          <a:prstGeom prst="rect">
            <a:avLst/>
          </a:prstGeom>
          <a:noFill/>
        </p:spPr>
        <p:txBody>
          <a:bodyPr wrap="square">
            <a:spAutoFit/>
          </a:bodyPr>
          <a:lstStyle/>
          <a:p>
            <a:r>
              <a:rPr lang="en-US" b="1">
                <a:solidFill>
                  <a:schemeClr val="tx1"/>
                </a:solidFill>
                <a:sym typeface="Wingdings" panose="05000000000000000000" pitchFamily="2" charset="2"/>
              </a:rPr>
              <a:t>3. Air Purifier </a:t>
            </a:r>
          </a:p>
        </p:txBody>
      </p:sp>
      <p:grpSp>
        <p:nvGrpSpPr>
          <p:cNvPr id="69" name="Group 68">
            <a:extLst>
              <a:ext uri="{FF2B5EF4-FFF2-40B4-BE49-F238E27FC236}">
                <a16:creationId xmlns:a16="http://schemas.microsoft.com/office/drawing/2014/main" id="{B2E5AA16-F1FA-1765-CABD-FA8CB502AB77}"/>
              </a:ext>
            </a:extLst>
          </p:cNvPr>
          <p:cNvGrpSpPr/>
          <p:nvPr/>
        </p:nvGrpSpPr>
        <p:grpSpPr>
          <a:xfrm>
            <a:off x="6690174" y="1305298"/>
            <a:ext cx="307556" cy="307968"/>
            <a:chOff x="5803369" y="2895080"/>
            <a:chExt cx="859867" cy="861018"/>
          </a:xfrm>
        </p:grpSpPr>
        <p:sp>
          <p:nvSpPr>
            <p:cNvPr id="89" name="Oval 88">
              <a:extLst>
                <a:ext uri="{FF2B5EF4-FFF2-40B4-BE49-F238E27FC236}">
                  <a16:creationId xmlns:a16="http://schemas.microsoft.com/office/drawing/2014/main" id="{19050DAD-BD43-3B69-579B-79C70D8EA088}"/>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Picture 10" descr="Is COVID airborne? (Abstract Science, Aug. 30 – Sept. 5) | Charles River">
              <a:extLst>
                <a:ext uri="{FF2B5EF4-FFF2-40B4-BE49-F238E27FC236}">
                  <a16:creationId xmlns:a16="http://schemas.microsoft.com/office/drawing/2014/main" id="{C0F2997F-82E4-FE0B-267F-87315AC44F1A}"/>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91" name="Picture 10" descr="Is COVID airborne? (Abstract Science, Aug. 30 – Sept. 5) | Charles River">
              <a:extLst>
                <a:ext uri="{FF2B5EF4-FFF2-40B4-BE49-F238E27FC236}">
                  <a16:creationId xmlns:a16="http://schemas.microsoft.com/office/drawing/2014/main" id="{26015E01-C3E6-0864-D062-0B76316FE240}"/>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92" name="Picture 10" descr="Is COVID airborne? (Abstract Science, Aug. 30 – Sept. 5) | Charles River">
              <a:extLst>
                <a:ext uri="{FF2B5EF4-FFF2-40B4-BE49-F238E27FC236}">
                  <a16:creationId xmlns:a16="http://schemas.microsoft.com/office/drawing/2014/main" id="{0F8B0FBA-2D53-784E-EA40-515A253B48C0}"/>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65381CE5-2D09-4431-6CA0-1CBB586E8047}"/>
              </a:ext>
            </a:extLst>
          </p:cNvPr>
          <p:cNvGrpSpPr/>
          <p:nvPr/>
        </p:nvGrpSpPr>
        <p:grpSpPr>
          <a:xfrm>
            <a:off x="5790088" y="1707582"/>
            <a:ext cx="254183" cy="254523"/>
            <a:chOff x="5803369" y="2895080"/>
            <a:chExt cx="859867" cy="861018"/>
          </a:xfrm>
        </p:grpSpPr>
        <p:sp>
          <p:nvSpPr>
            <p:cNvPr id="85" name="Oval 84">
              <a:extLst>
                <a:ext uri="{FF2B5EF4-FFF2-40B4-BE49-F238E27FC236}">
                  <a16:creationId xmlns:a16="http://schemas.microsoft.com/office/drawing/2014/main" id="{75C5BCFC-5C11-BCCF-E11D-583105CCA5C2}"/>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6" name="Picture 10" descr="Is COVID airborne? (Abstract Science, Aug. 30 – Sept. 5) | Charles River">
              <a:extLst>
                <a:ext uri="{FF2B5EF4-FFF2-40B4-BE49-F238E27FC236}">
                  <a16:creationId xmlns:a16="http://schemas.microsoft.com/office/drawing/2014/main" id="{5989E658-7988-3DFB-1BCD-9F94D6C39BB2}"/>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87" name="Picture 10" descr="Is COVID airborne? (Abstract Science, Aug. 30 – Sept. 5) | Charles River">
              <a:extLst>
                <a:ext uri="{FF2B5EF4-FFF2-40B4-BE49-F238E27FC236}">
                  <a16:creationId xmlns:a16="http://schemas.microsoft.com/office/drawing/2014/main" id="{04D935F6-3164-9EBD-E4DC-8DA99F30976F}"/>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88" name="Picture 10" descr="Is COVID airborne? (Abstract Science, Aug. 30 – Sept. 5) | Charles River">
              <a:extLst>
                <a:ext uri="{FF2B5EF4-FFF2-40B4-BE49-F238E27FC236}">
                  <a16:creationId xmlns:a16="http://schemas.microsoft.com/office/drawing/2014/main" id="{8AB019F6-BD80-0B0F-58D5-D8E2A32E5965}"/>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72" name="Group 71">
            <a:extLst>
              <a:ext uri="{FF2B5EF4-FFF2-40B4-BE49-F238E27FC236}">
                <a16:creationId xmlns:a16="http://schemas.microsoft.com/office/drawing/2014/main" id="{EEB05DBF-E197-7CE8-6E5E-E3BF9F2EDBD5}"/>
              </a:ext>
            </a:extLst>
          </p:cNvPr>
          <p:cNvGrpSpPr/>
          <p:nvPr/>
        </p:nvGrpSpPr>
        <p:grpSpPr>
          <a:xfrm>
            <a:off x="5845501" y="1416108"/>
            <a:ext cx="187086" cy="187337"/>
            <a:chOff x="5803369" y="2895080"/>
            <a:chExt cx="859867" cy="861018"/>
          </a:xfrm>
        </p:grpSpPr>
        <p:sp>
          <p:nvSpPr>
            <p:cNvPr id="81" name="Oval 80">
              <a:extLst>
                <a:ext uri="{FF2B5EF4-FFF2-40B4-BE49-F238E27FC236}">
                  <a16:creationId xmlns:a16="http://schemas.microsoft.com/office/drawing/2014/main" id="{8EDA8451-485B-802E-9997-2ED2D2BFB6C3}"/>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2" name="Picture 10" descr="Is COVID airborne? (Abstract Science, Aug. 30 – Sept. 5) | Charles River">
              <a:extLst>
                <a:ext uri="{FF2B5EF4-FFF2-40B4-BE49-F238E27FC236}">
                  <a16:creationId xmlns:a16="http://schemas.microsoft.com/office/drawing/2014/main" id="{1E83C5C1-18F1-041C-CE62-59F438960BC1}"/>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83" name="Picture 10" descr="Is COVID airborne? (Abstract Science, Aug. 30 – Sept. 5) | Charles River">
              <a:extLst>
                <a:ext uri="{FF2B5EF4-FFF2-40B4-BE49-F238E27FC236}">
                  <a16:creationId xmlns:a16="http://schemas.microsoft.com/office/drawing/2014/main" id="{B3BBA10E-4D19-ED55-654D-BD9136A8D16B}"/>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84" name="Picture 10" descr="Is COVID airborne? (Abstract Science, Aug. 30 – Sept. 5) | Charles River">
              <a:extLst>
                <a:ext uri="{FF2B5EF4-FFF2-40B4-BE49-F238E27FC236}">
                  <a16:creationId xmlns:a16="http://schemas.microsoft.com/office/drawing/2014/main" id="{DD013580-4EC1-BA0D-56D3-84009E3442D7}"/>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sp>
        <p:nvSpPr>
          <p:cNvPr id="76" name="TextBox 75">
            <a:extLst>
              <a:ext uri="{FF2B5EF4-FFF2-40B4-BE49-F238E27FC236}">
                <a16:creationId xmlns:a16="http://schemas.microsoft.com/office/drawing/2014/main" id="{A7DABE88-5D92-91CA-8230-D77172495ABF}"/>
              </a:ext>
            </a:extLst>
          </p:cNvPr>
          <p:cNvSpPr txBox="1"/>
          <p:nvPr/>
        </p:nvSpPr>
        <p:spPr>
          <a:xfrm>
            <a:off x="7506286" y="1257942"/>
            <a:ext cx="3085003" cy="400110"/>
          </a:xfrm>
          <a:prstGeom prst="rect">
            <a:avLst/>
          </a:prstGeom>
          <a:noFill/>
        </p:spPr>
        <p:txBody>
          <a:bodyPr wrap="square">
            <a:spAutoFit/>
          </a:bodyPr>
          <a:lstStyle/>
          <a:p>
            <a:r>
              <a:rPr lang="en-US" b="1">
                <a:sym typeface="Wingdings" panose="05000000000000000000" pitchFamily="2" charset="2"/>
              </a:rPr>
              <a:t>1</a:t>
            </a:r>
            <a:r>
              <a:rPr lang="en-US" b="1">
                <a:solidFill>
                  <a:schemeClr val="tx1"/>
                </a:solidFill>
                <a:sym typeface="Wingdings" panose="05000000000000000000" pitchFamily="2" charset="2"/>
              </a:rPr>
              <a:t>. Indoor Air Quality Monitor</a:t>
            </a:r>
          </a:p>
        </p:txBody>
      </p:sp>
      <p:grpSp>
        <p:nvGrpSpPr>
          <p:cNvPr id="96" name="Group 95">
            <a:extLst>
              <a:ext uri="{FF2B5EF4-FFF2-40B4-BE49-F238E27FC236}">
                <a16:creationId xmlns:a16="http://schemas.microsoft.com/office/drawing/2014/main" id="{E6C2FE94-2FE9-167B-1999-E3139EC43D1B}"/>
              </a:ext>
            </a:extLst>
          </p:cNvPr>
          <p:cNvGrpSpPr/>
          <p:nvPr/>
        </p:nvGrpSpPr>
        <p:grpSpPr>
          <a:xfrm>
            <a:off x="5917180" y="3068684"/>
            <a:ext cx="1496877" cy="1341021"/>
            <a:chOff x="15421359" y="3059054"/>
            <a:chExt cx="2303203" cy="2063392"/>
          </a:xfrm>
        </p:grpSpPr>
        <p:grpSp>
          <p:nvGrpSpPr>
            <p:cNvPr id="20" name="Group 19">
              <a:extLst>
                <a:ext uri="{FF2B5EF4-FFF2-40B4-BE49-F238E27FC236}">
                  <a16:creationId xmlns:a16="http://schemas.microsoft.com/office/drawing/2014/main" id="{33DA56DB-5ADF-0EA7-65FF-11D8C8306E6B}"/>
                </a:ext>
              </a:extLst>
            </p:cNvPr>
            <p:cNvGrpSpPr/>
            <p:nvPr/>
          </p:nvGrpSpPr>
          <p:grpSpPr>
            <a:xfrm>
              <a:off x="17348217" y="3137987"/>
              <a:ext cx="376345" cy="376849"/>
              <a:chOff x="5803369" y="2895080"/>
              <a:chExt cx="859867" cy="861018"/>
            </a:xfrm>
          </p:grpSpPr>
          <p:sp>
            <p:nvSpPr>
              <p:cNvPr id="40" name="Oval 39">
                <a:extLst>
                  <a:ext uri="{FF2B5EF4-FFF2-40B4-BE49-F238E27FC236}">
                    <a16:creationId xmlns:a16="http://schemas.microsoft.com/office/drawing/2014/main" id="{564A22FA-D4C6-3DAF-3F78-E83BBB29C0C6}"/>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10" descr="Is COVID airborne? (Abstract Science, Aug. 30 – Sept. 5) | Charles River">
                <a:extLst>
                  <a:ext uri="{FF2B5EF4-FFF2-40B4-BE49-F238E27FC236}">
                    <a16:creationId xmlns:a16="http://schemas.microsoft.com/office/drawing/2014/main" id="{8507AA0A-A6FB-ABC7-6EDD-DC8029A1B1EC}"/>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42" name="Picture 10" descr="Is COVID airborne? (Abstract Science, Aug. 30 – Sept. 5) | Charles River">
                <a:extLst>
                  <a:ext uri="{FF2B5EF4-FFF2-40B4-BE49-F238E27FC236}">
                    <a16:creationId xmlns:a16="http://schemas.microsoft.com/office/drawing/2014/main" id="{EE9DCB70-0F23-CD6C-5B1C-51ABF9C22620}"/>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43" name="Picture 10" descr="Is COVID airborne? (Abstract Science, Aug. 30 – Sept. 5) | Charles River">
                <a:extLst>
                  <a:ext uri="{FF2B5EF4-FFF2-40B4-BE49-F238E27FC236}">
                    <a16:creationId xmlns:a16="http://schemas.microsoft.com/office/drawing/2014/main" id="{72BDC10F-C9EE-8D58-9B0C-F8D5F9988471}"/>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12123AD0-B23D-2C0E-5513-0F2FADC8878D}"/>
                </a:ext>
              </a:extLst>
            </p:cNvPr>
            <p:cNvGrpSpPr/>
            <p:nvPr/>
          </p:nvGrpSpPr>
          <p:grpSpPr>
            <a:xfrm>
              <a:off x="15671652" y="3661887"/>
              <a:ext cx="319624" cy="320052"/>
              <a:chOff x="5803369" y="2895080"/>
              <a:chExt cx="859867" cy="861018"/>
            </a:xfrm>
          </p:grpSpPr>
          <p:sp>
            <p:nvSpPr>
              <p:cNvPr id="36" name="Oval 35">
                <a:extLst>
                  <a:ext uri="{FF2B5EF4-FFF2-40B4-BE49-F238E27FC236}">
                    <a16:creationId xmlns:a16="http://schemas.microsoft.com/office/drawing/2014/main" id="{02D3D1C1-2D0C-C308-0A81-2F5BBDDE2F37}"/>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10" descr="Is COVID airborne? (Abstract Science, Aug. 30 – Sept. 5) | Charles River">
                <a:extLst>
                  <a:ext uri="{FF2B5EF4-FFF2-40B4-BE49-F238E27FC236}">
                    <a16:creationId xmlns:a16="http://schemas.microsoft.com/office/drawing/2014/main" id="{207CDAB1-8A04-E3B0-FE29-0AA6941F98C5}"/>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38" name="Picture 10" descr="Is COVID airborne? (Abstract Science, Aug. 30 – Sept. 5) | Charles River">
                <a:extLst>
                  <a:ext uri="{FF2B5EF4-FFF2-40B4-BE49-F238E27FC236}">
                    <a16:creationId xmlns:a16="http://schemas.microsoft.com/office/drawing/2014/main" id="{319E0921-6AA6-09EE-6D7F-D3F826849223}"/>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39" name="Picture 10" descr="Is COVID airborne? (Abstract Science, Aug. 30 – Sept. 5) | Charles River">
                <a:extLst>
                  <a:ext uri="{FF2B5EF4-FFF2-40B4-BE49-F238E27FC236}">
                    <a16:creationId xmlns:a16="http://schemas.microsoft.com/office/drawing/2014/main" id="{7EB250DE-0A4C-821C-ED3F-A8DE667DACD4}"/>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pic>
          <p:nvPicPr>
            <p:cNvPr id="22" name="Picture 8" descr="Exhaust fan ventilation icon Royalty Free Vector Image">
              <a:extLst>
                <a:ext uri="{FF2B5EF4-FFF2-40B4-BE49-F238E27FC236}">
                  <a16:creationId xmlns:a16="http://schemas.microsoft.com/office/drawing/2014/main" id="{6D868B60-4946-2889-6DFB-C95CC1B5EE51}"/>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b="8473"/>
            <a:stretch/>
          </p:blipFill>
          <p:spPr bwMode="auto">
            <a:xfrm rot="5400000">
              <a:off x="16336780" y="2902129"/>
              <a:ext cx="761528" cy="1075377"/>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36B4A07C-ED46-4FFC-9A76-CFC2FA86B6F3}"/>
                </a:ext>
              </a:extLst>
            </p:cNvPr>
            <p:cNvGrpSpPr/>
            <p:nvPr/>
          </p:nvGrpSpPr>
          <p:grpSpPr>
            <a:xfrm>
              <a:off x="16001433" y="3398308"/>
              <a:ext cx="187086" cy="187337"/>
              <a:chOff x="5803369" y="2895080"/>
              <a:chExt cx="859867" cy="861018"/>
            </a:xfrm>
          </p:grpSpPr>
          <p:sp>
            <p:nvSpPr>
              <p:cNvPr id="32" name="Oval 31">
                <a:extLst>
                  <a:ext uri="{FF2B5EF4-FFF2-40B4-BE49-F238E27FC236}">
                    <a16:creationId xmlns:a16="http://schemas.microsoft.com/office/drawing/2014/main" id="{6F984B2C-B583-B194-4459-DCCD854EC3A2}"/>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10" descr="Is COVID airborne? (Abstract Science, Aug. 30 – Sept. 5) | Charles River">
                <a:extLst>
                  <a:ext uri="{FF2B5EF4-FFF2-40B4-BE49-F238E27FC236}">
                    <a16:creationId xmlns:a16="http://schemas.microsoft.com/office/drawing/2014/main" id="{1E8ADFDE-E3BC-5B5C-FCB9-649CA4046CEC}"/>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34" name="Picture 10" descr="Is COVID airborne? (Abstract Science, Aug. 30 – Sept. 5) | Charles River">
                <a:extLst>
                  <a:ext uri="{FF2B5EF4-FFF2-40B4-BE49-F238E27FC236}">
                    <a16:creationId xmlns:a16="http://schemas.microsoft.com/office/drawing/2014/main" id="{00BA8452-9658-7F55-07B6-4AB049675517}"/>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35" name="Picture 10" descr="Is COVID airborne? (Abstract Science, Aug. 30 – Sept. 5) | Charles River">
                <a:extLst>
                  <a:ext uri="{FF2B5EF4-FFF2-40B4-BE49-F238E27FC236}">
                    <a16:creationId xmlns:a16="http://schemas.microsoft.com/office/drawing/2014/main" id="{BC51233F-82A2-C298-B54F-59016330AD5C}"/>
                  </a:ext>
                </a:extLst>
              </p:cNvPr>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pic>
          <p:nvPicPr>
            <p:cNvPr id="24" name="Picture 10" descr="Office, open work, work, working, working office icon - Download on  Iconfinder">
              <a:extLst>
                <a:ext uri="{FF2B5EF4-FFF2-40B4-BE49-F238E27FC236}">
                  <a16:creationId xmlns:a16="http://schemas.microsoft.com/office/drawing/2014/main" id="{8E238A07-CFC2-8B77-33FC-C873ABCE206E}"/>
                </a:ext>
              </a:extLst>
            </p:cNvPr>
            <p:cNvPicPr>
              <a:picLocks noChangeAspect="1" noChangeArrowheads="1"/>
            </p:cNvPicPr>
            <p:nvPr/>
          </p:nvPicPr>
          <p:blipFill>
            <a:blip r:embed="rId32" cstate="print">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5421359" y="3724364"/>
              <a:ext cx="1398082" cy="1398082"/>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F178FC88-86B7-93D9-4A61-5456CBC1E86F}"/>
                </a:ext>
              </a:extLst>
            </p:cNvPr>
            <p:cNvGrpSpPr/>
            <p:nvPr/>
          </p:nvGrpSpPr>
          <p:grpSpPr>
            <a:xfrm>
              <a:off x="17093483" y="3492835"/>
              <a:ext cx="275929" cy="276299"/>
              <a:chOff x="5803369" y="2895080"/>
              <a:chExt cx="859867" cy="861018"/>
            </a:xfrm>
          </p:grpSpPr>
          <p:sp>
            <p:nvSpPr>
              <p:cNvPr id="28" name="Oval 27">
                <a:extLst>
                  <a:ext uri="{FF2B5EF4-FFF2-40B4-BE49-F238E27FC236}">
                    <a16:creationId xmlns:a16="http://schemas.microsoft.com/office/drawing/2014/main" id="{A429AD98-FD2D-002C-82E7-BC7B55B11984}"/>
                  </a:ext>
                </a:extLst>
              </p:cNvPr>
              <p:cNvSpPr/>
              <p:nvPr/>
            </p:nvSpPr>
            <p:spPr>
              <a:xfrm>
                <a:off x="5803369" y="2895080"/>
                <a:ext cx="859867" cy="861018"/>
              </a:xfrm>
              <a:prstGeom prst="ellipse">
                <a:avLst/>
              </a:prstGeom>
              <a:solidFill>
                <a:srgbClr val="A5BED5">
                  <a:alpha val="92000"/>
                </a:srgbClr>
              </a:solidFill>
              <a:ln>
                <a:noFill/>
              </a:ln>
              <a:scene3d>
                <a:camera prst="orthographicFront">
                  <a:rot lat="0" lon="600000" rev="0"/>
                </a:camera>
                <a:lightRig rig="threePt" dir="t">
                  <a:rot lat="0" lon="0" rev="600000"/>
                </a:lightRig>
              </a:scene3d>
              <a:sp3d>
                <a:bevelT w="127000"/>
                <a:bevelB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10" descr="Is COVID airborne? (Abstract Science, Aug. 30 – Sept. 5) | Charles River">
                <a:extLst>
                  <a:ext uri="{FF2B5EF4-FFF2-40B4-BE49-F238E27FC236}">
                    <a16:creationId xmlns:a16="http://schemas.microsoft.com/office/drawing/2014/main" id="{289707EF-B9A1-A449-0E4A-DFAE032E755E}"/>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41423" t="38004" r="51172" b="48647"/>
              <a:stretch/>
            </p:blipFill>
            <p:spPr bwMode="auto">
              <a:xfrm>
                <a:off x="6187612" y="3036590"/>
                <a:ext cx="320941" cy="322894"/>
              </a:xfrm>
              <a:prstGeom prst="ellipse">
                <a:avLst/>
              </a:prstGeom>
              <a:noFill/>
              <a:extLst>
                <a:ext uri="{909E8E84-426E-40DD-AFC4-6F175D3DCCD1}">
                  <a14:hiddenFill xmlns:a14="http://schemas.microsoft.com/office/drawing/2010/main">
                    <a:solidFill>
                      <a:srgbClr val="FFFFFF"/>
                    </a:solidFill>
                  </a14:hiddenFill>
                </a:ext>
              </a:extLst>
            </p:spPr>
          </p:pic>
          <p:pic>
            <p:nvPicPr>
              <p:cNvPr id="30" name="Picture 10" descr="Is COVID airborne? (Abstract Science, Aug. 30 – Sept. 5) | Charles River">
                <a:extLst>
                  <a:ext uri="{FF2B5EF4-FFF2-40B4-BE49-F238E27FC236}">
                    <a16:creationId xmlns:a16="http://schemas.microsoft.com/office/drawing/2014/main" id="{5A006668-2670-4176-B8C1-6ACEAFC01493}"/>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l="41423" t="38004" r="51172" b="48647"/>
              <a:stretch/>
            </p:blipFill>
            <p:spPr bwMode="auto">
              <a:xfrm>
                <a:off x="6248145" y="3426196"/>
                <a:ext cx="205914" cy="207167"/>
              </a:xfrm>
              <a:prstGeom prst="ellipse">
                <a:avLst/>
              </a:prstGeom>
              <a:noFill/>
              <a:extLst>
                <a:ext uri="{909E8E84-426E-40DD-AFC4-6F175D3DCCD1}">
                  <a14:hiddenFill xmlns:a14="http://schemas.microsoft.com/office/drawing/2010/main">
                    <a:solidFill>
                      <a:srgbClr val="FFFFFF"/>
                    </a:solidFill>
                  </a14:hiddenFill>
                </a:ext>
              </a:extLst>
            </p:spPr>
          </p:pic>
          <p:pic>
            <p:nvPicPr>
              <p:cNvPr id="31" name="Picture 10" descr="Is COVID airborne? (Abstract Science, Aug. 30 – Sept. 5) | Charles River">
                <a:extLst>
                  <a:ext uri="{FF2B5EF4-FFF2-40B4-BE49-F238E27FC236}">
                    <a16:creationId xmlns:a16="http://schemas.microsoft.com/office/drawing/2014/main" id="{C7796E99-E00A-008E-5FFA-EC22402B8F0B}"/>
                  </a:ext>
                </a:extLst>
              </p:cNvPr>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l="41423" t="38004" r="51172" b="48647"/>
              <a:stretch/>
            </p:blipFill>
            <p:spPr bwMode="auto">
              <a:xfrm>
                <a:off x="5917331" y="3232681"/>
                <a:ext cx="238880" cy="240333"/>
              </a:xfrm>
              <a:prstGeom prst="ellipse">
                <a:avLst/>
              </a:prstGeom>
              <a:noFill/>
              <a:extLst>
                <a:ext uri="{909E8E84-426E-40DD-AFC4-6F175D3DCCD1}">
                  <a14:hiddenFill xmlns:a14="http://schemas.microsoft.com/office/drawing/2010/main">
                    <a:solidFill>
                      <a:srgbClr val="FFFFFF"/>
                    </a:solidFill>
                  </a14:hiddenFill>
                </a:ext>
              </a:extLst>
            </p:spPr>
          </p:pic>
        </p:grpSp>
      </p:grpSp>
      <p:pic>
        <p:nvPicPr>
          <p:cNvPr id="73" name="Picture 10" descr="Office, open work, work, working, working office icon - Download on  Iconfinder">
            <a:extLst>
              <a:ext uri="{FF2B5EF4-FFF2-40B4-BE49-F238E27FC236}">
                <a16:creationId xmlns:a16="http://schemas.microsoft.com/office/drawing/2014/main" id="{37F6557E-CE31-F41B-6ED1-04429D8EF6BC}"/>
              </a:ext>
            </a:extLst>
          </p:cNvPr>
          <p:cNvPicPr>
            <a:picLocks noChangeAspect="1" noChangeArrowheads="1"/>
          </p:cNvPicPr>
          <p:nvPr/>
        </p:nvPicPr>
        <p:blipFill>
          <a:blip r:embed="rId37" cstate="print">
            <a:extLst>
              <a:ext uri="{BEBA8EAE-BF5A-486C-A8C5-ECC9F3942E4B}">
                <a14:imgProps xmlns:a14="http://schemas.microsoft.com/office/drawing/2010/main">
                  <a14:imgLayer r:embed="rId3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898450" y="1728476"/>
            <a:ext cx="945502" cy="94550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a:extLst>
              <a:ext uri="{FF2B5EF4-FFF2-40B4-BE49-F238E27FC236}">
                <a16:creationId xmlns:a16="http://schemas.microsoft.com/office/drawing/2014/main" id="{EC76D19D-F445-D1E2-9911-D5AD114D3C10}"/>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114332" y="1315420"/>
            <a:ext cx="631030" cy="631030"/>
          </a:xfrm>
          <a:prstGeom prst="rect">
            <a:avLst/>
          </a:prstGeom>
        </p:spPr>
      </p:pic>
      <p:sp>
        <p:nvSpPr>
          <p:cNvPr id="101" name="TextBox 100">
            <a:extLst>
              <a:ext uri="{FF2B5EF4-FFF2-40B4-BE49-F238E27FC236}">
                <a16:creationId xmlns:a16="http://schemas.microsoft.com/office/drawing/2014/main" id="{EC17081A-D2C6-2A63-E5E1-42339D20723C}"/>
              </a:ext>
            </a:extLst>
          </p:cNvPr>
          <p:cNvSpPr txBox="1"/>
          <p:nvPr/>
        </p:nvSpPr>
        <p:spPr>
          <a:xfrm>
            <a:off x="7524237" y="1674029"/>
            <a:ext cx="3915989" cy="830997"/>
          </a:xfrm>
          <a:prstGeom prst="rect">
            <a:avLst/>
          </a:prstGeom>
          <a:noFill/>
        </p:spPr>
        <p:txBody>
          <a:bodyPr wrap="square">
            <a:spAutoFit/>
          </a:bodyPr>
          <a:lstStyle/>
          <a:p>
            <a:r>
              <a:rPr lang="en-US" sz="1600" i="1">
                <a:latin typeface="+mj-lt"/>
                <a:cs typeface="Segoe UI" panose="020B0502040204020203" pitchFamily="34" charset="0"/>
              </a:rPr>
              <a:t>“Ideally there’d be some machine that beeps if the virus is in the air; CO</a:t>
            </a:r>
            <a:r>
              <a:rPr lang="en-US" sz="1600" i="1" baseline="-25000">
                <a:latin typeface="+mj-lt"/>
                <a:cs typeface="Segoe UI" panose="020B0502040204020203" pitchFamily="34" charset="0"/>
              </a:rPr>
              <a:t>2</a:t>
            </a:r>
            <a:r>
              <a:rPr lang="en-US" sz="1600" i="1">
                <a:latin typeface="+mj-lt"/>
                <a:cs typeface="Segoe UI" panose="020B0502040204020203" pitchFamily="34" charset="0"/>
              </a:rPr>
              <a:t> is something that provides an affordable and very meaningful shortcut.”</a:t>
            </a:r>
            <a:r>
              <a:rPr lang="de-CH" sz="1600" i="1" baseline="30000">
                <a:effectLst/>
                <a:latin typeface="+mj-lt"/>
              </a:rPr>
              <a:t> [1]</a:t>
            </a:r>
            <a:endParaRPr lang="en-US" sz="1600">
              <a:latin typeface="+mj-lt"/>
              <a:cs typeface="Segoe UI" panose="020B0502040204020203" pitchFamily="34" charset="0"/>
            </a:endParaRPr>
          </a:p>
        </p:txBody>
      </p:sp>
      <p:sp>
        <p:nvSpPr>
          <p:cNvPr id="13" name="TextBox 12">
            <a:extLst>
              <a:ext uri="{FF2B5EF4-FFF2-40B4-BE49-F238E27FC236}">
                <a16:creationId xmlns:a16="http://schemas.microsoft.com/office/drawing/2014/main" id="{65774D48-9BB7-0925-4890-460A71952CD5}"/>
              </a:ext>
            </a:extLst>
          </p:cNvPr>
          <p:cNvSpPr txBox="1"/>
          <p:nvPr/>
        </p:nvSpPr>
        <p:spPr>
          <a:xfrm>
            <a:off x="1048530" y="5532261"/>
            <a:ext cx="4186527" cy="461665"/>
          </a:xfrm>
          <a:prstGeom prst="rect">
            <a:avLst/>
          </a:prstGeom>
          <a:noFill/>
        </p:spPr>
        <p:txBody>
          <a:bodyPr wrap="square">
            <a:spAutoFit/>
          </a:bodyPr>
          <a:lstStyle/>
          <a:p>
            <a:r>
              <a:rPr lang="en-US" sz="1200"/>
              <a:t>https://www.epa.gov/system/files/documents/2022-03/508-cleanairbuildings_factsheet_v5_508.pdf</a:t>
            </a:r>
          </a:p>
        </p:txBody>
      </p:sp>
      <p:sp>
        <p:nvSpPr>
          <p:cNvPr id="102" name="Rectangle 101">
            <a:extLst>
              <a:ext uri="{FF2B5EF4-FFF2-40B4-BE49-F238E27FC236}">
                <a16:creationId xmlns:a16="http://schemas.microsoft.com/office/drawing/2014/main" id="{19DE0A79-1857-990B-37CE-9293A3C44EF7}"/>
              </a:ext>
            </a:extLst>
          </p:cNvPr>
          <p:cNvSpPr/>
          <p:nvPr/>
        </p:nvSpPr>
        <p:spPr>
          <a:xfrm rot="20030046">
            <a:off x="3466001" y="5677793"/>
            <a:ext cx="2338583" cy="600752"/>
          </a:xfrm>
          <a:custGeom>
            <a:avLst/>
            <a:gdLst>
              <a:gd name="connsiteX0" fmla="*/ 0 w 2338583"/>
              <a:gd name="connsiteY0" fmla="*/ 0 h 600752"/>
              <a:gd name="connsiteX1" fmla="*/ 608032 w 2338583"/>
              <a:gd name="connsiteY1" fmla="*/ 0 h 600752"/>
              <a:gd name="connsiteX2" fmla="*/ 1192677 w 2338583"/>
              <a:gd name="connsiteY2" fmla="*/ 0 h 600752"/>
              <a:gd name="connsiteX3" fmla="*/ 1777323 w 2338583"/>
              <a:gd name="connsiteY3" fmla="*/ 0 h 600752"/>
              <a:gd name="connsiteX4" fmla="*/ 2338583 w 2338583"/>
              <a:gd name="connsiteY4" fmla="*/ 0 h 600752"/>
              <a:gd name="connsiteX5" fmla="*/ 2338583 w 2338583"/>
              <a:gd name="connsiteY5" fmla="*/ 288361 h 600752"/>
              <a:gd name="connsiteX6" fmla="*/ 2338583 w 2338583"/>
              <a:gd name="connsiteY6" fmla="*/ 600752 h 600752"/>
              <a:gd name="connsiteX7" fmla="*/ 1730551 w 2338583"/>
              <a:gd name="connsiteY7" fmla="*/ 600752 h 600752"/>
              <a:gd name="connsiteX8" fmla="*/ 1145906 w 2338583"/>
              <a:gd name="connsiteY8" fmla="*/ 600752 h 600752"/>
              <a:gd name="connsiteX9" fmla="*/ 631417 w 2338583"/>
              <a:gd name="connsiteY9" fmla="*/ 600752 h 600752"/>
              <a:gd name="connsiteX10" fmla="*/ 0 w 2338583"/>
              <a:gd name="connsiteY10" fmla="*/ 600752 h 600752"/>
              <a:gd name="connsiteX11" fmla="*/ 0 w 2338583"/>
              <a:gd name="connsiteY11" fmla="*/ 294368 h 600752"/>
              <a:gd name="connsiteX12" fmla="*/ 0 w 2338583"/>
              <a:gd name="connsiteY12" fmla="*/ 0 h 600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8583" h="600752" fill="none" extrusionOk="0">
                <a:moveTo>
                  <a:pt x="0" y="0"/>
                </a:moveTo>
                <a:cubicBezTo>
                  <a:pt x="168870" y="-50896"/>
                  <a:pt x="407283" y="36519"/>
                  <a:pt x="608032" y="0"/>
                </a:cubicBezTo>
                <a:cubicBezTo>
                  <a:pt x="808781" y="-36519"/>
                  <a:pt x="1067688" y="7681"/>
                  <a:pt x="1192677" y="0"/>
                </a:cubicBezTo>
                <a:cubicBezTo>
                  <a:pt x="1317666" y="-7681"/>
                  <a:pt x="1510826" y="20507"/>
                  <a:pt x="1777323" y="0"/>
                </a:cubicBezTo>
                <a:cubicBezTo>
                  <a:pt x="2043820" y="-20507"/>
                  <a:pt x="2209043" y="48338"/>
                  <a:pt x="2338583" y="0"/>
                </a:cubicBezTo>
                <a:cubicBezTo>
                  <a:pt x="2339528" y="61934"/>
                  <a:pt x="2323866" y="230397"/>
                  <a:pt x="2338583" y="288361"/>
                </a:cubicBezTo>
                <a:cubicBezTo>
                  <a:pt x="2353300" y="346325"/>
                  <a:pt x="2309502" y="521306"/>
                  <a:pt x="2338583" y="600752"/>
                </a:cubicBezTo>
                <a:cubicBezTo>
                  <a:pt x="2039065" y="658395"/>
                  <a:pt x="1856641" y="551002"/>
                  <a:pt x="1730551" y="600752"/>
                </a:cubicBezTo>
                <a:cubicBezTo>
                  <a:pt x="1604461" y="650502"/>
                  <a:pt x="1422110" y="597980"/>
                  <a:pt x="1145906" y="600752"/>
                </a:cubicBezTo>
                <a:cubicBezTo>
                  <a:pt x="869703" y="603524"/>
                  <a:pt x="848392" y="566228"/>
                  <a:pt x="631417" y="600752"/>
                </a:cubicBezTo>
                <a:cubicBezTo>
                  <a:pt x="414442" y="635276"/>
                  <a:pt x="248267" y="538741"/>
                  <a:pt x="0" y="600752"/>
                </a:cubicBezTo>
                <a:cubicBezTo>
                  <a:pt x="-4071" y="495233"/>
                  <a:pt x="20613" y="363701"/>
                  <a:pt x="0" y="294368"/>
                </a:cubicBezTo>
                <a:cubicBezTo>
                  <a:pt x="-20613" y="225035"/>
                  <a:pt x="14563" y="81904"/>
                  <a:pt x="0" y="0"/>
                </a:cubicBezTo>
                <a:close/>
              </a:path>
              <a:path w="2338583" h="600752" stroke="0" extrusionOk="0">
                <a:moveTo>
                  <a:pt x="0" y="0"/>
                </a:moveTo>
                <a:cubicBezTo>
                  <a:pt x="232437" y="-25056"/>
                  <a:pt x="440256" y="65643"/>
                  <a:pt x="631417" y="0"/>
                </a:cubicBezTo>
                <a:cubicBezTo>
                  <a:pt x="822578" y="-65643"/>
                  <a:pt x="982045" y="21541"/>
                  <a:pt x="1192677" y="0"/>
                </a:cubicBezTo>
                <a:cubicBezTo>
                  <a:pt x="1403309" y="-21541"/>
                  <a:pt x="1540894" y="31890"/>
                  <a:pt x="1777323" y="0"/>
                </a:cubicBezTo>
                <a:cubicBezTo>
                  <a:pt x="2013752" y="-31890"/>
                  <a:pt x="2117364" y="15279"/>
                  <a:pt x="2338583" y="0"/>
                </a:cubicBezTo>
                <a:cubicBezTo>
                  <a:pt x="2369363" y="61186"/>
                  <a:pt x="2305008" y="161106"/>
                  <a:pt x="2338583" y="288361"/>
                </a:cubicBezTo>
                <a:cubicBezTo>
                  <a:pt x="2372158" y="415616"/>
                  <a:pt x="2309887" y="505468"/>
                  <a:pt x="2338583" y="600752"/>
                </a:cubicBezTo>
                <a:cubicBezTo>
                  <a:pt x="2036704" y="612041"/>
                  <a:pt x="1889006" y="595873"/>
                  <a:pt x="1730551" y="600752"/>
                </a:cubicBezTo>
                <a:cubicBezTo>
                  <a:pt x="1572096" y="605631"/>
                  <a:pt x="1423780" y="555992"/>
                  <a:pt x="1216063" y="600752"/>
                </a:cubicBezTo>
                <a:cubicBezTo>
                  <a:pt x="1008346" y="645512"/>
                  <a:pt x="888229" y="596447"/>
                  <a:pt x="654803" y="600752"/>
                </a:cubicBezTo>
                <a:cubicBezTo>
                  <a:pt x="421377" y="605057"/>
                  <a:pt x="147646" y="541435"/>
                  <a:pt x="0" y="600752"/>
                </a:cubicBezTo>
                <a:cubicBezTo>
                  <a:pt x="-17044" y="533248"/>
                  <a:pt x="29042" y="419128"/>
                  <a:pt x="0" y="318399"/>
                </a:cubicBezTo>
                <a:cubicBezTo>
                  <a:pt x="-29042" y="217670"/>
                  <a:pt x="24141" y="139273"/>
                  <a:pt x="0" y="0"/>
                </a:cubicBezTo>
                <a:close/>
              </a:path>
            </a:pathLst>
          </a:custGeom>
          <a:solidFill>
            <a:schemeClr val="bg1"/>
          </a:solidFill>
          <a:ln w="28575">
            <a:solidFill>
              <a:srgbClr val="C00000"/>
            </a:solidFill>
            <a:extLst>
              <a:ext uri="{C807C97D-BFC1-408E-A445-0C87EB9F89A2}">
                <ask:lineSketchStyleProps xmlns:ask="http://schemas.microsoft.com/office/drawing/2018/sketchyshapes" sd="2832874897">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gt; USD 10 Billion of ARPA funding available  </a:t>
            </a:r>
          </a:p>
        </p:txBody>
      </p:sp>
    </p:spTree>
    <p:extLst>
      <p:ext uri="{BB962C8B-B14F-4D97-AF65-F5344CB8AC3E}">
        <p14:creationId xmlns:p14="http://schemas.microsoft.com/office/powerpoint/2010/main" val="41762747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72B91-E856-B4D9-0311-34952BAB957A}"/>
              </a:ext>
            </a:extLst>
          </p:cNvPr>
          <p:cNvSpPr>
            <a:spLocks noGrp="1"/>
          </p:cNvSpPr>
          <p:nvPr>
            <p:ph type="title"/>
          </p:nvPr>
        </p:nvSpPr>
        <p:spPr>
          <a:xfrm>
            <a:off x="839788" y="283464"/>
            <a:ext cx="4636564" cy="505939"/>
          </a:xfrm>
        </p:spPr>
        <p:txBody>
          <a:bodyPr/>
          <a:lstStyle/>
          <a:p>
            <a:r>
              <a:rPr lang="en-US"/>
              <a:t>         Indoor Air Quality Monitoring</a:t>
            </a:r>
          </a:p>
        </p:txBody>
      </p:sp>
      <p:sp>
        <p:nvSpPr>
          <p:cNvPr id="4" name="Slide Number Placeholder 3">
            <a:extLst>
              <a:ext uri="{FF2B5EF4-FFF2-40B4-BE49-F238E27FC236}">
                <a16:creationId xmlns:a16="http://schemas.microsoft.com/office/drawing/2014/main" id="{0F022756-EAC5-1AC9-E274-33407CD35DDA}"/>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47</a:t>
            </a:fld>
            <a:endParaRPr lang="de-CH"/>
          </a:p>
        </p:txBody>
      </p:sp>
      <p:sp>
        <p:nvSpPr>
          <p:cNvPr id="8" name="Rectangle: Rounded Corners 49">
            <a:extLst>
              <a:ext uri="{FF2B5EF4-FFF2-40B4-BE49-F238E27FC236}">
                <a16:creationId xmlns:a16="http://schemas.microsoft.com/office/drawing/2014/main" id="{B956B7E7-680E-A45F-A447-1ED326DF3CC1}"/>
              </a:ext>
            </a:extLst>
          </p:cNvPr>
          <p:cNvSpPr/>
          <p:nvPr/>
        </p:nvSpPr>
        <p:spPr>
          <a:xfrm>
            <a:off x="839787" y="1052200"/>
            <a:ext cx="5054985" cy="1995320"/>
          </a:xfrm>
          <a:prstGeom prst="roundRect">
            <a:avLst>
              <a:gd name="adj" fmla="val 8138"/>
            </a:avLst>
          </a:prstGeom>
          <a:solidFill>
            <a:schemeClr val="bg1"/>
          </a:solidFill>
          <a:ln>
            <a:solidFill>
              <a:schemeClr val="accent2"/>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fontAlgn="base"/>
            <a:r>
              <a:rPr lang="en-US" sz="1800" b="1" i="0" u="none" strike="noStrike">
                <a:solidFill>
                  <a:srgbClr val="66CC33"/>
                </a:solidFill>
                <a:effectLst/>
                <a:latin typeface="Arial Narrow" panose="020B0606020202030204" pitchFamily="34" charset="0"/>
              </a:rPr>
              <a:t>Market Overview</a:t>
            </a:r>
            <a:r>
              <a:rPr lang="en-US" sz="1800" b="0" i="0">
                <a:solidFill>
                  <a:srgbClr val="000000"/>
                </a:solidFill>
                <a:effectLst/>
                <a:latin typeface="Arial Narrow" panose="020B0606020202030204" pitchFamily="34" charset="0"/>
              </a:rPr>
              <a:t>​</a:t>
            </a:r>
          </a:p>
          <a:p>
            <a:pPr algn="l" rtl="0" fontAlgn="base"/>
            <a:endParaRPr lang="en-US" sz="1000" b="0" i="0">
              <a:solidFill>
                <a:srgbClr val="000000"/>
              </a:solidFill>
              <a:effectLst/>
              <a:latin typeface="Segoe UI" panose="020B0502040204020203" pitchFamily="34" charset="0"/>
            </a:endParaRPr>
          </a:p>
          <a:p>
            <a:pPr marL="285750" indent="-285750" algn="l" rtl="0" fontAlgn="base">
              <a:spcBef>
                <a:spcPts val="600"/>
              </a:spcBef>
              <a:spcAft>
                <a:spcPts val="600"/>
              </a:spcAft>
              <a:buFont typeface="Wingdings" panose="05000000000000000000" pitchFamily="2" charset="2"/>
              <a:buChar char="§"/>
            </a:pPr>
            <a:r>
              <a:rPr lang="en-US" sz="1800" b="0" i="0" u="none" strike="noStrike">
                <a:solidFill>
                  <a:srgbClr val="000000"/>
                </a:solidFill>
                <a:effectLst/>
                <a:latin typeface="Arial Narrow" panose="020B0606020202030204" pitchFamily="34" charset="0"/>
              </a:rPr>
              <a:t>USD 4.5 Bn Market in 2021</a:t>
            </a:r>
            <a:r>
              <a:rPr lang="en-US" sz="1800" b="0" i="0">
                <a:solidFill>
                  <a:srgbClr val="000000"/>
                </a:solidFill>
                <a:effectLst/>
                <a:latin typeface="Arial Narrow" panose="020B0606020202030204" pitchFamily="34" charset="0"/>
              </a:rPr>
              <a:t>​</a:t>
            </a:r>
            <a:endParaRPr lang="en-US" sz="1800" b="0" i="0">
              <a:solidFill>
                <a:srgbClr val="000000"/>
              </a:solidFill>
              <a:effectLst/>
              <a:latin typeface="Arial" panose="020B0604020202020204" pitchFamily="34" charset="0"/>
            </a:endParaRPr>
          </a:p>
          <a:p>
            <a:pPr marL="285750" indent="-285750" algn="l" rtl="0" fontAlgn="base">
              <a:spcBef>
                <a:spcPts val="600"/>
              </a:spcBef>
              <a:spcAft>
                <a:spcPts val="600"/>
              </a:spcAft>
              <a:buFont typeface="Wingdings" panose="05000000000000000000" pitchFamily="2" charset="2"/>
              <a:buChar char="§"/>
            </a:pPr>
            <a:r>
              <a:rPr lang="en-US" sz="1800">
                <a:solidFill>
                  <a:srgbClr val="000000"/>
                </a:solidFill>
                <a:latin typeface="Arial Narrow" panose="020B0606020202030204" pitchFamily="34" charset="0"/>
              </a:rPr>
              <a:t>8</a:t>
            </a:r>
            <a:r>
              <a:rPr lang="en-US" sz="1800" b="0" i="0" u="none" strike="noStrike">
                <a:solidFill>
                  <a:srgbClr val="000000"/>
                </a:solidFill>
                <a:effectLst/>
                <a:latin typeface="Arial Narrow" panose="020B0606020202030204" pitchFamily="34" charset="0"/>
              </a:rPr>
              <a:t>% growth per year expected until 2025</a:t>
            </a:r>
            <a:r>
              <a:rPr lang="en-US" sz="1800" b="0" i="0">
                <a:solidFill>
                  <a:srgbClr val="000000"/>
                </a:solidFill>
                <a:effectLst/>
                <a:latin typeface="Arial Narrow" panose="020B0606020202030204" pitchFamily="34" charset="0"/>
              </a:rPr>
              <a:t>​</a:t>
            </a:r>
            <a:endParaRPr lang="en-US" sz="1800" b="0" i="0">
              <a:solidFill>
                <a:srgbClr val="000000"/>
              </a:solidFill>
              <a:effectLst/>
              <a:latin typeface="Arial" panose="020B0604020202020204" pitchFamily="34" charset="0"/>
            </a:endParaRPr>
          </a:p>
          <a:p>
            <a:pPr marL="285750" indent="-285750" algn="l" rtl="0" fontAlgn="base">
              <a:spcBef>
                <a:spcPts val="600"/>
              </a:spcBef>
              <a:spcAft>
                <a:spcPts val="600"/>
              </a:spcAft>
              <a:buFont typeface="Wingdings" panose="05000000000000000000" pitchFamily="2" charset="2"/>
              <a:buChar char="§"/>
            </a:pPr>
            <a:r>
              <a:rPr lang="en-US" sz="1800" b="0" i="0" u="none" strike="noStrike">
                <a:solidFill>
                  <a:srgbClr val="000000"/>
                </a:solidFill>
                <a:effectLst/>
                <a:latin typeface="Arial Narrow" panose="020B0606020202030204" pitchFamily="34" charset="0"/>
              </a:rPr>
              <a:t>Fragmented market with many players </a:t>
            </a:r>
          </a:p>
        </p:txBody>
      </p:sp>
      <p:sp>
        <p:nvSpPr>
          <p:cNvPr id="10" name="Rectangle: Rounded Corners 49">
            <a:extLst>
              <a:ext uri="{FF2B5EF4-FFF2-40B4-BE49-F238E27FC236}">
                <a16:creationId xmlns:a16="http://schemas.microsoft.com/office/drawing/2014/main" id="{389BF21B-7056-CAE4-FD88-0F1A6B204021}"/>
              </a:ext>
            </a:extLst>
          </p:cNvPr>
          <p:cNvSpPr/>
          <p:nvPr/>
        </p:nvSpPr>
        <p:spPr>
          <a:xfrm>
            <a:off x="839787" y="3192330"/>
            <a:ext cx="5054985" cy="2900669"/>
          </a:xfrm>
          <a:prstGeom prst="roundRect">
            <a:avLst>
              <a:gd name="adj" fmla="val 8138"/>
            </a:avLst>
          </a:prstGeom>
          <a:solidFill>
            <a:schemeClr val="bg1"/>
          </a:solidFill>
          <a:ln>
            <a:solidFill>
              <a:schemeClr val="accent2"/>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b="1" i="0" u="none" strike="noStrike">
                <a:solidFill>
                  <a:srgbClr val="66CC33"/>
                </a:solidFill>
                <a:effectLst/>
                <a:latin typeface="+mj-lt"/>
              </a:rPr>
              <a:t>Environmental Sensors are the core</a:t>
            </a:r>
          </a:p>
          <a:p>
            <a:endParaRPr lang="en-US" sz="1000" b="0" i="0" u="none" strike="noStrike">
              <a:solidFill>
                <a:srgbClr val="000000"/>
              </a:solidFill>
              <a:effectLst/>
              <a:latin typeface="+mj-lt"/>
            </a:endParaRPr>
          </a:p>
          <a:p>
            <a:r>
              <a:rPr lang="en-US" sz="1800" b="0" i="0" u="none" strike="noStrike">
                <a:solidFill>
                  <a:srgbClr val="000000"/>
                </a:solidFill>
                <a:effectLst/>
                <a:latin typeface="+mj-lt"/>
              </a:rPr>
              <a:t>IAQ monitors enable users to know the quality of the air they breathe. With this knowledge, end users can take action to improve their environment, such as opening a window or running an air purifier. </a:t>
            </a:r>
          </a:p>
          <a:p>
            <a:r>
              <a:rPr lang="en-US" sz="1800" b="0" i="0" u="none" strike="noStrike">
                <a:solidFill>
                  <a:srgbClr val="000000"/>
                </a:solidFill>
                <a:effectLst/>
                <a:latin typeface="+mj-lt"/>
              </a:rPr>
              <a:t>Clean air has a positive long-term impact on health and also brings immediate benefits, such as greater mental clarity and concentration. </a:t>
            </a:r>
            <a:endParaRPr lang="en-US">
              <a:solidFill>
                <a:schemeClr val="tx1"/>
              </a:solidFill>
              <a:latin typeface="+mj-lt"/>
            </a:endParaRPr>
          </a:p>
        </p:txBody>
      </p:sp>
      <p:sp>
        <p:nvSpPr>
          <p:cNvPr id="3" name="Flowchart: Decision 2">
            <a:extLst>
              <a:ext uri="{FF2B5EF4-FFF2-40B4-BE49-F238E27FC236}">
                <a16:creationId xmlns:a16="http://schemas.microsoft.com/office/drawing/2014/main" id="{290E3E74-3208-90A5-49BA-D6BDC38188A5}"/>
              </a:ext>
            </a:extLst>
          </p:cNvPr>
          <p:cNvSpPr/>
          <p:nvPr/>
        </p:nvSpPr>
        <p:spPr>
          <a:xfrm>
            <a:off x="6616832" y="645551"/>
            <a:ext cx="1540591" cy="6830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argeted pollutant?</a:t>
            </a:r>
            <a:endParaRPr lang="en-US" sz="1200" baseline="-25000">
              <a:solidFill>
                <a:schemeClr val="tx1"/>
              </a:solidFill>
            </a:endParaRPr>
          </a:p>
        </p:txBody>
      </p:sp>
      <p:sp>
        <p:nvSpPr>
          <p:cNvPr id="5" name="Flowchart: Decision 4">
            <a:extLst>
              <a:ext uri="{FF2B5EF4-FFF2-40B4-BE49-F238E27FC236}">
                <a16:creationId xmlns:a16="http://schemas.microsoft.com/office/drawing/2014/main" id="{CEB07F52-7F39-F1E5-8CF2-BAEDC7C4012F}"/>
              </a:ext>
            </a:extLst>
          </p:cNvPr>
          <p:cNvSpPr/>
          <p:nvPr/>
        </p:nvSpPr>
        <p:spPr>
          <a:xfrm>
            <a:off x="8330206" y="4665190"/>
            <a:ext cx="1540591" cy="740661"/>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a:solidFill>
                <a:schemeClr val="tx1"/>
              </a:solidFill>
            </a:endParaRPr>
          </a:p>
        </p:txBody>
      </p:sp>
      <p:sp>
        <p:nvSpPr>
          <p:cNvPr id="6" name="Flowchart: Decision 5">
            <a:extLst>
              <a:ext uri="{FF2B5EF4-FFF2-40B4-BE49-F238E27FC236}">
                <a16:creationId xmlns:a16="http://schemas.microsoft.com/office/drawing/2014/main" id="{339DFF14-EDF0-6C37-E1F0-0B390EB6E8EA}"/>
              </a:ext>
            </a:extLst>
          </p:cNvPr>
          <p:cNvSpPr/>
          <p:nvPr/>
        </p:nvSpPr>
        <p:spPr>
          <a:xfrm>
            <a:off x="6621216" y="4673257"/>
            <a:ext cx="1540591" cy="740661"/>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a:solidFill>
                <a:schemeClr val="tx1"/>
              </a:solidFill>
            </a:endParaRPr>
          </a:p>
        </p:txBody>
      </p:sp>
      <p:sp>
        <p:nvSpPr>
          <p:cNvPr id="9" name="TextBox 8">
            <a:extLst>
              <a:ext uri="{FF2B5EF4-FFF2-40B4-BE49-F238E27FC236}">
                <a16:creationId xmlns:a16="http://schemas.microsoft.com/office/drawing/2014/main" id="{1F3AF08A-3D6D-6D0D-20CA-BACC4B3AD465}"/>
              </a:ext>
            </a:extLst>
          </p:cNvPr>
          <p:cNvSpPr txBox="1"/>
          <p:nvPr/>
        </p:nvSpPr>
        <p:spPr>
          <a:xfrm>
            <a:off x="9002715" y="1668742"/>
            <a:ext cx="124409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EN54 / </a:t>
            </a:r>
            <a:r>
              <a:rPr lang="en-US" sz="1050" b="1">
                <a:solidFill>
                  <a:schemeClr val="bg1">
                    <a:lumMod val="50000"/>
                  </a:schemeClr>
                </a:solidFill>
              </a:rPr>
              <a:t>SEN55</a:t>
            </a:r>
          </a:p>
          <a:p>
            <a:r>
              <a:rPr lang="en-US" sz="1050">
                <a:solidFill>
                  <a:schemeClr val="tx1"/>
                </a:solidFill>
              </a:rPr>
              <a:t>(PM2.5, RH, T, </a:t>
            </a:r>
          </a:p>
          <a:p>
            <a:r>
              <a:rPr lang="en-US" sz="1050">
                <a:solidFill>
                  <a:schemeClr val="tx1"/>
                </a:solidFill>
              </a:rPr>
              <a:t>VOC, </a:t>
            </a:r>
            <a:r>
              <a:rPr lang="en-US" sz="1050">
                <a:solidFill>
                  <a:schemeClr val="bg1">
                    <a:lumMod val="50000"/>
                  </a:schemeClr>
                </a:solidFill>
              </a:rPr>
              <a:t>NOx</a:t>
            </a:r>
            <a:r>
              <a:rPr lang="en-US" sz="1050">
                <a:solidFill>
                  <a:schemeClr val="tx1"/>
                </a:solidFill>
              </a:rPr>
              <a:t>)</a:t>
            </a:r>
          </a:p>
        </p:txBody>
      </p:sp>
      <p:sp>
        <p:nvSpPr>
          <p:cNvPr id="13" name="Flowchart: Decision 12">
            <a:extLst>
              <a:ext uri="{FF2B5EF4-FFF2-40B4-BE49-F238E27FC236}">
                <a16:creationId xmlns:a16="http://schemas.microsoft.com/office/drawing/2014/main" id="{88FCD039-D5EA-2637-B596-0E22EFD3F75F}"/>
              </a:ext>
            </a:extLst>
          </p:cNvPr>
          <p:cNvSpPr/>
          <p:nvPr/>
        </p:nvSpPr>
        <p:spPr>
          <a:xfrm>
            <a:off x="10055078" y="4664024"/>
            <a:ext cx="1540591" cy="740661"/>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a:solidFill>
                <a:schemeClr val="tx1"/>
              </a:solidFill>
            </a:endParaRPr>
          </a:p>
        </p:txBody>
      </p:sp>
      <p:sp>
        <p:nvSpPr>
          <p:cNvPr id="14" name="TextBox 13">
            <a:extLst>
              <a:ext uri="{FF2B5EF4-FFF2-40B4-BE49-F238E27FC236}">
                <a16:creationId xmlns:a16="http://schemas.microsoft.com/office/drawing/2014/main" id="{123FAD86-6A7F-7D41-7639-B04B483D021F}"/>
              </a:ext>
            </a:extLst>
          </p:cNvPr>
          <p:cNvSpPr txBox="1"/>
          <p:nvPr/>
        </p:nvSpPr>
        <p:spPr>
          <a:xfrm>
            <a:off x="6780217" y="4893511"/>
            <a:ext cx="1213821" cy="276999"/>
          </a:xfrm>
          <a:prstGeom prst="rect">
            <a:avLst/>
          </a:prstGeom>
          <a:noFill/>
        </p:spPr>
        <p:txBody>
          <a:bodyPr wrap="square">
            <a:spAutoFit/>
          </a:bodyPr>
          <a:lstStyle/>
          <a:p>
            <a:pPr algn="ctr"/>
            <a:r>
              <a:rPr lang="en-US" sz="1200"/>
              <a:t>CO2</a:t>
            </a:r>
            <a:endParaRPr lang="en-US" sz="1200" baseline="-25000">
              <a:solidFill>
                <a:schemeClr val="tx1"/>
              </a:solidFill>
            </a:endParaRPr>
          </a:p>
        </p:txBody>
      </p:sp>
      <p:sp>
        <p:nvSpPr>
          <p:cNvPr id="15" name="TextBox 14">
            <a:extLst>
              <a:ext uri="{FF2B5EF4-FFF2-40B4-BE49-F238E27FC236}">
                <a16:creationId xmlns:a16="http://schemas.microsoft.com/office/drawing/2014/main" id="{7460AD07-EB7C-6717-6055-7C604F30626A}"/>
              </a:ext>
            </a:extLst>
          </p:cNvPr>
          <p:cNvSpPr txBox="1"/>
          <p:nvPr/>
        </p:nvSpPr>
        <p:spPr>
          <a:xfrm>
            <a:off x="8514383" y="4922307"/>
            <a:ext cx="1188118" cy="276999"/>
          </a:xfrm>
          <a:prstGeom prst="rect">
            <a:avLst/>
          </a:prstGeom>
          <a:noFill/>
        </p:spPr>
        <p:txBody>
          <a:bodyPr wrap="square">
            <a:spAutoFit/>
          </a:bodyPr>
          <a:lstStyle/>
          <a:p>
            <a:pPr algn="ctr"/>
            <a:r>
              <a:rPr lang="en-US" sz="1200">
                <a:solidFill>
                  <a:schemeClr val="tx1"/>
                </a:solidFill>
              </a:rPr>
              <a:t>PM</a:t>
            </a:r>
            <a:endParaRPr lang="en-US" sz="1200" baseline="-25000">
              <a:solidFill>
                <a:schemeClr val="tx1"/>
              </a:solidFill>
            </a:endParaRPr>
          </a:p>
        </p:txBody>
      </p:sp>
      <p:sp>
        <p:nvSpPr>
          <p:cNvPr id="16" name="TextBox 15">
            <a:extLst>
              <a:ext uri="{FF2B5EF4-FFF2-40B4-BE49-F238E27FC236}">
                <a16:creationId xmlns:a16="http://schemas.microsoft.com/office/drawing/2014/main" id="{CA017F6B-5134-A323-A1A1-6929A332DF8C}"/>
              </a:ext>
            </a:extLst>
          </p:cNvPr>
          <p:cNvSpPr txBox="1"/>
          <p:nvPr/>
        </p:nvSpPr>
        <p:spPr>
          <a:xfrm>
            <a:off x="10355072" y="4899636"/>
            <a:ext cx="1094509" cy="276999"/>
          </a:xfrm>
          <a:prstGeom prst="rect">
            <a:avLst/>
          </a:prstGeom>
          <a:noFill/>
        </p:spPr>
        <p:txBody>
          <a:bodyPr wrap="square">
            <a:spAutoFit/>
          </a:bodyPr>
          <a:lstStyle/>
          <a:p>
            <a:pPr algn="ctr"/>
            <a:r>
              <a:rPr lang="en-US" sz="1200">
                <a:solidFill>
                  <a:schemeClr val="tx1"/>
                </a:solidFill>
              </a:rPr>
              <a:t>VOC </a:t>
            </a:r>
            <a:r>
              <a:rPr lang="en-US" sz="1200">
                <a:solidFill>
                  <a:schemeClr val="bg1">
                    <a:lumMod val="50000"/>
                  </a:schemeClr>
                </a:solidFill>
              </a:rPr>
              <a:t>(+NOx)</a:t>
            </a:r>
          </a:p>
        </p:txBody>
      </p:sp>
      <p:cxnSp>
        <p:nvCxnSpPr>
          <p:cNvPr id="18" name="Straight Arrow Connector 17">
            <a:extLst>
              <a:ext uri="{FF2B5EF4-FFF2-40B4-BE49-F238E27FC236}">
                <a16:creationId xmlns:a16="http://schemas.microsoft.com/office/drawing/2014/main" id="{D103ECAC-9F52-C327-0B03-84BAE28255A0}"/>
              </a:ext>
            </a:extLst>
          </p:cNvPr>
          <p:cNvCxnSpPr>
            <a:cxnSpLocks/>
            <a:endCxn id="6" idx="0"/>
          </p:cNvCxnSpPr>
          <p:nvPr/>
        </p:nvCxnSpPr>
        <p:spPr>
          <a:xfrm flipH="1">
            <a:off x="7391512" y="4438132"/>
            <a:ext cx="2586" cy="23512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FC53CE-4688-AE16-5B6C-1035D647D5F2}"/>
              </a:ext>
            </a:extLst>
          </p:cNvPr>
          <p:cNvCxnSpPr>
            <a:cxnSpLocks/>
          </p:cNvCxnSpPr>
          <p:nvPr/>
        </p:nvCxnSpPr>
        <p:spPr>
          <a:xfrm flipH="1">
            <a:off x="6442942" y="4438132"/>
            <a:ext cx="4382431"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C308A6F-C0C1-C113-4413-FD6238AB1527}"/>
              </a:ext>
            </a:extLst>
          </p:cNvPr>
          <p:cNvCxnSpPr>
            <a:cxnSpLocks/>
            <a:endCxn id="5" idx="0"/>
          </p:cNvCxnSpPr>
          <p:nvPr/>
        </p:nvCxnSpPr>
        <p:spPr>
          <a:xfrm>
            <a:off x="9100501" y="4438132"/>
            <a:ext cx="1" cy="22705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148631C-2FE7-7877-17FB-6924E7A77D9E}"/>
              </a:ext>
            </a:extLst>
          </p:cNvPr>
          <p:cNvCxnSpPr>
            <a:cxnSpLocks/>
            <a:endCxn id="13" idx="0"/>
          </p:cNvCxnSpPr>
          <p:nvPr/>
        </p:nvCxnSpPr>
        <p:spPr>
          <a:xfrm>
            <a:off x="10825373" y="4430809"/>
            <a:ext cx="1" cy="23321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D5A1FE2-8ACF-F8F7-7C4B-E1C4A66D134C}"/>
              </a:ext>
            </a:extLst>
          </p:cNvPr>
          <p:cNvCxnSpPr>
            <a:cxnSpLocks/>
          </p:cNvCxnSpPr>
          <p:nvPr/>
        </p:nvCxnSpPr>
        <p:spPr>
          <a:xfrm>
            <a:off x="7387128" y="5411528"/>
            <a:ext cx="0" cy="20742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4DB9FA1-F6BD-CB77-6BDC-0212AA285C21}"/>
              </a:ext>
            </a:extLst>
          </p:cNvPr>
          <p:cNvSpPr txBox="1"/>
          <p:nvPr/>
        </p:nvSpPr>
        <p:spPr>
          <a:xfrm>
            <a:off x="6723605" y="5618956"/>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CD40 / </a:t>
            </a:r>
            <a:r>
              <a:rPr lang="en-US" sz="1050" b="1">
                <a:solidFill>
                  <a:schemeClr val="bg1">
                    <a:lumMod val="50000"/>
                  </a:schemeClr>
                </a:solidFill>
              </a:rPr>
              <a:t>SCD41</a:t>
            </a:r>
          </a:p>
          <a:p>
            <a:r>
              <a:rPr lang="en-US" sz="1050">
                <a:solidFill>
                  <a:schemeClr val="tx1"/>
                </a:solidFill>
              </a:rPr>
              <a:t>(CO</a:t>
            </a:r>
            <a:r>
              <a:rPr lang="en-US" sz="1050" baseline="-25000">
                <a:solidFill>
                  <a:schemeClr val="tx1"/>
                </a:solidFill>
              </a:rPr>
              <a:t>2</a:t>
            </a:r>
            <a:r>
              <a:rPr lang="en-US" sz="1050">
                <a:solidFill>
                  <a:schemeClr val="tx1"/>
                </a:solidFill>
              </a:rPr>
              <a:t>)</a:t>
            </a:r>
          </a:p>
          <a:p>
            <a:r>
              <a:rPr lang="en-US" sz="1050">
                <a:solidFill>
                  <a:schemeClr val="bg1">
                    <a:lumMod val="50000"/>
                  </a:schemeClr>
                </a:solidFill>
              </a:rPr>
              <a:t>Low power</a:t>
            </a:r>
          </a:p>
          <a:p>
            <a:endParaRPr lang="en-US" sz="1050">
              <a:solidFill>
                <a:schemeClr val="tx1"/>
              </a:solidFill>
            </a:endParaRPr>
          </a:p>
        </p:txBody>
      </p:sp>
      <p:sp>
        <p:nvSpPr>
          <p:cNvPr id="31" name="TextBox 30">
            <a:extLst>
              <a:ext uri="{FF2B5EF4-FFF2-40B4-BE49-F238E27FC236}">
                <a16:creationId xmlns:a16="http://schemas.microsoft.com/office/drawing/2014/main" id="{C4F963B7-360F-FA42-7087-3E72737B0071}"/>
              </a:ext>
            </a:extLst>
          </p:cNvPr>
          <p:cNvSpPr txBox="1"/>
          <p:nvPr/>
        </p:nvSpPr>
        <p:spPr>
          <a:xfrm>
            <a:off x="8430008" y="5618956"/>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EN50</a:t>
            </a:r>
          </a:p>
          <a:p>
            <a:r>
              <a:rPr lang="en-US" sz="1050">
                <a:solidFill>
                  <a:schemeClr val="tx1"/>
                </a:solidFill>
              </a:rPr>
              <a:t>(PM2.5)</a:t>
            </a:r>
          </a:p>
          <a:p>
            <a:endParaRPr lang="en-US" sz="1050">
              <a:solidFill>
                <a:schemeClr val="tx1"/>
              </a:solidFill>
            </a:endParaRPr>
          </a:p>
        </p:txBody>
      </p:sp>
      <p:sp>
        <p:nvSpPr>
          <p:cNvPr id="32" name="TextBox 31">
            <a:extLst>
              <a:ext uri="{FF2B5EF4-FFF2-40B4-BE49-F238E27FC236}">
                <a16:creationId xmlns:a16="http://schemas.microsoft.com/office/drawing/2014/main" id="{8E566219-BA32-5645-C2F9-F955E6748712}"/>
              </a:ext>
            </a:extLst>
          </p:cNvPr>
          <p:cNvSpPr txBox="1"/>
          <p:nvPr/>
        </p:nvSpPr>
        <p:spPr>
          <a:xfrm>
            <a:off x="10154880" y="5611782"/>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dirty="0">
                <a:solidFill>
                  <a:schemeClr val="tx1"/>
                </a:solidFill>
              </a:rPr>
              <a:t>SGP40 / </a:t>
            </a:r>
            <a:r>
              <a:rPr lang="en-US" sz="1050" b="1" dirty="0">
                <a:solidFill>
                  <a:schemeClr val="bg1">
                    <a:lumMod val="50000"/>
                  </a:schemeClr>
                </a:solidFill>
              </a:rPr>
              <a:t>SGP41</a:t>
            </a:r>
            <a:r>
              <a:rPr lang="en-US" sz="1050" b="1" dirty="0">
                <a:solidFill>
                  <a:schemeClr val="tx1"/>
                </a:solidFill>
              </a:rPr>
              <a:t> </a:t>
            </a:r>
          </a:p>
          <a:p>
            <a:r>
              <a:rPr lang="en-US" sz="1050" dirty="0">
                <a:solidFill>
                  <a:schemeClr val="tx1"/>
                </a:solidFill>
              </a:rPr>
              <a:t>(MOX)</a:t>
            </a:r>
          </a:p>
          <a:p>
            <a:endParaRPr lang="en-US" sz="1050" dirty="0">
              <a:solidFill>
                <a:schemeClr val="tx1"/>
              </a:solidFill>
            </a:endParaRPr>
          </a:p>
        </p:txBody>
      </p:sp>
      <p:cxnSp>
        <p:nvCxnSpPr>
          <p:cNvPr id="33" name="Straight Arrow Connector 32">
            <a:extLst>
              <a:ext uri="{FF2B5EF4-FFF2-40B4-BE49-F238E27FC236}">
                <a16:creationId xmlns:a16="http://schemas.microsoft.com/office/drawing/2014/main" id="{787CAF7A-F7D8-78C2-DCF6-A9912CF8868B}"/>
              </a:ext>
            </a:extLst>
          </p:cNvPr>
          <p:cNvCxnSpPr>
            <a:cxnSpLocks/>
          </p:cNvCxnSpPr>
          <p:nvPr/>
        </p:nvCxnSpPr>
        <p:spPr>
          <a:xfrm>
            <a:off x="9095884" y="5411547"/>
            <a:ext cx="0" cy="20742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A8CFF30-E2B0-B1EE-1507-D38C90228F41}"/>
              </a:ext>
            </a:extLst>
          </p:cNvPr>
          <p:cNvCxnSpPr>
            <a:cxnSpLocks/>
          </p:cNvCxnSpPr>
          <p:nvPr/>
        </p:nvCxnSpPr>
        <p:spPr>
          <a:xfrm>
            <a:off x="10820098" y="5414783"/>
            <a:ext cx="0" cy="20742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2">
            <a:extLst>
              <a:ext uri="{FF2B5EF4-FFF2-40B4-BE49-F238E27FC236}">
                <a16:creationId xmlns:a16="http://schemas.microsoft.com/office/drawing/2014/main" id="{CF1A99B2-2497-EAE6-B3EA-E9E62110DCE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2222" b="-13466"/>
          <a:stretch/>
        </p:blipFill>
        <p:spPr bwMode="auto">
          <a:xfrm>
            <a:off x="9839413" y="1959394"/>
            <a:ext cx="377807" cy="30986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0" name="Picture 4" descr="SCD4x CO2 Sensors | Sensirion">
            <a:extLst>
              <a:ext uri="{FF2B5EF4-FFF2-40B4-BE49-F238E27FC236}">
                <a16:creationId xmlns:a16="http://schemas.microsoft.com/office/drawing/2014/main" id="{8F1D0C03-C826-F567-FC43-9DAA26F2547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408" r="17829"/>
          <a:stretch/>
        </p:blipFill>
        <p:spPr bwMode="auto">
          <a:xfrm>
            <a:off x="7554424" y="5803583"/>
            <a:ext cx="418501" cy="34437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a:extLst>
              <a:ext uri="{FF2B5EF4-FFF2-40B4-BE49-F238E27FC236}">
                <a16:creationId xmlns:a16="http://schemas.microsoft.com/office/drawing/2014/main" id="{5A2B949B-F112-C889-9B97-576725EF3FB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2222" b="-13466"/>
          <a:stretch/>
        </p:blipFill>
        <p:spPr bwMode="auto">
          <a:xfrm>
            <a:off x="9324694" y="5875760"/>
            <a:ext cx="377807" cy="30986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2" name="Picture 2" descr="SGP40 VOC Sensor | Sensirion">
            <a:extLst>
              <a:ext uri="{FF2B5EF4-FFF2-40B4-BE49-F238E27FC236}">
                <a16:creationId xmlns:a16="http://schemas.microsoft.com/office/drawing/2014/main" id="{13B0A00C-7693-43DE-A008-2DD995131B3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40281" y="5856435"/>
            <a:ext cx="567298" cy="283649"/>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Arrow Connector 44">
            <a:extLst>
              <a:ext uri="{FF2B5EF4-FFF2-40B4-BE49-F238E27FC236}">
                <a16:creationId xmlns:a16="http://schemas.microsoft.com/office/drawing/2014/main" id="{9A8AE171-653B-E55C-1706-F800984FADA3}"/>
              </a:ext>
            </a:extLst>
          </p:cNvPr>
          <p:cNvCxnSpPr>
            <a:cxnSpLocks/>
          </p:cNvCxnSpPr>
          <p:nvPr/>
        </p:nvCxnSpPr>
        <p:spPr>
          <a:xfrm>
            <a:off x="7379155" y="1362239"/>
            <a:ext cx="0" cy="21986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DF4D3DE-A3D6-53DE-9844-3181707E6D78}"/>
              </a:ext>
            </a:extLst>
          </p:cNvPr>
          <p:cNvCxnSpPr>
            <a:cxnSpLocks/>
          </p:cNvCxnSpPr>
          <p:nvPr/>
        </p:nvCxnSpPr>
        <p:spPr>
          <a:xfrm flipH="1">
            <a:off x="6444050" y="984554"/>
            <a:ext cx="172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DB1FD50-308E-DC12-5DBB-6F7E55DA15CC}"/>
              </a:ext>
            </a:extLst>
          </p:cNvPr>
          <p:cNvCxnSpPr>
            <a:cxnSpLocks/>
          </p:cNvCxnSpPr>
          <p:nvPr/>
        </p:nvCxnSpPr>
        <p:spPr>
          <a:xfrm>
            <a:off x="6444050" y="984554"/>
            <a:ext cx="0" cy="3453578"/>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27A1BEB-A4C1-D7C9-E6B2-58ED938F1425}"/>
              </a:ext>
            </a:extLst>
          </p:cNvPr>
          <p:cNvSpPr txBox="1"/>
          <p:nvPr/>
        </p:nvSpPr>
        <p:spPr>
          <a:xfrm>
            <a:off x="6350817" y="753760"/>
            <a:ext cx="395093" cy="246221"/>
          </a:xfrm>
          <a:prstGeom prst="rect">
            <a:avLst/>
          </a:prstGeom>
          <a:noFill/>
        </p:spPr>
        <p:txBody>
          <a:bodyPr wrap="square" rtlCol="0">
            <a:spAutoFit/>
          </a:bodyPr>
          <a:lstStyle/>
          <a:p>
            <a:r>
              <a:rPr lang="en-US" sz="1000" b="1"/>
              <a:t>yes</a:t>
            </a:r>
          </a:p>
        </p:txBody>
      </p:sp>
      <p:sp>
        <p:nvSpPr>
          <p:cNvPr id="53" name="TextBox 52">
            <a:extLst>
              <a:ext uri="{FF2B5EF4-FFF2-40B4-BE49-F238E27FC236}">
                <a16:creationId xmlns:a16="http://schemas.microsoft.com/office/drawing/2014/main" id="{C39B0A92-550F-4766-E3C4-9D9DC236AF67}"/>
              </a:ext>
            </a:extLst>
          </p:cNvPr>
          <p:cNvSpPr txBox="1"/>
          <p:nvPr/>
        </p:nvSpPr>
        <p:spPr>
          <a:xfrm>
            <a:off x="7387127" y="1335883"/>
            <a:ext cx="395093" cy="246221"/>
          </a:xfrm>
          <a:prstGeom prst="rect">
            <a:avLst/>
          </a:prstGeom>
          <a:noFill/>
        </p:spPr>
        <p:txBody>
          <a:bodyPr wrap="square" rtlCol="0">
            <a:spAutoFit/>
          </a:bodyPr>
          <a:lstStyle/>
          <a:p>
            <a:r>
              <a:rPr lang="en-US" sz="1000" b="1"/>
              <a:t>no</a:t>
            </a:r>
          </a:p>
        </p:txBody>
      </p:sp>
      <p:sp>
        <p:nvSpPr>
          <p:cNvPr id="54" name="Flowchart: Decision 53">
            <a:extLst>
              <a:ext uri="{FF2B5EF4-FFF2-40B4-BE49-F238E27FC236}">
                <a16:creationId xmlns:a16="http://schemas.microsoft.com/office/drawing/2014/main" id="{18C8D9F8-D27C-982E-E70E-260B83EA36B1}"/>
              </a:ext>
            </a:extLst>
          </p:cNvPr>
          <p:cNvSpPr/>
          <p:nvPr/>
        </p:nvSpPr>
        <p:spPr>
          <a:xfrm>
            <a:off x="6608859" y="1613337"/>
            <a:ext cx="1540591" cy="6830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igh-end monitor?</a:t>
            </a:r>
            <a:endParaRPr lang="en-US" sz="1200" baseline="-25000">
              <a:solidFill>
                <a:schemeClr val="tx1"/>
              </a:solidFill>
            </a:endParaRPr>
          </a:p>
        </p:txBody>
      </p:sp>
      <p:sp>
        <p:nvSpPr>
          <p:cNvPr id="56" name="Flowchart: Decision 55">
            <a:extLst>
              <a:ext uri="{FF2B5EF4-FFF2-40B4-BE49-F238E27FC236}">
                <a16:creationId xmlns:a16="http://schemas.microsoft.com/office/drawing/2014/main" id="{3EEFA978-9CF2-0994-2155-0DE504E12E61}"/>
              </a:ext>
            </a:extLst>
          </p:cNvPr>
          <p:cNvSpPr/>
          <p:nvPr/>
        </p:nvSpPr>
        <p:spPr>
          <a:xfrm>
            <a:off x="6618808" y="2562769"/>
            <a:ext cx="1540591" cy="6830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Mid-end monitor</a:t>
            </a:r>
            <a:endParaRPr lang="en-US" sz="1200" baseline="-25000">
              <a:solidFill>
                <a:schemeClr val="tx1"/>
              </a:solidFill>
            </a:endParaRPr>
          </a:p>
        </p:txBody>
      </p:sp>
      <p:sp>
        <p:nvSpPr>
          <p:cNvPr id="58" name="Flowchart: Decision 57">
            <a:extLst>
              <a:ext uri="{FF2B5EF4-FFF2-40B4-BE49-F238E27FC236}">
                <a16:creationId xmlns:a16="http://schemas.microsoft.com/office/drawing/2014/main" id="{72E7EB7B-ECE0-3A98-064D-BEF742B597E5}"/>
              </a:ext>
            </a:extLst>
          </p:cNvPr>
          <p:cNvSpPr/>
          <p:nvPr/>
        </p:nvSpPr>
        <p:spPr>
          <a:xfrm>
            <a:off x="6628955" y="3540985"/>
            <a:ext cx="1540591" cy="6830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Low-end monitor</a:t>
            </a:r>
            <a:endParaRPr lang="en-US" sz="1200" baseline="-25000">
              <a:solidFill>
                <a:schemeClr val="tx1"/>
              </a:solidFill>
            </a:endParaRPr>
          </a:p>
        </p:txBody>
      </p:sp>
      <p:cxnSp>
        <p:nvCxnSpPr>
          <p:cNvPr id="60" name="Straight Arrow Connector 59">
            <a:extLst>
              <a:ext uri="{FF2B5EF4-FFF2-40B4-BE49-F238E27FC236}">
                <a16:creationId xmlns:a16="http://schemas.microsoft.com/office/drawing/2014/main" id="{8E057975-EF31-6055-3D10-27D0942E53F9}"/>
              </a:ext>
            </a:extLst>
          </p:cNvPr>
          <p:cNvCxnSpPr>
            <a:cxnSpLocks/>
          </p:cNvCxnSpPr>
          <p:nvPr/>
        </p:nvCxnSpPr>
        <p:spPr>
          <a:xfrm>
            <a:off x="7386126" y="2329731"/>
            <a:ext cx="0" cy="21986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D6EC67F-AFFA-F92F-091D-6FD0CC815613}"/>
              </a:ext>
            </a:extLst>
          </p:cNvPr>
          <p:cNvSpPr txBox="1"/>
          <p:nvPr/>
        </p:nvSpPr>
        <p:spPr>
          <a:xfrm>
            <a:off x="7394098" y="2323471"/>
            <a:ext cx="395093" cy="246221"/>
          </a:xfrm>
          <a:prstGeom prst="rect">
            <a:avLst/>
          </a:prstGeom>
          <a:noFill/>
        </p:spPr>
        <p:txBody>
          <a:bodyPr wrap="square" rtlCol="0">
            <a:spAutoFit/>
          </a:bodyPr>
          <a:lstStyle/>
          <a:p>
            <a:r>
              <a:rPr lang="en-US" sz="1000" b="1"/>
              <a:t>no</a:t>
            </a:r>
          </a:p>
        </p:txBody>
      </p:sp>
      <p:cxnSp>
        <p:nvCxnSpPr>
          <p:cNvPr id="62" name="Straight Arrow Connector 61">
            <a:extLst>
              <a:ext uri="{FF2B5EF4-FFF2-40B4-BE49-F238E27FC236}">
                <a16:creationId xmlns:a16="http://schemas.microsoft.com/office/drawing/2014/main" id="{45BAD73F-686D-F7DB-F2EA-CF475E77C574}"/>
              </a:ext>
            </a:extLst>
          </p:cNvPr>
          <p:cNvCxnSpPr>
            <a:cxnSpLocks/>
          </p:cNvCxnSpPr>
          <p:nvPr/>
        </p:nvCxnSpPr>
        <p:spPr>
          <a:xfrm>
            <a:off x="7394098" y="3282790"/>
            <a:ext cx="0" cy="21986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2229CD2-66DB-5564-2171-0121D8CBD28E}"/>
              </a:ext>
            </a:extLst>
          </p:cNvPr>
          <p:cNvSpPr txBox="1"/>
          <p:nvPr/>
        </p:nvSpPr>
        <p:spPr>
          <a:xfrm>
            <a:off x="7399250" y="3249832"/>
            <a:ext cx="395093" cy="246221"/>
          </a:xfrm>
          <a:prstGeom prst="rect">
            <a:avLst/>
          </a:prstGeom>
          <a:noFill/>
        </p:spPr>
        <p:txBody>
          <a:bodyPr wrap="square" rtlCol="0">
            <a:spAutoFit/>
          </a:bodyPr>
          <a:lstStyle/>
          <a:p>
            <a:r>
              <a:rPr lang="en-US" sz="1000" b="1"/>
              <a:t>no</a:t>
            </a:r>
          </a:p>
        </p:txBody>
      </p:sp>
      <p:sp>
        <p:nvSpPr>
          <p:cNvPr id="65" name="TextBox 64">
            <a:extLst>
              <a:ext uri="{FF2B5EF4-FFF2-40B4-BE49-F238E27FC236}">
                <a16:creationId xmlns:a16="http://schemas.microsoft.com/office/drawing/2014/main" id="{D74A0BC7-75B5-51CF-3306-A62D646C09E5}"/>
              </a:ext>
            </a:extLst>
          </p:cNvPr>
          <p:cNvSpPr txBox="1"/>
          <p:nvPr/>
        </p:nvSpPr>
        <p:spPr>
          <a:xfrm>
            <a:off x="10541363" y="1663694"/>
            <a:ext cx="1182389"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CD40 / </a:t>
            </a:r>
            <a:r>
              <a:rPr lang="en-US" sz="1050" b="1">
                <a:solidFill>
                  <a:schemeClr val="bg1">
                    <a:lumMod val="50000"/>
                  </a:schemeClr>
                </a:solidFill>
              </a:rPr>
              <a:t>SCD41</a:t>
            </a:r>
          </a:p>
          <a:p>
            <a:r>
              <a:rPr lang="en-US" sz="1050">
                <a:solidFill>
                  <a:schemeClr val="tx1"/>
                </a:solidFill>
              </a:rPr>
              <a:t>(CO</a:t>
            </a:r>
            <a:r>
              <a:rPr lang="en-US" sz="1050" baseline="-25000">
                <a:solidFill>
                  <a:schemeClr val="tx1"/>
                </a:solidFill>
              </a:rPr>
              <a:t>2</a:t>
            </a:r>
            <a:r>
              <a:rPr lang="en-US" sz="1050">
                <a:solidFill>
                  <a:schemeClr val="tx1"/>
                </a:solidFill>
              </a:rPr>
              <a:t>)</a:t>
            </a:r>
          </a:p>
          <a:p>
            <a:r>
              <a:rPr lang="en-US" sz="1050">
                <a:solidFill>
                  <a:schemeClr val="bg1">
                    <a:lumMod val="50000"/>
                  </a:schemeClr>
                </a:solidFill>
              </a:rPr>
              <a:t>Low power</a:t>
            </a:r>
          </a:p>
          <a:p>
            <a:endParaRPr lang="en-US" sz="1050">
              <a:solidFill>
                <a:schemeClr val="tx1"/>
              </a:solidFill>
            </a:endParaRPr>
          </a:p>
        </p:txBody>
      </p:sp>
      <p:pic>
        <p:nvPicPr>
          <p:cNvPr id="66" name="Picture 4" descr="SCD4x CO2 Sensors | Sensirion">
            <a:extLst>
              <a:ext uri="{FF2B5EF4-FFF2-40B4-BE49-F238E27FC236}">
                <a16:creationId xmlns:a16="http://schemas.microsoft.com/office/drawing/2014/main" id="{A5EBEFF6-3BE6-D311-5314-B835F404963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408" r="17829"/>
          <a:stretch/>
        </p:blipFill>
        <p:spPr bwMode="auto">
          <a:xfrm>
            <a:off x="11260777" y="1851645"/>
            <a:ext cx="418501" cy="344377"/>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a:extLst>
              <a:ext uri="{FF2B5EF4-FFF2-40B4-BE49-F238E27FC236}">
                <a16:creationId xmlns:a16="http://schemas.microsoft.com/office/drawing/2014/main" id="{19F48D2B-8F76-482B-A20A-3E52C9DF5CC5}"/>
              </a:ext>
            </a:extLst>
          </p:cNvPr>
          <p:cNvSpPr txBox="1"/>
          <p:nvPr/>
        </p:nvSpPr>
        <p:spPr>
          <a:xfrm>
            <a:off x="9024134" y="2648847"/>
            <a:ext cx="124409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EN54 / </a:t>
            </a:r>
            <a:r>
              <a:rPr lang="en-US" sz="1050" b="1">
                <a:solidFill>
                  <a:schemeClr val="bg1">
                    <a:lumMod val="50000"/>
                  </a:schemeClr>
                </a:solidFill>
              </a:rPr>
              <a:t>SEN55</a:t>
            </a:r>
          </a:p>
          <a:p>
            <a:r>
              <a:rPr lang="en-US" sz="1050">
                <a:solidFill>
                  <a:schemeClr val="tx1"/>
                </a:solidFill>
              </a:rPr>
              <a:t>(PM2.5, RH, T, </a:t>
            </a:r>
          </a:p>
          <a:p>
            <a:r>
              <a:rPr lang="en-US" sz="1050">
                <a:solidFill>
                  <a:schemeClr val="tx1"/>
                </a:solidFill>
              </a:rPr>
              <a:t>VOC, </a:t>
            </a:r>
            <a:r>
              <a:rPr lang="en-US" sz="1050">
                <a:solidFill>
                  <a:schemeClr val="bg1">
                    <a:lumMod val="50000"/>
                  </a:schemeClr>
                </a:solidFill>
              </a:rPr>
              <a:t>NOx</a:t>
            </a:r>
            <a:r>
              <a:rPr lang="en-US" sz="1050">
                <a:solidFill>
                  <a:schemeClr val="tx1"/>
                </a:solidFill>
              </a:rPr>
              <a:t>)</a:t>
            </a:r>
          </a:p>
        </p:txBody>
      </p:sp>
      <p:pic>
        <p:nvPicPr>
          <p:cNvPr id="68" name="Picture 2">
            <a:extLst>
              <a:ext uri="{FF2B5EF4-FFF2-40B4-BE49-F238E27FC236}">
                <a16:creationId xmlns:a16="http://schemas.microsoft.com/office/drawing/2014/main" id="{B729B729-5E85-E367-50B6-608E0771478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2222" b="-13466"/>
          <a:stretch/>
        </p:blipFill>
        <p:spPr bwMode="auto">
          <a:xfrm>
            <a:off x="9860832" y="2939499"/>
            <a:ext cx="377807" cy="30986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5BCE7780-77A2-7E2D-C69C-4669C5F5E712}"/>
              </a:ext>
            </a:extLst>
          </p:cNvPr>
          <p:cNvSpPr txBox="1"/>
          <p:nvPr/>
        </p:nvSpPr>
        <p:spPr>
          <a:xfrm>
            <a:off x="9032008" y="3633687"/>
            <a:ext cx="124409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dirty="0">
                <a:solidFill>
                  <a:schemeClr val="tx1"/>
                </a:solidFill>
              </a:rPr>
              <a:t>SGP40 / </a:t>
            </a:r>
            <a:r>
              <a:rPr lang="en-US" sz="1050" b="1" dirty="0">
                <a:solidFill>
                  <a:schemeClr val="bg1">
                    <a:lumMod val="50000"/>
                  </a:schemeClr>
                </a:solidFill>
              </a:rPr>
              <a:t>SGP41</a:t>
            </a:r>
            <a:r>
              <a:rPr lang="en-US" sz="1050" b="1" dirty="0">
                <a:solidFill>
                  <a:schemeClr val="tx1"/>
                </a:solidFill>
              </a:rPr>
              <a:t> </a:t>
            </a:r>
          </a:p>
          <a:p>
            <a:r>
              <a:rPr lang="en-US" sz="1050" dirty="0">
                <a:solidFill>
                  <a:schemeClr val="tx1"/>
                </a:solidFill>
              </a:rPr>
              <a:t>(MOX)</a:t>
            </a:r>
          </a:p>
          <a:p>
            <a:endParaRPr lang="en-US" sz="1050" dirty="0">
              <a:solidFill>
                <a:schemeClr val="tx1"/>
              </a:solidFill>
            </a:endParaRPr>
          </a:p>
        </p:txBody>
      </p:sp>
      <p:pic>
        <p:nvPicPr>
          <p:cNvPr id="72" name="Picture 2" descr="SGP40 VOC Sensor | Sensirion">
            <a:extLst>
              <a:ext uri="{FF2B5EF4-FFF2-40B4-BE49-F238E27FC236}">
                <a16:creationId xmlns:a16="http://schemas.microsoft.com/office/drawing/2014/main" id="{E4DFEB92-7C90-3B18-0E45-F3FB33EAAEC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92722" y="3878340"/>
            <a:ext cx="567298" cy="283649"/>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035653A5-0DF5-78AD-8B38-262E39349F16}"/>
              </a:ext>
            </a:extLst>
          </p:cNvPr>
          <p:cNvSpPr txBox="1"/>
          <p:nvPr/>
        </p:nvSpPr>
        <p:spPr>
          <a:xfrm>
            <a:off x="10541363" y="3648245"/>
            <a:ext cx="1182389"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HT4x</a:t>
            </a:r>
          </a:p>
          <a:p>
            <a:r>
              <a:rPr lang="en-US" sz="1050">
                <a:solidFill>
                  <a:schemeClr val="tx1"/>
                </a:solidFill>
              </a:rPr>
              <a:t>(Humidity and Temperature)</a:t>
            </a:r>
          </a:p>
          <a:p>
            <a:r>
              <a:rPr lang="en-US" sz="1050">
                <a:solidFill>
                  <a:schemeClr val="tx1"/>
                </a:solidFill>
              </a:rPr>
              <a:t> </a:t>
            </a:r>
          </a:p>
          <a:p>
            <a:endParaRPr lang="en-US" sz="1050" b="1">
              <a:solidFill>
                <a:schemeClr val="tx1"/>
              </a:solidFill>
            </a:endParaRPr>
          </a:p>
        </p:txBody>
      </p:sp>
      <p:pic>
        <p:nvPicPr>
          <p:cNvPr id="74" name="Picture 2" descr="Capteurs de température et d'humidité numériques SHT4x - Sensirion | Mouser">
            <a:extLst>
              <a:ext uri="{FF2B5EF4-FFF2-40B4-BE49-F238E27FC236}">
                <a16:creationId xmlns:a16="http://schemas.microsoft.com/office/drawing/2014/main" id="{144F8F19-6FDC-B63E-ED37-7A873283D84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320622" y="3882112"/>
            <a:ext cx="424781" cy="308674"/>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Straight Arrow Connector 74">
            <a:extLst>
              <a:ext uri="{FF2B5EF4-FFF2-40B4-BE49-F238E27FC236}">
                <a16:creationId xmlns:a16="http://schemas.microsoft.com/office/drawing/2014/main" id="{4727F5FB-6BB5-54DB-D3FF-33BBE5E060AC}"/>
              </a:ext>
            </a:extLst>
          </p:cNvPr>
          <p:cNvCxnSpPr>
            <a:cxnSpLocks/>
            <a:stCxn id="54" idx="3"/>
            <a:endCxn id="9" idx="1"/>
          </p:cNvCxnSpPr>
          <p:nvPr/>
        </p:nvCxnSpPr>
        <p:spPr>
          <a:xfrm>
            <a:off x="8149450" y="1954842"/>
            <a:ext cx="853265" cy="163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144A9F67-A7F3-657D-4C89-0B8B57A9791B}"/>
              </a:ext>
            </a:extLst>
          </p:cNvPr>
          <p:cNvCxnSpPr>
            <a:cxnSpLocks/>
          </p:cNvCxnSpPr>
          <p:nvPr/>
        </p:nvCxnSpPr>
        <p:spPr>
          <a:xfrm>
            <a:off x="8169546" y="2902639"/>
            <a:ext cx="853265" cy="163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6314F3A-5D51-A36C-B112-8C89E19F88CE}"/>
              </a:ext>
            </a:extLst>
          </p:cNvPr>
          <p:cNvCxnSpPr>
            <a:cxnSpLocks/>
          </p:cNvCxnSpPr>
          <p:nvPr/>
        </p:nvCxnSpPr>
        <p:spPr>
          <a:xfrm>
            <a:off x="8194811" y="3878340"/>
            <a:ext cx="853265" cy="163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10B7CF7B-44C5-7691-30BB-094AD6656FF3}"/>
              </a:ext>
            </a:extLst>
          </p:cNvPr>
          <p:cNvSpPr txBox="1"/>
          <p:nvPr/>
        </p:nvSpPr>
        <p:spPr>
          <a:xfrm>
            <a:off x="8384976" y="1715429"/>
            <a:ext cx="395093" cy="246221"/>
          </a:xfrm>
          <a:prstGeom prst="rect">
            <a:avLst/>
          </a:prstGeom>
          <a:noFill/>
        </p:spPr>
        <p:txBody>
          <a:bodyPr wrap="square" rtlCol="0">
            <a:spAutoFit/>
          </a:bodyPr>
          <a:lstStyle/>
          <a:p>
            <a:r>
              <a:rPr lang="en-US" sz="1000" b="1"/>
              <a:t>yes</a:t>
            </a:r>
          </a:p>
        </p:txBody>
      </p:sp>
      <p:sp>
        <p:nvSpPr>
          <p:cNvPr id="81" name="TextBox 80">
            <a:extLst>
              <a:ext uri="{FF2B5EF4-FFF2-40B4-BE49-F238E27FC236}">
                <a16:creationId xmlns:a16="http://schemas.microsoft.com/office/drawing/2014/main" id="{6F147EF0-CE45-F950-03BD-894A4034D6E9}"/>
              </a:ext>
            </a:extLst>
          </p:cNvPr>
          <p:cNvSpPr txBox="1"/>
          <p:nvPr/>
        </p:nvSpPr>
        <p:spPr>
          <a:xfrm>
            <a:off x="8378535" y="2652756"/>
            <a:ext cx="395093" cy="246221"/>
          </a:xfrm>
          <a:prstGeom prst="rect">
            <a:avLst/>
          </a:prstGeom>
          <a:noFill/>
        </p:spPr>
        <p:txBody>
          <a:bodyPr wrap="square" rtlCol="0">
            <a:spAutoFit/>
          </a:bodyPr>
          <a:lstStyle/>
          <a:p>
            <a:r>
              <a:rPr lang="en-US" sz="1000" b="1"/>
              <a:t>yes</a:t>
            </a:r>
          </a:p>
        </p:txBody>
      </p:sp>
      <p:sp>
        <p:nvSpPr>
          <p:cNvPr id="82" name="TextBox 81">
            <a:extLst>
              <a:ext uri="{FF2B5EF4-FFF2-40B4-BE49-F238E27FC236}">
                <a16:creationId xmlns:a16="http://schemas.microsoft.com/office/drawing/2014/main" id="{7B11519A-EA32-5D36-E471-4C8FB6F97183}"/>
              </a:ext>
            </a:extLst>
          </p:cNvPr>
          <p:cNvSpPr txBox="1"/>
          <p:nvPr/>
        </p:nvSpPr>
        <p:spPr>
          <a:xfrm>
            <a:off x="8377110" y="3647008"/>
            <a:ext cx="395093" cy="246221"/>
          </a:xfrm>
          <a:prstGeom prst="rect">
            <a:avLst/>
          </a:prstGeom>
          <a:noFill/>
        </p:spPr>
        <p:txBody>
          <a:bodyPr wrap="square" rtlCol="0">
            <a:spAutoFit/>
          </a:bodyPr>
          <a:lstStyle/>
          <a:p>
            <a:r>
              <a:rPr lang="en-US" sz="1000" b="1"/>
              <a:t>yes</a:t>
            </a:r>
          </a:p>
        </p:txBody>
      </p:sp>
      <p:sp>
        <p:nvSpPr>
          <p:cNvPr id="83" name="TextBox 82">
            <a:extLst>
              <a:ext uri="{FF2B5EF4-FFF2-40B4-BE49-F238E27FC236}">
                <a16:creationId xmlns:a16="http://schemas.microsoft.com/office/drawing/2014/main" id="{62BBC055-EA90-501D-295E-BF467C3E00A2}"/>
              </a:ext>
            </a:extLst>
          </p:cNvPr>
          <p:cNvSpPr txBox="1"/>
          <p:nvPr/>
        </p:nvSpPr>
        <p:spPr>
          <a:xfrm>
            <a:off x="10265052" y="1838483"/>
            <a:ext cx="208603" cy="246221"/>
          </a:xfrm>
          <a:prstGeom prst="rect">
            <a:avLst/>
          </a:prstGeom>
          <a:noFill/>
        </p:spPr>
        <p:txBody>
          <a:bodyPr wrap="square" rtlCol="0">
            <a:spAutoFit/>
          </a:bodyPr>
          <a:lstStyle/>
          <a:p>
            <a:r>
              <a:rPr lang="en-US" sz="1000" b="1"/>
              <a:t>+</a:t>
            </a:r>
          </a:p>
        </p:txBody>
      </p:sp>
      <p:sp>
        <p:nvSpPr>
          <p:cNvPr id="84" name="TextBox 83">
            <a:extLst>
              <a:ext uri="{FF2B5EF4-FFF2-40B4-BE49-F238E27FC236}">
                <a16:creationId xmlns:a16="http://schemas.microsoft.com/office/drawing/2014/main" id="{C1D83408-2929-B608-2E54-7A342B780E4C}"/>
              </a:ext>
            </a:extLst>
          </p:cNvPr>
          <p:cNvSpPr txBox="1"/>
          <p:nvPr/>
        </p:nvSpPr>
        <p:spPr>
          <a:xfrm>
            <a:off x="10287762" y="3836133"/>
            <a:ext cx="208603" cy="246221"/>
          </a:xfrm>
          <a:prstGeom prst="rect">
            <a:avLst/>
          </a:prstGeom>
          <a:noFill/>
        </p:spPr>
        <p:txBody>
          <a:bodyPr wrap="square" rtlCol="0">
            <a:spAutoFit/>
          </a:bodyPr>
          <a:lstStyle/>
          <a:p>
            <a:r>
              <a:rPr lang="en-US" sz="1000" b="1"/>
              <a:t>+</a:t>
            </a:r>
          </a:p>
        </p:txBody>
      </p:sp>
      <p:pic>
        <p:nvPicPr>
          <p:cNvPr id="2050" name="Picture 2" descr="85 Indoor Air Quality Icon Illustrations &amp; Clip Art - iStock">
            <a:extLst>
              <a:ext uri="{FF2B5EF4-FFF2-40B4-BE49-F238E27FC236}">
                <a16:creationId xmlns:a16="http://schemas.microsoft.com/office/drawing/2014/main" id="{51E010BD-46F5-C8F1-93A5-9C4F5E51513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5177" y="167670"/>
            <a:ext cx="825449" cy="828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67903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72B91-E856-B4D9-0311-34952BAB957A}"/>
              </a:ext>
            </a:extLst>
          </p:cNvPr>
          <p:cNvSpPr>
            <a:spLocks noGrp="1"/>
          </p:cNvSpPr>
          <p:nvPr>
            <p:ph type="title"/>
          </p:nvPr>
        </p:nvSpPr>
        <p:spPr/>
        <p:txBody>
          <a:bodyPr/>
          <a:lstStyle/>
          <a:p>
            <a:r>
              <a:rPr lang="en-US"/>
              <a:t>      HVAC Systems (Heating, Ventilation, and Air Conditioning) </a:t>
            </a:r>
          </a:p>
        </p:txBody>
      </p:sp>
      <p:sp>
        <p:nvSpPr>
          <p:cNvPr id="4" name="Slide Number Placeholder 3">
            <a:extLst>
              <a:ext uri="{FF2B5EF4-FFF2-40B4-BE49-F238E27FC236}">
                <a16:creationId xmlns:a16="http://schemas.microsoft.com/office/drawing/2014/main" id="{0F022756-EAC5-1AC9-E274-33407CD35DDA}"/>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48</a:t>
            </a:fld>
            <a:endParaRPr lang="de-CH"/>
          </a:p>
        </p:txBody>
      </p:sp>
      <p:sp>
        <p:nvSpPr>
          <p:cNvPr id="10" name="Rectangle: Rounded Corners 49">
            <a:extLst>
              <a:ext uri="{FF2B5EF4-FFF2-40B4-BE49-F238E27FC236}">
                <a16:creationId xmlns:a16="http://schemas.microsoft.com/office/drawing/2014/main" id="{389BF21B-7056-CAE4-FD88-0F1A6B204021}"/>
              </a:ext>
            </a:extLst>
          </p:cNvPr>
          <p:cNvSpPr/>
          <p:nvPr/>
        </p:nvSpPr>
        <p:spPr>
          <a:xfrm>
            <a:off x="710707" y="3373967"/>
            <a:ext cx="5385293" cy="2886790"/>
          </a:xfrm>
          <a:prstGeom prst="roundRect">
            <a:avLst>
              <a:gd name="adj" fmla="val 8138"/>
            </a:avLst>
          </a:prstGeom>
          <a:solidFill>
            <a:schemeClr val="bg1"/>
          </a:solidFill>
          <a:ln>
            <a:solidFill>
              <a:schemeClr val="accent2"/>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accent1"/>
                </a:solidFill>
              </a:rPr>
              <a:t>Sensors make HVAC systems energy efficient and performant </a:t>
            </a:r>
            <a:endParaRPr lang="en-US" sz="1400" b="1">
              <a:solidFill>
                <a:schemeClr val="tx1"/>
              </a:solidFill>
            </a:endParaRPr>
          </a:p>
          <a:p>
            <a:endParaRPr lang="en-US" sz="500" b="1">
              <a:solidFill>
                <a:schemeClr val="tx1"/>
              </a:solidFill>
            </a:endParaRPr>
          </a:p>
          <a:p>
            <a:r>
              <a:rPr lang="en-US" sz="1400" b="1">
                <a:solidFill>
                  <a:schemeClr val="tx1"/>
                </a:solidFill>
              </a:rPr>
              <a:t>Cooling / Heating</a:t>
            </a:r>
          </a:p>
          <a:p>
            <a:pPr marL="171450" indent="-171450">
              <a:buFont typeface="Arial" panose="020B0604020202020204" pitchFamily="34" charset="0"/>
              <a:buChar char="•"/>
            </a:pPr>
            <a:r>
              <a:rPr lang="en-US" sz="1400">
                <a:solidFill>
                  <a:schemeClr val="tx1"/>
                </a:solidFill>
              </a:rPr>
              <a:t>RH&amp;T sensors feedback environment information to the BMS </a:t>
            </a:r>
          </a:p>
          <a:p>
            <a:pPr marL="171450" indent="-171450">
              <a:buFont typeface="Arial" panose="020B0604020202020204" pitchFamily="34" charset="0"/>
              <a:buChar char="•"/>
            </a:pPr>
            <a:r>
              <a:rPr lang="en-US" sz="1400">
                <a:solidFill>
                  <a:schemeClr val="tx1"/>
                </a:solidFill>
              </a:rPr>
              <a:t>Norms are pushing towards more climate-friendly refrigerant gases that must be controlled for safety (leakage detection).</a:t>
            </a:r>
          </a:p>
          <a:p>
            <a:pPr marL="171450" indent="-171450">
              <a:buFont typeface="Arial" panose="020B0604020202020204" pitchFamily="34" charset="0"/>
              <a:buChar char="•"/>
            </a:pPr>
            <a:endParaRPr lang="en-US" sz="500">
              <a:solidFill>
                <a:schemeClr val="tx1"/>
              </a:solidFill>
            </a:endParaRPr>
          </a:p>
          <a:p>
            <a:r>
              <a:rPr lang="en-US" sz="1400" b="1">
                <a:solidFill>
                  <a:schemeClr val="tx1"/>
                </a:solidFill>
              </a:rPr>
              <a:t>Ventilation </a:t>
            </a:r>
          </a:p>
          <a:p>
            <a:pPr marL="171450" indent="-171450">
              <a:buFont typeface="Arial" panose="020B0604020202020204" pitchFamily="34" charset="0"/>
              <a:buChar char="•"/>
            </a:pPr>
            <a:r>
              <a:rPr lang="en-US" sz="1400">
                <a:solidFill>
                  <a:schemeClr val="tx1"/>
                </a:solidFill>
              </a:rPr>
              <a:t>Demand-controlled ventilation based on CO</a:t>
            </a:r>
            <a:r>
              <a:rPr lang="en-US" sz="1400" baseline="-25000">
                <a:solidFill>
                  <a:schemeClr val="tx1"/>
                </a:solidFill>
              </a:rPr>
              <a:t>2</a:t>
            </a:r>
            <a:r>
              <a:rPr lang="en-US" sz="1400">
                <a:solidFill>
                  <a:schemeClr val="tx1"/>
                </a:solidFill>
              </a:rPr>
              <a:t> sensor readings optimize ventilation’s energy efficiency and indoor air quality. </a:t>
            </a:r>
          </a:p>
          <a:p>
            <a:pPr marL="171450" indent="-171450">
              <a:buFont typeface="Arial" panose="020B0604020202020204" pitchFamily="34" charset="0"/>
              <a:buChar char="•"/>
            </a:pPr>
            <a:endParaRPr lang="en-US" sz="500">
              <a:solidFill>
                <a:schemeClr val="tx1"/>
              </a:solidFill>
            </a:endParaRPr>
          </a:p>
          <a:p>
            <a:r>
              <a:rPr lang="en-US" sz="1400" b="1">
                <a:solidFill>
                  <a:schemeClr val="tx1"/>
                </a:solidFill>
              </a:rPr>
              <a:t>Variable Air Volume</a:t>
            </a:r>
          </a:p>
          <a:p>
            <a:pPr marL="171450" indent="-171450">
              <a:buFont typeface="Arial" panose="020B0604020202020204" pitchFamily="34" charset="0"/>
              <a:buChar char="•"/>
            </a:pPr>
            <a:r>
              <a:rPr lang="en-US" sz="1400">
                <a:solidFill>
                  <a:schemeClr val="tx1"/>
                </a:solidFill>
              </a:rPr>
              <a:t>The airflow is controlled with variable air volume controllers that leverage differential pressure sensors</a:t>
            </a:r>
          </a:p>
        </p:txBody>
      </p:sp>
      <p:sp>
        <p:nvSpPr>
          <p:cNvPr id="12" name="Rectangle: Rounded Corners 49">
            <a:extLst>
              <a:ext uri="{FF2B5EF4-FFF2-40B4-BE49-F238E27FC236}">
                <a16:creationId xmlns:a16="http://schemas.microsoft.com/office/drawing/2014/main" id="{48D73394-BAC2-0602-6B39-487B4894962A}"/>
              </a:ext>
            </a:extLst>
          </p:cNvPr>
          <p:cNvSpPr/>
          <p:nvPr/>
        </p:nvSpPr>
        <p:spPr>
          <a:xfrm>
            <a:off x="6297229" y="5737107"/>
            <a:ext cx="5054985" cy="523650"/>
          </a:xfrm>
          <a:prstGeom prst="roundRect">
            <a:avLst>
              <a:gd name="adj" fmla="val 8138"/>
            </a:avLst>
          </a:prstGeom>
          <a:solidFill>
            <a:schemeClr val="bg1"/>
          </a:solidFill>
          <a:ln>
            <a:solidFill>
              <a:schemeClr val="accent2"/>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1"/>
                </a:solidFill>
                <a:hlinkClick r:id="rId3"/>
              </a:rPr>
              <a:t>Variable Air Volume (VAV)</a:t>
            </a:r>
            <a:endParaRPr lang="en-US" sz="1100">
              <a:solidFill>
                <a:schemeClr val="tx1"/>
              </a:solidFill>
            </a:endParaRPr>
          </a:p>
          <a:p>
            <a:r>
              <a:rPr lang="en-US" sz="1100">
                <a:solidFill>
                  <a:schemeClr val="tx1"/>
                </a:solidFill>
                <a:hlinkClick r:id="rId4"/>
              </a:rPr>
              <a:t>Demand-controlled ventilation (DCV)</a:t>
            </a:r>
            <a:endParaRPr lang="en-US" sz="1100">
              <a:solidFill>
                <a:schemeClr val="tx1"/>
              </a:solidFill>
            </a:endParaRPr>
          </a:p>
        </p:txBody>
      </p:sp>
      <p:sp>
        <p:nvSpPr>
          <p:cNvPr id="8" name="Rectangle: Rounded Corners 49">
            <a:extLst>
              <a:ext uri="{FF2B5EF4-FFF2-40B4-BE49-F238E27FC236}">
                <a16:creationId xmlns:a16="http://schemas.microsoft.com/office/drawing/2014/main" id="{B956B7E7-680E-A45F-A447-1ED326DF3CC1}"/>
              </a:ext>
            </a:extLst>
          </p:cNvPr>
          <p:cNvSpPr/>
          <p:nvPr/>
        </p:nvSpPr>
        <p:spPr>
          <a:xfrm>
            <a:off x="710707" y="986367"/>
            <a:ext cx="5385293" cy="2139360"/>
          </a:xfrm>
          <a:prstGeom prst="roundRect">
            <a:avLst>
              <a:gd name="adj" fmla="val 8138"/>
            </a:avLst>
          </a:prstGeom>
          <a:solidFill>
            <a:schemeClr val="bg1"/>
          </a:solidFill>
          <a:ln>
            <a:solidFill>
              <a:schemeClr val="accent2"/>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a:solidFill>
                  <a:schemeClr val="accent1"/>
                </a:solidFill>
              </a:rPr>
              <a:t>Market Overview</a:t>
            </a:r>
          </a:p>
          <a:p>
            <a:pPr marL="342900" indent="-342900">
              <a:buFont typeface="Wingdings" panose="05000000000000000000" pitchFamily="2" charset="2"/>
              <a:buChar char="§"/>
            </a:pPr>
            <a:r>
              <a:rPr lang="en-US" sz="1400">
                <a:solidFill>
                  <a:schemeClr val="tx1"/>
                </a:solidFill>
              </a:rPr>
              <a:t>USA market is $16.54bn in 2021 with an expected 5.6% CAGR to 2030. </a:t>
            </a:r>
          </a:p>
          <a:p>
            <a:pPr marL="342900" indent="-342900">
              <a:buFont typeface="Wingdings" panose="05000000000000000000" pitchFamily="2" charset="2"/>
              <a:buChar char="§"/>
            </a:pPr>
            <a:r>
              <a:rPr lang="en-US" sz="1400">
                <a:solidFill>
                  <a:schemeClr val="tx1"/>
                </a:solidFill>
              </a:rPr>
              <a:t>Segmented in Cooling (50%), Heating (35%) and Ventilation (15%).</a:t>
            </a:r>
          </a:p>
          <a:p>
            <a:r>
              <a:rPr lang="en-US" sz="1400" b="1">
                <a:solidFill>
                  <a:schemeClr val="tx1"/>
                </a:solidFill>
              </a:rPr>
              <a:t>Key trends: </a:t>
            </a:r>
          </a:p>
          <a:p>
            <a:pPr marL="342900" indent="-342900">
              <a:buFont typeface="Wingdings" panose="05000000000000000000" pitchFamily="2" charset="2"/>
              <a:buChar char="§"/>
            </a:pPr>
            <a:r>
              <a:rPr lang="en-US" sz="1400">
                <a:solidFill>
                  <a:schemeClr val="tx1"/>
                </a:solidFill>
              </a:rPr>
              <a:t>Energy efficiency: Demand-controlled ventilation</a:t>
            </a:r>
          </a:p>
          <a:p>
            <a:pPr marL="342900" indent="-342900">
              <a:buFont typeface="Wingdings" panose="05000000000000000000" pitchFamily="2" charset="2"/>
              <a:buChar char="§"/>
            </a:pPr>
            <a:r>
              <a:rPr lang="en-US" sz="1400">
                <a:solidFill>
                  <a:schemeClr val="tx1"/>
                </a:solidFill>
              </a:rPr>
              <a:t>Global warming: Change of refrigerant</a:t>
            </a:r>
          </a:p>
          <a:p>
            <a:pPr marL="342900" indent="-342900">
              <a:buFont typeface="Wingdings" panose="05000000000000000000" pitchFamily="2" charset="2"/>
              <a:buChar char="§"/>
            </a:pPr>
            <a:r>
              <a:rPr lang="en-US" sz="1400">
                <a:solidFill>
                  <a:schemeClr val="tx1"/>
                </a:solidFill>
              </a:rPr>
              <a:t>Indoor air quality: COVID-19, health, and productivity </a:t>
            </a:r>
          </a:p>
          <a:p>
            <a:r>
              <a:rPr lang="en-US" sz="1400" b="1">
                <a:solidFill>
                  <a:schemeClr val="tx1"/>
                </a:solidFill>
              </a:rPr>
              <a:t>Key players: </a:t>
            </a:r>
            <a:r>
              <a:rPr lang="en-US" sz="1400">
                <a:solidFill>
                  <a:schemeClr val="tx1"/>
                </a:solidFill>
              </a:rPr>
              <a:t>Carrier, Lennox, Mitsubishi, Daikin, Johnson Controls, Trane, Emerson. Moderately consolidated market</a:t>
            </a:r>
          </a:p>
        </p:txBody>
      </p:sp>
      <p:sp>
        <p:nvSpPr>
          <p:cNvPr id="5" name="TextBox 4">
            <a:extLst>
              <a:ext uri="{FF2B5EF4-FFF2-40B4-BE49-F238E27FC236}">
                <a16:creationId xmlns:a16="http://schemas.microsoft.com/office/drawing/2014/main" id="{109433C1-8B2F-0D02-2EF7-6B13E756F284}"/>
              </a:ext>
            </a:extLst>
          </p:cNvPr>
          <p:cNvSpPr txBox="1"/>
          <p:nvPr/>
        </p:nvSpPr>
        <p:spPr>
          <a:xfrm>
            <a:off x="8073304" y="1398880"/>
            <a:ext cx="395093" cy="246221"/>
          </a:xfrm>
          <a:prstGeom prst="rect">
            <a:avLst/>
          </a:prstGeom>
          <a:noFill/>
        </p:spPr>
        <p:txBody>
          <a:bodyPr wrap="square" rtlCol="0">
            <a:spAutoFit/>
          </a:bodyPr>
          <a:lstStyle/>
          <a:p>
            <a:r>
              <a:rPr lang="en-US" sz="1000" b="1"/>
              <a:t>yes</a:t>
            </a:r>
          </a:p>
        </p:txBody>
      </p:sp>
      <p:sp>
        <p:nvSpPr>
          <p:cNvPr id="6" name="Flowchart: Decision 5">
            <a:extLst>
              <a:ext uri="{FF2B5EF4-FFF2-40B4-BE49-F238E27FC236}">
                <a16:creationId xmlns:a16="http://schemas.microsoft.com/office/drawing/2014/main" id="{EA162BE3-8A4B-4344-45F3-4B51D03C058E}"/>
              </a:ext>
            </a:extLst>
          </p:cNvPr>
          <p:cNvSpPr/>
          <p:nvPr/>
        </p:nvSpPr>
        <p:spPr>
          <a:xfrm>
            <a:off x="6569588" y="2924964"/>
            <a:ext cx="1540591" cy="6830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entilation</a:t>
            </a:r>
          </a:p>
        </p:txBody>
      </p:sp>
      <p:sp>
        <p:nvSpPr>
          <p:cNvPr id="9" name="Flowchart: Decision 8">
            <a:extLst>
              <a:ext uri="{FF2B5EF4-FFF2-40B4-BE49-F238E27FC236}">
                <a16:creationId xmlns:a16="http://schemas.microsoft.com/office/drawing/2014/main" id="{AA6AA146-1081-FE47-9A4D-81A703260993}"/>
              </a:ext>
            </a:extLst>
          </p:cNvPr>
          <p:cNvSpPr/>
          <p:nvPr/>
        </p:nvSpPr>
        <p:spPr>
          <a:xfrm>
            <a:off x="6568124" y="1321597"/>
            <a:ext cx="1540591" cy="6830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eating/ Cooling</a:t>
            </a:r>
            <a:endParaRPr lang="en-US" sz="1200" baseline="-25000">
              <a:solidFill>
                <a:schemeClr val="tx1"/>
              </a:solidFill>
            </a:endParaRPr>
          </a:p>
        </p:txBody>
      </p:sp>
      <p:sp>
        <p:nvSpPr>
          <p:cNvPr id="11" name="Flowchart: Decision 10">
            <a:extLst>
              <a:ext uri="{FF2B5EF4-FFF2-40B4-BE49-F238E27FC236}">
                <a16:creationId xmlns:a16="http://schemas.microsoft.com/office/drawing/2014/main" id="{2809EBCA-4AD4-819E-01A5-5A0EE8AB13DD}"/>
              </a:ext>
            </a:extLst>
          </p:cNvPr>
          <p:cNvSpPr/>
          <p:nvPr/>
        </p:nvSpPr>
        <p:spPr>
          <a:xfrm>
            <a:off x="6568124" y="4522451"/>
            <a:ext cx="1540591" cy="6830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ariable Air Volume</a:t>
            </a:r>
          </a:p>
        </p:txBody>
      </p:sp>
      <p:cxnSp>
        <p:nvCxnSpPr>
          <p:cNvPr id="13" name="Straight Arrow Connector 12">
            <a:extLst>
              <a:ext uri="{FF2B5EF4-FFF2-40B4-BE49-F238E27FC236}">
                <a16:creationId xmlns:a16="http://schemas.microsoft.com/office/drawing/2014/main" id="{573DCF5C-0282-2C68-A6CA-0AED8C3CD9AB}"/>
              </a:ext>
            </a:extLst>
          </p:cNvPr>
          <p:cNvCxnSpPr>
            <a:cxnSpLocks/>
            <a:stCxn id="9" idx="2"/>
            <a:endCxn id="6" idx="0"/>
          </p:cNvCxnSpPr>
          <p:nvPr/>
        </p:nvCxnSpPr>
        <p:spPr>
          <a:xfrm>
            <a:off x="7338420" y="2004606"/>
            <a:ext cx="1464" cy="92035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5332711-E159-F747-54BF-81EFFEBA36DC}"/>
              </a:ext>
            </a:extLst>
          </p:cNvPr>
          <p:cNvCxnSpPr>
            <a:cxnSpLocks/>
            <a:stCxn id="6" idx="2"/>
            <a:endCxn id="11" idx="0"/>
          </p:cNvCxnSpPr>
          <p:nvPr/>
        </p:nvCxnSpPr>
        <p:spPr>
          <a:xfrm flipH="1">
            <a:off x="7338420" y="3607973"/>
            <a:ext cx="1464" cy="91447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538504D-CD48-FDF4-5012-57CDC87D3F6F}"/>
              </a:ext>
            </a:extLst>
          </p:cNvPr>
          <p:cNvSpPr txBox="1"/>
          <p:nvPr/>
        </p:nvSpPr>
        <p:spPr>
          <a:xfrm>
            <a:off x="8076386" y="3027275"/>
            <a:ext cx="395093" cy="246221"/>
          </a:xfrm>
          <a:prstGeom prst="rect">
            <a:avLst/>
          </a:prstGeom>
          <a:noFill/>
        </p:spPr>
        <p:txBody>
          <a:bodyPr wrap="square" rtlCol="0">
            <a:spAutoFit/>
          </a:bodyPr>
          <a:lstStyle/>
          <a:p>
            <a:r>
              <a:rPr lang="en-US" sz="1000" b="1"/>
              <a:t>yes</a:t>
            </a:r>
          </a:p>
        </p:txBody>
      </p:sp>
      <p:sp>
        <p:nvSpPr>
          <p:cNvPr id="19" name="Flowchart: Decision 18">
            <a:extLst>
              <a:ext uri="{FF2B5EF4-FFF2-40B4-BE49-F238E27FC236}">
                <a16:creationId xmlns:a16="http://schemas.microsoft.com/office/drawing/2014/main" id="{6A7CEAA9-D1C8-F40C-94CB-837B6852D4D4}"/>
              </a:ext>
            </a:extLst>
          </p:cNvPr>
          <p:cNvSpPr/>
          <p:nvPr/>
        </p:nvSpPr>
        <p:spPr>
          <a:xfrm>
            <a:off x="8019937" y="2082120"/>
            <a:ext cx="1440000" cy="7314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utdoor air intake?</a:t>
            </a:r>
          </a:p>
        </p:txBody>
      </p:sp>
      <p:sp>
        <p:nvSpPr>
          <p:cNvPr id="20" name="Flowchart: Decision 19">
            <a:extLst>
              <a:ext uri="{FF2B5EF4-FFF2-40B4-BE49-F238E27FC236}">
                <a16:creationId xmlns:a16="http://schemas.microsoft.com/office/drawing/2014/main" id="{2FE08236-A4F2-3EFA-3FCF-3235D16D5F06}"/>
              </a:ext>
            </a:extLst>
          </p:cNvPr>
          <p:cNvSpPr/>
          <p:nvPr/>
        </p:nvSpPr>
        <p:spPr>
          <a:xfrm>
            <a:off x="7918372" y="3688802"/>
            <a:ext cx="1643130" cy="732593"/>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mart Thermostat</a:t>
            </a:r>
          </a:p>
        </p:txBody>
      </p:sp>
      <p:cxnSp>
        <p:nvCxnSpPr>
          <p:cNvPr id="21" name="Straight Arrow Connector 20">
            <a:extLst>
              <a:ext uri="{FF2B5EF4-FFF2-40B4-BE49-F238E27FC236}">
                <a16:creationId xmlns:a16="http://schemas.microsoft.com/office/drawing/2014/main" id="{78EDD4BD-AA55-1CDB-660B-08A094A24FAB}"/>
              </a:ext>
            </a:extLst>
          </p:cNvPr>
          <p:cNvCxnSpPr>
            <a:cxnSpLocks/>
            <a:stCxn id="9" idx="3"/>
          </p:cNvCxnSpPr>
          <p:nvPr/>
        </p:nvCxnSpPr>
        <p:spPr>
          <a:xfrm>
            <a:off x="8108715" y="1663102"/>
            <a:ext cx="1815534" cy="238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46781CD-E7ED-5D05-92B2-51466B9604AB}"/>
              </a:ext>
            </a:extLst>
          </p:cNvPr>
          <p:cNvSpPr txBox="1"/>
          <p:nvPr/>
        </p:nvSpPr>
        <p:spPr>
          <a:xfrm>
            <a:off x="9914223" y="1362104"/>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Humidity and Temperature</a:t>
            </a:r>
          </a:p>
          <a:p>
            <a:r>
              <a:rPr lang="en-US" sz="1050">
                <a:solidFill>
                  <a:schemeClr val="tx1"/>
                </a:solidFill>
              </a:rPr>
              <a:t>SHT4x </a:t>
            </a:r>
          </a:p>
          <a:p>
            <a:endParaRPr lang="en-US" sz="1050" b="1">
              <a:solidFill>
                <a:schemeClr val="tx1"/>
              </a:solidFill>
            </a:endParaRPr>
          </a:p>
        </p:txBody>
      </p:sp>
      <p:cxnSp>
        <p:nvCxnSpPr>
          <p:cNvPr id="29" name="Straight Arrow Connector 28">
            <a:extLst>
              <a:ext uri="{FF2B5EF4-FFF2-40B4-BE49-F238E27FC236}">
                <a16:creationId xmlns:a16="http://schemas.microsoft.com/office/drawing/2014/main" id="{E45B0E22-9840-C64F-2560-BB4799051593}"/>
              </a:ext>
            </a:extLst>
          </p:cNvPr>
          <p:cNvCxnSpPr>
            <a:cxnSpLocks/>
          </p:cNvCxnSpPr>
          <p:nvPr/>
        </p:nvCxnSpPr>
        <p:spPr>
          <a:xfrm>
            <a:off x="9459937" y="2449601"/>
            <a:ext cx="454286"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A4F3931-11B9-1F93-BCA3-0A182F87CD4F}"/>
              </a:ext>
            </a:extLst>
          </p:cNvPr>
          <p:cNvCxnSpPr>
            <a:cxnSpLocks/>
          </p:cNvCxnSpPr>
          <p:nvPr/>
        </p:nvCxnSpPr>
        <p:spPr>
          <a:xfrm>
            <a:off x="8108715" y="3269589"/>
            <a:ext cx="1805508"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0CF5607-63EA-FC76-360B-D476D74527DD}"/>
              </a:ext>
            </a:extLst>
          </p:cNvPr>
          <p:cNvCxnSpPr>
            <a:cxnSpLocks/>
            <a:stCxn id="19" idx="2"/>
            <a:endCxn id="20" idx="0"/>
          </p:cNvCxnSpPr>
          <p:nvPr/>
        </p:nvCxnSpPr>
        <p:spPr>
          <a:xfrm>
            <a:off x="8739937" y="2813529"/>
            <a:ext cx="0" cy="87527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A745711-ED06-916C-846A-86D66CDAEEB2}"/>
              </a:ext>
            </a:extLst>
          </p:cNvPr>
          <p:cNvCxnSpPr>
            <a:cxnSpLocks/>
          </p:cNvCxnSpPr>
          <p:nvPr/>
        </p:nvCxnSpPr>
        <p:spPr>
          <a:xfrm>
            <a:off x="9561502" y="4060767"/>
            <a:ext cx="339161"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809C87A7-B229-79C1-243D-5E4408175054}"/>
              </a:ext>
            </a:extLst>
          </p:cNvPr>
          <p:cNvCxnSpPr>
            <a:cxnSpLocks/>
          </p:cNvCxnSpPr>
          <p:nvPr/>
        </p:nvCxnSpPr>
        <p:spPr>
          <a:xfrm>
            <a:off x="8108715" y="4859517"/>
            <a:ext cx="1798298"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93A613D-CC36-CF88-F993-A7688F2D47D7}"/>
              </a:ext>
            </a:extLst>
          </p:cNvPr>
          <p:cNvSpPr txBox="1"/>
          <p:nvPr/>
        </p:nvSpPr>
        <p:spPr>
          <a:xfrm>
            <a:off x="8057121" y="4619573"/>
            <a:ext cx="395093" cy="246221"/>
          </a:xfrm>
          <a:prstGeom prst="rect">
            <a:avLst/>
          </a:prstGeom>
          <a:noFill/>
        </p:spPr>
        <p:txBody>
          <a:bodyPr wrap="square" rtlCol="0">
            <a:spAutoFit/>
          </a:bodyPr>
          <a:lstStyle/>
          <a:p>
            <a:r>
              <a:rPr lang="en-US" sz="1000" b="1"/>
              <a:t>yes</a:t>
            </a:r>
          </a:p>
        </p:txBody>
      </p:sp>
      <p:sp>
        <p:nvSpPr>
          <p:cNvPr id="37" name="TextBox 36">
            <a:extLst>
              <a:ext uri="{FF2B5EF4-FFF2-40B4-BE49-F238E27FC236}">
                <a16:creationId xmlns:a16="http://schemas.microsoft.com/office/drawing/2014/main" id="{8202DD26-0784-BCA0-8268-DBF7F2A1E029}"/>
              </a:ext>
            </a:extLst>
          </p:cNvPr>
          <p:cNvSpPr txBox="1"/>
          <p:nvPr/>
        </p:nvSpPr>
        <p:spPr>
          <a:xfrm>
            <a:off x="9413941" y="2203380"/>
            <a:ext cx="395093" cy="246221"/>
          </a:xfrm>
          <a:prstGeom prst="rect">
            <a:avLst/>
          </a:prstGeom>
          <a:noFill/>
        </p:spPr>
        <p:txBody>
          <a:bodyPr wrap="square" rtlCol="0">
            <a:spAutoFit/>
          </a:bodyPr>
          <a:lstStyle/>
          <a:p>
            <a:r>
              <a:rPr lang="en-US" sz="1000" b="1"/>
              <a:t>yes</a:t>
            </a:r>
          </a:p>
        </p:txBody>
      </p:sp>
      <p:grpSp>
        <p:nvGrpSpPr>
          <p:cNvPr id="2049" name="Group 2048">
            <a:extLst>
              <a:ext uri="{FF2B5EF4-FFF2-40B4-BE49-F238E27FC236}">
                <a16:creationId xmlns:a16="http://schemas.microsoft.com/office/drawing/2014/main" id="{DAF75A52-9999-FCB8-83F6-08E089419833}"/>
              </a:ext>
            </a:extLst>
          </p:cNvPr>
          <p:cNvGrpSpPr/>
          <p:nvPr/>
        </p:nvGrpSpPr>
        <p:grpSpPr>
          <a:xfrm>
            <a:off x="9914223" y="2981851"/>
            <a:ext cx="1340986" cy="575467"/>
            <a:chOff x="9914223" y="3432221"/>
            <a:chExt cx="1340986" cy="575467"/>
          </a:xfrm>
        </p:grpSpPr>
        <p:sp>
          <p:nvSpPr>
            <p:cNvPr id="26" name="TextBox 25">
              <a:extLst>
                <a:ext uri="{FF2B5EF4-FFF2-40B4-BE49-F238E27FC236}">
                  <a16:creationId xmlns:a16="http://schemas.microsoft.com/office/drawing/2014/main" id="{9BE0AC0A-CE99-ECFD-7476-0D2E57AB290A}"/>
                </a:ext>
              </a:extLst>
            </p:cNvPr>
            <p:cNvSpPr txBox="1"/>
            <p:nvPr/>
          </p:nvSpPr>
          <p:spPr>
            <a:xfrm>
              <a:off x="9914223" y="3432221"/>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Carbon Dioxide (CO2) </a:t>
              </a:r>
            </a:p>
            <a:p>
              <a:r>
                <a:rPr lang="en-US" sz="1050">
                  <a:solidFill>
                    <a:schemeClr val="tx1"/>
                  </a:solidFill>
                </a:rPr>
                <a:t>SCD30</a:t>
              </a:r>
            </a:p>
            <a:p>
              <a:r>
                <a:rPr lang="en-US" sz="1050">
                  <a:solidFill>
                    <a:schemeClr val="tx1"/>
                  </a:solidFill>
                </a:rPr>
                <a:t>SCD4x</a:t>
              </a:r>
            </a:p>
            <a:p>
              <a:endParaRPr lang="en-US" sz="1050">
                <a:solidFill>
                  <a:schemeClr val="tx1"/>
                </a:solidFill>
              </a:endParaRPr>
            </a:p>
          </p:txBody>
        </p:sp>
        <p:pic>
          <p:nvPicPr>
            <p:cNvPr id="41" name="Picture 4" descr="SCD4x CO2 Sensors | Sensirion">
              <a:extLst>
                <a:ext uri="{FF2B5EF4-FFF2-40B4-BE49-F238E27FC236}">
                  <a16:creationId xmlns:a16="http://schemas.microsoft.com/office/drawing/2014/main" id="{668DF8EB-62FC-D7D5-CE0E-B0BA5C17817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1408" r="17829"/>
            <a:stretch/>
          </p:blipFill>
          <p:spPr bwMode="auto">
            <a:xfrm>
              <a:off x="10839284" y="3725664"/>
              <a:ext cx="327992" cy="26989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SCD30 Sensirion | Mouser France">
              <a:extLst>
                <a:ext uri="{FF2B5EF4-FFF2-40B4-BE49-F238E27FC236}">
                  <a16:creationId xmlns:a16="http://schemas.microsoft.com/office/drawing/2014/main" id="{241CC20C-5D8E-012C-7B2A-239825B409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75651" y="3647688"/>
              <a:ext cx="360000" cy="36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52" name="Group 2051">
            <a:extLst>
              <a:ext uri="{FF2B5EF4-FFF2-40B4-BE49-F238E27FC236}">
                <a16:creationId xmlns:a16="http://schemas.microsoft.com/office/drawing/2014/main" id="{D70F48D2-FF97-75CF-19CA-046524ED931E}"/>
              </a:ext>
            </a:extLst>
          </p:cNvPr>
          <p:cNvGrpSpPr/>
          <p:nvPr/>
        </p:nvGrpSpPr>
        <p:grpSpPr>
          <a:xfrm>
            <a:off x="9914223" y="4575470"/>
            <a:ext cx="1410805" cy="575467"/>
            <a:chOff x="9914223" y="4842170"/>
            <a:chExt cx="1410805" cy="575467"/>
          </a:xfrm>
        </p:grpSpPr>
        <p:sp>
          <p:nvSpPr>
            <p:cNvPr id="25" name="TextBox 24">
              <a:extLst>
                <a:ext uri="{FF2B5EF4-FFF2-40B4-BE49-F238E27FC236}">
                  <a16:creationId xmlns:a16="http://schemas.microsoft.com/office/drawing/2014/main" id="{52A00B4F-2B2D-0D7D-73F5-ABEC43678E31}"/>
                </a:ext>
              </a:extLst>
            </p:cNvPr>
            <p:cNvSpPr txBox="1"/>
            <p:nvPr/>
          </p:nvSpPr>
          <p:spPr>
            <a:xfrm>
              <a:off x="9914223" y="4842170"/>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Differential pressure </a:t>
              </a:r>
              <a:endParaRPr lang="en-US" sz="1050">
                <a:solidFill>
                  <a:schemeClr val="tx1"/>
                </a:solidFill>
              </a:endParaRPr>
            </a:p>
            <a:p>
              <a:r>
                <a:rPr lang="en-US" sz="1050">
                  <a:solidFill>
                    <a:schemeClr val="tx1"/>
                  </a:solidFill>
                </a:rPr>
                <a:t>SDP8x</a:t>
              </a:r>
            </a:p>
            <a:p>
              <a:endParaRPr lang="en-US" sz="1050">
                <a:solidFill>
                  <a:schemeClr val="tx1"/>
                </a:solidFill>
              </a:endParaRPr>
            </a:p>
          </p:txBody>
        </p:sp>
        <p:pic>
          <p:nvPicPr>
            <p:cNvPr id="43" name="Picture 12" descr="SDP810-500Pa - Digital DP sensor (±500 Pa), tube connection">
              <a:extLst>
                <a:ext uri="{FF2B5EF4-FFF2-40B4-BE49-F238E27FC236}">
                  <a16:creationId xmlns:a16="http://schemas.microsoft.com/office/drawing/2014/main" id="{F3A1783D-CF27-06BA-61A1-0802BC963FA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59265" y="5057251"/>
              <a:ext cx="565763" cy="3536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48" name="Group 2047">
            <a:extLst>
              <a:ext uri="{FF2B5EF4-FFF2-40B4-BE49-F238E27FC236}">
                <a16:creationId xmlns:a16="http://schemas.microsoft.com/office/drawing/2014/main" id="{DEC5822C-149A-57C0-8E41-79C0741160F2}"/>
              </a:ext>
            </a:extLst>
          </p:cNvPr>
          <p:cNvGrpSpPr/>
          <p:nvPr/>
        </p:nvGrpSpPr>
        <p:grpSpPr>
          <a:xfrm>
            <a:off x="9914223" y="2158914"/>
            <a:ext cx="1386982" cy="601594"/>
            <a:chOff x="9914223" y="2708373"/>
            <a:chExt cx="1386982" cy="601594"/>
          </a:xfrm>
        </p:grpSpPr>
        <p:sp>
          <p:nvSpPr>
            <p:cNvPr id="24" name="TextBox 23">
              <a:extLst>
                <a:ext uri="{FF2B5EF4-FFF2-40B4-BE49-F238E27FC236}">
                  <a16:creationId xmlns:a16="http://schemas.microsoft.com/office/drawing/2014/main" id="{D0FC081B-33FA-CBCC-C9E8-24C4985E4951}"/>
                </a:ext>
              </a:extLst>
            </p:cNvPr>
            <p:cNvSpPr txBox="1"/>
            <p:nvPr/>
          </p:nvSpPr>
          <p:spPr>
            <a:xfrm>
              <a:off x="9914223" y="2708373"/>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Environmental node (PM2.5, VOC, NOx)</a:t>
              </a:r>
            </a:p>
            <a:p>
              <a:r>
                <a:rPr lang="en-US" sz="1050">
                  <a:solidFill>
                    <a:schemeClr val="tx1"/>
                  </a:solidFill>
                </a:rPr>
                <a:t>SEN55 (+</a:t>
              </a:r>
              <a:r>
                <a:rPr lang="en-US" sz="1050" err="1">
                  <a:solidFill>
                    <a:schemeClr val="tx1"/>
                  </a:solidFill>
                </a:rPr>
                <a:t>SCDxx</a:t>
              </a:r>
              <a:r>
                <a:rPr lang="en-US" sz="1050">
                  <a:solidFill>
                    <a:schemeClr val="tx1"/>
                  </a:solidFill>
                </a:rPr>
                <a:t>)</a:t>
              </a:r>
            </a:p>
          </p:txBody>
        </p:sp>
        <p:pic>
          <p:nvPicPr>
            <p:cNvPr id="44" name="Picture 14" descr="Product catalog">
              <a:extLst>
                <a:ext uri="{FF2B5EF4-FFF2-40B4-BE49-F238E27FC236}">
                  <a16:creationId xmlns:a16="http://schemas.microsoft.com/office/drawing/2014/main" id="{61F0838D-1695-FB81-9430-A240B3C23A5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70413" y="3040722"/>
              <a:ext cx="430792" cy="269245"/>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2" descr="Capteurs de température et d'humidité numériques SHT4x - Sensirion | Mouser">
            <a:extLst>
              <a:ext uri="{FF2B5EF4-FFF2-40B4-BE49-F238E27FC236}">
                <a16:creationId xmlns:a16="http://schemas.microsoft.com/office/drawing/2014/main" id="{A2280405-B1B5-3FFF-E1B7-CCAF02DB36B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84916" y="1595971"/>
            <a:ext cx="424781" cy="308674"/>
          </a:xfrm>
          <a:prstGeom prst="rect">
            <a:avLst/>
          </a:prstGeom>
          <a:noFill/>
          <a:extLst>
            <a:ext uri="{909E8E84-426E-40DD-AFC4-6F175D3DCCD1}">
              <a14:hiddenFill xmlns:a14="http://schemas.microsoft.com/office/drawing/2010/main">
                <a:solidFill>
                  <a:srgbClr val="FFFFFF"/>
                </a:solidFill>
              </a14:hiddenFill>
            </a:ext>
          </a:extLst>
        </p:spPr>
      </p:pic>
      <p:grpSp>
        <p:nvGrpSpPr>
          <p:cNvPr id="2051" name="Group 2050">
            <a:extLst>
              <a:ext uri="{FF2B5EF4-FFF2-40B4-BE49-F238E27FC236}">
                <a16:creationId xmlns:a16="http://schemas.microsoft.com/office/drawing/2014/main" id="{BB797F75-8C4F-E7B3-B755-612C69423847}"/>
              </a:ext>
            </a:extLst>
          </p:cNvPr>
          <p:cNvGrpSpPr/>
          <p:nvPr/>
        </p:nvGrpSpPr>
        <p:grpSpPr>
          <a:xfrm>
            <a:off x="9914223" y="3778661"/>
            <a:ext cx="1437991" cy="575467"/>
            <a:chOff x="9914223" y="4155630"/>
            <a:chExt cx="1437991" cy="575467"/>
          </a:xfrm>
        </p:grpSpPr>
        <p:sp>
          <p:nvSpPr>
            <p:cNvPr id="27" name="TextBox 26">
              <a:extLst>
                <a:ext uri="{FF2B5EF4-FFF2-40B4-BE49-F238E27FC236}">
                  <a16:creationId xmlns:a16="http://schemas.microsoft.com/office/drawing/2014/main" id="{8C3268B2-5EDB-96FC-80F5-C19CD74B96C0}"/>
                </a:ext>
              </a:extLst>
            </p:cNvPr>
            <p:cNvSpPr txBox="1"/>
            <p:nvPr/>
          </p:nvSpPr>
          <p:spPr>
            <a:xfrm>
              <a:off x="9914223" y="4155630"/>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Volatile Organic Compounds</a:t>
              </a:r>
              <a:endParaRPr lang="en-US" sz="1050">
                <a:solidFill>
                  <a:schemeClr val="tx1"/>
                </a:solidFill>
              </a:endParaRPr>
            </a:p>
            <a:p>
              <a:r>
                <a:rPr lang="en-US" sz="1050">
                  <a:solidFill>
                    <a:schemeClr val="tx1"/>
                  </a:solidFill>
                </a:rPr>
                <a:t>SGP40 (+</a:t>
              </a:r>
              <a:r>
                <a:rPr lang="en-US" sz="1050" err="1">
                  <a:solidFill>
                    <a:schemeClr val="tx1"/>
                  </a:solidFill>
                </a:rPr>
                <a:t>SCDxx</a:t>
              </a:r>
              <a:r>
                <a:rPr lang="en-US" sz="1050">
                  <a:solidFill>
                    <a:schemeClr val="tx1"/>
                  </a:solidFill>
                </a:rPr>
                <a:t>)</a:t>
              </a:r>
            </a:p>
            <a:p>
              <a:endParaRPr lang="en-US" sz="1050">
                <a:solidFill>
                  <a:schemeClr val="tx1"/>
                </a:solidFill>
              </a:endParaRPr>
            </a:p>
          </p:txBody>
        </p:sp>
        <p:pic>
          <p:nvPicPr>
            <p:cNvPr id="46" name="Picture 2" descr="SGP40 VOC Sensor | Sensirion">
              <a:extLst>
                <a:ext uri="{FF2B5EF4-FFF2-40B4-BE49-F238E27FC236}">
                  <a16:creationId xmlns:a16="http://schemas.microsoft.com/office/drawing/2014/main" id="{7C1B237E-99F4-ECB3-C4FF-DE554439BF5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84916" y="4365825"/>
              <a:ext cx="567298" cy="28364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7" name="Straight Arrow Connector 46">
            <a:extLst>
              <a:ext uri="{FF2B5EF4-FFF2-40B4-BE49-F238E27FC236}">
                <a16:creationId xmlns:a16="http://schemas.microsoft.com/office/drawing/2014/main" id="{0EAC378F-EB7B-A60A-79E4-F479C5D87B62}"/>
              </a:ext>
            </a:extLst>
          </p:cNvPr>
          <p:cNvCxnSpPr>
            <a:cxnSpLocks/>
          </p:cNvCxnSpPr>
          <p:nvPr/>
        </p:nvCxnSpPr>
        <p:spPr>
          <a:xfrm>
            <a:off x="7343362" y="973205"/>
            <a:ext cx="0" cy="34109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E2B3A7F2-9938-475A-3AA5-5E6E1C3653B4}"/>
              </a:ext>
            </a:extLst>
          </p:cNvPr>
          <p:cNvSpPr txBox="1"/>
          <p:nvPr/>
        </p:nvSpPr>
        <p:spPr>
          <a:xfrm>
            <a:off x="9510070" y="3821438"/>
            <a:ext cx="395093" cy="246221"/>
          </a:xfrm>
          <a:prstGeom prst="rect">
            <a:avLst/>
          </a:prstGeom>
          <a:noFill/>
        </p:spPr>
        <p:txBody>
          <a:bodyPr wrap="square" rtlCol="0">
            <a:spAutoFit/>
          </a:bodyPr>
          <a:lstStyle/>
          <a:p>
            <a:r>
              <a:rPr lang="en-US" sz="1000" b="1"/>
              <a:t>yes</a:t>
            </a:r>
          </a:p>
        </p:txBody>
      </p:sp>
      <p:pic>
        <p:nvPicPr>
          <p:cNvPr id="2050" name="Picture 2" descr="Line icon for hvac 3237278 Vector Art at Vecteezy">
            <a:extLst>
              <a:ext uri="{FF2B5EF4-FFF2-40B4-BE49-F238E27FC236}">
                <a16:creationId xmlns:a16="http://schemas.microsoft.com/office/drawing/2014/main" id="{60A79E9F-B2B9-3592-68F0-D4FB2162235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7402" y="322504"/>
            <a:ext cx="495300" cy="495300"/>
          </a:xfrm>
          <a:prstGeom prst="rect">
            <a:avLst/>
          </a:prstGeom>
          <a:noFill/>
          <a:extLst>
            <a:ext uri="{909E8E84-426E-40DD-AFC4-6F175D3DCCD1}">
              <a14:hiddenFill xmlns:a14="http://schemas.microsoft.com/office/drawing/2010/main">
                <a:solidFill>
                  <a:srgbClr val="FFFFFF"/>
                </a:solidFill>
              </a14:hiddenFill>
            </a:ext>
          </a:extLst>
        </p:spPr>
      </p:pic>
      <p:sp>
        <p:nvSpPr>
          <p:cNvPr id="2058" name="Oval 2057">
            <a:extLst>
              <a:ext uri="{FF2B5EF4-FFF2-40B4-BE49-F238E27FC236}">
                <a16:creationId xmlns:a16="http://schemas.microsoft.com/office/drawing/2014/main" id="{09635199-301B-DAE6-AC1B-4FCC9056DBD9}"/>
              </a:ext>
            </a:extLst>
          </p:cNvPr>
          <p:cNvSpPr/>
          <p:nvPr/>
        </p:nvSpPr>
        <p:spPr>
          <a:xfrm>
            <a:off x="8701838" y="3231490"/>
            <a:ext cx="79896" cy="7989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007239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72B91-E856-B4D9-0311-34952BAB957A}"/>
              </a:ext>
            </a:extLst>
          </p:cNvPr>
          <p:cNvSpPr>
            <a:spLocks noGrp="1"/>
          </p:cNvSpPr>
          <p:nvPr>
            <p:ph type="title"/>
          </p:nvPr>
        </p:nvSpPr>
        <p:spPr/>
        <p:txBody>
          <a:bodyPr/>
          <a:lstStyle/>
          <a:p>
            <a:r>
              <a:rPr lang="en-US"/>
              <a:t>        Air Purification </a:t>
            </a:r>
          </a:p>
        </p:txBody>
      </p:sp>
      <p:sp>
        <p:nvSpPr>
          <p:cNvPr id="4" name="Slide Number Placeholder 3">
            <a:extLst>
              <a:ext uri="{FF2B5EF4-FFF2-40B4-BE49-F238E27FC236}">
                <a16:creationId xmlns:a16="http://schemas.microsoft.com/office/drawing/2014/main" id="{0F022756-EAC5-1AC9-E274-33407CD35DDA}"/>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49</a:t>
            </a:fld>
            <a:endParaRPr lang="de-CH"/>
          </a:p>
        </p:txBody>
      </p:sp>
      <p:sp>
        <p:nvSpPr>
          <p:cNvPr id="8" name="Rectangle: Rounded Corners 49">
            <a:extLst>
              <a:ext uri="{FF2B5EF4-FFF2-40B4-BE49-F238E27FC236}">
                <a16:creationId xmlns:a16="http://schemas.microsoft.com/office/drawing/2014/main" id="{B956B7E7-680E-A45F-A447-1ED326DF3CC1}"/>
              </a:ext>
            </a:extLst>
          </p:cNvPr>
          <p:cNvSpPr/>
          <p:nvPr/>
        </p:nvSpPr>
        <p:spPr>
          <a:xfrm>
            <a:off x="839787" y="1069655"/>
            <a:ext cx="5054985" cy="2001244"/>
          </a:xfrm>
          <a:prstGeom prst="roundRect">
            <a:avLst>
              <a:gd name="adj" fmla="val 8138"/>
            </a:avLst>
          </a:prstGeom>
          <a:solidFill>
            <a:schemeClr val="bg1"/>
          </a:solidFill>
          <a:ln>
            <a:solidFill>
              <a:schemeClr val="accent2"/>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800" b="1">
                <a:solidFill>
                  <a:schemeClr val="accent1"/>
                </a:solidFill>
              </a:rPr>
              <a:t>Market Overview</a:t>
            </a:r>
          </a:p>
          <a:p>
            <a:endParaRPr lang="en-US" sz="1050" b="1">
              <a:solidFill>
                <a:schemeClr val="accent1"/>
              </a:solidFill>
            </a:endParaRPr>
          </a:p>
          <a:p>
            <a:pPr marL="342900" indent="-342900">
              <a:buFont typeface="Wingdings" panose="05000000000000000000" pitchFamily="2" charset="2"/>
              <a:buChar char="§"/>
            </a:pPr>
            <a:r>
              <a:rPr lang="en-US" sz="1800">
                <a:solidFill>
                  <a:schemeClr val="tx1"/>
                </a:solidFill>
              </a:rPr>
              <a:t>USD 10 Bn Market in 2021</a:t>
            </a:r>
          </a:p>
          <a:p>
            <a:pPr marL="342900" indent="-342900">
              <a:buFont typeface="Wingdings" panose="05000000000000000000" pitchFamily="2" charset="2"/>
              <a:buChar char="§"/>
            </a:pPr>
            <a:r>
              <a:rPr lang="en-US" sz="1800">
                <a:solidFill>
                  <a:schemeClr val="tx1"/>
                </a:solidFill>
              </a:rPr>
              <a:t>10% growth per year expected until 2030</a:t>
            </a:r>
          </a:p>
          <a:p>
            <a:pPr marL="342900" indent="-342900">
              <a:buFont typeface="Wingdings" panose="05000000000000000000" pitchFamily="2" charset="2"/>
              <a:buChar char="§"/>
            </a:pPr>
            <a:r>
              <a:rPr lang="en-US" sz="1800">
                <a:solidFill>
                  <a:schemeClr val="tx1"/>
                </a:solidFill>
              </a:rPr>
              <a:t>Fragmented market with many players </a:t>
            </a:r>
          </a:p>
          <a:p>
            <a:pPr marL="342900" indent="-342900">
              <a:buFont typeface="Wingdings" panose="05000000000000000000" pitchFamily="2" charset="2"/>
              <a:buChar char="§"/>
            </a:pPr>
            <a:r>
              <a:rPr lang="en-US" sz="1800">
                <a:solidFill>
                  <a:schemeClr val="tx1"/>
                </a:solidFill>
              </a:rPr>
              <a:t>Regional differences in which air pollutants are relevant for the customer</a:t>
            </a:r>
          </a:p>
          <a:p>
            <a:pPr marL="342900" indent="-342900">
              <a:buFont typeface="Wingdings" panose="05000000000000000000" pitchFamily="2" charset="2"/>
              <a:buChar char="§"/>
            </a:pPr>
            <a:endParaRPr lang="en-US" sz="1000">
              <a:solidFill>
                <a:schemeClr val="tx1"/>
              </a:solidFill>
            </a:endParaRPr>
          </a:p>
        </p:txBody>
      </p:sp>
      <p:sp>
        <p:nvSpPr>
          <p:cNvPr id="10" name="Rectangle: Rounded Corners 49">
            <a:extLst>
              <a:ext uri="{FF2B5EF4-FFF2-40B4-BE49-F238E27FC236}">
                <a16:creationId xmlns:a16="http://schemas.microsoft.com/office/drawing/2014/main" id="{389BF21B-7056-CAE4-FD88-0F1A6B204021}"/>
              </a:ext>
            </a:extLst>
          </p:cNvPr>
          <p:cNvSpPr/>
          <p:nvPr/>
        </p:nvSpPr>
        <p:spPr>
          <a:xfrm>
            <a:off x="839787" y="3285067"/>
            <a:ext cx="5054985" cy="2807932"/>
          </a:xfrm>
          <a:prstGeom prst="roundRect">
            <a:avLst>
              <a:gd name="adj" fmla="val 8138"/>
            </a:avLst>
          </a:prstGeom>
          <a:solidFill>
            <a:schemeClr val="bg1"/>
          </a:solidFill>
          <a:ln>
            <a:solidFill>
              <a:schemeClr val="accent2"/>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800" b="1">
                <a:solidFill>
                  <a:schemeClr val="accent1"/>
                </a:solidFill>
              </a:rPr>
              <a:t>Sensors enhance user experience and function</a:t>
            </a:r>
          </a:p>
          <a:p>
            <a:endParaRPr lang="en-US" sz="1000" b="1">
              <a:solidFill>
                <a:schemeClr val="accent1"/>
              </a:solidFill>
            </a:endParaRPr>
          </a:p>
          <a:p>
            <a:pPr marL="342900" indent="-342900">
              <a:spcBef>
                <a:spcPts val="600"/>
              </a:spcBef>
              <a:spcAft>
                <a:spcPts val="600"/>
              </a:spcAft>
              <a:buFont typeface="Wingdings" panose="05000000000000000000" pitchFamily="2" charset="2"/>
              <a:buChar char="§"/>
            </a:pPr>
            <a:r>
              <a:rPr lang="en-US" sz="1800">
                <a:solidFill>
                  <a:schemeClr val="tx1"/>
                </a:solidFill>
              </a:rPr>
              <a:t>User gets </a:t>
            </a:r>
            <a:r>
              <a:rPr lang="en-US" sz="1800" b="1">
                <a:solidFill>
                  <a:schemeClr val="tx1"/>
                </a:solidFill>
              </a:rPr>
              <a:t>feedback on AP performance</a:t>
            </a:r>
          </a:p>
          <a:p>
            <a:pPr marL="342900" indent="-342900">
              <a:spcBef>
                <a:spcPts val="600"/>
              </a:spcBef>
              <a:spcAft>
                <a:spcPts val="600"/>
              </a:spcAft>
              <a:buFont typeface="Wingdings" panose="05000000000000000000" pitchFamily="2" charset="2"/>
              <a:buChar char="§"/>
            </a:pPr>
            <a:r>
              <a:rPr lang="en-US" sz="1800">
                <a:solidFill>
                  <a:schemeClr val="tx1"/>
                </a:solidFill>
              </a:rPr>
              <a:t>Automated fan control </a:t>
            </a:r>
            <a:r>
              <a:rPr lang="en-US" sz="1800" b="1">
                <a:solidFill>
                  <a:schemeClr val="tx1"/>
                </a:solidFill>
              </a:rPr>
              <a:t>reduces energy consumption</a:t>
            </a:r>
            <a:r>
              <a:rPr lang="en-US" sz="1800">
                <a:solidFill>
                  <a:schemeClr val="tx1"/>
                </a:solidFill>
              </a:rPr>
              <a:t> and noise emission</a:t>
            </a:r>
          </a:p>
          <a:p>
            <a:pPr marL="342900" indent="-342900">
              <a:spcBef>
                <a:spcPts val="600"/>
              </a:spcBef>
              <a:spcAft>
                <a:spcPts val="600"/>
              </a:spcAft>
              <a:buFont typeface="Wingdings" panose="05000000000000000000" pitchFamily="2" charset="2"/>
              <a:buChar char="§"/>
            </a:pPr>
            <a:r>
              <a:rPr lang="en-US" sz="1800">
                <a:solidFill>
                  <a:schemeClr val="tx1"/>
                </a:solidFill>
              </a:rPr>
              <a:t>Filter monitoring </a:t>
            </a:r>
            <a:r>
              <a:rPr lang="en-US" sz="1800" b="1">
                <a:solidFill>
                  <a:schemeClr val="tx1"/>
                </a:solidFill>
              </a:rPr>
              <a:t>ensures performance </a:t>
            </a:r>
            <a:r>
              <a:rPr lang="en-US" sz="1800">
                <a:solidFill>
                  <a:schemeClr val="tx1"/>
                </a:solidFill>
              </a:rPr>
              <a:t>and reduces cost of ownership</a:t>
            </a:r>
          </a:p>
          <a:p>
            <a:pPr marL="342900" indent="-342900">
              <a:spcBef>
                <a:spcPts val="600"/>
              </a:spcBef>
              <a:spcAft>
                <a:spcPts val="600"/>
              </a:spcAft>
              <a:buFont typeface="Wingdings" panose="05000000000000000000" pitchFamily="2" charset="2"/>
              <a:buChar char="§"/>
            </a:pPr>
            <a:r>
              <a:rPr lang="en-US" sz="1800">
                <a:solidFill>
                  <a:schemeClr val="tx1"/>
                </a:solidFill>
              </a:rPr>
              <a:t>Sensors enable </a:t>
            </a:r>
            <a:r>
              <a:rPr lang="en-US" sz="1800" b="1">
                <a:solidFill>
                  <a:schemeClr val="tx1"/>
                </a:solidFill>
              </a:rPr>
              <a:t>smart features </a:t>
            </a:r>
            <a:r>
              <a:rPr lang="en-US" sz="1800">
                <a:solidFill>
                  <a:schemeClr val="tx1"/>
                </a:solidFill>
              </a:rPr>
              <a:t>in premium APs</a:t>
            </a:r>
          </a:p>
        </p:txBody>
      </p:sp>
      <p:sp>
        <p:nvSpPr>
          <p:cNvPr id="12" name="Rectangle: Rounded Corners 49">
            <a:extLst>
              <a:ext uri="{FF2B5EF4-FFF2-40B4-BE49-F238E27FC236}">
                <a16:creationId xmlns:a16="http://schemas.microsoft.com/office/drawing/2014/main" id="{48D73394-BAC2-0602-6B39-487B4894962A}"/>
              </a:ext>
            </a:extLst>
          </p:cNvPr>
          <p:cNvSpPr/>
          <p:nvPr/>
        </p:nvSpPr>
        <p:spPr>
          <a:xfrm>
            <a:off x="6297227" y="5122274"/>
            <a:ext cx="5054985" cy="970725"/>
          </a:xfrm>
          <a:prstGeom prst="roundRect">
            <a:avLst>
              <a:gd name="adj" fmla="val 8138"/>
            </a:avLst>
          </a:prstGeom>
          <a:solidFill>
            <a:schemeClr val="bg1"/>
          </a:solidFill>
          <a:ln>
            <a:solidFill>
              <a:schemeClr val="accent2"/>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600" b="1">
                <a:solidFill>
                  <a:schemeClr val="accent1"/>
                </a:solidFill>
              </a:rPr>
              <a:t>Links</a:t>
            </a:r>
          </a:p>
          <a:p>
            <a:r>
              <a:rPr lang="en-US" sz="1600">
                <a:solidFill>
                  <a:schemeClr val="tx1"/>
                </a:solidFill>
                <a:hlinkClick r:id="rId3"/>
              </a:rPr>
              <a:t>Air Purifier</a:t>
            </a:r>
            <a:endParaRPr lang="en-US" sz="1600">
              <a:solidFill>
                <a:schemeClr val="tx1"/>
              </a:solidFill>
            </a:endParaRPr>
          </a:p>
          <a:p>
            <a:r>
              <a:rPr lang="en-US" sz="1600">
                <a:solidFill>
                  <a:schemeClr val="tx1"/>
                </a:solidFill>
                <a:hlinkClick r:id="rId4">
                  <a:extLst>
                    <a:ext uri="{A12FA001-AC4F-418D-AE19-62706E023703}">
                      <ahyp:hlinkClr xmlns:ahyp="http://schemas.microsoft.com/office/drawing/2018/hyperlinkcolor" val="tx"/>
                    </a:ext>
                  </a:extLst>
                </a:hlinkClick>
              </a:rPr>
              <a:t>IAQ Brochure</a:t>
            </a:r>
            <a:endParaRPr lang="en-US" sz="1600">
              <a:solidFill>
                <a:schemeClr val="tx1"/>
              </a:solidFill>
            </a:endParaRPr>
          </a:p>
        </p:txBody>
      </p:sp>
      <p:sp>
        <p:nvSpPr>
          <p:cNvPr id="3" name="Flowchart: Decision 2">
            <a:extLst>
              <a:ext uri="{FF2B5EF4-FFF2-40B4-BE49-F238E27FC236}">
                <a16:creationId xmlns:a16="http://schemas.microsoft.com/office/drawing/2014/main" id="{0BC229A5-C7A4-AA69-98B5-022E0332A561}"/>
              </a:ext>
            </a:extLst>
          </p:cNvPr>
          <p:cNvSpPr/>
          <p:nvPr/>
        </p:nvSpPr>
        <p:spPr>
          <a:xfrm>
            <a:off x="6373376" y="1281832"/>
            <a:ext cx="1540591" cy="683009"/>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ilters VOCs? *  </a:t>
            </a:r>
            <a:endParaRPr lang="en-US" sz="1200" baseline="-25000">
              <a:solidFill>
                <a:schemeClr val="tx1"/>
              </a:solidFill>
            </a:endParaRPr>
          </a:p>
        </p:txBody>
      </p:sp>
      <p:sp>
        <p:nvSpPr>
          <p:cNvPr id="5" name="Flowchart: Decision 4">
            <a:extLst>
              <a:ext uri="{FF2B5EF4-FFF2-40B4-BE49-F238E27FC236}">
                <a16:creationId xmlns:a16="http://schemas.microsoft.com/office/drawing/2014/main" id="{3B76CA4C-1539-386E-E4AE-1295A6F50DC6}"/>
              </a:ext>
            </a:extLst>
          </p:cNvPr>
          <p:cNvSpPr/>
          <p:nvPr/>
        </p:nvSpPr>
        <p:spPr>
          <a:xfrm>
            <a:off x="8086749" y="2967994"/>
            <a:ext cx="1540591" cy="740661"/>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a:solidFill>
                <a:schemeClr val="tx1"/>
              </a:solidFill>
            </a:endParaRPr>
          </a:p>
        </p:txBody>
      </p:sp>
      <p:sp>
        <p:nvSpPr>
          <p:cNvPr id="6" name="Flowchart: Decision 5">
            <a:extLst>
              <a:ext uri="{FF2B5EF4-FFF2-40B4-BE49-F238E27FC236}">
                <a16:creationId xmlns:a16="http://schemas.microsoft.com/office/drawing/2014/main" id="{680C2D47-6851-5341-CC9B-DD73FD16A38C}"/>
              </a:ext>
            </a:extLst>
          </p:cNvPr>
          <p:cNvSpPr/>
          <p:nvPr/>
        </p:nvSpPr>
        <p:spPr>
          <a:xfrm>
            <a:off x="6377759" y="2976061"/>
            <a:ext cx="1540591" cy="740661"/>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a:solidFill>
                <a:schemeClr val="tx1"/>
              </a:solidFill>
            </a:endParaRPr>
          </a:p>
        </p:txBody>
      </p:sp>
      <p:sp>
        <p:nvSpPr>
          <p:cNvPr id="9" name="TextBox 8">
            <a:extLst>
              <a:ext uri="{FF2B5EF4-FFF2-40B4-BE49-F238E27FC236}">
                <a16:creationId xmlns:a16="http://schemas.microsoft.com/office/drawing/2014/main" id="{C8DBFF22-D957-7D92-1873-D4B39540C875}"/>
              </a:ext>
            </a:extLst>
          </p:cNvPr>
          <p:cNvSpPr txBox="1"/>
          <p:nvPr/>
        </p:nvSpPr>
        <p:spPr>
          <a:xfrm>
            <a:off x="9868041" y="1010587"/>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EN50</a:t>
            </a:r>
          </a:p>
          <a:p>
            <a:r>
              <a:rPr lang="en-US" sz="1050">
                <a:solidFill>
                  <a:schemeClr val="tx1"/>
                </a:solidFill>
              </a:rPr>
              <a:t>(PM2.5)</a:t>
            </a:r>
          </a:p>
          <a:p>
            <a:endParaRPr lang="en-US" sz="1050">
              <a:solidFill>
                <a:schemeClr val="tx1"/>
              </a:solidFill>
            </a:endParaRPr>
          </a:p>
        </p:txBody>
      </p:sp>
      <p:sp>
        <p:nvSpPr>
          <p:cNvPr id="13" name="TextBox 12">
            <a:extLst>
              <a:ext uri="{FF2B5EF4-FFF2-40B4-BE49-F238E27FC236}">
                <a16:creationId xmlns:a16="http://schemas.microsoft.com/office/drawing/2014/main" id="{02447FA5-D749-EAB9-AB88-2088D23439CC}"/>
              </a:ext>
            </a:extLst>
          </p:cNvPr>
          <p:cNvSpPr txBox="1"/>
          <p:nvPr/>
        </p:nvSpPr>
        <p:spPr>
          <a:xfrm>
            <a:off x="9868041" y="1707868"/>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EN54 / </a:t>
            </a:r>
            <a:r>
              <a:rPr lang="en-US" sz="1050" b="1">
                <a:solidFill>
                  <a:schemeClr val="bg1">
                    <a:lumMod val="50000"/>
                  </a:schemeClr>
                </a:solidFill>
              </a:rPr>
              <a:t>SEN55</a:t>
            </a:r>
          </a:p>
          <a:p>
            <a:r>
              <a:rPr lang="en-US" sz="1050">
                <a:solidFill>
                  <a:schemeClr val="tx1"/>
                </a:solidFill>
              </a:rPr>
              <a:t>(PM2.5, RH, T, VOC, </a:t>
            </a:r>
            <a:r>
              <a:rPr lang="en-US" sz="1050">
                <a:solidFill>
                  <a:schemeClr val="bg1">
                    <a:lumMod val="50000"/>
                  </a:schemeClr>
                </a:solidFill>
              </a:rPr>
              <a:t>NOx</a:t>
            </a:r>
            <a:r>
              <a:rPr lang="en-US" sz="1050">
                <a:solidFill>
                  <a:schemeClr val="tx1"/>
                </a:solidFill>
              </a:rPr>
              <a:t>)</a:t>
            </a:r>
          </a:p>
        </p:txBody>
      </p:sp>
      <p:sp>
        <p:nvSpPr>
          <p:cNvPr id="14" name="Flowchart: Decision 13">
            <a:extLst>
              <a:ext uri="{FF2B5EF4-FFF2-40B4-BE49-F238E27FC236}">
                <a16:creationId xmlns:a16="http://schemas.microsoft.com/office/drawing/2014/main" id="{0BF1E4AE-A792-E9AF-6E2B-041B3ADDE1F8}"/>
              </a:ext>
            </a:extLst>
          </p:cNvPr>
          <p:cNvSpPr/>
          <p:nvPr/>
        </p:nvSpPr>
        <p:spPr>
          <a:xfrm>
            <a:off x="9811621" y="2966828"/>
            <a:ext cx="1540591" cy="740661"/>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a:solidFill>
                <a:schemeClr val="tx1"/>
              </a:solidFill>
            </a:endParaRPr>
          </a:p>
        </p:txBody>
      </p:sp>
      <p:sp>
        <p:nvSpPr>
          <p:cNvPr id="16" name="TextBox 15">
            <a:extLst>
              <a:ext uri="{FF2B5EF4-FFF2-40B4-BE49-F238E27FC236}">
                <a16:creationId xmlns:a16="http://schemas.microsoft.com/office/drawing/2014/main" id="{0AEBF2ED-8E02-E672-9A26-A389CE025A1D}"/>
              </a:ext>
            </a:extLst>
          </p:cNvPr>
          <p:cNvSpPr txBox="1"/>
          <p:nvPr/>
        </p:nvSpPr>
        <p:spPr>
          <a:xfrm>
            <a:off x="6536760" y="3105984"/>
            <a:ext cx="1213821" cy="461665"/>
          </a:xfrm>
          <a:prstGeom prst="rect">
            <a:avLst/>
          </a:prstGeom>
          <a:noFill/>
        </p:spPr>
        <p:txBody>
          <a:bodyPr wrap="square">
            <a:spAutoFit/>
          </a:bodyPr>
          <a:lstStyle/>
          <a:p>
            <a:pPr algn="ctr"/>
            <a:r>
              <a:rPr lang="en-US" sz="1200"/>
              <a:t>End-c</a:t>
            </a:r>
            <a:r>
              <a:rPr lang="en-US" sz="1200">
                <a:solidFill>
                  <a:schemeClr val="tx1"/>
                </a:solidFill>
              </a:rPr>
              <a:t>ustomer: Schools/offices?</a:t>
            </a:r>
            <a:endParaRPr lang="en-US" sz="1200" baseline="-25000">
              <a:solidFill>
                <a:schemeClr val="tx1"/>
              </a:solidFill>
            </a:endParaRPr>
          </a:p>
        </p:txBody>
      </p:sp>
      <p:sp>
        <p:nvSpPr>
          <p:cNvPr id="18" name="TextBox 17">
            <a:extLst>
              <a:ext uri="{FF2B5EF4-FFF2-40B4-BE49-F238E27FC236}">
                <a16:creationId xmlns:a16="http://schemas.microsoft.com/office/drawing/2014/main" id="{023359B3-58EC-BE3F-2A41-AB40B69E24FD}"/>
              </a:ext>
            </a:extLst>
          </p:cNvPr>
          <p:cNvSpPr txBox="1"/>
          <p:nvPr/>
        </p:nvSpPr>
        <p:spPr>
          <a:xfrm>
            <a:off x="8262985" y="3074711"/>
            <a:ext cx="1188118" cy="461665"/>
          </a:xfrm>
          <a:prstGeom prst="rect">
            <a:avLst/>
          </a:prstGeom>
          <a:noFill/>
        </p:spPr>
        <p:txBody>
          <a:bodyPr wrap="square">
            <a:spAutoFit/>
          </a:bodyPr>
          <a:lstStyle/>
          <a:p>
            <a:pPr algn="ctr"/>
            <a:r>
              <a:rPr lang="en-US" sz="1200">
                <a:solidFill>
                  <a:schemeClr val="tx1"/>
                </a:solidFill>
              </a:rPr>
              <a:t>High-end / catalytic filter?</a:t>
            </a:r>
            <a:endParaRPr lang="en-US" sz="1200" baseline="-25000">
              <a:solidFill>
                <a:schemeClr val="tx1"/>
              </a:solidFill>
            </a:endParaRPr>
          </a:p>
        </p:txBody>
      </p:sp>
      <p:sp>
        <p:nvSpPr>
          <p:cNvPr id="20" name="TextBox 19">
            <a:extLst>
              <a:ext uri="{FF2B5EF4-FFF2-40B4-BE49-F238E27FC236}">
                <a16:creationId xmlns:a16="http://schemas.microsoft.com/office/drawing/2014/main" id="{22464D0E-5D9C-DBB7-20B6-DF8500440669}"/>
              </a:ext>
            </a:extLst>
          </p:cNvPr>
          <p:cNvSpPr txBox="1"/>
          <p:nvPr/>
        </p:nvSpPr>
        <p:spPr>
          <a:xfrm>
            <a:off x="10034661" y="3070899"/>
            <a:ext cx="1094509" cy="461665"/>
          </a:xfrm>
          <a:prstGeom prst="rect">
            <a:avLst/>
          </a:prstGeom>
          <a:noFill/>
        </p:spPr>
        <p:txBody>
          <a:bodyPr wrap="square">
            <a:spAutoFit/>
          </a:bodyPr>
          <a:lstStyle/>
          <a:p>
            <a:pPr algn="ctr"/>
            <a:r>
              <a:rPr lang="en-US" sz="1200">
                <a:solidFill>
                  <a:schemeClr val="tx1"/>
                </a:solidFill>
              </a:rPr>
              <a:t>Filter monitoring?</a:t>
            </a:r>
            <a:endParaRPr lang="en-US" sz="1200" baseline="-25000">
              <a:solidFill>
                <a:schemeClr val="tx1"/>
              </a:solidFill>
            </a:endParaRPr>
          </a:p>
        </p:txBody>
      </p:sp>
      <p:sp>
        <p:nvSpPr>
          <p:cNvPr id="22" name="TextBox 21">
            <a:extLst>
              <a:ext uri="{FF2B5EF4-FFF2-40B4-BE49-F238E27FC236}">
                <a16:creationId xmlns:a16="http://schemas.microsoft.com/office/drawing/2014/main" id="{6A115B91-B599-25CF-4029-4307874FEDFC}"/>
              </a:ext>
            </a:extLst>
          </p:cNvPr>
          <p:cNvSpPr txBox="1"/>
          <p:nvPr/>
        </p:nvSpPr>
        <p:spPr>
          <a:xfrm>
            <a:off x="8092154" y="1759621"/>
            <a:ext cx="395093" cy="246221"/>
          </a:xfrm>
          <a:prstGeom prst="rect">
            <a:avLst/>
          </a:prstGeom>
          <a:noFill/>
        </p:spPr>
        <p:txBody>
          <a:bodyPr wrap="square" rtlCol="0">
            <a:spAutoFit/>
          </a:bodyPr>
          <a:lstStyle/>
          <a:p>
            <a:r>
              <a:rPr lang="en-US" sz="1000" b="1"/>
              <a:t>yes</a:t>
            </a:r>
          </a:p>
        </p:txBody>
      </p:sp>
      <p:cxnSp>
        <p:nvCxnSpPr>
          <p:cNvPr id="23" name="Straight Arrow Connector 22">
            <a:extLst>
              <a:ext uri="{FF2B5EF4-FFF2-40B4-BE49-F238E27FC236}">
                <a16:creationId xmlns:a16="http://schemas.microsoft.com/office/drawing/2014/main" id="{6AD27F0D-9FAF-7797-354F-2A73BE8A41F4}"/>
              </a:ext>
            </a:extLst>
          </p:cNvPr>
          <p:cNvCxnSpPr>
            <a:cxnSpLocks/>
            <a:endCxn id="6" idx="0"/>
          </p:cNvCxnSpPr>
          <p:nvPr/>
        </p:nvCxnSpPr>
        <p:spPr>
          <a:xfrm>
            <a:off x="7144780" y="1964841"/>
            <a:ext cx="3275" cy="101122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A4F9B92-FC14-C3B8-712A-C35745B69328}"/>
              </a:ext>
            </a:extLst>
          </p:cNvPr>
          <p:cNvCxnSpPr>
            <a:cxnSpLocks/>
          </p:cNvCxnSpPr>
          <p:nvPr/>
        </p:nvCxnSpPr>
        <p:spPr>
          <a:xfrm>
            <a:off x="8086749" y="1291515"/>
            <a:ext cx="1772490"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809D3BD-EF1A-AEE8-7AB0-9CE2A9344065}"/>
              </a:ext>
            </a:extLst>
          </p:cNvPr>
          <p:cNvCxnSpPr>
            <a:cxnSpLocks/>
          </p:cNvCxnSpPr>
          <p:nvPr/>
        </p:nvCxnSpPr>
        <p:spPr>
          <a:xfrm>
            <a:off x="8086749" y="1291515"/>
            <a:ext cx="0" cy="700201"/>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2A994BB-22F4-BB6E-8FCE-84C3C35B36BB}"/>
              </a:ext>
            </a:extLst>
          </p:cNvPr>
          <p:cNvCxnSpPr>
            <a:cxnSpLocks/>
          </p:cNvCxnSpPr>
          <p:nvPr/>
        </p:nvCxnSpPr>
        <p:spPr>
          <a:xfrm flipH="1">
            <a:off x="7913967" y="1623336"/>
            <a:ext cx="172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D43DFE5-DC22-AAB1-0E49-C40C601AC874}"/>
              </a:ext>
            </a:extLst>
          </p:cNvPr>
          <p:cNvCxnSpPr>
            <a:cxnSpLocks/>
          </p:cNvCxnSpPr>
          <p:nvPr/>
        </p:nvCxnSpPr>
        <p:spPr>
          <a:xfrm>
            <a:off x="7144780" y="940734"/>
            <a:ext cx="0" cy="34109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BABEB19-CA69-2145-853D-2C3689A66AB8}"/>
              </a:ext>
            </a:extLst>
          </p:cNvPr>
          <p:cNvSpPr txBox="1"/>
          <p:nvPr/>
        </p:nvSpPr>
        <p:spPr>
          <a:xfrm>
            <a:off x="6603387" y="2172891"/>
            <a:ext cx="1094509" cy="461665"/>
          </a:xfrm>
          <a:prstGeom prst="rect">
            <a:avLst/>
          </a:prstGeom>
          <a:solidFill>
            <a:schemeClr val="bg1"/>
          </a:solidFill>
        </p:spPr>
        <p:txBody>
          <a:bodyPr wrap="square">
            <a:spAutoFit/>
          </a:bodyPr>
          <a:lstStyle/>
          <a:p>
            <a:pPr algn="ctr"/>
            <a:r>
              <a:rPr lang="en-US" sz="1200" i="1">
                <a:solidFill>
                  <a:schemeClr val="tx1"/>
                </a:solidFill>
              </a:rPr>
              <a:t>Upselling Opportunities</a:t>
            </a:r>
            <a:endParaRPr lang="en-US" sz="1200" i="1" baseline="-25000">
              <a:solidFill>
                <a:schemeClr val="tx1"/>
              </a:solidFill>
            </a:endParaRPr>
          </a:p>
        </p:txBody>
      </p:sp>
      <p:cxnSp>
        <p:nvCxnSpPr>
          <p:cNvPr id="30" name="Straight Connector 29">
            <a:extLst>
              <a:ext uri="{FF2B5EF4-FFF2-40B4-BE49-F238E27FC236}">
                <a16:creationId xmlns:a16="http://schemas.microsoft.com/office/drawing/2014/main" id="{70C35463-6183-8B14-F054-AE3FF23891F0}"/>
              </a:ext>
            </a:extLst>
          </p:cNvPr>
          <p:cNvCxnSpPr>
            <a:cxnSpLocks/>
          </p:cNvCxnSpPr>
          <p:nvPr/>
        </p:nvCxnSpPr>
        <p:spPr>
          <a:xfrm flipH="1">
            <a:off x="7143671" y="2740936"/>
            <a:ext cx="3438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2DBDE68-9C0F-ADF5-DB83-94D3A1A91DD3}"/>
              </a:ext>
            </a:extLst>
          </p:cNvPr>
          <p:cNvCxnSpPr>
            <a:cxnSpLocks/>
            <a:endCxn id="5" idx="0"/>
          </p:cNvCxnSpPr>
          <p:nvPr/>
        </p:nvCxnSpPr>
        <p:spPr>
          <a:xfrm>
            <a:off x="8857044" y="2740936"/>
            <a:ext cx="1" cy="22705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1361474-F0BA-06F2-1BF1-909D38543117}"/>
              </a:ext>
            </a:extLst>
          </p:cNvPr>
          <p:cNvCxnSpPr>
            <a:cxnSpLocks/>
            <a:endCxn id="14" idx="0"/>
          </p:cNvCxnSpPr>
          <p:nvPr/>
        </p:nvCxnSpPr>
        <p:spPr>
          <a:xfrm>
            <a:off x="10581916" y="2733613"/>
            <a:ext cx="1" cy="23321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4D86DD08-7BC1-4D74-9428-0407AA023B83}"/>
              </a:ext>
            </a:extLst>
          </p:cNvPr>
          <p:cNvCxnSpPr>
            <a:cxnSpLocks/>
          </p:cNvCxnSpPr>
          <p:nvPr/>
        </p:nvCxnSpPr>
        <p:spPr>
          <a:xfrm>
            <a:off x="8086749" y="1991716"/>
            <a:ext cx="1781292"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00B05C5-5917-BC6C-8FC3-821DAB861EBE}"/>
              </a:ext>
            </a:extLst>
          </p:cNvPr>
          <p:cNvSpPr txBox="1"/>
          <p:nvPr/>
        </p:nvSpPr>
        <p:spPr>
          <a:xfrm>
            <a:off x="8088979" y="1069655"/>
            <a:ext cx="395093" cy="246221"/>
          </a:xfrm>
          <a:prstGeom prst="rect">
            <a:avLst/>
          </a:prstGeom>
          <a:noFill/>
        </p:spPr>
        <p:txBody>
          <a:bodyPr wrap="square" rtlCol="0">
            <a:spAutoFit/>
          </a:bodyPr>
          <a:lstStyle/>
          <a:p>
            <a:r>
              <a:rPr lang="en-US" sz="1000" b="1"/>
              <a:t>no</a:t>
            </a:r>
          </a:p>
        </p:txBody>
      </p:sp>
      <p:cxnSp>
        <p:nvCxnSpPr>
          <p:cNvPr id="64" name="Straight Arrow Connector 63">
            <a:extLst>
              <a:ext uri="{FF2B5EF4-FFF2-40B4-BE49-F238E27FC236}">
                <a16:creationId xmlns:a16="http://schemas.microsoft.com/office/drawing/2014/main" id="{277FDAF4-77E4-FDE6-8B4B-ED346E591DC0}"/>
              </a:ext>
            </a:extLst>
          </p:cNvPr>
          <p:cNvCxnSpPr>
            <a:cxnSpLocks/>
          </p:cNvCxnSpPr>
          <p:nvPr/>
        </p:nvCxnSpPr>
        <p:spPr>
          <a:xfrm>
            <a:off x="7143671" y="3714332"/>
            <a:ext cx="0" cy="20742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7BC34A4-A9BC-A917-93E4-A09EBB3ACE53}"/>
              </a:ext>
            </a:extLst>
          </p:cNvPr>
          <p:cNvSpPr txBox="1"/>
          <p:nvPr/>
        </p:nvSpPr>
        <p:spPr>
          <a:xfrm>
            <a:off x="6480148" y="3921760"/>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 SCD40</a:t>
            </a:r>
          </a:p>
          <a:p>
            <a:r>
              <a:rPr lang="en-US" sz="1050">
                <a:solidFill>
                  <a:schemeClr val="tx1"/>
                </a:solidFill>
              </a:rPr>
              <a:t>(CO</a:t>
            </a:r>
            <a:r>
              <a:rPr lang="en-US" sz="1050" baseline="-25000">
                <a:solidFill>
                  <a:schemeClr val="tx1"/>
                </a:solidFill>
              </a:rPr>
              <a:t>2</a:t>
            </a:r>
            <a:r>
              <a:rPr lang="en-US" sz="1050">
                <a:solidFill>
                  <a:schemeClr val="tx1"/>
                </a:solidFill>
              </a:rPr>
              <a:t>)</a:t>
            </a:r>
          </a:p>
          <a:p>
            <a:endParaRPr lang="en-US" sz="1050">
              <a:solidFill>
                <a:schemeClr val="tx1"/>
              </a:solidFill>
            </a:endParaRPr>
          </a:p>
        </p:txBody>
      </p:sp>
      <p:sp>
        <p:nvSpPr>
          <p:cNvPr id="67" name="TextBox 66">
            <a:extLst>
              <a:ext uri="{FF2B5EF4-FFF2-40B4-BE49-F238E27FC236}">
                <a16:creationId xmlns:a16="http://schemas.microsoft.com/office/drawing/2014/main" id="{1DC18B07-DB05-4394-06A2-2C24ECD04204}"/>
              </a:ext>
            </a:extLst>
          </p:cNvPr>
          <p:cNvSpPr txBox="1"/>
          <p:nvPr/>
        </p:nvSpPr>
        <p:spPr>
          <a:xfrm>
            <a:off x="8186551" y="3921760"/>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 SFA30</a:t>
            </a:r>
          </a:p>
          <a:p>
            <a:r>
              <a:rPr lang="en-US" sz="1050">
                <a:solidFill>
                  <a:schemeClr val="tx1"/>
                </a:solidFill>
              </a:rPr>
              <a:t>(Formaldehyde)</a:t>
            </a:r>
          </a:p>
          <a:p>
            <a:endParaRPr lang="en-US" sz="1050">
              <a:solidFill>
                <a:schemeClr val="tx1"/>
              </a:solidFill>
            </a:endParaRPr>
          </a:p>
        </p:txBody>
      </p:sp>
      <p:sp>
        <p:nvSpPr>
          <p:cNvPr id="68" name="TextBox 67">
            <a:extLst>
              <a:ext uri="{FF2B5EF4-FFF2-40B4-BE49-F238E27FC236}">
                <a16:creationId xmlns:a16="http://schemas.microsoft.com/office/drawing/2014/main" id="{3E87DD94-CF4E-6819-A682-5FACC2D96538}"/>
              </a:ext>
            </a:extLst>
          </p:cNvPr>
          <p:cNvSpPr txBox="1"/>
          <p:nvPr/>
        </p:nvSpPr>
        <p:spPr>
          <a:xfrm>
            <a:off x="9911423" y="3914586"/>
            <a:ext cx="1340986" cy="575467"/>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r>
              <a:rPr lang="en-US" sz="1050" b="1">
                <a:solidFill>
                  <a:schemeClr val="tx1"/>
                </a:solidFill>
              </a:rPr>
              <a:t>SDP810</a:t>
            </a:r>
          </a:p>
          <a:p>
            <a:r>
              <a:rPr lang="en-US" sz="1050">
                <a:solidFill>
                  <a:schemeClr val="tx1"/>
                </a:solidFill>
              </a:rPr>
              <a:t>(Differential </a:t>
            </a:r>
          </a:p>
          <a:p>
            <a:r>
              <a:rPr lang="en-US" sz="1050">
                <a:solidFill>
                  <a:schemeClr val="tx1"/>
                </a:solidFill>
              </a:rPr>
              <a:t>Pressure)</a:t>
            </a:r>
          </a:p>
          <a:p>
            <a:endParaRPr lang="en-US" sz="1050">
              <a:solidFill>
                <a:schemeClr val="tx1"/>
              </a:solidFill>
            </a:endParaRPr>
          </a:p>
        </p:txBody>
      </p:sp>
      <p:cxnSp>
        <p:nvCxnSpPr>
          <p:cNvPr id="69" name="Straight Arrow Connector 68">
            <a:extLst>
              <a:ext uri="{FF2B5EF4-FFF2-40B4-BE49-F238E27FC236}">
                <a16:creationId xmlns:a16="http://schemas.microsoft.com/office/drawing/2014/main" id="{3760388A-10E0-7660-5745-636481CAE730}"/>
              </a:ext>
            </a:extLst>
          </p:cNvPr>
          <p:cNvCxnSpPr>
            <a:cxnSpLocks/>
          </p:cNvCxnSpPr>
          <p:nvPr/>
        </p:nvCxnSpPr>
        <p:spPr>
          <a:xfrm>
            <a:off x="8852427" y="3714351"/>
            <a:ext cx="0" cy="20742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98F3B70C-04DF-4144-C368-0F040D8E6000}"/>
              </a:ext>
            </a:extLst>
          </p:cNvPr>
          <p:cNvCxnSpPr>
            <a:cxnSpLocks/>
          </p:cNvCxnSpPr>
          <p:nvPr/>
        </p:nvCxnSpPr>
        <p:spPr>
          <a:xfrm>
            <a:off x="10576641" y="3717587"/>
            <a:ext cx="0" cy="20742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3" name="Picture 2">
            <a:extLst>
              <a:ext uri="{FF2B5EF4-FFF2-40B4-BE49-F238E27FC236}">
                <a16:creationId xmlns:a16="http://schemas.microsoft.com/office/drawing/2014/main" id="{47464E48-D622-6D4D-9381-7A712AFEAAF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2222" b="-13466"/>
          <a:stretch/>
        </p:blipFill>
        <p:spPr bwMode="auto">
          <a:xfrm>
            <a:off x="10797933" y="1270883"/>
            <a:ext cx="377807" cy="30986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5" name="Picture 2">
            <a:extLst>
              <a:ext uri="{FF2B5EF4-FFF2-40B4-BE49-F238E27FC236}">
                <a16:creationId xmlns:a16="http://schemas.microsoft.com/office/drawing/2014/main" id="{603CD675-03DA-C502-DACA-0FEB68CED5D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2222" b="-13466"/>
          <a:stretch/>
        </p:blipFill>
        <p:spPr bwMode="auto">
          <a:xfrm>
            <a:off x="10829426" y="1998520"/>
            <a:ext cx="377807" cy="30986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6" name="Picture 5" descr="A picture containing text, electronics, circuit&#10;&#10;Description automatically generated">
            <a:extLst>
              <a:ext uri="{FF2B5EF4-FFF2-40B4-BE49-F238E27FC236}">
                <a16:creationId xmlns:a16="http://schemas.microsoft.com/office/drawing/2014/main" id="{88D81952-B034-5738-C315-FB11E6229629}"/>
              </a:ext>
            </a:extLst>
          </p:cNvPr>
          <p:cNvPicPr>
            <a:picLocks noChangeAspect="1"/>
          </p:cNvPicPr>
          <p:nvPr/>
        </p:nvPicPr>
        <p:blipFill>
          <a:blip r:embed="rId6"/>
          <a:stretch>
            <a:fillRect/>
          </a:stretch>
        </p:blipFill>
        <p:spPr>
          <a:xfrm>
            <a:off x="8899153" y="4146490"/>
            <a:ext cx="697124" cy="402034"/>
          </a:xfrm>
          <a:prstGeom prst="rect">
            <a:avLst/>
          </a:prstGeom>
        </p:spPr>
      </p:pic>
      <p:pic>
        <p:nvPicPr>
          <p:cNvPr id="78" name="Picture 77">
            <a:extLst>
              <a:ext uri="{FF2B5EF4-FFF2-40B4-BE49-F238E27FC236}">
                <a16:creationId xmlns:a16="http://schemas.microsoft.com/office/drawing/2014/main" id="{D17B92AB-3CF6-D95A-2992-ADDF47AA9E09}"/>
              </a:ext>
            </a:extLst>
          </p:cNvPr>
          <p:cNvPicPr>
            <a:picLocks noChangeAspect="1"/>
          </p:cNvPicPr>
          <p:nvPr/>
        </p:nvPicPr>
        <p:blipFill>
          <a:blip r:embed="rId7"/>
          <a:stretch>
            <a:fillRect/>
          </a:stretch>
        </p:blipFill>
        <p:spPr>
          <a:xfrm>
            <a:off x="10883545" y="4111255"/>
            <a:ext cx="335986" cy="344181"/>
          </a:xfrm>
          <a:prstGeom prst="rect">
            <a:avLst/>
          </a:prstGeom>
        </p:spPr>
      </p:pic>
      <p:sp>
        <p:nvSpPr>
          <p:cNvPr id="80" name="TextBox 79">
            <a:extLst>
              <a:ext uri="{FF2B5EF4-FFF2-40B4-BE49-F238E27FC236}">
                <a16:creationId xmlns:a16="http://schemas.microsoft.com/office/drawing/2014/main" id="{E221CDD8-B2DC-B677-4BE9-2B06709DC71C}"/>
              </a:ext>
            </a:extLst>
          </p:cNvPr>
          <p:cNvSpPr txBox="1"/>
          <p:nvPr/>
        </p:nvSpPr>
        <p:spPr>
          <a:xfrm>
            <a:off x="6096000" y="4726634"/>
            <a:ext cx="2578371" cy="261610"/>
          </a:xfrm>
          <a:prstGeom prst="rect">
            <a:avLst/>
          </a:prstGeom>
          <a:noFill/>
        </p:spPr>
        <p:txBody>
          <a:bodyPr wrap="square">
            <a:spAutoFit/>
          </a:bodyPr>
          <a:lstStyle/>
          <a:p>
            <a:pPr algn="ctr"/>
            <a:r>
              <a:rPr lang="en-US" sz="1050">
                <a:solidFill>
                  <a:schemeClr val="tx1"/>
                </a:solidFill>
              </a:rPr>
              <a:t>* Activated carbon, ionization, ozone </a:t>
            </a:r>
            <a:endParaRPr lang="en-US" sz="1050" baseline="-25000">
              <a:solidFill>
                <a:schemeClr val="tx1"/>
              </a:solidFill>
            </a:endParaRPr>
          </a:p>
        </p:txBody>
      </p:sp>
      <p:pic>
        <p:nvPicPr>
          <p:cNvPr id="81" name="Picture 4" descr="SCD4x CO2 Sensors | Sensirion">
            <a:extLst>
              <a:ext uri="{FF2B5EF4-FFF2-40B4-BE49-F238E27FC236}">
                <a16:creationId xmlns:a16="http://schemas.microsoft.com/office/drawing/2014/main" id="{B6EEC46C-4FB4-1757-BC6D-A1380DDC3F4D}"/>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1408" r="17829"/>
          <a:stretch/>
        </p:blipFill>
        <p:spPr bwMode="auto">
          <a:xfrm>
            <a:off x="7310967" y="4085607"/>
            <a:ext cx="418501" cy="34437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ir purifier - Free electronics icons">
            <a:extLst>
              <a:ext uri="{FF2B5EF4-FFF2-40B4-BE49-F238E27FC236}">
                <a16:creationId xmlns:a16="http://schemas.microsoft.com/office/drawing/2014/main" id="{C11BC4E3-190D-5669-0402-6B47C5D9C9B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8566" y="283030"/>
            <a:ext cx="646499" cy="646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54505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4C4E5-AFEA-441F-A3AB-0707F62010E6}"/>
              </a:ext>
            </a:extLst>
          </p:cNvPr>
          <p:cNvSpPr>
            <a:spLocks noGrp="1"/>
          </p:cNvSpPr>
          <p:nvPr>
            <p:ph type="title"/>
          </p:nvPr>
        </p:nvSpPr>
        <p:spPr/>
        <p:txBody>
          <a:bodyPr/>
          <a:lstStyle/>
          <a:p>
            <a:r>
              <a:rPr lang="en-US"/>
              <a:t>Our Growth Drivers: Megatrends</a:t>
            </a:r>
          </a:p>
        </p:txBody>
      </p:sp>
      <p:sp>
        <p:nvSpPr>
          <p:cNvPr id="3" name="Slide Number Placeholder 2">
            <a:extLst>
              <a:ext uri="{FF2B5EF4-FFF2-40B4-BE49-F238E27FC236}">
                <a16:creationId xmlns:a16="http://schemas.microsoft.com/office/drawing/2014/main" id="{0EDAE1A6-9528-466B-9F3A-182F34FCF50A}"/>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5</a:t>
            </a:fld>
            <a:endParaRPr lang="en-US"/>
          </a:p>
        </p:txBody>
      </p:sp>
      <p:grpSp>
        <p:nvGrpSpPr>
          <p:cNvPr id="4" name="Group 3">
            <a:extLst>
              <a:ext uri="{FF2B5EF4-FFF2-40B4-BE49-F238E27FC236}">
                <a16:creationId xmlns:a16="http://schemas.microsoft.com/office/drawing/2014/main" id="{9055ABE5-1A80-4EEF-99A8-CBB75D638E1C}"/>
              </a:ext>
            </a:extLst>
          </p:cNvPr>
          <p:cNvGrpSpPr/>
          <p:nvPr/>
        </p:nvGrpSpPr>
        <p:grpSpPr>
          <a:xfrm>
            <a:off x="754688" y="1420231"/>
            <a:ext cx="2328830" cy="1504644"/>
            <a:chOff x="844445" y="1370308"/>
            <a:chExt cx="3024000" cy="1504644"/>
          </a:xfrm>
        </p:grpSpPr>
        <p:sp>
          <p:nvSpPr>
            <p:cNvPr id="5" name="Rectangle 4">
              <a:extLst>
                <a:ext uri="{FF2B5EF4-FFF2-40B4-BE49-F238E27FC236}">
                  <a16:creationId xmlns:a16="http://schemas.microsoft.com/office/drawing/2014/main" id="{F0A4032A-9EC6-439E-AFC8-FE2C0A4345D5}"/>
                </a:ext>
              </a:extLst>
            </p:cNvPr>
            <p:cNvSpPr>
              <a:spLocks/>
            </p:cNvSpPr>
            <p:nvPr/>
          </p:nvSpPr>
          <p:spPr>
            <a:xfrm>
              <a:off x="844445" y="1664238"/>
              <a:ext cx="3024000" cy="1210714"/>
            </a:xfrm>
            <a:prstGeom prst="rect">
              <a:avLst/>
            </a:prstGeom>
            <a:solidFill>
              <a:schemeClr val="bg1"/>
            </a:solidFill>
            <a:ln w="9525" cap="flat" cmpd="sng" algn="ctr">
              <a:noFill/>
              <a:prstDash val="solid"/>
            </a:ln>
            <a:effectLst/>
          </p:spPr>
          <p:txBody>
            <a:bodyPr rtlCol="0" anchor="t"/>
            <a:lstStyle/>
            <a:p>
              <a:pPr marL="171450" lvl="2" indent="-171450">
                <a:spcBef>
                  <a:spcPts val="600"/>
                </a:spcBef>
                <a:buClr>
                  <a:srgbClr val="66CC33"/>
                </a:buClr>
                <a:buSzPct val="80000"/>
                <a:buFont typeface="Wingdings" panose="05000000000000000000" pitchFamily="2" charset="2"/>
                <a:buChar char=""/>
              </a:pPr>
              <a:r>
                <a:rPr lang="en-US" sz="1600"/>
                <a:t>Scarcity of resources</a:t>
              </a:r>
            </a:p>
            <a:p>
              <a:pPr marL="171450" lvl="2" indent="-171450">
                <a:spcBef>
                  <a:spcPts val="600"/>
                </a:spcBef>
                <a:buClr>
                  <a:srgbClr val="66CC33"/>
                </a:buClr>
                <a:buSzPct val="80000"/>
                <a:buFont typeface="Wingdings" panose="05000000000000000000" pitchFamily="2" charset="2"/>
                <a:buChar char=""/>
              </a:pPr>
              <a:r>
                <a:rPr lang="en-US" sz="1600"/>
                <a:t>Governmental and societal initiatives</a:t>
              </a:r>
            </a:p>
            <a:p>
              <a:pPr marL="171450" lvl="2" indent="-171450">
                <a:spcBef>
                  <a:spcPts val="600"/>
                </a:spcBef>
                <a:buClr>
                  <a:srgbClr val="66CC33"/>
                </a:buClr>
                <a:buSzPct val="80000"/>
                <a:buFont typeface="Wingdings" panose="05000000000000000000" pitchFamily="2" charset="2"/>
                <a:buChar char=""/>
              </a:pPr>
              <a:endParaRPr lang="en-US" sz="1600"/>
            </a:p>
          </p:txBody>
        </p:sp>
        <p:sp>
          <p:nvSpPr>
            <p:cNvPr id="6" name="Rectangle 5">
              <a:extLst>
                <a:ext uri="{FF2B5EF4-FFF2-40B4-BE49-F238E27FC236}">
                  <a16:creationId xmlns:a16="http://schemas.microsoft.com/office/drawing/2014/main" id="{39F667F9-2672-4BF2-A98C-D79746636D70}"/>
                </a:ext>
              </a:extLst>
            </p:cNvPr>
            <p:cNvSpPr/>
            <p:nvPr/>
          </p:nvSpPr>
          <p:spPr>
            <a:xfrm>
              <a:off x="972872" y="1370308"/>
              <a:ext cx="2895571" cy="302445"/>
            </a:xfrm>
            <a:prstGeom prst="rect">
              <a:avLst/>
            </a:prstGeom>
            <a:solidFill>
              <a:schemeClr val="bg1"/>
            </a:solidFill>
            <a:ln w="6350">
              <a:noFill/>
            </a:ln>
            <a:effectLst/>
          </p:spPr>
          <p:txBody>
            <a:bodyPr vert="horz" wrap="square" lIns="0" tIns="0" rIns="0" bIns="25200" rtlCol="0" anchor="b" anchorCtr="0">
              <a:spAutoFit/>
            </a:bodyPr>
            <a:lstStyle/>
            <a:p>
              <a:pPr algn="ctr"/>
              <a:r>
                <a:rPr lang="en-US" sz="1800" b="1">
                  <a:solidFill>
                    <a:srgbClr val="66CC33"/>
                  </a:solidFill>
                  <a:latin typeface="Arial Narrow" pitchFamily="34" charset="0"/>
                  <a:ea typeface="+mj-ea"/>
                  <a:cs typeface="+mj-cs"/>
                </a:rPr>
                <a:t>Energy efficiency</a:t>
              </a:r>
            </a:p>
          </p:txBody>
        </p:sp>
        <p:cxnSp>
          <p:nvCxnSpPr>
            <p:cNvPr id="7" name="Straight Connector 6">
              <a:extLst>
                <a:ext uri="{FF2B5EF4-FFF2-40B4-BE49-F238E27FC236}">
                  <a16:creationId xmlns:a16="http://schemas.microsoft.com/office/drawing/2014/main" id="{32DD98D8-27EB-49A1-9CC1-93CF52388B4D}"/>
                </a:ext>
              </a:extLst>
            </p:cNvPr>
            <p:cNvCxnSpPr>
              <a:cxnSpLocks/>
            </p:cNvCxnSpPr>
            <p:nvPr/>
          </p:nvCxnSpPr>
          <p:spPr>
            <a:xfrm flipH="1">
              <a:off x="954948" y="1664241"/>
              <a:ext cx="2913497" cy="0"/>
            </a:xfrm>
            <a:prstGeom prst="line">
              <a:avLst/>
            </a:prstGeom>
            <a:ln w="28575">
              <a:solidFill>
                <a:srgbClr val="66CC33"/>
              </a:solidFill>
            </a:ln>
            <a:effectLst/>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5FEB7166-D672-49BD-BDD6-F5C14CE9CA3C}"/>
              </a:ext>
            </a:extLst>
          </p:cNvPr>
          <p:cNvGrpSpPr/>
          <p:nvPr/>
        </p:nvGrpSpPr>
        <p:grpSpPr>
          <a:xfrm>
            <a:off x="3537604" y="1401653"/>
            <a:ext cx="2412000" cy="1523222"/>
            <a:chOff x="4475612" y="1351730"/>
            <a:chExt cx="3024000" cy="1523222"/>
          </a:xfrm>
        </p:grpSpPr>
        <p:sp>
          <p:nvSpPr>
            <p:cNvPr id="9" name="Rectangle 8">
              <a:extLst>
                <a:ext uri="{FF2B5EF4-FFF2-40B4-BE49-F238E27FC236}">
                  <a16:creationId xmlns:a16="http://schemas.microsoft.com/office/drawing/2014/main" id="{C95216E3-517D-4D24-80A4-C63C7009409C}"/>
                </a:ext>
              </a:extLst>
            </p:cNvPr>
            <p:cNvSpPr>
              <a:spLocks/>
            </p:cNvSpPr>
            <p:nvPr/>
          </p:nvSpPr>
          <p:spPr>
            <a:xfrm>
              <a:off x="4475612" y="1664241"/>
              <a:ext cx="3024000" cy="1210711"/>
            </a:xfrm>
            <a:prstGeom prst="rect">
              <a:avLst/>
            </a:prstGeom>
            <a:solidFill>
              <a:schemeClr val="bg1"/>
            </a:solidFill>
            <a:ln w="9525" cap="flat" cmpd="sng" algn="ctr">
              <a:noFill/>
              <a:prstDash val="solid"/>
            </a:ln>
            <a:effectLst/>
          </p:spPr>
          <p:txBody>
            <a:bodyPr rtlCol="0" anchor="t"/>
            <a:lstStyle/>
            <a:p>
              <a:pPr marL="171450" lvl="2" indent="-171450">
                <a:spcBef>
                  <a:spcPts val="600"/>
                </a:spcBef>
                <a:buClr>
                  <a:srgbClr val="66CC33"/>
                </a:buClr>
                <a:buSzPct val="80000"/>
                <a:buFont typeface="Wingdings" panose="05000000000000000000" pitchFamily="2" charset="2"/>
                <a:buChar char=""/>
              </a:pPr>
              <a:r>
                <a:rPr lang="en-US" sz="1600"/>
                <a:t>Economic development</a:t>
              </a:r>
            </a:p>
            <a:p>
              <a:pPr marL="171450" lvl="2" indent="-171450">
                <a:spcBef>
                  <a:spcPts val="600"/>
                </a:spcBef>
                <a:buClr>
                  <a:srgbClr val="66CC33"/>
                </a:buClr>
                <a:buSzPct val="80000"/>
                <a:buFont typeface="Wingdings" panose="05000000000000000000" pitchFamily="2" charset="2"/>
                <a:buChar char=""/>
              </a:pPr>
              <a:r>
                <a:rPr lang="en-US" sz="1600"/>
                <a:t>Increasing awareness around health, safety, comfort</a:t>
              </a:r>
            </a:p>
          </p:txBody>
        </p:sp>
        <p:sp>
          <p:nvSpPr>
            <p:cNvPr id="10" name="Rectangle 9">
              <a:extLst>
                <a:ext uri="{FF2B5EF4-FFF2-40B4-BE49-F238E27FC236}">
                  <a16:creationId xmlns:a16="http://schemas.microsoft.com/office/drawing/2014/main" id="{21849DF0-ECF4-4FBF-ABE1-609C6E2A1C55}"/>
                </a:ext>
              </a:extLst>
            </p:cNvPr>
            <p:cNvSpPr/>
            <p:nvPr/>
          </p:nvSpPr>
          <p:spPr>
            <a:xfrm>
              <a:off x="4475612" y="1351730"/>
              <a:ext cx="3024000" cy="302445"/>
            </a:xfrm>
            <a:prstGeom prst="rect">
              <a:avLst/>
            </a:prstGeom>
            <a:solidFill>
              <a:schemeClr val="bg1"/>
            </a:solidFill>
            <a:ln w="6350">
              <a:noFill/>
            </a:ln>
            <a:effectLst/>
          </p:spPr>
          <p:txBody>
            <a:bodyPr vert="horz" wrap="square" lIns="0" tIns="0" rIns="0" bIns="25200" rtlCol="0" anchor="b" anchorCtr="0">
              <a:spAutoFit/>
            </a:bodyPr>
            <a:lstStyle/>
            <a:p>
              <a:pPr algn="ctr"/>
              <a:r>
                <a:rPr lang="en-US" sz="1800" b="1">
                  <a:solidFill>
                    <a:srgbClr val="66CC33"/>
                  </a:solidFill>
                  <a:ea typeface="+mj-ea"/>
                  <a:cs typeface="+mj-cs"/>
                </a:rPr>
                <a:t>Quality of life</a:t>
              </a:r>
              <a:endParaRPr lang="en-US" sz="1800" b="1">
                <a:solidFill>
                  <a:srgbClr val="66CC33"/>
                </a:solidFill>
                <a:latin typeface="Arial Narrow" pitchFamily="34" charset="0"/>
                <a:ea typeface="+mj-ea"/>
                <a:cs typeface="+mj-cs"/>
              </a:endParaRPr>
            </a:p>
          </p:txBody>
        </p:sp>
        <p:cxnSp>
          <p:nvCxnSpPr>
            <p:cNvPr id="11" name="Straight Connector 10">
              <a:extLst>
                <a:ext uri="{FF2B5EF4-FFF2-40B4-BE49-F238E27FC236}">
                  <a16:creationId xmlns:a16="http://schemas.microsoft.com/office/drawing/2014/main" id="{DB2E374C-4C17-4C98-8F4A-B61CD74E4E2C}"/>
                </a:ext>
              </a:extLst>
            </p:cNvPr>
            <p:cNvCxnSpPr/>
            <p:nvPr/>
          </p:nvCxnSpPr>
          <p:spPr>
            <a:xfrm flipH="1">
              <a:off x="4475612" y="1643098"/>
              <a:ext cx="3024000" cy="0"/>
            </a:xfrm>
            <a:prstGeom prst="line">
              <a:avLst/>
            </a:prstGeom>
            <a:ln w="28575">
              <a:solidFill>
                <a:srgbClr val="66CC33"/>
              </a:solidFill>
            </a:ln>
            <a:effectLst/>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BC8D2F98-A503-45AC-9890-859227C92330}"/>
              </a:ext>
            </a:extLst>
          </p:cNvPr>
          <p:cNvGrpSpPr/>
          <p:nvPr/>
        </p:nvGrpSpPr>
        <p:grpSpPr>
          <a:xfrm>
            <a:off x="6242395" y="1134720"/>
            <a:ext cx="2411999" cy="1790155"/>
            <a:chOff x="8353232" y="1074731"/>
            <a:chExt cx="3024001" cy="1790155"/>
          </a:xfrm>
        </p:grpSpPr>
        <p:sp>
          <p:nvSpPr>
            <p:cNvPr id="13" name="Rectangle 12">
              <a:extLst>
                <a:ext uri="{FF2B5EF4-FFF2-40B4-BE49-F238E27FC236}">
                  <a16:creationId xmlns:a16="http://schemas.microsoft.com/office/drawing/2014/main" id="{CE96C961-CD0B-4540-A38A-32D6D8F1845D}"/>
                </a:ext>
              </a:extLst>
            </p:cNvPr>
            <p:cNvSpPr>
              <a:spLocks/>
            </p:cNvSpPr>
            <p:nvPr/>
          </p:nvSpPr>
          <p:spPr>
            <a:xfrm>
              <a:off x="8353232" y="1654175"/>
              <a:ext cx="3024000" cy="1210711"/>
            </a:xfrm>
            <a:prstGeom prst="rect">
              <a:avLst/>
            </a:prstGeom>
            <a:solidFill>
              <a:schemeClr val="bg1"/>
            </a:solidFill>
            <a:ln w="9525" cap="flat" cmpd="sng" algn="ctr">
              <a:noFill/>
              <a:prstDash val="solid"/>
            </a:ln>
            <a:effectLst/>
          </p:spPr>
          <p:txBody>
            <a:bodyPr rtlCol="0" anchor="t"/>
            <a:lstStyle/>
            <a:p>
              <a:pPr marL="171450" lvl="2" indent="-171450">
                <a:spcBef>
                  <a:spcPts val="600"/>
                </a:spcBef>
                <a:buClr>
                  <a:srgbClr val="66CC33"/>
                </a:buClr>
                <a:buSzPct val="80000"/>
                <a:buFont typeface="Wingdings" panose="05000000000000000000" pitchFamily="2" charset="2"/>
                <a:buChar char=""/>
              </a:pPr>
              <a:r>
                <a:rPr lang="en-US" sz="1600"/>
                <a:t>Industry 4.0</a:t>
              </a:r>
            </a:p>
            <a:p>
              <a:pPr marL="171450" lvl="2" indent="-171450">
                <a:spcBef>
                  <a:spcPts val="600"/>
                </a:spcBef>
                <a:buClr>
                  <a:srgbClr val="66CC33"/>
                </a:buClr>
                <a:buSzPct val="80000"/>
                <a:buFont typeface="Wingdings" panose="05000000000000000000" pitchFamily="2" charset="2"/>
                <a:buChar char=""/>
              </a:pPr>
              <a:r>
                <a:rPr lang="en-US" sz="1600"/>
                <a:t>Technological advancements</a:t>
              </a:r>
            </a:p>
            <a:p>
              <a:pPr marL="171450" lvl="2" indent="-171450">
                <a:spcBef>
                  <a:spcPts val="600"/>
                </a:spcBef>
                <a:buClr>
                  <a:srgbClr val="66CC33"/>
                </a:buClr>
                <a:buSzPct val="80000"/>
                <a:buFont typeface="Wingdings" panose="05000000000000000000" pitchFamily="2" charset="2"/>
                <a:buChar char=""/>
              </a:pPr>
              <a:r>
                <a:rPr lang="en-US" sz="1600"/>
                <a:t>Connectivity, IoT</a:t>
              </a:r>
            </a:p>
            <a:p>
              <a:pPr marL="171450" lvl="2" indent="-171450">
                <a:spcBef>
                  <a:spcPts val="600"/>
                </a:spcBef>
                <a:buClr>
                  <a:srgbClr val="66CC33"/>
                </a:buClr>
                <a:buSzPct val="80000"/>
                <a:buFont typeface="Wingdings" panose="05000000000000000000" pitchFamily="2" charset="2"/>
                <a:buChar char=""/>
              </a:pPr>
              <a:endParaRPr lang="en-US" sz="1600"/>
            </a:p>
          </p:txBody>
        </p:sp>
        <p:sp>
          <p:nvSpPr>
            <p:cNvPr id="14" name="Rectangle 13">
              <a:extLst>
                <a:ext uri="{FF2B5EF4-FFF2-40B4-BE49-F238E27FC236}">
                  <a16:creationId xmlns:a16="http://schemas.microsoft.com/office/drawing/2014/main" id="{A749E495-21D6-4959-9C18-80AE175C4376}"/>
                </a:ext>
              </a:extLst>
            </p:cNvPr>
            <p:cNvSpPr/>
            <p:nvPr/>
          </p:nvSpPr>
          <p:spPr>
            <a:xfrm>
              <a:off x="8353232" y="1074731"/>
              <a:ext cx="3024000" cy="579444"/>
            </a:xfrm>
            <a:prstGeom prst="rect">
              <a:avLst/>
            </a:prstGeom>
            <a:solidFill>
              <a:schemeClr val="bg1"/>
            </a:solidFill>
            <a:ln w="6350">
              <a:noFill/>
            </a:ln>
            <a:effectLst/>
          </p:spPr>
          <p:txBody>
            <a:bodyPr vert="horz" wrap="square" lIns="0" tIns="0" rIns="0" bIns="25200" rtlCol="0" anchor="b" anchorCtr="0">
              <a:spAutoFit/>
            </a:bodyPr>
            <a:lstStyle/>
            <a:p>
              <a:pPr algn="ctr"/>
              <a:r>
                <a:rPr lang="en-US" sz="1800" b="1">
                  <a:solidFill>
                    <a:srgbClr val="66CC33"/>
                  </a:solidFill>
                  <a:ea typeface="+mj-ea"/>
                  <a:cs typeface="+mj-cs"/>
                </a:rPr>
                <a:t>Digitalization and automation</a:t>
              </a:r>
              <a:endParaRPr lang="en-US" sz="1800" b="1">
                <a:solidFill>
                  <a:srgbClr val="66CC33"/>
                </a:solidFill>
                <a:latin typeface="Arial Narrow" pitchFamily="34" charset="0"/>
                <a:ea typeface="+mj-ea"/>
                <a:cs typeface="+mj-cs"/>
              </a:endParaRPr>
            </a:p>
          </p:txBody>
        </p:sp>
        <p:cxnSp>
          <p:nvCxnSpPr>
            <p:cNvPr id="15" name="Straight Connector 14">
              <a:extLst>
                <a:ext uri="{FF2B5EF4-FFF2-40B4-BE49-F238E27FC236}">
                  <a16:creationId xmlns:a16="http://schemas.microsoft.com/office/drawing/2014/main" id="{F32A6D65-A5C7-47A6-B53B-8901A3159470}"/>
                </a:ext>
              </a:extLst>
            </p:cNvPr>
            <p:cNvCxnSpPr/>
            <p:nvPr/>
          </p:nvCxnSpPr>
          <p:spPr>
            <a:xfrm flipH="1">
              <a:off x="8353233" y="1633032"/>
              <a:ext cx="3024000" cy="0"/>
            </a:xfrm>
            <a:prstGeom prst="line">
              <a:avLst/>
            </a:prstGeom>
            <a:ln w="28575">
              <a:solidFill>
                <a:srgbClr val="66CC33"/>
              </a:solidFill>
            </a:ln>
            <a:effectLst/>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C88645E2-5349-40E1-9147-D2BFC9D193B0}"/>
              </a:ext>
            </a:extLst>
          </p:cNvPr>
          <p:cNvSpPr/>
          <p:nvPr/>
        </p:nvSpPr>
        <p:spPr>
          <a:xfrm>
            <a:off x="832812" y="5250622"/>
            <a:ext cx="10548000" cy="468000"/>
          </a:xfrm>
          <a:prstGeom prst="rect">
            <a:avLst/>
          </a:prstGeom>
          <a:solidFill>
            <a:srgbClr val="0244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lstStyle/>
          <a:p>
            <a:pPr algn="ctr">
              <a:spcBef>
                <a:spcPts val="300"/>
              </a:spcBef>
              <a:spcAft>
                <a:spcPts val="300"/>
              </a:spcAft>
            </a:pPr>
            <a:r>
              <a:rPr lang="en-US" sz="1800" b="1">
                <a:solidFill>
                  <a:schemeClr val="bg1"/>
                </a:solidFill>
                <a:latin typeface="Arial Narrow" panose="020B0606020202030204" pitchFamily="34" charset="0"/>
              </a:rPr>
              <a:t>Sensirion’s sensor solutions are critical for many applications across these megatrends</a:t>
            </a:r>
          </a:p>
        </p:txBody>
      </p:sp>
      <p:grpSp>
        <p:nvGrpSpPr>
          <p:cNvPr id="18" name="Group 15">
            <a:extLst>
              <a:ext uri="{FF2B5EF4-FFF2-40B4-BE49-F238E27FC236}">
                <a16:creationId xmlns:a16="http://schemas.microsoft.com/office/drawing/2014/main" id="{D86A4520-0985-4607-9F49-9762B25D3EA5}"/>
              </a:ext>
            </a:extLst>
          </p:cNvPr>
          <p:cNvGrpSpPr/>
          <p:nvPr/>
        </p:nvGrpSpPr>
        <p:grpSpPr>
          <a:xfrm>
            <a:off x="8947184" y="1420237"/>
            <a:ext cx="2411999" cy="1513156"/>
            <a:chOff x="8353232" y="1351730"/>
            <a:chExt cx="3024001" cy="1513156"/>
          </a:xfrm>
        </p:grpSpPr>
        <p:sp>
          <p:nvSpPr>
            <p:cNvPr id="19" name="Rectangle 3407">
              <a:extLst>
                <a:ext uri="{FF2B5EF4-FFF2-40B4-BE49-F238E27FC236}">
                  <a16:creationId xmlns:a16="http://schemas.microsoft.com/office/drawing/2014/main" id="{53D5C0B6-0E74-4381-B2B9-71B5B918C996}"/>
                </a:ext>
              </a:extLst>
            </p:cNvPr>
            <p:cNvSpPr>
              <a:spLocks/>
            </p:cNvSpPr>
            <p:nvPr/>
          </p:nvSpPr>
          <p:spPr>
            <a:xfrm>
              <a:off x="8353232" y="1654175"/>
              <a:ext cx="3024000" cy="1210711"/>
            </a:xfrm>
            <a:prstGeom prst="rect">
              <a:avLst/>
            </a:prstGeom>
            <a:solidFill>
              <a:schemeClr val="bg1"/>
            </a:solidFill>
            <a:ln w="9525" cap="flat" cmpd="sng" algn="ctr">
              <a:noFill/>
              <a:prstDash val="solid"/>
            </a:ln>
            <a:effectLst/>
          </p:spPr>
          <p:txBody>
            <a:bodyPr rtlCol="0" anchor="t"/>
            <a:lstStyle/>
            <a:p>
              <a:pPr marL="171450" lvl="2" indent="-171450">
                <a:spcBef>
                  <a:spcPts val="600"/>
                </a:spcBef>
                <a:buClr>
                  <a:srgbClr val="66CC33"/>
                </a:buClr>
                <a:buSzPct val="80000"/>
                <a:buFont typeface="Wingdings" panose="05000000000000000000" pitchFamily="2" charset="2"/>
                <a:buChar char=""/>
              </a:pPr>
              <a:r>
                <a:rPr lang="en-US" b="1"/>
                <a:t>Air quality</a:t>
              </a:r>
            </a:p>
            <a:p>
              <a:pPr marL="171450" lvl="2" indent="-171450">
                <a:spcBef>
                  <a:spcPts val="600"/>
                </a:spcBef>
                <a:buClr>
                  <a:srgbClr val="66CC33"/>
                </a:buClr>
                <a:buSzPct val="80000"/>
                <a:buFont typeface="Wingdings" panose="05000000000000000000" pitchFamily="2" charset="2"/>
                <a:buChar char=""/>
              </a:pPr>
              <a:r>
                <a:rPr lang="en-US" sz="1600"/>
                <a:t>Climate change</a:t>
              </a:r>
            </a:p>
            <a:p>
              <a:pPr marL="171450" lvl="2" indent="-171450">
                <a:spcBef>
                  <a:spcPts val="600"/>
                </a:spcBef>
                <a:buClr>
                  <a:srgbClr val="66CC33"/>
                </a:buClr>
                <a:buSzPct val="80000"/>
                <a:buFont typeface="Wingdings" panose="05000000000000000000" pitchFamily="2" charset="2"/>
                <a:buChar char=""/>
              </a:pPr>
              <a:r>
                <a:rPr lang="en-US" sz="1600"/>
                <a:t>Water quality</a:t>
              </a:r>
            </a:p>
            <a:p>
              <a:pPr marL="171450" lvl="2" indent="-171450">
                <a:spcBef>
                  <a:spcPts val="600"/>
                </a:spcBef>
                <a:buClr>
                  <a:srgbClr val="66CC33"/>
                </a:buClr>
                <a:buSzPct val="80000"/>
                <a:buFont typeface="Wingdings" panose="05000000000000000000" pitchFamily="2" charset="2"/>
                <a:buChar char=""/>
              </a:pPr>
              <a:endParaRPr lang="en-US" sz="1600"/>
            </a:p>
          </p:txBody>
        </p:sp>
        <p:sp>
          <p:nvSpPr>
            <p:cNvPr id="20" name="Rectangle 3408">
              <a:extLst>
                <a:ext uri="{FF2B5EF4-FFF2-40B4-BE49-F238E27FC236}">
                  <a16:creationId xmlns:a16="http://schemas.microsoft.com/office/drawing/2014/main" id="{55B69CF6-EFC3-4B29-BA3B-9092C9C720C0}"/>
                </a:ext>
              </a:extLst>
            </p:cNvPr>
            <p:cNvSpPr/>
            <p:nvPr/>
          </p:nvSpPr>
          <p:spPr>
            <a:xfrm>
              <a:off x="8353232" y="1351730"/>
              <a:ext cx="3024000" cy="302445"/>
            </a:xfrm>
            <a:prstGeom prst="rect">
              <a:avLst/>
            </a:prstGeom>
            <a:solidFill>
              <a:schemeClr val="bg1"/>
            </a:solidFill>
            <a:ln w="6350">
              <a:noFill/>
            </a:ln>
            <a:effectLst/>
          </p:spPr>
          <p:txBody>
            <a:bodyPr vert="horz" wrap="square" lIns="0" tIns="0" rIns="0" bIns="25200" rtlCol="0" anchor="b" anchorCtr="0">
              <a:spAutoFit/>
            </a:bodyPr>
            <a:lstStyle/>
            <a:p>
              <a:pPr algn="ctr"/>
              <a:r>
                <a:rPr lang="en-US" sz="1800" b="1">
                  <a:solidFill>
                    <a:srgbClr val="66CC33"/>
                  </a:solidFill>
                  <a:ea typeface="+mj-ea"/>
                  <a:cs typeface="+mj-cs"/>
                </a:rPr>
                <a:t>Environmental protection</a:t>
              </a:r>
              <a:endParaRPr lang="en-US" sz="1800" b="1">
                <a:solidFill>
                  <a:srgbClr val="66CC33"/>
                </a:solidFill>
                <a:latin typeface="Arial Narrow" pitchFamily="34" charset="0"/>
                <a:ea typeface="+mj-ea"/>
                <a:cs typeface="+mj-cs"/>
              </a:endParaRPr>
            </a:p>
          </p:txBody>
        </p:sp>
        <p:cxnSp>
          <p:nvCxnSpPr>
            <p:cNvPr id="21" name="Straight Connector 1186">
              <a:extLst>
                <a:ext uri="{FF2B5EF4-FFF2-40B4-BE49-F238E27FC236}">
                  <a16:creationId xmlns:a16="http://schemas.microsoft.com/office/drawing/2014/main" id="{B0B02E8A-1A95-4272-B08C-09FDC86CC8D6}"/>
                </a:ext>
              </a:extLst>
            </p:cNvPr>
            <p:cNvCxnSpPr/>
            <p:nvPr/>
          </p:nvCxnSpPr>
          <p:spPr>
            <a:xfrm flipH="1">
              <a:off x="8353233" y="1633032"/>
              <a:ext cx="3024000" cy="0"/>
            </a:xfrm>
            <a:prstGeom prst="line">
              <a:avLst/>
            </a:prstGeom>
            <a:ln w="28575">
              <a:solidFill>
                <a:srgbClr val="66CC33"/>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
            <a:extLst>
              <a:ext uri="{FF2B5EF4-FFF2-40B4-BE49-F238E27FC236}">
                <a16:creationId xmlns:a16="http://schemas.microsoft.com/office/drawing/2014/main" id="{FE74F084-83B6-4C03-8045-128976FB5DA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t="226" b="226"/>
          <a:stretch/>
        </p:blipFill>
        <p:spPr bwMode="auto">
          <a:xfrm>
            <a:off x="832812" y="3422147"/>
            <a:ext cx="2412000" cy="1484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3">
            <a:extLst>
              <a:ext uri="{FF2B5EF4-FFF2-40B4-BE49-F238E27FC236}">
                <a16:creationId xmlns:a16="http://schemas.microsoft.com/office/drawing/2014/main" id="{5ADC7D93-C02D-4287-9755-EC9A18F04F2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t="105" b="105"/>
          <a:stretch/>
        </p:blipFill>
        <p:spPr bwMode="auto">
          <a:xfrm>
            <a:off x="6242396" y="3422146"/>
            <a:ext cx="2412000" cy="1488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6">
            <a:extLst>
              <a:ext uri="{FF2B5EF4-FFF2-40B4-BE49-F238E27FC236}">
                <a16:creationId xmlns:a16="http://schemas.microsoft.com/office/drawing/2014/main" id="{A9207343-7E1E-47DB-84BA-BFDA434C8E8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3537604" y="3428574"/>
            <a:ext cx="2412000" cy="14914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Grafik 21">
            <a:extLst>
              <a:ext uri="{FF2B5EF4-FFF2-40B4-BE49-F238E27FC236}">
                <a16:creationId xmlns:a16="http://schemas.microsoft.com/office/drawing/2014/main" id="{7887913A-1AC2-4359-A6BA-AA1B1EFA71BC}"/>
              </a:ext>
            </a:extLst>
          </p:cNvPr>
          <p:cNvPicPr>
            <a:picLocks noChangeAspect="1"/>
          </p:cNvPicPr>
          <p:nvPr/>
        </p:nvPicPr>
        <p:blipFill>
          <a:blip r:embed="rId5" cstate="print">
            <a:extLst>
              <a:ext uri="{28A0092B-C50C-407E-A947-70E740481C1C}">
                <a14:useLocalDpi xmlns:a14="http://schemas.microsoft.com/office/drawing/2010/main" val="0"/>
              </a:ext>
            </a:extLst>
          </a:blip>
          <a:srcRect t="83" b="83"/>
          <a:stretch/>
        </p:blipFill>
        <p:spPr>
          <a:xfrm>
            <a:off x="8947188" y="3422056"/>
            <a:ext cx="2412000" cy="1488945"/>
          </a:xfrm>
          <a:prstGeom prst="rect">
            <a:avLst/>
          </a:prstGeom>
        </p:spPr>
      </p:pic>
      <p:sp>
        <p:nvSpPr>
          <p:cNvPr id="17" name="Rectangle 16">
            <a:extLst>
              <a:ext uri="{FF2B5EF4-FFF2-40B4-BE49-F238E27FC236}">
                <a16:creationId xmlns:a16="http://schemas.microsoft.com/office/drawing/2014/main" id="{60FFE7B9-DE95-8E2C-E328-89420D3FB8C2}"/>
              </a:ext>
            </a:extLst>
          </p:cNvPr>
          <p:cNvSpPr/>
          <p:nvPr/>
        </p:nvSpPr>
        <p:spPr>
          <a:xfrm>
            <a:off x="8815687" y="1004935"/>
            <a:ext cx="2700321" cy="4138901"/>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68166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Carbon Dioxide</a:t>
            </a:r>
            <a:br>
              <a:rPr lang="en-US" sz="7200"/>
            </a:br>
            <a:r>
              <a:rPr lang="en-US" sz="7200"/>
              <a:t>Sensors</a:t>
            </a:r>
          </a:p>
        </p:txBody>
      </p:sp>
    </p:spTree>
    <p:extLst>
      <p:ext uri="{BB962C8B-B14F-4D97-AF65-F5344CB8AC3E}">
        <p14:creationId xmlns:p14="http://schemas.microsoft.com/office/powerpoint/2010/main" val="36070326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65A954-844F-B199-C713-446D25FB2E93}"/>
              </a:ext>
            </a:extLst>
          </p:cNvPr>
          <p:cNvSpPr>
            <a:spLocks noGrp="1"/>
          </p:cNvSpPr>
          <p:nvPr>
            <p:ph type="title"/>
          </p:nvPr>
        </p:nvSpPr>
        <p:spPr/>
        <p:txBody>
          <a:bodyPr/>
          <a:lstStyle/>
          <a:p>
            <a:r>
              <a:rPr lang="en-US" dirty="0"/>
              <a:t>Why Measure CO</a:t>
            </a:r>
            <a:r>
              <a:rPr lang="en-US" baseline="-25000" dirty="0"/>
              <a:t>2 </a:t>
            </a:r>
            <a:r>
              <a:rPr lang="en-US" dirty="0"/>
              <a:t>Concentration?</a:t>
            </a:r>
          </a:p>
        </p:txBody>
      </p:sp>
      <p:grpSp>
        <p:nvGrpSpPr>
          <p:cNvPr id="5" name="Group 4">
            <a:extLst>
              <a:ext uri="{FF2B5EF4-FFF2-40B4-BE49-F238E27FC236}">
                <a16:creationId xmlns:a16="http://schemas.microsoft.com/office/drawing/2014/main" id="{1B159FFE-5B73-E4C7-1AF0-33407B723AF5}"/>
              </a:ext>
            </a:extLst>
          </p:cNvPr>
          <p:cNvGrpSpPr/>
          <p:nvPr/>
        </p:nvGrpSpPr>
        <p:grpSpPr>
          <a:xfrm>
            <a:off x="3587736" y="1677658"/>
            <a:ext cx="4327725" cy="3502684"/>
            <a:chOff x="312739" y="2353010"/>
            <a:chExt cx="4671334" cy="3780787"/>
          </a:xfrm>
        </p:grpSpPr>
        <p:pic>
          <p:nvPicPr>
            <p:cNvPr id="6" name="Grafik 9">
              <a:extLst>
                <a:ext uri="{FF2B5EF4-FFF2-40B4-BE49-F238E27FC236}">
                  <a16:creationId xmlns:a16="http://schemas.microsoft.com/office/drawing/2014/main" id="{BE573465-B732-9449-8111-B03E8AA48A8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5937" t="23880" r="41733" b="40499"/>
            <a:stretch/>
          </p:blipFill>
          <p:spPr>
            <a:xfrm>
              <a:off x="1725258" y="3186735"/>
              <a:ext cx="1687300" cy="1516947"/>
            </a:xfrm>
            <a:prstGeom prst="rect">
              <a:avLst/>
            </a:prstGeom>
          </p:spPr>
        </p:pic>
        <p:pic>
          <p:nvPicPr>
            <p:cNvPr id="7" name="Grafik 9">
              <a:extLst>
                <a:ext uri="{FF2B5EF4-FFF2-40B4-BE49-F238E27FC236}">
                  <a16:creationId xmlns:a16="http://schemas.microsoft.com/office/drawing/2014/main" id="{343FBA7E-A5D3-7D85-47CC-3C8BCF01F88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6843" t="52262"/>
            <a:stretch/>
          </p:blipFill>
          <p:spPr>
            <a:xfrm>
              <a:off x="3296773" y="3744027"/>
              <a:ext cx="1687300" cy="1960389"/>
            </a:xfrm>
            <a:prstGeom prst="rect">
              <a:avLst/>
            </a:prstGeom>
          </p:spPr>
        </p:pic>
        <p:pic>
          <p:nvPicPr>
            <p:cNvPr id="8" name="Grafik 9">
              <a:extLst>
                <a:ext uri="{FF2B5EF4-FFF2-40B4-BE49-F238E27FC236}">
                  <a16:creationId xmlns:a16="http://schemas.microsoft.com/office/drawing/2014/main" id="{06A9BA03-1734-B9C1-8B0B-D8B7E16965D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7290" r="18743" b="58325"/>
            <a:stretch/>
          </p:blipFill>
          <p:spPr>
            <a:xfrm>
              <a:off x="3296773" y="2353010"/>
              <a:ext cx="1584565" cy="1554098"/>
            </a:xfrm>
            <a:prstGeom prst="rect">
              <a:avLst/>
            </a:prstGeom>
          </p:spPr>
        </p:pic>
        <p:pic>
          <p:nvPicPr>
            <p:cNvPr id="9" name="Grafik 9">
              <a:extLst>
                <a:ext uri="{FF2B5EF4-FFF2-40B4-BE49-F238E27FC236}">
                  <a16:creationId xmlns:a16="http://schemas.microsoft.com/office/drawing/2014/main" id="{A698AEEE-BCCD-106D-CB3A-3BE1E2925A9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1249" t="61150" r="53786"/>
            <a:stretch/>
          </p:blipFill>
          <p:spPr>
            <a:xfrm>
              <a:off x="861168" y="4685024"/>
              <a:ext cx="1650590" cy="1448773"/>
            </a:xfrm>
            <a:prstGeom prst="rect">
              <a:avLst/>
            </a:prstGeom>
          </p:spPr>
        </p:pic>
        <p:pic>
          <p:nvPicPr>
            <p:cNvPr id="10" name="Grafik 14">
              <a:extLst>
                <a:ext uri="{FF2B5EF4-FFF2-40B4-BE49-F238E27FC236}">
                  <a16:creationId xmlns:a16="http://schemas.microsoft.com/office/drawing/2014/main" id="{A572F358-BC84-7BB1-6DEC-18EB7E81A69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3075" r="75937" b="40651"/>
            <a:stretch/>
          </p:blipFill>
          <p:spPr>
            <a:xfrm>
              <a:off x="312739" y="2861735"/>
              <a:ext cx="1590942" cy="1725620"/>
            </a:xfrm>
            <a:prstGeom prst="rect">
              <a:avLst/>
            </a:prstGeom>
          </p:spPr>
        </p:pic>
      </p:grpSp>
      <p:pic>
        <p:nvPicPr>
          <p:cNvPr id="11" name="Picture 14" descr="Glyph Icon Mental Performance Cognitive Performance Stock Vector (Royalty  Free) 1015640962">
            <a:extLst>
              <a:ext uri="{FF2B5EF4-FFF2-40B4-BE49-F238E27FC236}">
                <a16:creationId xmlns:a16="http://schemas.microsoft.com/office/drawing/2014/main" id="{2C719AD3-C29F-D31D-6347-D983C1571AC1}"/>
              </a:ext>
            </a:extLst>
          </p:cNvPr>
          <p:cNvPicPr>
            <a:picLocks noChangeAspect="1" noChangeArrowheads="1"/>
          </p:cNvPicPr>
          <p:nvPr/>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b="7359"/>
          <a:stretch/>
        </p:blipFill>
        <p:spPr bwMode="auto">
          <a:xfrm>
            <a:off x="2366648" y="4609428"/>
            <a:ext cx="1575466" cy="16545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Image result for headache icon">
            <a:extLst>
              <a:ext uri="{FF2B5EF4-FFF2-40B4-BE49-F238E27FC236}">
                <a16:creationId xmlns:a16="http://schemas.microsoft.com/office/drawing/2014/main" id="{F5FD80AD-6214-E380-B4D7-94A36AB53E1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494" r="5874"/>
          <a:stretch/>
        </p:blipFill>
        <p:spPr bwMode="auto">
          <a:xfrm>
            <a:off x="2750068" y="1889731"/>
            <a:ext cx="660410" cy="648640"/>
          </a:xfrm>
          <a:prstGeom prst="rect">
            <a:avLst/>
          </a:prstGeom>
          <a:noFill/>
          <a:ln w="28575">
            <a:noFill/>
          </a:ln>
          <a:extLst>
            <a:ext uri="{909E8E84-426E-40DD-AFC4-6F175D3DCCD1}">
              <a14:hiddenFill xmlns:a14="http://schemas.microsoft.com/office/drawing/2010/main">
                <a:solidFill>
                  <a:srgbClr val="FFFFFF"/>
                </a:solidFill>
              </a14:hiddenFill>
            </a:ext>
          </a:extLst>
        </p:spPr>
      </p:pic>
      <p:pic>
        <p:nvPicPr>
          <p:cNvPr id="14" name="Picture 2" descr="Image result for tired icon">
            <a:extLst>
              <a:ext uri="{FF2B5EF4-FFF2-40B4-BE49-F238E27FC236}">
                <a16:creationId xmlns:a16="http://schemas.microsoft.com/office/drawing/2014/main" id="{94E09EB0-79AB-0AF7-971D-AB739EF7F8C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18295" y="1935824"/>
            <a:ext cx="602547" cy="602547"/>
          </a:xfrm>
          <a:prstGeom prst="rect">
            <a:avLst/>
          </a:prstGeom>
          <a:noFill/>
          <a:ln w="28575">
            <a:noFill/>
          </a:ln>
          <a:extLst>
            <a:ext uri="{909E8E84-426E-40DD-AFC4-6F175D3DCCD1}">
              <a14:hiddenFill xmlns:a14="http://schemas.microsoft.com/office/drawing/2010/main">
                <a:solidFill>
                  <a:srgbClr val="FFFFFF"/>
                </a:solidFill>
              </a14:hiddenFill>
            </a:ext>
          </a:extLst>
        </p:spPr>
      </p:pic>
      <p:pic>
        <p:nvPicPr>
          <p:cNvPr id="15" name="Grafik 6" descr="Ein Bild, das Zeichnung enthält.&#10;&#10;Automatisch generierte Beschreibung">
            <a:extLst>
              <a:ext uri="{FF2B5EF4-FFF2-40B4-BE49-F238E27FC236}">
                <a16:creationId xmlns:a16="http://schemas.microsoft.com/office/drawing/2014/main" id="{E3DC6638-C3AA-B780-4E0F-7E30FA0885C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28647"/>
          <a:stretch/>
        </p:blipFill>
        <p:spPr>
          <a:xfrm>
            <a:off x="749771" y="1507700"/>
            <a:ext cx="3233754" cy="476712"/>
          </a:xfrm>
          <a:prstGeom prst="rect">
            <a:avLst/>
          </a:prstGeom>
        </p:spPr>
      </p:pic>
      <p:pic>
        <p:nvPicPr>
          <p:cNvPr id="16" name="Picture 15">
            <a:extLst>
              <a:ext uri="{FF2B5EF4-FFF2-40B4-BE49-F238E27FC236}">
                <a16:creationId xmlns:a16="http://schemas.microsoft.com/office/drawing/2014/main" id="{27E6C529-7371-5B1C-4B1A-310FC0D2008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95436" y="3275629"/>
            <a:ext cx="1197642" cy="1197642"/>
          </a:xfrm>
          <a:prstGeom prst="rect">
            <a:avLst/>
          </a:prstGeom>
        </p:spPr>
      </p:pic>
      <p:pic>
        <p:nvPicPr>
          <p:cNvPr id="17" name="Picture 2" descr="Demand Control Ventilation - Business - Union Gas">
            <a:extLst>
              <a:ext uri="{FF2B5EF4-FFF2-40B4-BE49-F238E27FC236}">
                <a16:creationId xmlns:a16="http://schemas.microsoft.com/office/drawing/2014/main" id="{A8E61137-C523-B7AB-F2F1-2C557CE58155}"/>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1615" r="23953"/>
          <a:stretch/>
        </p:blipFill>
        <p:spPr bwMode="auto">
          <a:xfrm>
            <a:off x="7176100" y="4438316"/>
            <a:ext cx="2535997" cy="19967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D7C2A059-197B-B3A5-1983-58611F8B0115}"/>
              </a:ext>
            </a:extLst>
          </p:cNvPr>
          <p:cNvPicPr>
            <a:picLocks noChangeAspect="1"/>
          </p:cNvPicPr>
          <p:nvPr/>
        </p:nvPicPr>
        <p:blipFill>
          <a:blip r:embed="rId13"/>
          <a:stretch>
            <a:fillRect/>
          </a:stretch>
        </p:blipFill>
        <p:spPr>
          <a:xfrm>
            <a:off x="8464107" y="1555857"/>
            <a:ext cx="1947208" cy="1345841"/>
          </a:xfrm>
          <a:prstGeom prst="rect">
            <a:avLst/>
          </a:prstGeom>
        </p:spPr>
      </p:pic>
      <p:pic>
        <p:nvPicPr>
          <p:cNvPr id="19" name="Picture 18">
            <a:extLst>
              <a:ext uri="{FF2B5EF4-FFF2-40B4-BE49-F238E27FC236}">
                <a16:creationId xmlns:a16="http://schemas.microsoft.com/office/drawing/2014/main" id="{CB0E9C2B-A698-2682-84E9-09BBE84A506F}"/>
              </a:ext>
            </a:extLst>
          </p:cNvPr>
          <p:cNvPicPr>
            <a:picLocks noChangeAspect="1"/>
          </p:cNvPicPr>
          <p:nvPr/>
        </p:nvPicPr>
        <p:blipFill>
          <a:blip r:embed="rId14"/>
          <a:stretch>
            <a:fillRect/>
          </a:stretch>
        </p:blipFill>
        <p:spPr>
          <a:xfrm>
            <a:off x="7472944" y="570368"/>
            <a:ext cx="971153" cy="937332"/>
          </a:xfrm>
          <a:prstGeom prst="rect">
            <a:avLst/>
          </a:prstGeom>
        </p:spPr>
      </p:pic>
    </p:spTree>
    <p:extLst>
      <p:ext uri="{BB962C8B-B14F-4D97-AF65-F5344CB8AC3E}">
        <p14:creationId xmlns:p14="http://schemas.microsoft.com/office/powerpoint/2010/main" val="8582064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a:t>Viral </a:t>
            </a:r>
            <a:r>
              <a:rPr lang="de-CH" err="1"/>
              <a:t>Infections</a:t>
            </a:r>
            <a:r>
              <a:rPr lang="de-CH"/>
              <a:t>: Source and Impact </a:t>
            </a:r>
            <a:r>
              <a:rPr lang="de-CH" err="1"/>
              <a:t>of</a:t>
            </a:r>
            <a:r>
              <a:rPr lang="de-CH"/>
              <a:t> CO</a:t>
            </a:r>
            <a:r>
              <a:rPr lang="de-CH" baseline="-25000"/>
              <a:t>2</a:t>
            </a:r>
            <a:endParaRPr lang="en-US"/>
          </a:p>
        </p:txBody>
      </p:sp>
      <p:grpSp>
        <p:nvGrpSpPr>
          <p:cNvPr id="3" name="Group 2"/>
          <p:cNvGrpSpPr/>
          <p:nvPr/>
        </p:nvGrpSpPr>
        <p:grpSpPr>
          <a:xfrm>
            <a:off x="879885" y="1014650"/>
            <a:ext cx="2423949" cy="4937071"/>
            <a:chOff x="-1701173" y="607375"/>
            <a:chExt cx="2423949" cy="4937071"/>
          </a:xfrm>
        </p:grpSpPr>
        <p:grpSp>
          <p:nvGrpSpPr>
            <p:cNvPr id="27" name="Group 26"/>
            <p:cNvGrpSpPr/>
            <p:nvPr/>
          </p:nvGrpSpPr>
          <p:grpSpPr>
            <a:xfrm>
              <a:off x="-1361533" y="2546114"/>
              <a:ext cx="1744668" cy="2041224"/>
              <a:chOff x="828244" y="2475601"/>
              <a:chExt cx="1744668" cy="2041224"/>
            </a:xfrm>
          </p:grpSpPr>
          <p:pic>
            <p:nvPicPr>
              <p:cNvPr id="4" name="Picture 10" descr="Image result for odor ic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828244" y="2950918"/>
                <a:ext cx="1263159" cy="119582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Image result for co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91645" y="4200501"/>
                <a:ext cx="481267" cy="31632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Structural formula of carbon dioxide with bond length"/>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2684" b="48020"/>
              <a:stretch/>
            </p:blipFill>
            <p:spPr bwMode="auto">
              <a:xfrm rot="20634998">
                <a:off x="1556829" y="2475601"/>
                <a:ext cx="924205" cy="22008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Image result for co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3644827">
                <a:off x="1895462" y="3819611"/>
                <a:ext cx="353472" cy="23232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mage result for co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0074845">
                <a:off x="1900906" y="2681643"/>
                <a:ext cx="615018" cy="404235"/>
              </a:xfrm>
              <a:prstGeom prst="rect">
                <a:avLst/>
              </a:prstGeom>
              <a:noFill/>
              <a:extLst>
                <a:ext uri="{909E8E84-426E-40DD-AFC4-6F175D3DCCD1}">
                  <a14:hiddenFill xmlns:a14="http://schemas.microsoft.com/office/drawing/2010/main">
                    <a:solidFill>
                      <a:srgbClr val="FFFFFF"/>
                    </a:solidFill>
                  </a14:hiddenFill>
                </a:ext>
              </a:extLst>
            </p:spPr>
          </p:pic>
        </p:grpSp>
        <p:sp>
          <p:nvSpPr>
            <p:cNvPr id="2049" name="Rectangle 2048"/>
            <p:cNvSpPr/>
            <p:nvPr/>
          </p:nvSpPr>
          <p:spPr>
            <a:xfrm>
              <a:off x="-1701173" y="607375"/>
              <a:ext cx="2423949" cy="4937071"/>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Narrow"/>
                  <a:ea typeface="+mn-ea"/>
                  <a:cs typeface="+mn-cs"/>
                </a:rPr>
                <a:t>Humans increase CO2 concentration in confined spaces</a:t>
              </a:r>
            </a:p>
          </p:txBody>
        </p:sp>
      </p:grpSp>
      <p:grpSp>
        <p:nvGrpSpPr>
          <p:cNvPr id="9" name="Group 8"/>
          <p:cNvGrpSpPr/>
          <p:nvPr/>
        </p:nvGrpSpPr>
        <p:grpSpPr>
          <a:xfrm>
            <a:off x="3490134" y="998537"/>
            <a:ext cx="4918714" cy="4953184"/>
            <a:chOff x="3490134" y="998537"/>
            <a:chExt cx="4918714" cy="4953184"/>
          </a:xfrm>
        </p:grpSpPr>
        <p:sp>
          <p:nvSpPr>
            <p:cNvPr id="43" name="Rectangle 42"/>
            <p:cNvSpPr/>
            <p:nvPr/>
          </p:nvSpPr>
          <p:spPr>
            <a:xfrm>
              <a:off x="4023281" y="1014650"/>
              <a:ext cx="4385567" cy="4937071"/>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Narrow"/>
                  <a:ea typeface="+mn-ea"/>
                  <a:cs typeface="+mn-cs"/>
                </a:rPr>
                <a:t>Viral particles are attached to water droplets exhaled along with CO2</a:t>
              </a:r>
            </a:p>
          </p:txBody>
        </p:sp>
        <p:sp>
          <p:nvSpPr>
            <p:cNvPr id="44" name="Isosceles Triangle 43"/>
            <p:cNvSpPr/>
            <p:nvPr/>
          </p:nvSpPr>
          <p:spPr>
            <a:xfrm rot="5400000">
              <a:off x="1190494" y="3298177"/>
              <a:ext cx="4937070" cy="337790"/>
            </a:xfrm>
            <a:prstGeom prst="triangle">
              <a:avLst/>
            </a:prstGeom>
            <a:gradFill>
              <a:gsLst>
                <a:gs pos="7000">
                  <a:schemeClr val="accent1">
                    <a:lumMod val="5000"/>
                    <a:lumOff val="95000"/>
                  </a:schemeClr>
                </a:gs>
                <a:gs pos="60000">
                  <a:schemeClr val="accent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grpSp>
      <p:grpSp>
        <p:nvGrpSpPr>
          <p:cNvPr id="10" name="Group 9"/>
          <p:cNvGrpSpPr/>
          <p:nvPr/>
        </p:nvGrpSpPr>
        <p:grpSpPr>
          <a:xfrm>
            <a:off x="8557285" y="982424"/>
            <a:ext cx="2891617" cy="4969297"/>
            <a:chOff x="8557285" y="982424"/>
            <a:chExt cx="2891617" cy="4969297"/>
          </a:xfrm>
        </p:grpSpPr>
        <p:sp>
          <p:nvSpPr>
            <p:cNvPr id="32" name="Rectangle 31"/>
            <p:cNvSpPr/>
            <p:nvPr/>
          </p:nvSpPr>
          <p:spPr>
            <a:xfrm>
              <a:off x="9024953" y="982424"/>
              <a:ext cx="2423949" cy="4969297"/>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Narrow"/>
                  <a:ea typeface="+mn-ea"/>
                  <a:cs typeface="+mn-cs"/>
                </a:rPr>
                <a:t>High CO</a:t>
              </a:r>
              <a:r>
                <a:rPr kumimoji="0" lang="en-US" sz="2000" b="1" i="0" u="none" strike="noStrike" kern="1200" cap="none" spc="0" normalizeH="0" baseline="-25000" noProof="0">
                  <a:ln>
                    <a:noFill/>
                  </a:ln>
                  <a:solidFill>
                    <a:srgbClr val="000000"/>
                  </a:solidFill>
                  <a:effectLst/>
                  <a:uLnTx/>
                  <a:uFillTx/>
                  <a:latin typeface="Arial Narrow"/>
                  <a:ea typeface="+mn-ea"/>
                  <a:cs typeface="+mn-cs"/>
                </a:rPr>
                <a:t>2 </a:t>
              </a:r>
              <a:r>
                <a:rPr kumimoji="0" lang="en-US" sz="2000" b="1" i="0" u="none" strike="noStrike" kern="1200" cap="none" spc="0" normalizeH="0" baseline="0" noProof="0">
                  <a:ln>
                    <a:noFill/>
                  </a:ln>
                  <a:solidFill>
                    <a:srgbClr val="000000"/>
                  </a:solidFill>
                  <a:effectLst/>
                  <a:uLnTx/>
                  <a:uFillTx/>
                  <a:latin typeface="Arial Narrow"/>
                  <a:ea typeface="+mn-ea"/>
                  <a:cs typeface="+mn-cs"/>
                </a:rPr>
                <a:t>levels can be an indication of airborne viruses</a:t>
              </a:r>
            </a:p>
          </p:txBody>
        </p:sp>
        <p:sp>
          <p:nvSpPr>
            <p:cNvPr id="45" name="Isosceles Triangle 44"/>
            <p:cNvSpPr/>
            <p:nvPr/>
          </p:nvSpPr>
          <p:spPr>
            <a:xfrm rot="5400000">
              <a:off x="6257645" y="3314290"/>
              <a:ext cx="4937070" cy="337790"/>
            </a:xfrm>
            <a:prstGeom prst="triangle">
              <a:avLst/>
            </a:prstGeom>
            <a:gradFill>
              <a:gsLst>
                <a:gs pos="7000">
                  <a:schemeClr val="accent1">
                    <a:lumMod val="5000"/>
                    <a:lumOff val="95000"/>
                  </a:schemeClr>
                </a:gs>
                <a:gs pos="60000">
                  <a:schemeClr val="accent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grpSp>
      <p:sp>
        <p:nvSpPr>
          <p:cNvPr id="50" name="Rectangle 49"/>
          <p:cNvSpPr/>
          <p:nvPr/>
        </p:nvSpPr>
        <p:spPr>
          <a:xfrm>
            <a:off x="372093" y="789403"/>
            <a:ext cx="2958199" cy="5388216"/>
          </a:xfrm>
          <a:prstGeom prst="rect">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pic>
        <p:nvPicPr>
          <p:cNvPr id="30" name="Picture 2">
            <a:extLst>
              <a:ext uri="{FF2B5EF4-FFF2-40B4-BE49-F238E27FC236}">
                <a16:creationId xmlns:a16="http://schemas.microsoft.com/office/drawing/2014/main" id="{F99D7AA0-D471-40A3-9F52-83DC1C10BDF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14570" y="2550613"/>
            <a:ext cx="2433817" cy="24440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Fig. 1">
            <a:extLst>
              <a:ext uri="{FF2B5EF4-FFF2-40B4-BE49-F238E27FC236}">
                <a16:creationId xmlns:a16="http://schemas.microsoft.com/office/drawing/2014/main" id="{6837C4C2-EB3F-472C-95D1-DADD2A5AB4D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47655" y="2345107"/>
            <a:ext cx="4130670" cy="2606939"/>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3370640" y="894080"/>
            <a:ext cx="5096393" cy="5388216"/>
          </a:xfrm>
          <a:prstGeom prst="rect">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18198882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p:cNvSpPr>
            <a:spLocks noGrp="1"/>
          </p:cNvSpPr>
          <p:nvPr>
            <p:ph type="body" sz="quarter" idx="10"/>
          </p:nvPr>
        </p:nvSpPr>
        <p:spPr>
          <a:xfrm>
            <a:off x="848931" y="917195"/>
            <a:ext cx="5592509" cy="5320093"/>
          </a:xfrm>
        </p:spPr>
        <p:txBody>
          <a:bodyPr/>
          <a:lstStyle/>
          <a:p>
            <a:pPr lvl="1"/>
            <a:r>
              <a:rPr lang="de-CH"/>
              <a:t>Minor Medical Symptoms</a:t>
            </a:r>
          </a:p>
          <a:p>
            <a:pPr lvl="2"/>
            <a:r>
              <a:rPr lang="de-CH" err="1"/>
              <a:t>Mood</a:t>
            </a:r>
            <a:r>
              <a:rPr lang="de-CH"/>
              <a:t> </a:t>
            </a:r>
            <a:r>
              <a:rPr lang="de-CH" err="1"/>
              <a:t>swings</a:t>
            </a:r>
            <a:r>
              <a:rPr lang="de-CH"/>
              <a:t>, </a:t>
            </a:r>
            <a:r>
              <a:rPr lang="de-CH" err="1"/>
              <a:t>anxiety</a:t>
            </a:r>
            <a:r>
              <a:rPr lang="de-CH"/>
              <a:t>, </a:t>
            </a:r>
            <a:r>
              <a:rPr lang="de-CH" err="1"/>
              <a:t>nausea</a:t>
            </a:r>
            <a:r>
              <a:rPr lang="de-CH"/>
              <a:t>, </a:t>
            </a:r>
            <a:r>
              <a:rPr lang="de-CH" err="1"/>
              <a:t>headaches</a:t>
            </a:r>
            <a:r>
              <a:rPr lang="de-CH"/>
              <a:t> </a:t>
            </a:r>
          </a:p>
          <a:p>
            <a:pPr lvl="2"/>
            <a:r>
              <a:rPr lang="de-CH" err="1"/>
              <a:t>Lethargy</a:t>
            </a:r>
            <a:r>
              <a:rPr lang="de-CH"/>
              <a:t> and </a:t>
            </a:r>
            <a:r>
              <a:rPr lang="de-CH" err="1"/>
              <a:t>drowsiness</a:t>
            </a:r>
            <a:endParaRPr lang="de-CH"/>
          </a:p>
          <a:p>
            <a:pPr lvl="2"/>
            <a:r>
              <a:rPr lang="de-CH" err="1"/>
              <a:t>Decreased</a:t>
            </a:r>
            <a:r>
              <a:rPr lang="de-CH"/>
              <a:t> </a:t>
            </a:r>
            <a:r>
              <a:rPr lang="de-CH" err="1"/>
              <a:t>cognitive</a:t>
            </a:r>
            <a:r>
              <a:rPr lang="de-CH"/>
              <a:t> </a:t>
            </a:r>
            <a:r>
              <a:rPr lang="de-CH" err="1"/>
              <a:t>ability</a:t>
            </a:r>
            <a:r>
              <a:rPr lang="de-CH"/>
              <a:t> (CO2 &gt; 750ppm)</a:t>
            </a:r>
          </a:p>
          <a:p>
            <a:pPr lvl="2"/>
            <a:endParaRPr lang="de-CH"/>
          </a:p>
          <a:p>
            <a:pPr lvl="1"/>
            <a:r>
              <a:rPr lang="de-CH"/>
              <a:t>Major Medical </a:t>
            </a:r>
            <a:r>
              <a:rPr lang="de-CH" err="1"/>
              <a:t>Threat</a:t>
            </a:r>
            <a:endParaRPr lang="de-CH"/>
          </a:p>
          <a:p>
            <a:pPr lvl="2"/>
            <a:r>
              <a:rPr lang="de-CH"/>
              <a:t>Studies </a:t>
            </a:r>
            <a:r>
              <a:rPr lang="de-CH" err="1"/>
              <a:t>revealing</a:t>
            </a:r>
            <a:r>
              <a:rPr lang="de-CH"/>
              <a:t> </a:t>
            </a:r>
            <a:r>
              <a:rPr lang="de-CH" err="1"/>
              <a:t>correlation</a:t>
            </a:r>
            <a:r>
              <a:rPr lang="de-CH"/>
              <a:t> </a:t>
            </a:r>
            <a:r>
              <a:rPr lang="de-CH" err="1"/>
              <a:t>between</a:t>
            </a:r>
            <a:r>
              <a:rPr lang="de-CH"/>
              <a:t> </a:t>
            </a:r>
            <a:r>
              <a:rPr lang="de-CH" err="1"/>
              <a:t>levels</a:t>
            </a:r>
            <a:r>
              <a:rPr lang="de-CH"/>
              <a:t> </a:t>
            </a:r>
            <a:r>
              <a:rPr lang="de-CH" err="1"/>
              <a:t>of</a:t>
            </a:r>
            <a:r>
              <a:rPr lang="de-CH"/>
              <a:t> </a:t>
            </a:r>
            <a:r>
              <a:rPr lang="de-CH" err="1"/>
              <a:t>exhaled</a:t>
            </a:r>
            <a:r>
              <a:rPr lang="de-CH"/>
              <a:t> CO2 and </a:t>
            </a:r>
            <a:r>
              <a:rPr lang="de-CH" err="1"/>
              <a:t>risk</a:t>
            </a:r>
            <a:r>
              <a:rPr lang="de-CH"/>
              <a:t> </a:t>
            </a:r>
            <a:r>
              <a:rPr lang="de-CH" err="1"/>
              <a:t>of</a:t>
            </a:r>
            <a:r>
              <a:rPr lang="de-CH"/>
              <a:t> </a:t>
            </a:r>
            <a:r>
              <a:rPr lang="de-CH" err="1"/>
              <a:t>catching</a:t>
            </a:r>
            <a:r>
              <a:rPr lang="de-CH"/>
              <a:t> COVID-19</a:t>
            </a:r>
          </a:p>
          <a:p>
            <a:pPr marL="0" lvl="1" indent="0">
              <a:buNone/>
            </a:pPr>
            <a:endParaRPr lang="de-CH"/>
          </a:p>
          <a:p>
            <a:endParaRPr lang="de-CH"/>
          </a:p>
          <a:p>
            <a:endParaRPr lang="de-CH"/>
          </a:p>
          <a:p>
            <a:endParaRPr lang="de-CH"/>
          </a:p>
          <a:p>
            <a:endParaRPr lang="de-CH"/>
          </a:p>
          <a:p>
            <a:endParaRPr lang="de-CH"/>
          </a:p>
          <a:p>
            <a:endParaRPr lang="en-US"/>
          </a:p>
        </p:txBody>
      </p:sp>
      <p:sp>
        <p:nvSpPr>
          <p:cNvPr id="5" name="Titel 1"/>
          <p:cNvSpPr>
            <a:spLocks noGrp="1"/>
          </p:cNvSpPr>
          <p:nvPr>
            <p:ph type="title"/>
          </p:nvPr>
        </p:nvSpPr>
        <p:spPr/>
        <p:txBody>
          <a:bodyPr/>
          <a:lstStyle/>
          <a:p>
            <a:r>
              <a:rPr lang="en-US"/>
              <a:t>Measuring CO</a:t>
            </a:r>
            <a:r>
              <a:rPr lang="en-US" baseline="-25000"/>
              <a:t>2</a:t>
            </a:r>
            <a:r>
              <a:rPr lang="en-US"/>
              <a:t> Levels to Reflect Medical Risks</a:t>
            </a:r>
          </a:p>
        </p:txBody>
      </p:sp>
      <p:pic>
        <p:nvPicPr>
          <p:cNvPr id="3074" name="Picture 2">
            <a:extLst>
              <a:ext uri="{FF2B5EF4-FFF2-40B4-BE49-F238E27FC236}">
                <a16:creationId xmlns:a16="http://schemas.microsoft.com/office/drawing/2014/main" id="{866E44A1-FCBE-4D35-8212-D51E5D85CB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5988" y="3515267"/>
            <a:ext cx="4110871" cy="277894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1B3481ED-C0A3-489C-9712-8784CA7704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5989" y="951015"/>
            <a:ext cx="4110871" cy="2828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73854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sirion CO</a:t>
            </a:r>
            <a:r>
              <a:rPr lang="en-US" baseline="-25000" dirty="0"/>
              <a:t>2 </a:t>
            </a:r>
            <a:r>
              <a:rPr lang="en-US" dirty="0"/>
              <a:t>Sensor Portfolio </a:t>
            </a:r>
          </a:p>
        </p:txBody>
      </p:sp>
      <p:grpSp>
        <p:nvGrpSpPr>
          <p:cNvPr id="3" name="Group 2"/>
          <p:cNvGrpSpPr/>
          <p:nvPr/>
        </p:nvGrpSpPr>
        <p:grpSpPr>
          <a:xfrm>
            <a:off x="475635" y="1117579"/>
            <a:ext cx="11406565" cy="1077975"/>
            <a:chOff x="722647" y="4214363"/>
            <a:chExt cx="11406565" cy="1077975"/>
          </a:xfrm>
        </p:grpSpPr>
        <p:pic>
          <p:nvPicPr>
            <p:cNvPr id="6" name="Picture 5"/>
            <p:cNvPicPr>
              <a:picLocks noChangeAspect="1"/>
            </p:cNvPicPr>
            <p:nvPr/>
          </p:nvPicPr>
          <p:blipFill>
            <a:blip r:embed="rId2"/>
            <a:stretch>
              <a:fillRect/>
            </a:stretch>
          </p:blipFill>
          <p:spPr>
            <a:xfrm>
              <a:off x="10949442" y="4214363"/>
              <a:ext cx="1179770" cy="723318"/>
            </a:xfrm>
            <a:prstGeom prst="rect">
              <a:avLst/>
            </a:prstGeom>
          </p:spPr>
        </p:pic>
        <p:sp>
          <p:nvSpPr>
            <p:cNvPr id="2055" name="Rectangle 2054"/>
            <p:cNvSpPr/>
            <p:nvPr/>
          </p:nvSpPr>
          <p:spPr>
            <a:xfrm>
              <a:off x="1147282" y="4828740"/>
              <a:ext cx="6293814" cy="415808"/>
            </a:xfrm>
            <a:prstGeom prst="rect">
              <a:avLst/>
            </a:prstGeom>
            <a:gradFill>
              <a:gsLst>
                <a:gs pos="4000">
                  <a:schemeClr val="bg1"/>
                </a:gs>
                <a:gs pos="26000">
                  <a:schemeClr val="accent1"/>
                </a:gs>
                <a:gs pos="76000">
                  <a:schemeClr val="accent1"/>
                </a:gs>
                <a:gs pos="99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D30 / SCD4x</a:t>
              </a:r>
            </a:p>
          </p:txBody>
        </p:sp>
        <p:sp>
          <p:nvSpPr>
            <p:cNvPr id="50" name="Rectangle 49"/>
            <p:cNvSpPr/>
            <p:nvPr/>
          </p:nvSpPr>
          <p:spPr>
            <a:xfrm>
              <a:off x="6900701" y="4318355"/>
              <a:ext cx="3976170" cy="415808"/>
            </a:xfrm>
            <a:prstGeom prst="rect">
              <a:avLst/>
            </a:prstGeom>
            <a:gradFill>
              <a:gsLst>
                <a:gs pos="4000">
                  <a:schemeClr val="bg1"/>
                </a:gs>
                <a:gs pos="31000">
                  <a:schemeClr val="bg1">
                    <a:lumMod val="6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C31</a:t>
              </a:r>
            </a:p>
          </p:txBody>
        </p:sp>
        <p:pic>
          <p:nvPicPr>
            <p:cNvPr id="51"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l="10844"/>
            <a:stretch/>
          </p:blipFill>
          <p:spPr>
            <a:xfrm>
              <a:off x="722647" y="4656558"/>
              <a:ext cx="763519" cy="635780"/>
            </a:xfrm>
            <a:prstGeom prst="rect">
              <a:avLst/>
            </a:prstGeom>
          </p:spPr>
        </p:pic>
      </p:grpSp>
      <p:grpSp>
        <p:nvGrpSpPr>
          <p:cNvPr id="7" name="Group 6">
            <a:extLst>
              <a:ext uri="{FF2B5EF4-FFF2-40B4-BE49-F238E27FC236}">
                <a16:creationId xmlns:a16="http://schemas.microsoft.com/office/drawing/2014/main" id="{C7AF7F5B-F741-DEA6-05BD-C6DC97F55A9A}"/>
              </a:ext>
            </a:extLst>
          </p:cNvPr>
          <p:cNvGrpSpPr/>
          <p:nvPr/>
        </p:nvGrpSpPr>
        <p:grpSpPr>
          <a:xfrm>
            <a:off x="657034" y="4024606"/>
            <a:ext cx="2198184" cy="1708954"/>
            <a:chOff x="1045242" y="3619113"/>
            <a:chExt cx="2834640" cy="1708954"/>
          </a:xfrm>
        </p:grpSpPr>
        <p:sp>
          <p:nvSpPr>
            <p:cNvPr id="13" name="Rectangle: Rounded Corners 49">
              <a:extLst>
                <a:ext uri="{FF2B5EF4-FFF2-40B4-BE49-F238E27FC236}">
                  <a16:creationId xmlns:a16="http://schemas.microsoft.com/office/drawing/2014/main" id="{AF5D60D9-7E05-D63E-031A-E59C1368F892}"/>
                </a:ext>
              </a:extLst>
            </p:cNvPr>
            <p:cNvSpPr/>
            <p:nvPr/>
          </p:nvSpPr>
          <p:spPr>
            <a:xfrm>
              <a:off x="1045242" y="3619113"/>
              <a:ext cx="2834640" cy="1708954"/>
            </a:xfrm>
            <a:prstGeom prst="roundRect">
              <a:avLst>
                <a:gd name="adj" fmla="val 3574"/>
              </a:avLst>
            </a:prstGeom>
            <a:solidFill>
              <a:schemeClr val="bg1"/>
            </a:solidFill>
            <a:ln w="28575">
              <a:solidFill>
                <a:schemeClr val="accent1"/>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5FEA01DF-8184-B5C2-F9CD-3F3F40F61799}"/>
                </a:ext>
              </a:extLst>
            </p:cNvPr>
            <p:cNvSpPr txBox="1"/>
            <p:nvPr/>
          </p:nvSpPr>
          <p:spPr>
            <a:xfrm>
              <a:off x="1170940" y="3726312"/>
              <a:ext cx="2572991" cy="523220"/>
            </a:xfrm>
            <a:prstGeom prst="rect">
              <a:avLst/>
            </a:prstGeom>
            <a:noFill/>
          </p:spPr>
          <p:txBody>
            <a:bodyPr wrap="square" rtlCol="0">
              <a:spAutoFit/>
            </a:bodyPr>
            <a:lstStyle/>
            <a:p>
              <a:pPr algn="ctr"/>
              <a:r>
                <a:rPr lang="en-US" sz="1400" b="1" dirty="0"/>
                <a:t>HVAC / Demand-Controlled Ventilation</a:t>
              </a:r>
            </a:p>
          </p:txBody>
        </p:sp>
        <p:pic>
          <p:nvPicPr>
            <p:cNvPr id="15" name="Picture 14">
              <a:extLst>
                <a:ext uri="{FF2B5EF4-FFF2-40B4-BE49-F238E27FC236}">
                  <a16:creationId xmlns:a16="http://schemas.microsoft.com/office/drawing/2014/main" id="{F75A479C-29DB-7824-A55D-49B0EAD50B9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2500" b="10732"/>
            <a:stretch/>
          </p:blipFill>
          <p:spPr>
            <a:xfrm>
              <a:off x="1637475" y="4103124"/>
              <a:ext cx="1573420" cy="1207881"/>
            </a:xfrm>
            <a:prstGeom prst="rect">
              <a:avLst/>
            </a:prstGeom>
          </p:spPr>
        </p:pic>
      </p:grpSp>
      <p:grpSp>
        <p:nvGrpSpPr>
          <p:cNvPr id="4" name="Group 3">
            <a:extLst>
              <a:ext uri="{FF2B5EF4-FFF2-40B4-BE49-F238E27FC236}">
                <a16:creationId xmlns:a16="http://schemas.microsoft.com/office/drawing/2014/main" id="{A5609214-B53F-DC57-9B93-4241033A7505}"/>
              </a:ext>
            </a:extLst>
          </p:cNvPr>
          <p:cNvGrpSpPr/>
          <p:nvPr/>
        </p:nvGrpSpPr>
        <p:grpSpPr>
          <a:xfrm>
            <a:off x="3537716" y="4034382"/>
            <a:ext cx="2215149" cy="1744912"/>
            <a:chOff x="4682210" y="3619113"/>
            <a:chExt cx="2915922" cy="1744912"/>
          </a:xfrm>
        </p:grpSpPr>
        <p:sp>
          <p:nvSpPr>
            <p:cNvPr id="16" name="Rectangle: Rounded Corners 49">
              <a:extLst>
                <a:ext uri="{FF2B5EF4-FFF2-40B4-BE49-F238E27FC236}">
                  <a16:creationId xmlns:a16="http://schemas.microsoft.com/office/drawing/2014/main" id="{04CFA1BE-C39A-5189-01C2-8C9D7D40398D}"/>
                </a:ext>
              </a:extLst>
            </p:cNvPr>
            <p:cNvSpPr/>
            <p:nvPr/>
          </p:nvSpPr>
          <p:spPr>
            <a:xfrm>
              <a:off x="4709312" y="3619113"/>
              <a:ext cx="2888820" cy="1708954"/>
            </a:xfrm>
            <a:prstGeom prst="roundRect">
              <a:avLst>
                <a:gd name="adj" fmla="val 3574"/>
              </a:avLst>
            </a:prstGeom>
            <a:solidFill>
              <a:schemeClr val="bg1"/>
            </a:solidFill>
            <a:ln w="28575">
              <a:solidFill>
                <a:schemeClr val="accent1"/>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4059B351-DA61-7630-E2FC-3E1869B5909D}"/>
                </a:ext>
              </a:extLst>
            </p:cNvPr>
            <p:cNvSpPr txBox="1"/>
            <p:nvPr/>
          </p:nvSpPr>
          <p:spPr>
            <a:xfrm>
              <a:off x="4682210" y="3726312"/>
              <a:ext cx="2834640" cy="307777"/>
            </a:xfrm>
            <a:prstGeom prst="rect">
              <a:avLst/>
            </a:prstGeom>
            <a:noFill/>
          </p:spPr>
          <p:txBody>
            <a:bodyPr wrap="square" rtlCol="0">
              <a:spAutoFit/>
            </a:bodyPr>
            <a:lstStyle/>
            <a:p>
              <a:pPr algn="ctr"/>
              <a:r>
                <a:rPr lang="en-US" sz="1400" b="1" dirty="0"/>
                <a:t>Indoor Air Quality Monitor</a:t>
              </a:r>
            </a:p>
          </p:txBody>
        </p:sp>
        <p:pic>
          <p:nvPicPr>
            <p:cNvPr id="24" name="Picture 23">
              <a:extLst>
                <a:ext uri="{FF2B5EF4-FFF2-40B4-BE49-F238E27FC236}">
                  <a16:creationId xmlns:a16="http://schemas.microsoft.com/office/drawing/2014/main" id="{09A72F98-DE43-EA69-7DAE-1B4EAA2D4E8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92212" y="3895181"/>
              <a:ext cx="1468844" cy="1468844"/>
            </a:xfrm>
            <a:prstGeom prst="rect">
              <a:avLst/>
            </a:prstGeom>
          </p:spPr>
        </p:pic>
      </p:grpSp>
      <p:grpSp>
        <p:nvGrpSpPr>
          <p:cNvPr id="5" name="Group 4">
            <a:extLst>
              <a:ext uri="{FF2B5EF4-FFF2-40B4-BE49-F238E27FC236}">
                <a16:creationId xmlns:a16="http://schemas.microsoft.com/office/drawing/2014/main" id="{643D996A-F418-1C19-3FE6-109960B45E65}"/>
              </a:ext>
            </a:extLst>
          </p:cNvPr>
          <p:cNvGrpSpPr/>
          <p:nvPr/>
        </p:nvGrpSpPr>
        <p:grpSpPr>
          <a:xfrm>
            <a:off x="9319969" y="4024606"/>
            <a:ext cx="2194560" cy="1708954"/>
            <a:chOff x="8373386" y="3619113"/>
            <a:chExt cx="2194560" cy="1708954"/>
          </a:xfrm>
        </p:grpSpPr>
        <p:sp>
          <p:nvSpPr>
            <p:cNvPr id="25" name="Rectangle: Rounded Corners 49">
              <a:extLst>
                <a:ext uri="{FF2B5EF4-FFF2-40B4-BE49-F238E27FC236}">
                  <a16:creationId xmlns:a16="http://schemas.microsoft.com/office/drawing/2014/main" id="{3454A95D-DA1B-D338-FA74-D2D248415E1C}"/>
                </a:ext>
              </a:extLst>
            </p:cNvPr>
            <p:cNvSpPr/>
            <p:nvPr/>
          </p:nvSpPr>
          <p:spPr>
            <a:xfrm>
              <a:off x="8373386" y="3619113"/>
              <a:ext cx="2194560" cy="1708954"/>
            </a:xfrm>
            <a:prstGeom prst="roundRect">
              <a:avLst>
                <a:gd name="adj" fmla="val 3574"/>
              </a:avLst>
            </a:prstGeom>
            <a:solidFill>
              <a:schemeClr val="bg1"/>
            </a:solidFill>
            <a:ln w="28575">
              <a:solidFill>
                <a:schemeClr val="accent1"/>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15947EE8-2C7D-3DAE-89C6-A1F4BAD42E8B}"/>
                </a:ext>
              </a:extLst>
            </p:cNvPr>
            <p:cNvSpPr txBox="1"/>
            <p:nvPr/>
          </p:nvSpPr>
          <p:spPr>
            <a:xfrm>
              <a:off x="8508648" y="3727327"/>
              <a:ext cx="1924035" cy="523220"/>
            </a:xfrm>
            <a:prstGeom prst="rect">
              <a:avLst/>
            </a:prstGeom>
            <a:noFill/>
          </p:spPr>
          <p:txBody>
            <a:bodyPr wrap="square" rtlCol="0">
              <a:spAutoFit/>
            </a:bodyPr>
            <a:lstStyle/>
            <a:p>
              <a:pPr algn="ctr"/>
              <a:r>
                <a:rPr lang="en-US" sz="1400" b="1" dirty="0"/>
                <a:t>Smart Home / Consumer Electronics</a:t>
              </a:r>
            </a:p>
          </p:txBody>
        </p:sp>
        <p:grpSp>
          <p:nvGrpSpPr>
            <p:cNvPr id="27" name="Group 26">
              <a:extLst>
                <a:ext uri="{FF2B5EF4-FFF2-40B4-BE49-F238E27FC236}">
                  <a16:creationId xmlns:a16="http://schemas.microsoft.com/office/drawing/2014/main" id="{BF973465-CE64-0F8D-5CE9-A535CB21C52C}"/>
                </a:ext>
              </a:extLst>
            </p:cNvPr>
            <p:cNvGrpSpPr/>
            <p:nvPr/>
          </p:nvGrpSpPr>
          <p:grpSpPr>
            <a:xfrm>
              <a:off x="8421967" y="4245335"/>
              <a:ext cx="1875454" cy="893560"/>
              <a:chOff x="5526751" y="5101957"/>
              <a:chExt cx="1875454" cy="893560"/>
            </a:xfrm>
          </p:grpSpPr>
          <p:pic>
            <p:nvPicPr>
              <p:cNvPr id="28" name="Picture 10" descr="Amazon.com: Awair Element Indoor Air Quality Monitor: Home &amp; Kitchen">
                <a:extLst>
                  <a:ext uri="{FF2B5EF4-FFF2-40B4-BE49-F238E27FC236}">
                    <a16:creationId xmlns:a16="http://schemas.microsoft.com/office/drawing/2014/main" id="{1395D35B-C3BE-51C9-721E-F43808CA555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9303" r="-1"/>
              <a:stretch/>
            </p:blipFill>
            <p:spPr bwMode="auto">
              <a:xfrm>
                <a:off x="5526753" y="5101957"/>
                <a:ext cx="1875452" cy="89356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GOOGLE Home Smart Speaker kaufen | MediaMarkt">
                <a:extLst>
                  <a:ext uri="{FF2B5EF4-FFF2-40B4-BE49-F238E27FC236}">
                    <a16:creationId xmlns:a16="http://schemas.microsoft.com/office/drawing/2014/main" id="{8DEA67AA-C7C4-AB6B-23B1-1DD394A1906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513" r="16371"/>
              <a:stretch/>
            </p:blipFill>
            <p:spPr bwMode="auto">
              <a:xfrm>
                <a:off x="5526751" y="5217832"/>
                <a:ext cx="730138" cy="77768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5" name="Group 54">
            <a:extLst>
              <a:ext uri="{FF2B5EF4-FFF2-40B4-BE49-F238E27FC236}">
                <a16:creationId xmlns:a16="http://schemas.microsoft.com/office/drawing/2014/main" id="{6551B786-3930-8BD6-2519-FFBDB8F0B8F8}"/>
              </a:ext>
            </a:extLst>
          </p:cNvPr>
          <p:cNvGrpSpPr/>
          <p:nvPr/>
        </p:nvGrpSpPr>
        <p:grpSpPr>
          <a:xfrm>
            <a:off x="836283" y="2159342"/>
            <a:ext cx="10128715" cy="983615"/>
            <a:chOff x="760081" y="1715733"/>
            <a:chExt cx="10128715" cy="983615"/>
          </a:xfrm>
        </p:grpSpPr>
        <p:grpSp>
          <p:nvGrpSpPr>
            <p:cNvPr id="2071" name="Group 2070">
              <a:extLst>
                <a:ext uri="{FF2B5EF4-FFF2-40B4-BE49-F238E27FC236}">
                  <a16:creationId xmlns:a16="http://schemas.microsoft.com/office/drawing/2014/main" id="{F1D71398-72E7-C9BD-109C-801FE9AF5436}"/>
                </a:ext>
              </a:extLst>
            </p:cNvPr>
            <p:cNvGrpSpPr/>
            <p:nvPr/>
          </p:nvGrpSpPr>
          <p:grpSpPr>
            <a:xfrm>
              <a:off x="760081" y="1715733"/>
              <a:ext cx="10056060" cy="983615"/>
              <a:chOff x="468533" y="5287642"/>
              <a:chExt cx="10805010" cy="983615"/>
            </a:xfrm>
          </p:grpSpPr>
          <p:grpSp>
            <p:nvGrpSpPr>
              <p:cNvPr id="2072" name="Group 2071">
                <a:extLst>
                  <a:ext uri="{FF2B5EF4-FFF2-40B4-BE49-F238E27FC236}">
                    <a16:creationId xmlns:a16="http://schemas.microsoft.com/office/drawing/2014/main" id="{611425F8-342C-5F11-CD62-1CFDAEE1FC2E}"/>
                  </a:ext>
                </a:extLst>
              </p:cNvPr>
              <p:cNvGrpSpPr/>
              <p:nvPr/>
            </p:nvGrpSpPr>
            <p:grpSpPr>
              <a:xfrm>
                <a:off x="839788" y="5642114"/>
                <a:ext cx="10124341" cy="321366"/>
                <a:chOff x="839788" y="5642114"/>
                <a:chExt cx="10124341" cy="321366"/>
              </a:xfrm>
            </p:grpSpPr>
            <p:cxnSp>
              <p:nvCxnSpPr>
                <p:cNvPr id="33" name="Straight Connector 32">
                  <a:extLst>
                    <a:ext uri="{FF2B5EF4-FFF2-40B4-BE49-F238E27FC236}">
                      <a16:creationId xmlns:a16="http://schemas.microsoft.com/office/drawing/2014/main" id="{3785DCA2-A3C7-3ED0-4C12-ECF006A0ABE3}"/>
                    </a:ext>
                  </a:extLst>
                </p:cNvPr>
                <p:cNvCxnSpPr/>
                <p:nvPr/>
              </p:nvCxnSpPr>
              <p:spPr>
                <a:xfrm>
                  <a:off x="839788" y="5797827"/>
                  <a:ext cx="0" cy="16565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8EFEC31-5B5C-A7FA-8BA5-6B10B40CE3A2}"/>
                    </a:ext>
                  </a:extLst>
                </p:cNvPr>
                <p:cNvCxnSpPr/>
                <p:nvPr/>
              </p:nvCxnSpPr>
              <p:spPr>
                <a:xfrm>
                  <a:off x="2948871" y="5797827"/>
                  <a:ext cx="0" cy="16565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BE9A613-859B-CB2A-B0BC-A4061123FF11}"/>
                    </a:ext>
                  </a:extLst>
                </p:cNvPr>
                <p:cNvCxnSpPr/>
                <p:nvPr/>
              </p:nvCxnSpPr>
              <p:spPr>
                <a:xfrm>
                  <a:off x="5057954" y="5642114"/>
                  <a:ext cx="0" cy="32136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C957866-621A-B600-2C4A-34F8849A0AC9}"/>
                    </a:ext>
                  </a:extLst>
                </p:cNvPr>
                <p:cNvCxnSpPr/>
                <p:nvPr/>
              </p:nvCxnSpPr>
              <p:spPr>
                <a:xfrm>
                  <a:off x="7167037" y="5642114"/>
                  <a:ext cx="0" cy="32136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7249C81-CC1C-02BD-EE50-9274DC8AAB5F}"/>
                    </a:ext>
                  </a:extLst>
                </p:cNvPr>
                <p:cNvCxnSpPr/>
                <p:nvPr/>
              </p:nvCxnSpPr>
              <p:spPr>
                <a:xfrm>
                  <a:off x="10964129" y="5642114"/>
                  <a:ext cx="0" cy="15571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E04C1E2-C063-6319-D35C-B0C9EE79880A}"/>
                    </a:ext>
                  </a:extLst>
                </p:cNvPr>
                <p:cNvCxnSpPr/>
                <p:nvPr/>
              </p:nvCxnSpPr>
              <p:spPr>
                <a:xfrm>
                  <a:off x="9276120" y="5642114"/>
                  <a:ext cx="0" cy="15571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73" name="TextBox 2072">
                <a:extLst>
                  <a:ext uri="{FF2B5EF4-FFF2-40B4-BE49-F238E27FC236}">
                    <a16:creationId xmlns:a16="http://schemas.microsoft.com/office/drawing/2014/main" id="{A7483AA9-EED7-821B-21AD-29855A527455}"/>
                  </a:ext>
                </a:extLst>
              </p:cNvPr>
              <p:cNvSpPr txBox="1"/>
              <p:nvPr/>
            </p:nvSpPr>
            <p:spPr>
              <a:xfrm>
                <a:off x="468533" y="5963480"/>
                <a:ext cx="742511" cy="307777"/>
              </a:xfrm>
              <a:prstGeom prst="rect">
                <a:avLst/>
              </a:prstGeom>
              <a:noFill/>
            </p:spPr>
            <p:txBody>
              <a:bodyPr wrap="none" rtlCol="0">
                <a:spAutoFit/>
              </a:bodyPr>
              <a:lstStyle/>
              <a:p>
                <a:r>
                  <a:rPr lang="en-US" sz="1400" b="1" dirty="0"/>
                  <a:t>10 ppm </a:t>
                </a:r>
              </a:p>
            </p:txBody>
          </p:sp>
          <p:sp>
            <p:nvSpPr>
              <p:cNvPr id="2074" name="TextBox 2073">
                <a:extLst>
                  <a:ext uri="{FF2B5EF4-FFF2-40B4-BE49-F238E27FC236}">
                    <a16:creationId xmlns:a16="http://schemas.microsoft.com/office/drawing/2014/main" id="{E3C254F0-8644-7DD5-61D4-D2B4954155A5}"/>
                  </a:ext>
                </a:extLst>
              </p:cNvPr>
              <p:cNvSpPr txBox="1"/>
              <p:nvPr/>
            </p:nvSpPr>
            <p:spPr>
              <a:xfrm>
                <a:off x="2580135" y="5963146"/>
                <a:ext cx="824265" cy="307777"/>
              </a:xfrm>
              <a:prstGeom prst="rect">
                <a:avLst/>
              </a:prstGeom>
              <a:noFill/>
            </p:spPr>
            <p:txBody>
              <a:bodyPr wrap="none" rtlCol="0">
                <a:spAutoFit/>
              </a:bodyPr>
              <a:lstStyle/>
              <a:p>
                <a:r>
                  <a:rPr lang="en-US" sz="1400" b="1" dirty="0"/>
                  <a:t>100 ppm </a:t>
                </a:r>
              </a:p>
            </p:txBody>
          </p:sp>
          <p:sp>
            <p:nvSpPr>
              <p:cNvPr id="2075" name="TextBox 2074">
                <a:extLst>
                  <a:ext uri="{FF2B5EF4-FFF2-40B4-BE49-F238E27FC236}">
                    <a16:creationId xmlns:a16="http://schemas.microsoft.com/office/drawing/2014/main" id="{600B10A4-B9CC-CA8B-BCF5-5C48B5D4EFEB}"/>
                  </a:ext>
                </a:extLst>
              </p:cNvPr>
              <p:cNvSpPr txBox="1"/>
              <p:nvPr/>
            </p:nvSpPr>
            <p:spPr>
              <a:xfrm>
                <a:off x="4600561" y="5963146"/>
                <a:ext cx="947695" cy="307777"/>
              </a:xfrm>
              <a:prstGeom prst="rect">
                <a:avLst/>
              </a:prstGeom>
              <a:noFill/>
            </p:spPr>
            <p:txBody>
              <a:bodyPr wrap="none" rtlCol="0">
                <a:spAutoFit/>
              </a:bodyPr>
              <a:lstStyle/>
              <a:p>
                <a:r>
                  <a:rPr lang="en-US" sz="1400" b="1" dirty="0"/>
                  <a:t>1’000 ppm </a:t>
                </a:r>
              </a:p>
            </p:txBody>
          </p:sp>
          <p:sp>
            <p:nvSpPr>
              <p:cNvPr id="2076" name="TextBox 2075">
                <a:extLst>
                  <a:ext uri="{FF2B5EF4-FFF2-40B4-BE49-F238E27FC236}">
                    <a16:creationId xmlns:a16="http://schemas.microsoft.com/office/drawing/2014/main" id="{F743E188-F0AA-EF3C-0759-1FBF9B28A5F2}"/>
                  </a:ext>
                </a:extLst>
              </p:cNvPr>
              <p:cNvSpPr txBox="1"/>
              <p:nvPr/>
            </p:nvSpPr>
            <p:spPr>
              <a:xfrm>
                <a:off x="6653240" y="5963145"/>
                <a:ext cx="1029449" cy="307777"/>
              </a:xfrm>
              <a:prstGeom prst="rect">
                <a:avLst/>
              </a:prstGeom>
              <a:noFill/>
            </p:spPr>
            <p:txBody>
              <a:bodyPr wrap="none" rtlCol="0">
                <a:spAutoFit/>
              </a:bodyPr>
              <a:lstStyle/>
              <a:p>
                <a:r>
                  <a:rPr lang="en-US" sz="1400" b="1" dirty="0"/>
                  <a:t>10’000 ppm </a:t>
                </a:r>
              </a:p>
            </p:txBody>
          </p:sp>
          <p:sp>
            <p:nvSpPr>
              <p:cNvPr id="2077" name="TextBox 2076">
                <a:extLst>
                  <a:ext uri="{FF2B5EF4-FFF2-40B4-BE49-F238E27FC236}">
                    <a16:creationId xmlns:a16="http://schemas.microsoft.com/office/drawing/2014/main" id="{A1539C27-8D77-349E-F413-E503244A04DA}"/>
                  </a:ext>
                </a:extLst>
              </p:cNvPr>
              <p:cNvSpPr txBox="1"/>
              <p:nvPr/>
            </p:nvSpPr>
            <p:spPr>
              <a:xfrm>
                <a:off x="4792920" y="5291120"/>
                <a:ext cx="562975" cy="307777"/>
              </a:xfrm>
              <a:prstGeom prst="rect">
                <a:avLst/>
              </a:prstGeom>
              <a:noFill/>
            </p:spPr>
            <p:txBody>
              <a:bodyPr wrap="none" rtlCol="0">
                <a:spAutoFit/>
              </a:bodyPr>
              <a:lstStyle/>
              <a:p>
                <a:r>
                  <a:rPr lang="en-US" sz="1400" b="1" dirty="0"/>
                  <a:t>0.1 %</a:t>
                </a:r>
              </a:p>
            </p:txBody>
          </p:sp>
          <p:sp>
            <p:nvSpPr>
              <p:cNvPr id="2078" name="TextBox 2077">
                <a:extLst>
                  <a:ext uri="{FF2B5EF4-FFF2-40B4-BE49-F238E27FC236}">
                    <a16:creationId xmlns:a16="http://schemas.microsoft.com/office/drawing/2014/main" id="{7AF8AC9D-D99E-1CCF-99ED-14DC2B548CB6}"/>
                  </a:ext>
                </a:extLst>
              </p:cNvPr>
              <p:cNvSpPr txBox="1"/>
              <p:nvPr/>
            </p:nvSpPr>
            <p:spPr>
              <a:xfrm>
                <a:off x="6947265" y="5291119"/>
                <a:ext cx="439544" cy="307777"/>
              </a:xfrm>
              <a:prstGeom prst="rect">
                <a:avLst/>
              </a:prstGeom>
              <a:noFill/>
            </p:spPr>
            <p:txBody>
              <a:bodyPr wrap="none" rtlCol="0">
                <a:spAutoFit/>
              </a:bodyPr>
              <a:lstStyle/>
              <a:p>
                <a:r>
                  <a:rPr lang="en-US" sz="1400" b="1" dirty="0"/>
                  <a:t>1 %</a:t>
                </a:r>
              </a:p>
            </p:txBody>
          </p:sp>
          <p:sp>
            <p:nvSpPr>
              <p:cNvPr id="2079" name="TextBox 2078">
                <a:extLst>
                  <a:ext uri="{FF2B5EF4-FFF2-40B4-BE49-F238E27FC236}">
                    <a16:creationId xmlns:a16="http://schemas.microsoft.com/office/drawing/2014/main" id="{1869D0EA-4BF8-588B-99F0-2CB508D70BDA}"/>
                  </a:ext>
                </a:extLst>
              </p:cNvPr>
              <p:cNvSpPr txBox="1"/>
              <p:nvPr/>
            </p:nvSpPr>
            <p:spPr>
              <a:xfrm>
                <a:off x="9015471" y="5289296"/>
                <a:ext cx="521297" cy="307777"/>
              </a:xfrm>
              <a:prstGeom prst="rect">
                <a:avLst/>
              </a:prstGeom>
              <a:noFill/>
            </p:spPr>
            <p:txBody>
              <a:bodyPr wrap="none" rtlCol="0">
                <a:spAutoFit/>
              </a:bodyPr>
              <a:lstStyle/>
              <a:p>
                <a:r>
                  <a:rPr lang="en-US" sz="1400" b="1" dirty="0"/>
                  <a:t>10 %</a:t>
                </a:r>
              </a:p>
            </p:txBody>
          </p:sp>
          <p:sp>
            <p:nvSpPr>
              <p:cNvPr id="32" name="TextBox 31">
                <a:extLst>
                  <a:ext uri="{FF2B5EF4-FFF2-40B4-BE49-F238E27FC236}">
                    <a16:creationId xmlns:a16="http://schemas.microsoft.com/office/drawing/2014/main" id="{14472E2E-9E39-13F4-5548-7CFAEC889CA3}"/>
                  </a:ext>
                </a:extLst>
              </p:cNvPr>
              <p:cNvSpPr txBox="1"/>
              <p:nvPr/>
            </p:nvSpPr>
            <p:spPr>
              <a:xfrm>
                <a:off x="10670492" y="5287642"/>
                <a:ext cx="603051" cy="307777"/>
              </a:xfrm>
              <a:prstGeom prst="rect">
                <a:avLst/>
              </a:prstGeom>
              <a:noFill/>
            </p:spPr>
            <p:txBody>
              <a:bodyPr wrap="none" rtlCol="0">
                <a:spAutoFit/>
              </a:bodyPr>
              <a:lstStyle/>
              <a:p>
                <a:r>
                  <a:rPr lang="en-US" sz="1400" b="1" dirty="0"/>
                  <a:t>100 %</a:t>
                </a:r>
              </a:p>
            </p:txBody>
          </p:sp>
        </p:grpSp>
        <p:cxnSp>
          <p:nvCxnSpPr>
            <p:cNvPr id="52" name="Straight Arrow Connector 51">
              <a:extLst>
                <a:ext uri="{FF2B5EF4-FFF2-40B4-BE49-F238E27FC236}">
                  <a16:creationId xmlns:a16="http://schemas.microsoft.com/office/drawing/2014/main" id="{4AB13B9D-76AE-D352-1A00-F097776F5511}"/>
                </a:ext>
              </a:extLst>
            </p:cNvPr>
            <p:cNvCxnSpPr/>
            <p:nvPr/>
          </p:nvCxnSpPr>
          <p:spPr>
            <a:xfrm>
              <a:off x="1104716" y="2225918"/>
              <a:ext cx="978408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149238C-E61C-85B9-2D98-343DD21D208D}"/>
                </a:ext>
              </a:extLst>
            </p:cNvPr>
            <p:cNvSpPr txBox="1"/>
            <p:nvPr/>
          </p:nvSpPr>
          <p:spPr>
            <a:xfrm>
              <a:off x="8847422" y="2384974"/>
              <a:ext cx="1786066" cy="307777"/>
            </a:xfrm>
            <a:prstGeom prst="rect">
              <a:avLst/>
            </a:prstGeom>
            <a:noFill/>
          </p:spPr>
          <p:txBody>
            <a:bodyPr wrap="none" rtlCol="0">
              <a:spAutoFit/>
            </a:bodyPr>
            <a:lstStyle/>
            <a:p>
              <a:r>
                <a:rPr lang="en-US" sz="1400" b="1" dirty="0"/>
                <a:t>Log CO</a:t>
              </a:r>
              <a:r>
                <a:rPr lang="en-US" sz="1400" b="1" baseline="-25000" dirty="0"/>
                <a:t>2</a:t>
              </a:r>
              <a:r>
                <a:rPr lang="en-US" sz="1400" b="1" dirty="0"/>
                <a:t> concentration</a:t>
              </a:r>
            </a:p>
          </p:txBody>
        </p:sp>
      </p:grpSp>
      <p:grpSp>
        <p:nvGrpSpPr>
          <p:cNvPr id="8" name="Group 7">
            <a:extLst>
              <a:ext uri="{FF2B5EF4-FFF2-40B4-BE49-F238E27FC236}">
                <a16:creationId xmlns:a16="http://schemas.microsoft.com/office/drawing/2014/main" id="{44D415DF-CED9-F1B2-44F3-D368094D16D5}"/>
              </a:ext>
            </a:extLst>
          </p:cNvPr>
          <p:cNvGrpSpPr/>
          <p:nvPr/>
        </p:nvGrpSpPr>
        <p:grpSpPr>
          <a:xfrm>
            <a:off x="6439137" y="4034382"/>
            <a:ext cx="2194560" cy="1708954"/>
            <a:chOff x="4709313" y="3619113"/>
            <a:chExt cx="2502678" cy="1708954"/>
          </a:xfrm>
        </p:grpSpPr>
        <p:sp>
          <p:nvSpPr>
            <p:cNvPr id="9" name="Rectangle: Rounded Corners 49">
              <a:extLst>
                <a:ext uri="{FF2B5EF4-FFF2-40B4-BE49-F238E27FC236}">
                  <a16:creationId xmlns:a16="http://schemas.microsoft.com/office/drawing/2014/main" id="{21A2DE44-A2A5-53BD-B2AB-1E0D9170822A}"/>
                </a:ext>
              </a:extLst>
            </p:cNvPr>
            <p:cNvSpPr/>
            <p:nvPr/>
          </p:nvSpPr>
          <p:spPr>
            <a:xfrm>
              <a:off x="4709313" y="3619113"/>
              <a:ext cx="2502678" cy="1708954"/>
            </a:xfrm>
            <a:prstGeom prst="roundRect">
              <a:avLst>
                <a:gd name="adj" fmla="val 3574"/>
              </a:avLst>
            </a:prstGeom>
            <a:solidFill>
              <a:schemeClr val="bg1"/>
            </a:solidFill>
            <a:ln w="28575">
              <a:solidFill>
                <a:schemeClr val="accent1"/>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A1B6233A-E5DC-53E5-7C8D-219D6490343F}"/>
                </a:ext>
              </a:extLst>
            </p:cNvPr>
            <p:cNvSpPr txBox="1"/>
            <p:nvPr/>
          </p:nvSpPr>
          <p:spPr>
            <a:xfrm>
              <a:off x="4835469" y="3748439"/>
              <a:ext cx="2178846" cy="307777"/>
            </a:xfrm>
            <a:prstGeom prst="rect">
              <a:avLst/>
            </a:prstGeom>
            <a:noFill/>
          </p:spPr>
          <p:txBody>
            <a:bodyPr wrap="square" rtlCol="0">
              <a:spAutoFit/>
            </a:bodyPr>
            <a:lstStyle/>
            <a:p>
              <a:pPr algn="ctr"/>
              <a:r>
                <a:rPr lang="en-US" sz="1400" b="1" dirty="0"/>
                <a:t>CO</a:t>
              </a:r>
              <a:r>
                <a:rPr lang="en-US" sz="1400" b="1" baseline="-25000" dirty="0"/>
                <a:t>2</a:t>
              </a:r>
              <a:r>
                <a:rPr lang="en-US" sz="1400" b="1" dirty="0"/>
                <a:t> Traffic Lights</a:t>
              </a:r>
            </a:p>
          </p:txBody>
        </p:sp>
      </p:grpSp>
      <p:pic>
        <p:nvPicPr>
          <p:cNvPr id="12" name="Picture 11">
            <a:extLst>
              <a:ext uri="{FF2B5EF4-FFF2-40B4-BE49-F238E27FC236}">
                <a16:creationId xmlns:a16="http://schemas.microsoft.com/office/drawing/2014/main" id="{8D4DF5AD-ABD2-9CCE-9AF2-2E19E36DB2F5}"/>
              </a:ext>
            </a:extLst>
          </p:cNvPr>
          <p:cNvPicPr>
            <a:picLocks noChangeAspect="1"/>
          </p:cNvPicPr>
          <p:nvPr/>
        </p:nvPicPr>
        <p:blipFill>
          <a:blip r:embed="rId8"/>
          <a:stretch>
            <a:fillRect/>
          </a:stretch>
        </p:blipFill>
        <p:spPr>
          <a:xfrm>
            <a:off x="6864853" y="4529448"/>
            <a:ext cx="1224317" cy="1030848"/>
          </a:xfrm>
          <a:prstGeom prst="rect">
            <a:avLst/>
          </a:prstGeom>
        </p:spPr>
      </p:pic>
    </p:spTree>
    <p:extLst>
      <p:ext uri="{BB962C8B-B14F-4D97-AF65-F5344CB8AC3E}">
        <p14:creationId xmlns:p14="http://schemas.microsoft.com/office/powerpoint/2010/main" val="42094674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280350FB-0BEF-4932-A562-80D6257F0A38}"/>
              </a:ext>
            </a:extLst>
          </p:cNvPr>
          <p:cNvGrpSpPr/>
          <p:nvPr/>
        </p:nvGrpSpPr>
        <p:grpSpPr>
          <a:xfrm>
            <a:off x="839769" y="6387669"/>
            <a:ext cx="5150521" cy="235359"/>
            <a:chOff x="839769" y="6387669"/>
            <a:chExt cx="5150521" cy="235359"/>
          </a:xfrm>
        </p:grpSpPr>
        <p:grpSp>
          <p:nvGrpSpPr>
            <p:cNvPr id="43" name="Gruppierung 1">
              <a:extLst>
                <a:ext uri="{FF2B5EF4-FFF2-40B4-BE49-F238E27FC236}">
                  <a16:creationId xmlns:a16="http://schemas.microsoft.com/office/drawing/2014/main" id="{8E97F148-A765-464B-92DF-9AF45ABA8AD0}"/>
                </a:ext>
              </a:extLst>
            </p:cNvPr>
            <p:cNvGrpSpPr/>
            <p:nvPr/>
          </p:nvGrpSpPr>
          <p:grpSpPr>
            <a:xfrm>
              <a:off x="839769" y="6387669"/>
              <a:ext cx="5150521" cy="235359"/>
              <a:chOff x="839769" y="6369739"/>
              <a:chExt cx="5150521" cy="235359"/>
            </a:xfrm>
          </p:grpSpPr>
          <p:sp>
            <p:nvSpPr>
              <p:cNvPr id="45" name="Fußzeilenplatzhalter 4">
                <a:extLst>
                  <a:ext uri="{FF2B5EF4-FFF2-40B4-BE49-F238E27FC236}">
                    <a16:creationId xmlns:a16="http://schemas.microsoft.com/office/drawing/2014/main" id="{F5450457-7C44-44AE-9C3A-EF423A77C8BE}"/>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46" name="Fußzeilenplatzhalter 4">
                <a:extLst>
                  <a:ext uri="{FF2B5EF4-FFF2-40B4-BE49-F238E27FC236}">
                    <a16:creationId xmlns:a16="http://schemas.microsoft.com/office/drawing/2014/main" id="{D2A8B8C6-1113-4D40-BE84-CF404CD61C19}"/>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44" name="Straight Connector 43">
              <a:extLst>
                <a:ext uri="{FF2B5EF4-FFF2-40B4-BE49-F238E27FC236}">
                  <a16:creationId xmlns:a16="http://schemas.microsoft.com/office/drawing/2014/main" id="{DFA724F7-FF78-4DAD-97F9-3FEED8B1A5A2}"/>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E4654726-A088-4C31-8542-967425CDD611}"/>
              </a:ext>
            </a:extLst>
          </p:cNvPr>
          <p:cNvGrpSpPr/>
          <p:nvPr/>
        </p:nvGrpSpPr>
        <p:grpSpPr>
          <a:xfrm>
            <a:off x="752798" y="5565841"/>
            <a:ext cx="10496226" cy="548640"/>
            <a:chOff x="3834626" y="7373785"/>
            <a:chExt cx="4806521" cy="673657"/>
          </a:xfrm>
        </p:grpSpPr>
        <p:sp>
          <p:nvSpPr>
            <p:cNvPr id="83" name="TextBox 82">
              <a:extLst>
                <a:ext uri="{FF2B5EF4-FFF2-40B4-BE49-F238E27FC236}">
                  <a16:creationId xmlns:a16="http://schemas.microsoft.com/office/drawing/2014/main" id="{FDCBD419-8273-4B45-BF7C-07E222C47CC0}"/>
                </a:ext>
              </a:extLst>
            </p:cNvPr>
            <p:cNvSpPr txBox="1"/>
            <p:nvPr/>
          </p:nvSpPr>
          <p:spPr>
            <a:xfrm rot="16200000">
              <a:off x="3981142" y="7716260"/>
              <a:ext cx="184666" cy="477697"/>
            </a:xfrm>
            <a:prstGeom prst="rect">
              <a:avLst/>
            </a:prstGeom>
            <a:noFill/>
          </p:spPr>
          <p:txBody>
            <a:bodyPr vert="eaVert" wrap="none" lIns="0" tIns="0" rIns="0" bIns="0" rtlCol="0">
              <a:spAutoFit/>
            </a:bodyPr>
            <a:lstStyle/>
            <a:p>
              <a:r>
                <a:rPr lang="en-US" sz="1200" b="1" dirty="0">
                  <a:solidFill>
                    <a:srgbClr val="7F7F7F"/>
                  </a:solidFill>
                </a:rPr>
                <a:t>10 ppm </a:t>
              </a:r>
            </a:p>
          </p:txBody>
        </p:sp>
        <p:sp>
          <p:nvSpPr>
            <p:cNvPr id="84" name="TextBox 83">
              <a:extLst>
                <a:ext uri="{FF2B5EF4-FFF2-40B4-BE49-F238E27FC236}">
                  <a16:creationId xmlns:a16="http://schemas.microsoft.com/office/drawing/2014/main" id="{16DA34F8-124E-4663-92B2-2E052BB6D0F0}"/>
                </a:ext>
              </a:extLst>
            </p:cNvPr>
            <p:cNvSpPr txBox="1"/>
            <p:nvPr/>
          </p:nvSpPr>
          <p:spPr>
            <a:xfrm rot="16200000">
              <a:off x="4835107" y="7680994"/>
              <a:ext cx="184666" cy="548229"/>
            </a:xfrm>
            <a:prstGeom prst="rect">
              <a:avLst/>
            </a:prstGeom>
            <a:noFill/>
          </p:spPr>
          <p:txBody>
            <a:bodyPr vert="eaVert" wrap="none" lIns="0" tIns="0" rIns="0" bIns="0" rtlCol="0">
              <a:spAutoFit/>
            </a:bodyPr>
            <a:lstStyle/>
            <a:p>
              <a:r>
                <a:rPr lang="en-US" sz="1200" b="1" dirty="0">
                  <a:solidFill>
                    <a:srgbClr val="7F7F7F"/>
                  </a:solidFill>
                </a:rPr>
                <a:t>100 ppm </a:t>
              </a:r>
            </a:p>
          </p:txBody>
        </p:sp>
        <p:sp>
          <p:nvSpPr>
            <p:cNvPr id="85" name="TextBox 84">
              <a:extLst>
                <a:ext uri="{FF2B5EF4-FFF2-40B4-BE49-F238E27FC236}">
                  <a16:creationId xmlns:a16="http://schemas.microsoft.com/office/drawing/2014/main" id="{BCF31ADD-A6F5-468A-A170-C83B141C8D11}"/>
                </a:ext>
              </a:extLst>
            </p:cNvPr>
            <p:cNvSpPr txBox="1"/>
            <p:nvPr/>
          </p:nvSpPr>
          <p:spPr>
            <a:xfrm rot="16200000">
              <a:off x="5688269" y="7628095"/>
              <a:ext cx="184666" cy="654027"/>
            </a:xfrm>
            <a:prstGeom prst="rect">
              <a:avLst/>
            </a:prstGeom>
            <a:noFill/>
          </p:spPr>
          <p:txBody>
            <a:bodyPr vert="eaVert" wrap="none" lIns="0" tIns="0" rIns="0" bIns="0" rtlCol="0">
              <a:spAutoFit/>
            </a:bodyPr>
            <a:lstStyle/>
            <a:p>
              <a:r>
                <a:rPr lang="en-US" sz="1200" b="1" dirty="0">
                  <a:solidFill>
                    <a:srgbClr val="7F7F7F"/>
                  </a:solidFill>
                </a:rPr>
                <a:t>1’000 ppm </a:t>
              </a:r>
            </a:p>
          </p:txBody>
        </p:sp>
        <p:sp>
          <p:nvSpPr>
            <p:cNvPr id="86" name="TextBox 85">
              <a:extLst>
                <a:ext uri="{FF2B5EF4-FFF2-40B4-BE49-F238E27FC236}">
                  <a16:creationId xmlns:a16="http://schemas.microsoft.com/office/drawing/2014/main" id="{540E6265-1941-4D96-A202-F13720284AEE}"/>
                </a:ext>
              </a:extLst>
            </p:cNvPr>
            <p:cNvSpPr txBox="1"/>
            <p:nvPr/>
          </p:nvSpPr>
          <p:spPr>
            <a:xfrm rot="16200000">
              <a:off x="6541429" y="7592829"/>
              <a:ext cx="184666" cy="724559"/>
            </a:xfrm>
            <a:prstGeom prst="rect">
              <a:avLst/>
            </a:prstGeom>
            <a:noFill/>
          </p:spPr>
          <p:txBody>
            <a:bodyPr vert="eaVert" wrap="none" lIns="0" tIns="0" rIns="0" bIns="0" rtlCol="0">
              <a:spAutoFit/>
            </a:bodyPr>
            <a:lstStyle/>
            <a:p>
              <a:r>
                <a:rPr lang="en-US" sz="1200" b="1" dirty="0">
                  <a:solidFill>
                    <a:srgbClr val="7F7F7F"/>
                  </a:solidFill>
                </a:rPr>
                <a:t>10’000 ppm </a:t>
              </a:r>
            </a:p>
          </p:txBody>
        </p:sp>
        <p:sp>
          <p:nvSpPr>
            <p:cNvPr id="87" name="TextBox 86">
              <a:extLst>
                <a:ext uri="{FF2B5EF4-FFF2-40B4-BE49-F238E27FC236}">
                  <a16:creationId xmlns:a16="http://schemas.microsoft.com/office/drawing/2014/main" id="{1CF3BF58-E0F5-4075-A888-45CDAC9992FA}"/>
                </a:ext>
              </a:extLst>
            </p:cNvPr>
            <p:cNvSpPr txBox="1"/>
            <p:nvPr/>
          </p:nvSpPr>
          <p:spPr>
            <a:xfrm rot="16200000">
              <a:off x="5688268" y="7321847"/>
              <a:ext cx="184666" cy="288541"/>
            </a:xfrm>
            <a:prstGeom prst="rect">
              <a:avLst/>
            </a:prstGeom>
            <a:noFill/>
          </p:spPr>
          <p:txBody>
            <a:bodyPr vert="eaVert" wrap="none" lIns="0" tIns="0" rIns="0" bIns="0" rtlCol="0">
              <a:spAutoFit/>
            </a:bodyPr>
            <a:lstStyle/>
            <a:p>
              <a:r>
                <a:rPr lang="en-US" sz="1200" b="1" dirty="0">
                  <a:solidFill>
                    <a:srgbClr val="7F7F7F"/>
                  </a:solidFill>
                </a:rPr>
                <a:t>0.1%</a:t>
              </a:r>
            </a:p>
          </p:txBody>
        </p:sp>
        <p:sp>
          <p:nvSpPr>
            <p:cNvPr id="88" name="TextBox 87">
              <a:extLst>
                <a:ext uri="{FF2B5EF4-FFF2-40B4-BE49-F238E27FC236}">
                  <a16:creationId xmlns:a16="http://schemas.microsoft.com/office/drawing/2014/main" id="{E67C93BB-D23B-4B05-B3F3-D380EB373759}"/>
                </a:ext>
              </a:extLst>
            </p:cNvPr>
            <p:cNvSpPr txBox="1"/>
            <p:nvPr/>
          </p:nvSpPr>
          <p:spPr>
            <a:xfrm rot="16200000">
              <a:off x="6541428" y="7374747"/>
              <a:ext cx="184666" cy="182742"/>
            </a:xfrm>
            <a:prstGeom prst="rect">
              <a:avLst/>
            </a:prstGeom>
            <a:noFill/>
          </p:spPr>
          <p:txBody>
            <a:bodyPr vert="eaVert" wrap="none" lIns="0" tIns="0" rIns="0" bIns="0" rtlCol="0">
              <a:spAutoFit/>
            </a:bodyPr>
            <a:lstStyle/>
            <a:p>
              <a:r>
                <a:rPr lang="en-US" sz="1200" b="1" dirty="0">
                  <a:solidFill>
                    <a:srgbClr val="7F7F7F"/>
                  </a:solidFill>
                </a:rPr>
                <a:t>1%</a:t>
              </a:r>
            </a:p>
          </p:txBody>
        </p:sp>
        <p:sp>
          <p:nvSpPr>
            <p:cNvPr id="89" name="TextBox 88">
              <a:extLst>
                <a:ext uri="{FF2B5EF4-FFF2-40B4-BE49-F238E27FC236}">
                  <a16:creationId xmlns:a16="http://schemas.microsoft.com/office/drawing/2014/main" id="{8F5CFC79-41F8-408E-BA02-92ED12ED2E84}"/>
                </a:ext>
              </a:extLst>
            </p:cNvPr>
            <p:cNvSpPr txBox="1"/>
            <p:nvPr/>
          </p:nvSpPr>
          <p:spPr>
            <a:xfrm rot="16200000">
              <a:off x="7409773" y="7339481"/>
              <a:ext cx="184666" cy="253274"/>
            </a:xfrm>
            <a:prstGeom prst="rect">
              <a:avLst/>
            </a:prstGeom>
            <a:noFill/>
          </p:spPr>
          <p:txBody>
            <a:bodyPr vert="eaVert" wrap="none" lIns="0" tIns="0" rIns="0" bIns="0" rtlCol="0">
              <a:spAutoFit/>
            </a:bodyPr>
            <a:lstStyle/>
            <a:p>
              <a:r>
                <a:rPr lang="en-US" sz="1200" b="1" dirty="0">
                  <a:solidFill>
                    <a:srgbClr val="7F7F7F"/>
                  </a:solidFill>
                </a:rPr>
                <a:t>10%</a:t>
              </a:r>
            </a:p>
          </p:txBody>
        </p:sp>
        <p:sp>
          <p:nvSpPr>
            <p:cNvPr id="90" name="TextBox 89">
              <a:extLst>
                <a:ext uri="{FF2B5EF4-FFF2-40B4-BE49-F238E27FC236}">
                  <a16:creationId xmlns:a16="http://schemas.microsoft.com/office/drawing/2014/main" id="{E273A1D4-B573-46D3-AB74-50C2EF626F29}"/>
                </a:ext>
              </a:extLst>
            </p:cNvPr>
            <p:cNvSpPr txBox="1"/>
            <p:nvPr/>
          </p:nvSpPr>
          <p:spPr>
            <a:xfrm rot="16200000">
              <a:off x="8259532" y="7304214"/>
              <a:ext cx="184666" cy="323807"/>
            </a:xfrm>
            <a:prstGeom prst="rect">
              <a:avLst/>
            </a:prstGeom>
            <a:noFill/>
          </p:spPr>
          <p:txBody>
            <a:bodyPr vert="eaVert" wrap="none" lIns="0" tIns="0" rIns="0" bIns="0" rtlCol="0">
              <a:spAutoFit/>
            </a:bodyPr>
            <a:lstStyle/>
            <a:p>
              <a:r>
                <a:rPr lang="en-US" sz="1200" b="1" dirty="0">
                  <a:solidFill>
                    <a:srgbClr val="7F7F7F"/>
                  </a:solidFill>
                </a:rPr>
                <a:t>100%</a:t>
              </a:r>
            </a:p>
          </p:txBody>
        </p:sp>
        <p:grpSp>
          <p:nvGrpSpPr>
            <p:cNvPr id="6" name="Group 5">
              <a:extLst>
                <a:ext uri="{FF2B5EF4-FFF2-40B4-BE49-F238E27FC236}">
                  <a16:creationId xmlns:a16="http://schemas.microsoft.com/office/drawing/2014/main" id="{D56BF8C3-3D55-4B7B-A061-456034E266F0}"/>
                </a:ext>
              </a:extLst>
            </p:cNvPr>
            <p:cNvGrpSpPr/>
            <p:nvPr/>
          </p:nvGrpSpPr>
          <p:grpSpPr>
            <a:xfrm>
              <a:off x="4069145" y="7612009"/>
              <a:ext cx="4572002" cy="145963"/>
              <a:chOff x="850424" y="5521090"/>
              <a:chExt cx="10515600" cy="321366"/>
            </a:xfrm>
          </p:grpSpPr>
          <p:grpSp>
            <p:nvGrpSpPr>
              <p:cNvPr id="82" name="Group 81">
                <a:extLst>
                  <a:ext uri="{FF2B5EF4-FFF2-40B4-BE49-F238E27FC236}">
                    <a16:creationId xmlns:a16="http://schemas.microsoft.com/office/drawing/2014/main" id="{7D8E6915-7A08-454D-916B-A9F13BB4334F}"/>
                  </a:ext>
                </a:extLst>
              </p:cNvPr>
              <p:cNvGrpSpPr/>
              <p:nvPr/>
            </p:nvGrpSpPr>
            <p:grpSpPr>
              <a:xfrm>
                <a:off x="860364" y="5521090"/>
                <a:ext cx="9814461" cy="321366"/>
                <a:chOff x="839788" y="5642114"/>
                <a:chExt cx="10545417" cy="321366"/>
              </a:xfrm>
            </p:grpSpPr>
            <p:cxnSp>
              <p:nvCxnSpPr>
                <p:cNvPr id="91" name="Straight Connector 90">
                  <a:extLst>
                    <a:ext uri="{FF2B5EF4-FFF2-40B4-BE49-F238E27FC236}">
                      <a16:creationId xmlns:a16="http://schemas.microsoft.com/office/drawing/2014/main" id="{3FD2E64C-F888-4EE3-A694-AF50FF2F3E04}"/>
                    </a:ext>
                  </a:extLst>
                </p:cNvPr>
                <p:cNvCxnSpPr/>
                <p:nvPr/>
              </p:nvCxnSpPr>
              <p:spPr>
                <a:xfrm>
                  <a:off x="839788" y="5797827"/>
                  <a:ext cx="0" cy="165653"/>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F2F4187-96BC-4BC4-A0D6-2531210CAC87}"/>
                    </a:ext>
                  </a:extLst>
                </p:cNvPr>
                <p:cNvCxnSpPr/>
                <p:nvPr/>
              </p:nvCxnSpPr>
              <p:spPr>
                <a:xfrm>
                  <a:off x="2948871" y="5797827"/>
                  <a:ext cx="0" cy="165653"/>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D91D602-BF78-47B7-83F2-BDB72693365E}"/>
                    </a:ext>
                  </a:extLst>
                </p:cNvPr>
                <p:cNvCxnSpPr/>
                <p:nvPr/>
              </p:nvCxnSpPr>
              <p:spPr>
                <a:xfrm>
                  <a:off x="5057954" y="5642114"/>
                  <a:ext cx="0" cy="321366"/>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DDEC99B-F631-4489-B6F7-F6DECB8EAC3B}"/>
                    </a:ext>
                  </a:extLst>
                </p:cNvPr>
                <p:cNvCxnSpPr/>
                <p:nvPr/>
              </p:nvCxnSpPr>
              <p:spPr>
                <a:xfrm>
                  <a:off x="7167037" y="5642114"/>
                  <a:ext cx="0" cy="321366"/>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36EA1AC-4BA1-4155-AC1E-22634B4E7888}"/>
                    </a:ext>
                  </a:extLst>
                </p:cNvPr>
                <p:cNvCxnSpPr/>
                <p:nvPr/>
              </p:nvCxnSpPr>
              <p:spPr>
                <a:xfrm>
                  <a:off x="11385205" y="5642114"/>
                  <a:ext cx="0" cy="155713"/>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5CFB04A-B428-4DBF-96FB-6677ABAA2500}"/>
                    </a:ext>
                  </a:extLst>
                </p:cNvPr>
                <p:cNvCxnSpPr/>
                <p:nvPr/>
              </p:nvCxnSpPr>
              <p:spPr>
                <a:xfrm>
                  <a:off x="9276120" y="5642114"/>
                  <a:ext cx="0" cy="155713"/>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97" name="Straight Arrow Connector 96">
                <a:extLst>
                  <a:ext uri="{FF2B5EF4-FFF2-40B4-BE49-F238E27FC236}">
                    <a16:creationId xmlns:a16="http://schemas.microsoft.com/office/drawing/2014/main" id="{CBAFC000-2332-47B6-9371-E7BAFB5F8BE2}"/>
                  </a:ext>
                </a:extLst>
              </p:cNvPr>
              <p:cNvCxnSpPr/>
              <p:nvPr/>
            </p:nvCxnSpPr>
            <p:spPr>
              <a:xfrm>
                <a:off x="850424" y="5676803"/>
                <a:ext cx="10515600" cy="0"/>
              </a:xfrm>
              <a:prstGeom prst="straightConnector1">
                <a:avLst/>
              </a:prstGeom>
              <a:ln w="28575">
                <a:solidFill>
                  <a:srgbClr val="7F7F7F"/>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3" name="Group 2">
            <a:extLst>
              <a:ext uri="{FF2B5EF4-FFF2-40B4-BE49-F238E27FC236}">
                <a16:creationId xmlns:a16="http://schemas.microsoft.com/office/drawing/2014/main" id="{737C861D-64DB-4158-8BEB-20ADA65E810B}"/>
              </a:ext>
            </a:extLst>
          </p:cNvPr>
          <p:cNvGrpSpPr/>
          <p:nvPr/>
        </p:nvGrpSpPr>
        <p:grpSpPr>
          <a:xfrm>
            <a:off x="6256976" y="1483820"/>
            <a:ext cx="4937760" cy="3383280"/>
            <a:chOff x="6256976" y="1483820"/>
            <a:chExt cx="4937760" cy="3383280"/>
          </a:xfrm>
        </p:grpSpPr>
        <p:sp>
          <p:nvSpPr>
            <p:cNvPr id="98" name="Rectangle: Rounded Corners 49">
              <a:extLst>
                <a:ext uri="{FF2B5EF4-FFF2-40B4-BE49-F238E27FC236}">
                  <a16:creationId xmlns:a16="http://schemas.microsoft.com/office/drawing/2014/main" id="{91D500BA-5495-4CCA-8794-9F6A151A16D7}"/>
                </a:ext>
              </a:extLst>
            </p:cNvPr>
            <p:cNvSpPr/>
            <p:nvPr/>
          </p:nvSpPr>
          <p:spPr>
            <a:xfrm>
              <a:off x="6256976" y="1483820"/>
              <a:ext cx="4937760" cy="3383280"/>
            </a:xfrm>
            <a:prstGeom prst="roundRect">
              <a:avLst>
                <a:gd name="adj" fmla="val 484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a:extLst>
                <a:ext uri="{FF2B5EF4-FFF2-40B4-BE49-F238E27FC236}">
                  <a16:creationId xmlns:a16="http://schemas.microsoft.com/office/drawing/2014/main" id="{53EE1A46-B2F8-4E6D-AA7C-000C80E905E3}"/>
                </a:ext>
              </a:extLst>
            </p:cNvPr>
            <p:cNvGrpSpPr>
              <a:grpSpLocks noChangeAspect="1"/>
            </p:cNvGrpSpPr>
            <p:nvPr/>
          </p:nvGrpSpPr>
          <p:grpSpPr>
            <a:xfrm>
              <a:off x="6529442" y="1574232"/>
              <a:ext cx="579276" cy="579276"/>
              <a:chOff x="7927399" y="1840798"/>
              <a:chExt cx="767943" cy="767943"/>
            </a:xfrm>
          </p:grpSpPr>
          <p:pic>
            <p:nvPicPr>
              <p:cNvPr id="124" name="Picture 123">
                <a:extLst>
                  <a:ext uri="{FF2B5EF4-FFF2-40B4-BE49-F238E27FC236}">
                    <a16:creationId xmlns:a16="http://schemas.microsoft.com/office/drawing/2014/main" id="{006DBF1D-0C5E-4506-AEA3-3FA5A822ABED}"/>
                  </a:ext>
                </a:extLst>
              </p:cNvPr>
              <p:cNvPicPr>
                <a:picLocks noChangeAspect="1"/>
              </p:cNvPicPr>
              <p:nvPr/>
            </p:nvPicPr>
            <p:blipFill>
              <a:blip r:embed="rId3"/>
              <a:stretch>
                <a:fillRect/>
              </a:stretch>
            </p:blipFill>
            <p:spPr>
              <a:xfrm>
                <a:off x="8000965" y="2081550"/>
                <a:ext cx="620810" cy="277944"/>
              </a:xfrm>
              <a:prstGeom prst="rect">
                <a:avLst/>
              </a:prstGeom>
            </p:spPr>
          </p:pic>
          <p:sp>
            <p:nvSpPr>
              <p:cNvPr id="125" name="Oval 124">
                <a:extLst>
                  <a:ext uri="{FF2B5EF4-FFF2-40B4-BE49-F238E27FC236}">
                    <a16:creationId xmlns:a16="http://schemas.microsoft.com/office/drawing/2014/main" id="{E58DA668-70C7-44DC-9D98-8BB38BCE9A85}"/>
                  </a:ext>
                </a:extLst>
              </p:cNvPr>
              <p:cNvSpPr/>
              <p:nvPr/>
            </p:nvSpPr>
            <p:spPr>
              <a:xfrm>
                <a:off x="7927399" y="1840798"/>
                <a:ext cx="767943" cy="767943"/>
              </a:xfrm>
              <a:prstGeom prst="ellipse">
                <a:avLst/>
              </a:prstGeom>
              <a:noFill/>
              <a:ln w="28575">
                <a:solidFill>
                  <a:srgbClr val="95C5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7" name="TextBox 146">
              <a:extLst>
                <a:ext uri="{FF2B5EF4-FFF2-40B4-BE49-F238E27FC236}">
                  <a16:creationId xmlns:a16="http://schemas.microsoft.com/office/drawing/2014/main" id="{58AFF428-F3DE-46CE-810D-4A5221CF1FF9}"/>
                </a:ext>
              </a:extLst>
            </p:cNvPr>
            <p:cNvSpPr txBox="1"/>
            <p:nvPr/>
          </p:nvSpPr>
          <p:spPr>
            <a:xfrm>
              <a:off x="9391123" y="1731202"/>
              <a:ext cx="1562868" cy="243723"/>
            </a:xfrm>
            <a:prstGeom prst="rect">
              <a:avLst/>
            </a:prstGeom>
            <a:noFill/>
          </p:spPr>
          <p:txBody>
            <a:bodyPr wrap="none" rtlCol="0">
              <a:spAutoFit/>
            </a:bodyPr>
            <a:lstStyle/>
            <a:p>
              <a:pPr algn="r"/>
              <a:r>
                <a:rPr lang="en-US" sz="1400" dirty="0">
                  <a:latin typeface="+mn-lt"/>
                </a:rPr>
                <a:t>Industrial Safety / Leakage </a:t>
              </a:r>
            </a:p>
          </p:txBody>
        </p:sp>
        <p:grpSp>
          <p:nvGrpSpPr>
            <p:cNvPr id="145" name="Group 144">
              <a:extLst>
                <a:ext uri="{FF2B5EF4-FFF2-40B4-BE49-F238E27FC236}">
                  <a16:creationId xmlns:a16="http://schemas.microsoft.com/office/drawing/2014/main" id="{8C064113-C1DC-4C82-BE02-2D0142C05A1E}"/>
                </a:ext>
              </a:extLst>
            </p:cNvPr>
            <p:cNvGrpSpPr>
              <a:grpSpLocks noChangeAspect="1"/>
            </p:cNvGrpSpPr>
            <p:nvPr/>
          </p:nvGrpSpPr>
          <p:grpSpPr>
            <a:xfrm>
              <a:off x="6805149" y="2285249"/>
              <a:ext cx="579276" cy="579276"/>
              <a:chOff x="7927399" y="2711928"/>
              <a:chExt cx="767943" cy="767943"/>
            </a:xfrm>
          </p:grpSpPr>
          <p:pic>
            <p:nvPicPr>
              <p:cNvPr id="121" name="Picture 10" descr="POL-EKO Laboratory incubator CLW">
                <a:extLst>
                  <a:ext uri="{FF2B5EF4-FFF2-40B4-BE49-F238E27FC236}">
                    <a16:creationId xmlns:a16="http://schemas.microsoft.com/office/drawing/2014/main" id="{04422F84-247D-4B8C-8215-3C9E6F66C85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41869" y="2856821"/>
                <a:ext cx="539002" cy="539002"/>
              </a:xfrm>
              <a:prstGeom prst="rect">
                <a:avLst/>
              </a:prstGeom>
              <a:noFill/>
              <a:extLst>
                <a:ext uri="{909E8E84-426E-40DD-AFC4-6F175D3DCCD1}">
                  <a14:hiddenFill xmlns:a14="http://schemas.microsoft.com/office/drawing/2010/main">
                    <a:solidFill>
                      <a:srgbClr val="FFFFFF"/>
                    </a:solidFill>
                  </a14:hiddenFill>
                </a:ext>
              </a:extLst>
            </p:spPr>
          </p:pic>
          <p:sp>
            <p:nvSpPr>
              <p:cNvPr id="122" name="Oval 121">
                <a:extLst>
                  <a:ext uri="{FF2B5EF4-FFF2-40B4-BE49-F238E27FC236}">
                    <a16:creationId xmlns:a16="http://schemas.microsoft.com/office/drawing/2014/main" id="{6ED4F50E-9137-41BF-9052-2CE0EB5555F6}"/>
                  </a:ext>
                </a:extLst>
              </p:cNvPr>
              <p:cNvSpPr/>
              <p:nvPr/>
            </p:nvSpPr>
            <p:spPr>
              <a:xfrm>
                <a:off x="7927399" y="2711928"/>
                <a:ext cx="767943" cy="767943"/>
              </a:xfrm>
              <a:prstGeom prst="ellipse">
                <a:avLst/>
              </a:prstGeom>
              <a:noFill/>
              <a:ln w="28575">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9" name="TextBox 148">
              <a:extLst>
                <a:ext uri="{FF2B5EF4-FFF2-40B4-BE49-F238E27FC236}">
                  <a16:creationId xmlns:a16="http://schemas.microsoft.com/office/drawing/2014/main" id="{7373FFCC-10A2-46B9-A70F-4461A86955F9}"/>
                </a:ext>
              </a:extLst>
            </p:cNvPr>
            <p:cNvSpPr txBox="1"/>
            <p:nvPr/>
          </p:nvSpPr>
          <p:spPr>
            <a:xfrm>
              <a:off x="10287310" y="2442220"/>
              <a:ext cx="666681" cy="243723"/>
            </a:xfrm>
            <a:prstGeom prst="rect">
              <a:avLst/>
            </a:prstGeom>
            <a:noFill/>
          </p:spPr>
          <p:txBody>
            <a:bodyPr wrap="none" rtlCol="0">
              <a:spAutoFit/>
            </a:bodyPr>
            <a:lstStyle/>
            <a:p>
              <a:pPr algn="r"/>
              <a:r>
                <a:rPr lang="en-US" sz="1400" dirty="0">
                  <a:latin typeface="+mn-lt"/>
                </a:rPr>
                <a:t>Incubator </a:t>
              </a:r>
            </a:p>
          </p:txBody>
        </p:sp>
        <p:pic>
          <p:nvPicPr>
            <p:cNvPr id="119" name="Picture 8" descr="Lumen claims a 'single breath' can help you lose weight | Engadget">
              <a:extLst>
                <a:ext uri="{FF2B5EF4-FFF2-40B4-BE49-F238E27FC236}">
                  <a16:creationId xmlns:a16="http://schemas.microsoft.com/office/drawing/2014/main" id="{83AFEDE1-7922-4C75-97C3-893ED07A893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4324" r="18284"/>
            <a:stretch/>
          </p:blipFill>
          <p:spPr bwMode="auto">
            <a:xfrm>
              <a:off x="7080856" y="2996266"/>
              <a:ext cx="579276" cy="579276"/>
            </a:xfrm>
            <a:prstGeom prst="ellipse">
              <a:avLst/>
            </a:prstGeom>
            <a:noFill/>
            <a:ln w="28575">
              <a:solidFill>
                <a:schemeClr val="bg2">
                  <a:lumMod val="65000"/>
                </a:schemeClr>
              </a:solidFill>
            </a:ln>
            <a:extLst>
              <a:ext uri="{909E8E84-426E-40DD-AFC4-6F175D3DCCD1}">
                <a14:hiddenFill xmlns:a14="http://schemas.microsoft.com/office/drawing/2010/main">
                  <a:solidFill>
                    <a:srgbClr val="FFFFFF"/>
                  </a:solidFill>
                </a14:hiddenFill>
              </a:ext>
            </a:extLst>
          </p:spPr>
        </p:pic>
        <p:sp>
          <p:nvSpPr>
            <p:cNvPr id="155" name="TextBox 154">
              <a:extLst>
                <a:ext uri="{FF2B5EF4-FFF2-40B4-BE49-F238E27FC236}">
                  <a16:creationId xmlns:a16="http://schemas.microsoft.com/office/drawing/2014/main" id="{B515D84A-0D7D-4F3F-B1BA-E86B586E43CB}"/>
                </a:ext>
              </a:extLst>
            </p:cNvPr>
            <p:cNvSpPr txBox="1"/>
            <p:nvPr/>
          </p:nvSpPr>
          <p:spPr>
            <a:xfrm>
              <a:off x="10204799" y="3153237"/>
              <a:ext cx="749192" cy="243723"/>
            </a:xfrm>
            <a:prstGeom prst="rect">
              <a:avLst/>
            </a:prstGeom>
            <a:noFill/>
          </p:spPr>
          <p:txBody>
            <a:bodyPr wrap="none" rtlCol="0">
              <a:spAutoFit/>
            </a:bodyPr>
            <a:lstStyle/>
            <a:p>
              <a:pPr algn="r"/>
              <a:r>
                <a:rPr lang="en-US" sz="1400" dirty="0">
                  <a:latin typeface="+mn-lt"/>
                </a:rPr>
                <a:t>Fat Burning</a:t>
              </a:r>
            </a:p>
          </p:txBody>
        </p:sp>
        <p:pic>
          <p:nvPicPr>
            <p:cNvPr id="117" name="Picture 12" descr="Food Cargo Exporting/shipments With Certificate Of Heathy From Guangzhou To  Calcutta - Buy Intl Air Freight From Shenzhen To Calcutta,Sea Freight  Rates,Companies Looking For Agents Product on Alibaba.com">
              <a:extLst>
                <a:ext uri="{FF2B5EF4-FFF2-40B4-BE49-F238E27FC236}">
                  <a16:creationId xmlns:a16="http://schemas.microsoft.com/office/drawing/2014/main" id="{4096A860-F735-42C2-8A83-C8B912CD2AB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6564" y="3707284"/>
              <a:ext cx="570153" cy="570153"/>
            </a:xfrm>
            <a:prstGeom prst="ellipse">
              <a:avLst/>
            </a:prstGeom>
            <a:noFill/>
            <a:ln w="28575">
              <a:solidFill>
                <a:schemeClr val="bg2">
                  <a:lumMod val="65000"/>
                </a:schemeClr>
              </a:solidFill>
            </a:ln>
            <a:extLst>
              <a:ext uri="{909E8E84-426E-40DD-AFC4-6F175D3DCCD1}">
                <a14:hiddenFill xmlns:a14="http://schemas.microsoft.com/office/drawing/2010/main">
                  <a:solidFill>
                    <a:srgbClr val="FFFFFF"/>
                  </a:solidFill>
                </a14:hiddenFill>
              </a:ext>
            </a:extLst>
          </p:spPr>
        </p:pic>
        <p:sp>
          <p:nvSpPr>
            <p:cNvPr id="158" name="TextBox 157">
              <a:extLst>
                <a:ext uri="{FF2B5EF4-FFF2-40B4-BE49-F238E27FC236}">
                  <a16:creationId xmlns:a16="http://schemas.microsoft.com/office/drawing/2014/main" id="{B5FF7390-6CA0-4AFD-9884-FF65B7E82E7D}"/>
                </a:ext>
              </a:extLst>
            </p:cNvPr>
            <p:cNvSpPr txBox="1"/>
            <p:nvPr/>
          </p:nvSpPr>
          <p:spPr>
            <a:xfrm>
              <a:off x="9641193" y="3859692"/>
              <a:ext cx="1312798" cy="243723"/>
            </a:xfrm>
            <a:prstGeom prst="rect">
              <a:avLst/>
            </a:prstGeom>
            <a:noFill/>
          </p:spPr>
          <p:txBody>
            <a:bodyPr wrap="none" rtlCol="0">
              <a:spAutoFit/>
            </a:bodyPr>
            <a:lstStyle/>
            <a:p>
              <a:pPr algn="r"/>
              <a:r>
                <a:rPr lang="en-US" sz="1400" dirty="0">
                  <a:latin typeface="+mn-lt"/>
                </a:rPr>
                <a:t>Food Storage / Cargo </a:t>
              </a:r>
            </a:p>
          </p:txBody>
        </p:sp>
        <p:grpSp>
          <p:nvGrpSpPr>
            <p:cNvPr id="17" name="Group 16">
              <a:extLst>
                <a:ext uri="{FF2B5EF4-FFF2-40B4-BE49-F238E27FC236}">
                  <a16:creationId xmlns:a16="http://schemas.microsoft.com/office/drawing/2014/main" id="{75045105-4489-4063-929F-C7E111DE769A}"/>
                </a:ext>
              </a:extLst>
            </p:cNvPr>
            <p:cNvGrpSpPr/>
            <p:nvPr/>
          </p:nvGrpSpPr>
          <p:grpSpPr>
            <a:xfrm>
              <a:off x="7195065" y="2025114"/>
              <a:ext cx="3758927" cy="2128490"/>
              <a:chOff x="9138726" y="2025114"/>
              <a:chExt cx="1815265" cy="2128490"/>
            </a:xfrm>
          </p:grpSpPr>
          <p:cxnSp>
            <p:nvCxnSpPr>
              <p:cNvPr id="148" name="Straight Connector 147">
                <a:extLst>
                  <a:ext uri="{FF2B5EF4-FFF2-40B4-BE49-F238E27FC236}">
                    <a16:creationId xmlns:a16="http://schemas.microsoft.com/office/drawing/2014/main" id="{86869F12-4F01-4799-AED8-E8734E09827A}"/>
                  </a:ext>
                </a:extLst>
              </p:cNvPr>
              <p:cNvCxnSpPr>
                <a:cxnSpLocks/>
              </p:cNvCxnSpPr>
              <p:nvPr/>
            </p:nvCxnSpPr>
            <p:spPr>
              <a:xfrm>
                <a:off x="9138726" y="2025114"/>
                <a:ext cx="181526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3407C70-DEA3-42B6-81B9-7D09875A971E}"/>
                  </a:ext>
                </a:extLst>
              </p:cNvPr>
              <p:cNvCxnSpPr>
                <a:cxnSpLocks/>
              </p:cNvCxnSpPr>
              <p:nvPr/>
            </p:nvCxnSpPr>
            <p:spPr>
              <a:xfrm>
                <a:off x="9306406" y="2736132"/>
                <a:ext cx="164758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E880FD8-304A-47BB-B91D-4BC2E3EA02AB}"/>
                  </a:ext>
                </a:extLst>
              </p:cNvPr>
              <p:cNvCxnSpPr>
                <a:cxnSpLocks/>
              </p:cNvCxnSpPr>
              <p:nvPr/>
            </p:nvCxnSpPr>
            <p:spPr>
              <a:xfrm>
                <a:off x="9435080" y="3447149"/>
                <a:ext cx="151891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F4EEDF28-600E-4062-9947-F1FA7F1BEA02}"/>
                  </a:ext>
                </a:extLst>
              </p:cNvPr>
              <p:cNvCxnSpPr>
                <a:cxnSpLocks/>
              </p:cNvCxnSpPr>
              <p:nvPr/>
            </p:nvCxnSpPr>
            <p:spPr>
              <a:xfrm>
                <a:off x="9554980" y="4153604"/>
                <a:ext cx="139901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grpSp>
        <p:nvGrpSpPr>
          <p:cNvPr id="4" name="Group 3">
            <a:extLst>
              <a:ext uri="{FF2B5EF4-FFF2-40B4-BE49-F238E27FC236}">
                <a16:creationId xmlns:a16="http://schemas.microsoft.com/office/drawing/2014/main" id="{DE20CFAE-1701-44AE-AE26-657D594890A1}"/>
              </a:ext>
            </a:extLst>
          </p:cNvPr>
          <p:cNvGrpSpPr/>
          <p:nvPr/>
        </p:nvGrpSpPr>
        <p:grpSpPr>
          <a:xfrm>
            <a:off x="839768" y="1483820"/>
            <a:ext cx="4937760" cy="3383280"/>
            <a:chOff x="839768" y="1483820"/>
            <a:chExt cx="4937760" cy="3383280"/>
          </a:xfrm>
        </p:grpSpPr>
        <p:sp>
          <p:nvSpPr>
            <p:cNvPr id="13" name="Rectangle: Rounded Corners 49">
              <a:extLst>
                <a:ext uri="{FF2B5EF4-FFF2-40B4-BE49-F238E27FC236}">
                  <a16:creationId xmlns:a16="http://schemas.microsoft.com/office/drawing/2014/main" id="{929E0584-83E1-8644-8084-C0CA5653BE68}"/>
                </a:ext>
              </a:extLst>
            </p:cNvPr>
            <p:cNvSpPr/>
            <p:nvPr/>
          </p:nvSpPr>
          <p:spPr>
            <a:xfrm>
              <a:off x="839768" y="1483820"/>
              <a:ext cx="4937760" cy="3383280"/>
            </a:xfrm>
            <a:prstGeom prst="roundRect">
              <a:avLst>
                <a:gd name="adj" fmla="val 484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 name="Picture 6" descr="The Economics of Local Vertical and Greenhouse Farming Are Getting  Competitive - AgFunderNews">
              <a:extLst>
                <a:ext uri="{FF2B5EF4-FFF2-40B4-BE49-F238E27FC236}">
                  <a16:creationId xmlns:a16="http://schemas.microsoft.com/office/drawing/2014/main" id="{CA0B47C3-08C0-4D65-ABA1-4A99DE6D6B4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24862"/>
            <a:stretch/>
          </p:blipFill>
          <p:spPr bwMode="auto">
            <a:xfrm>
              <a:off x="4621357" y="3081784"/>
              <a:ext cx="435255" cy="434457"/>
            </a:xfrm>
            <a:prstGeom prst="ellipse">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sp>
          <p:nvSpPr>
            <p:cNvPr id="136" name="TextBox 135">
              <a:extLst>
                <a:ext uri="{FF2B5EF4-FFF2-40B4-BE49-F238E27FC236}">
                  <a16:creationId xmlns:a16="http://schemas.microsoft.com/office/drawing/2014/main" id="{F1002382-D643-4B4C-B545-10E83701DE1A}"/>
                </a:ext>
              </a:extLst>
            </p:cNvPr>
            <p:cNvSpPr txBox="1"/>
            <p:nvPr/>
          </p:nvSpPr>
          <p:spPr>
            <a:xfrm>
              <a:off x="1238009" y="3177152"/>
              <a:ext cx="1042273" cy="307777"/>
            </a:xfrm>
            <a:prstGeom prst="rect">
              <a:avLst/>
            </a:prstGeom>
            <a:noFill/>
          </p:spPr>
          <p:txBody>
            <a:bodyPr wrap="none" rtlCol="0">
              <a:spAutoFit/>
            </a:bodyPr>
            <a:lstStyle/>
            <a:p>
              <a:r>
                <a:rPr lang="en-US" sz="1400" b="1" dirty="0">
                  <a:latin typeface="+mn-lt"/>
                </a:rPr>
                <a:t>Greenhouse</a:t>
              </a:r>
            </a:p>
          </p:txBody>
        </p:sp>
        <p:cxnSp>
          <p:nvCxnSpPr>
            <p:cNvPr id="33" name="Straight Connector 32">
              <a:extLst>
                <a:ext uri="{FF2B5EF4-FFF2-40B4-BE49-F238E27FC236}">
                  <a16:creationId xmlns:a16="http://schemas.microsoft.com/office/drawing/2014/main" id="{D0B75E25-03AB-48FA-A139-F53C7927CC3E}"/>
                </a:ext>
              </a:extLst>
            </p:cNvPr>
            <p:cNvCxnSpPr>
              <a:cxnSpLocks/>
            </p:cNvCxnSpPr>
            <p:nvPr/>
          </p:nvCxnSpPr>
          <p:spPr>
            <a:xfrm>
              <a:off x="1238008" y="3476971"/>
              <a:ext cx="33832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14" name="Picture 2" descr="Yashorath Battery Monitoring System, For Industrial, Model: Yash-BMS, Rs  15000 /unit | ID: 16348937630">
              <a:extLst>
                <a:ext uri="{FF2B5EF4-FFF2-40B4-BE49-F238E27FC236}">
                  <a16:creationId xmlns:a16="http://schemas.microsoft.com/office/drawing/2014/main" id="{F3944E9E-88F4-449E-B04A-F8D1C948EA91}"/>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43762"/>
            <a:stretch/>
          </p:blipFill>
          <p:spPr bwMode="auto">
            <a:xfrm>
              <a:off x="4836916" y="3690740"/>
              <a:ext cx="431683" cy="434457"/>
            </a:xfrm>
            <a:prstGeom prst="ellipse">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sp>
          <p:nvSpPr>
            <p:cNvPr id="137" name="TextBox 136">
              <a:extLst>
                <a:ext uri="{FF2B5EF4-FFF2-40B4-BE49-F238E27FC236}">
                  <a16:creationId xmlns:a16="http://schemas.microsoft.com/office/drawing/2014/main" id="{F4256E87-3BDF-4DF7-AC21-19AB1370E8CA}"/>
                </a:ext>
              </a:extLst>
            </p:cNvPr>
            <p:cNvSpPr txBox="1"/>
            <p:nvPr/>
          </p:nvSpPr>
          <p:spPr>
            <a:xfrm>
              <a:off x="1238009" y="3786108"/>
              <a:ext cx="1654262" cy="243722"/>
            </a:xfrm>
            <a:prstGeom prst="rect">
              <a:avLst/>
            </a:prstGeom>
            <a:noFill/>
          </p:spPr>
          <p:txBody>
            <a:bodyPr wrap="none" rtlCol="0">
              <a:spAutoFit/>
            </a:bodyPr>
            <a:lstStyle/>
            <a:p>
              <a:r>
                <a:rPr lang="en-US" sz="1400" dirty="0">
                  <a:latin typeface="+mn-lt"/>
                </a:rPr>
                <a:t>Battery Management System</a:t>
              </a:r>
            </a:p>
          </p:txBody>
        </p:sp>
        <p:cxnSp>
          <p:nvCxnSpPr>
            <p:cNvPr id="139" name="Straight Connector 138">
              <a:extLst>
                <a:ext uri="{FF2B5EF4-FFF2-40B4-BE49-F238E27FC236}">
                  <a16:creationId xmlns:a16="http://schemas.microsoft.com/office/drawing/2014/main" id="{B07F2A8A-42D0-4D79-A044-6F1E03663D1B}"/>
                </a:ext>
              </a:extLst>
            </p:cNvPr>
            <p:cNvCxnSpPr>
              <a:cxnSpLocks/>
            </p:cNvCxnSpPr>
            <p:nvPr/>
          </p:nvCxnSpPr>
          <p:spPr>
            <a:xfrm>
              <a:off x="1238008" y="4079475"/>
              <a:ext cx="35661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04" name="Picture 2" descr="TEMPERATURE MONITORING - Tornum">
              <a:extLst>
                <a:ext uri="{FF2B5EF4-FFF2-40B4-BE49-F238E27FC236}">
                  <a16:creationId xmlns:a16="http://schemas.microsoft.com/office/drawing/2014/main" id="{C2E0FAE9-1E7C-4358-8842-17697954B604}"/>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48548"/>
            <a:stretch/>
          </p:blipFill>
          <p:spPr bwMode="auto">
            <a:xfrm>
              <a:off x="5048902" y="4299696"/>
              <a:ext cx="434457" cy="434457"/>
            </a:xfrm>
            <a:prstGeom prst="ellipse">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sp>
          <p:nvSpPr>
            <p:cNvPr id="138" name="TextBox 137">
              <a:extLst>
                <a:ext uri="{FF2B5EF4-FFF2-40B4-BE49-F238E27FC236}">
                  <a16:creationId xmlns:a16="http://schemas.microsoft.com/office/drawing/2014/main" id="{1357CEF5-A21D-40AE-9624-5C9D51BB7EFC}"/>
                </a:ext>
              </a:extLst>
            </p:cNvPr>
            <p:cNvSpPr txBox="1"/>
            <p:nvPr/>
          </p:nvSpPr>
          <p:spPr>
            <a:xfrm>
              <a:off x="1238009" y="4395064"/>
              <a:ext cx="1339405" cy="243722"/>
            </a:xfrm>
            <a:prstGeom prst="rect">
              <a:avLst/>
            </a:prstGeom>
            <a:noFill/>
          </p:spPr>
          <p:txBody>
            <a:bodyPr wrap="none" rtlCol="0">
              <a:spAutoFit/>
            </a:bodyPr>
            <a:lstStyle/>
            <a:p>
              <a:r>
                <a:rPr lang="en-US" sz="1400" dirty="0">
                  <a:latin typeface="+mn-lt"/>
                </a:rPr>
                <a:t>Grain Bin / Agricultural </a:t>
              </a:r>
            </a:p>
          </p:txBody>
        </p:sp>
        <p:cxnSp>
          <p:nvCxnSpPr>
            <p:cNvPr id="140" name="Straight Connector 139">
              <a:extLst>
                <a:ext uri="{FF2B5EF4-FFF2-40B4-BE49-F238E27FC236}">
                  <a16:creationId xmlns:a16="http://schemas.microsoft.com/office/drawing/2014/main" id="{42CA9DF7-AEDE-4133-AC89-703F64248DCF}"/>
                </a:ext>
              </a:extLst>
            </p:cNvPr>
            <p:cNvCxnSpPr>
              <a:cxnSpLocks/>
            </p:cNvCxnSpPr>
            <p:nvPr/>
          </p:nvCxnSpPr>
          <p:spPr>
            <a:xfrm>
              <a:off x="1238008" y="4694760"/>
              <a:ext cx="38404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6A4B3284-424E-416D-BAFD-EA8B9EEC1195}"/>
                </a:ext>
              </a:extLst>
            </p:cNvPr>
            <p:cNvGrpSpPr>
              <a:grpSpLocks noChangeAspect="1"/>
            </p:cNvGrpSpPr>
            <p:nvPr/>
          </p:nvGrpSpPr>
          <p:grpSpPr>
            <a:xfrm>
              <a:off x="4261777" y="2328008"/>
              <a:ext cx="579276" cy="579276"/>
              <a:chOff x="3818822" y="1943060"/>
              <a:chExt cx="767943" cy="767943"/>
            </a:xfrm>
          </p:grpSpPr>
          <p:pic>
            <p:nvPicPr>
              <p:cNvPr id="130" name="Picture 129">
                <a:extLst>
                  <a:ext uri="{FF2B5EF4-FFF2-40B4-BE49-F238E27FC236}">
                    <a16:creationId xmlns:a16="http://schemas.microsoft.com/office/drawing/2014/main" id="{0820C9FA-B633-40A9-B1B1-EDC7F00FF6C6}"/>
                  </a:ext>
                </a:extLst>
              </p:cNvPr>
              <p:cNvPicPr>
                <a:picLocks noChangeAspect="1"/>
              </p:cNvPicPr>
              <p:nvPr/>
            </p:nvPicPr>
            <p:blipFill>
              <a:blip r:embed="rId10"/>
              <a:stretch>
                <a:fillRect/>
              </a:stretch>
            </p:blipFill>
            <p:spPr>
              <a:xfrm>
                <a:off x="3865448" y="2100984"/>
                <a:ext cx="674691" cy="452095"/>
              </a:xfrm>
              <a:prstGeom prst="roundRect">
                <a:avLst/>
              </a:prstGeom>
              <a:ln w="38100">
                <a:noFill/>
              </a:ln>
            </p:spPr>
          </p:pic>
          <p:sp>
            <p:nvSpPr>
              <p:cNvPr id="132" name="Oval 131">
                <a:extLst>
                  <a:ext uri="{FF2B5EF4-FFF2-40B4-BE49-F238E27FC236}">
                    <a16:creationId xmlns:a16="http://schemas.microsoft.com/office/drawing/2014/main" id="{8208DE7C-121A-4974-9630-A3D39B64D921}"/>
                  </a:ext>
                </a:extLst>
              </p:cNvPr>
              <p:cNvSpPr/>
              <p:nvPr/>
            </p:nvSpPr>
            <p:spPr>
              <a:xfrm>
                <a:off x="3818822" y="1943060"/>
                <a:ext cx="767943" cy="767943"/>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5" name="TextBox 134">
              <a:extLst>
                <a:ext uri="{FF2B5EF4-FFF2-40B4-BE49-F238E27FC236}">
                  <a16:creationId xmlns:a16="http://schemas.microsoft.com/office/drawing/2014/main" id="{C187003F-7CC7-45C2-8BE9-EFDDAB3181B0}"/>
                </a:ext>
              </a:extLst>
            </p:cNvPr>
            <p:cNvSpPr txBox="1"/>
            <p:nvPr/>
          </p:nvSpPr>
          <p:spPr>
            <a:xfrm>
              <a:off x="1238009" y="2495785"/>
              <a:ext cx="1847159" cy="243722"/>
            </a:xfrm>
            <a:prstGeom prst="rect">
              <a:avLst/>
            </a:prstGeom>
            <a:noFill/>
          </p:spPr>
          <p:txBody>
            <a:bodyPr wrap="none" rtlCol="0">
              <a:spAutoFit/>
            </a:bodyPr>
            <a:lstStyle/>
            <a:p>
              <a:r>
                <a:rPr lang="en-US" sz="1400" b="1" dirty="0">
                  <a:latin typeface="+mn-lt"/>
                </a:rPr>
                <a:t>Demand Controlled Ventilation</a:t>
              </a:r>
            </a:p>
          </p:txBody>
        </p:sp>
        <p:cxnSp>
          <p:nvCxnSpPr>
            <p:cNvPr id="141" name="Straight Connector 140">
              <a:extLst>
                <a:ext uri="{FF2B5EF4-FFF2-40B4-BE49-F238E27FC236}">
                  <a16:creationId xmlns:a16="http://schemas.microsoft.com/office/drawing/2014/main" id="{1ACBA394-8F11-49FE-A860-18376A3B2CF2}"/>
                </a:ext>
              </a:extLst>
            </p:cNvPr>
            <p:cNvCxnSpPr>
              <a:cxnSpLocks/>
            </p:cNvCxnSpPr>
            <p:nvPr/>
          </p:nvCxnSpPr>
          <p:spPr>
            <a:xfrm>
              <a:off x="1238008" y="2789697"/>
              <a:ext cx="301752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29AEDFB3-BB46-4FF9-AA38-C88A374AE8E9}"/>
                </a:ext>
              </a:extLst>
            </p:cNvPr>
            <p:cNvGrpSpPr/>
            <p:nvPr/>
          </p:nvGrpSpPr>
          <p:grpSpPr>
            <a:xfrm>
              <a:off x="3902197" y="1574232"/>
              <a:ext cx="579276" cy="579276"/>
              <a:chOff x="4188843" y="1574232"/>
              <a:chExt cx="579276" cy="579276"/>
            </a:xfrm>
          </p:grpSpPr>
          <p:pic>
            <p:nvPicPr>
              <p:cNvPr id="127" name="Picture 126">
                <a:extLst>
                  <a:ext uri="{FF2B5EF4-FFF2-40B4-BE49-F238E27FC236}">
                    <a16:creationId xmlns:a16="http://schemas.microsoft.com/office/drawing/2014/main" id="{2195DFCE-2FD5-42BF-96F2-777D943779F5}"/>
                  </a:ext>
                </a:extLst>
              </p:cNvPr>
              <p:cNvPicPr>
                <a:picLocks noChangeAspect="1"/>
              </p:cNvPicPr>
              <p:nvPr/>
            </p:nvPicPr>
            <p:blipFill>
              <a:blip r:embed="rId11"/>
              <a:stretch>
                <a:fillRect/>
              </a:stretch>
            </p:blipFill>
            <p:spPr>
              <a:xfrm>
                <a:off x="4250505" y="1690225"/>
                <a:ext cx="455952" cy="347290"/>
              </a:xfrm>
              <a:prstGeom prst="rect">
                <a:avLst/>
              </a:prstGeom>
            </p:spPr>
          </p:pic>
          <p:sp>
            <p:nvSpPr>
              <p:cNvPr id="129" name="Oval 128">
                <a:extLst>
                  <a:ext uri="{FF2B5EF4-FFF2-40B4-BE49-F238E27FC236}">
                    <a16:creationId xmlns:a16="http://schemas.microsoft.com/office/drawing/2014/main" id="{4ACDD18E-5B25-4BD3-9CFA-2078A89ED76E}"/>
                  </a:ext>
                </a:extLst>
              </p:cNvPr>
              <p:cNvSpPr/>
              <p:nvPr/>
            </p:nvSpPr>
            <p:spPr>
              <a:xfrm>
                <a:off x="4188843" y="1574232"/>
                <a:ext cx="579276" cy="579276"/>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4" name="TextBox 133">
              <a:extLst>
                <a:ext uri="{FF2B5EF4-FFF2-40B4-BE49-F238E27FC236}">
                  <a16:creationId xmlns:a16="http://schemas.microsoft.com/office/drawing/2014/main" id="{A55FF39D-96C4-4767-854A-F7AC2134B3B0}"/>
                </a:ext>
              </a:extLst>
            </p:cNvPr>
            <p:cNvSpPr txBox="1"/>
            <p:nvPr/>
          </p:nvSpPr>
          <p:spPr>
            <a:xfrm>
              <a:off x="1238009" y="1742009"/>
              <a:ext cx="1399116" cy="243722"/>
            </a:xfrm>
            <a:prstGeom prst="rect">
              <a:avLst/>
            </a:prstGeom>
            <a:noFill/>
          </p:spPr>
          <p:txBody>
            <a:bodyPr wrap="none" rtlCol="0">
              <a:spAutoFit/>
            </a:bodyPr>
            <a:lstStyle/>
            <a:p>
              <a:r>
                <a:rPr lang="en-US" sz="1400" b="1" dirty="0">
                  <a:latin typeface="+mn-lt"/>
                </a:rPr>
                <a:t>IAQ Monitoring Device</a:t>
              </a:r>
            </a:p>
          </p:txBody>
        </p:sp>
        <p:cxnSp>
          <p:nvCxnSpPr>
            <p:cNvPr id="142" name="Straight Connector 141">
              <a:extLst>
                <a:ext uri="{FF2B5EF4-FFF2-40B4-BE49-F238E27FC236}">
                  <a16:creationId xmlns:a16="http://schemas.microsoft.com/office/drawing/2014/main" id="{88DC3806-C13A-4245-85D1-A8F144FF95A4}"/>
                </a:ext>
              </a:extLst>
            </p:cNvPr>
            <p:cNvCxnSpPr>
              <a:cxnSpLocks/>
            </p:cNvCxnSpPr>
            <p:nvPr/>
          </p:nvCxnSpPr>
          <p:spPr>
            <a:xfrm>
              <a:off x="1238008" y="2035921"/>
              <a:ext cx="26517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92" name="Picture 191">
            <a:extLst>
              <a:ext uri="{FF2B5EF4-FFF2-40B4-BE49-F238E27FC236}">
                <a16:creationId xmlns:a16="http://schemas.microsoft.com/office/drawing/2014/main" id="{E7C0B381-CA0E-403F-9CE2-46E352C990CD}"/>
              </a:ext>
            </a:extLst>
          </p:cNvPr>
          <p:cNvPicPr>
            <a:picLocks noChangeAspect="1"/>
          </p:cNvPicPr>
          <p:nvPr/>
        </p:nvPicPr>
        <p:blipFill>
          <a:blip r:embed="rId12"/>
          <a:stretch>
            <a:fillRect/>
          </a:stretch>
        </p:blipFill>
        <p:spPr>
          <a:xfrm>
            <a:off x="10617305" y="4968317"/>
            <a:ext cx="821897" cy="503906"/>
          </a:xfrm>
          <a:prstGeom prst="rect">
            <a:avLst/>
          </a:prstGeom>
        </p:spPr>
      </p:pic>
      <p:grpSp>
        <p:nvGrpSpPr>
          <p:cNvPr id="27" name="Group 26">
            <a:extLst>
              <a:ext uri="{FF2B5EF4-FFF2-40B4-BE49-F238E27FC236}">
                <a16:creationId xmlns:a16="http://schemas.microsoft.com/office/drawing/2014/main" id="{B3D9F787-ACFA-4EE6-B0C0-174F16CF7081}"/>
              </a:ext>
            </a:extLst>
          </p:cNvPr>
          <p:cNvGrpSpPr/>
          <p:nvPr/>
        </p:nvGrpSpPr>
        <p:grpSpPr>
          <a:xfrm>
            <a:off x="814054" y="4936211"/>
            <a:ext cx="9765341" cy="555152"/>
            <a:chOff x="814054" y="4547908"/>
            <a:chExt cx="9765341" cy="555152"/>
          </a:xfrm>
        </p:grpSpPr>
        <p:sp>
          <p:nvSpPr>
            <p:cNvPr id="112" name="Rectangle 111">
              <a:extLst>
                <a:ext uri="{FF2B5EF4-FFF2-40B4-BE49-F238E27FC236}">
                  <a16:creationId xmlns:a16="http://schemas.microsoft.com/office/drawing/2014/main" id="{34512657-916F-41C5-A04B-EE4FB1FFC53D}"/>
                </a:ext>
              </a:extLst>
            </p:cNvPr>
            <p:cNvSpPr/>
            <p:nvPr/>
          </p:nvSpPr>
          <p:spPr>
            <a:xfrm>
              <a:off x="814054" y="4828740"/>
              <a:ext cx="6627042" cy="274320"/>
            </a:xfrm>
            <a:prstGeom prst="rect">
              <a:avLst/>
            </a:prstGeom>
            <a:gradFill>
              <a:gsLst>
                <a:gs pos="4000">
                  <a:schemeClr val="bg1"/>
                </a:gs>
                <a:gs pos="26000">
                  <a:schemeClr val="accent1"/>
                </a:gs>
                <a:gs pos="76000">
                  <a:schemeClr val="accent1"/>
                </a:gs>
                <a:gs pos="99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CD30 / SCD4x</a:t>
              </a:r>
            </a:p>
          </p:txBody>
        </p:sp>
        <p:sp>
          <p:nvSpPr>
            <p:cNvPr id="113" name="Rectangle 112">
              <a:extLst>
                <a:ext uri="{FF2B5EF4-FFF2-40B4-BE49-F238E27FC236}">
                  <a16:creationId xmlns:a16="http://schemas.microsoft.com/office/drawing/2014/main" id="{FE48FA40-4C94-42A7-9B1D-1943AC130DD0}"/>
                </a:ext>
              </a:extLst>
            </p:cNvPr>
            <p:cNvSpPr/>
            <p:nvPr/>
          </p:nvSpPr>
          <p:spPr>
            <a:xfrm>
              <a:off x="6308882" y="4547908"/>
              <a:ext cx="4270513" cy="274320"/>
            </a:xfrm>
            <a:prstGeom prst="rect">
              <a:avLst/>
            </a:prstGeom>
            <a:gradFill>
              <a:gsLst>
                <a:gs pos="4000">
                  <a:schemeClr val="bg1"/>
                </a:gs>
                <a:gs pos="31000">
                  <a:schemeClr val="bg1">
                    <a:lumMod val="6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TC31</a:t>
              </a:r>
            </a:p>
          </p:txBody>
        </p:sp>
      </p:grpSp>
      <p:pic>
        <p:nvPicPr>
          <p:cNvPr id="115" name="Picture 114" descr="A picture containing dishware, tableware&#10;&#10;Description automatically generated">
            <a:extLst>
              <a:ext uri="{FF2B5EF4-FFF2-40B4-BE49-F238E27FC236}">
                <a16:creationId xmlns:a16="http://schemas.microsoft.com/office/drawing/2014/main" id="{E2D03F92-F23B-47AB-9381-DE0D311E237C}"/>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6880" r="10104"/>
          <a:stretch/>
        </p:blipFill>
        <p:spPr>
          <a:xfrm>
            <a:off x="752798" y="5053889"/>
            <a:ext cx="657225" cy="668248"/>
          </a:xfrm>
          <a:prstGeom prst="rect">
            <a:avLst/>
          </a:prstGeom>
        </p:spPr>
      </p:pic>
      <p:sp>
        <p:nvSpPr>
          <p:cNvPr id="7" name="Title 1">
            <a:extLst>
              <a:ext uri="{FF2B5EF4-FFF2-40B4-BE49-F238E27FC236}">
                <a16:creationId xmlns:a16="http://schemas.microsoft.com/office/drawing/2014/main" id="{13E51E81-9D4B-75E7-476D-1610E5C49132}"/>
              </a:ext>
            </a:extLst>
          </p:cNvPr>
          <p:cNvSpPr txBox="1">
            <a:spLocks/>
          </p:cNvSpPr>
          <p:nvPr/>
        </p:nvSpPr>
        <p:spPr>
          <a:xfrm>
            <a:off x="839788" y="283464"/>
            <a:ext cx="10512426" cy="505939"/>
          </a:xfrm>
          <a:prstGeom prst="rect">
            <a:avLst/>
          </a:prstGeom>
        </p:spPr>
        <p:txBody>
          <a:bodyPr lIns="91440" tIns="45720" rIns="91440" bIns="45720" anchor="t"/>
          <a:lst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a:lstStyle>
          <a:p>
            <a:pPr fontAlgn="auto">
              <a:spcAft>
                <a:spcPts val="0"/>
              </a:spcAft>
            </a:pPr>
            <a:r>
              <a:rPr lang="en-US" dirty="0" err="1">
                <a:latin typeface="Arial Narrow"/>
              </a:rPr>
              <a:t>Sensirion</a:t>
            </a:r>
            <a:r>
              <a:rPr lang="en-US" dirty="0">
                <a:latin typeface="Arial Narrow"/>
              </a:rPr>
              <a:t> CO</a:t>
            </a:r>
            <a:r>
              <a:rPr lang="en-US" baseline="-25000" dirty="0">
                <a:latin typeface="Arial Narrow"/>
              </a:rPr>
              <a:t>2 </a:t>
            </a:r>
            <a:r>
              <a:rPr lang="en-US" dirty="0">
                <a:latin typeface="Arial Narrow"/>
              </a:rPr>
              <a:t>Sensor: More Use Cases &amp; Applications</a:t>
            </a:r>
            <a:endParaRPr lang="en-US" dirty="0"/>
          </a:p>
        </p:txBody>
      </p:sp>
    </p:spTree>
    <p:extLst>
      <p:ext uri="{BB962C8B-B14F-4D97-AF65-F5344CB8AC3E}">
        <p14:creationId xmlns:p14="http://schemas.microsoft.com/office/powerpoint/2010/main" val="35273916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1832007-25FE-BE45-9EF7-9D9FCF3F27F3}"/>
              </a:ext>
            </a:extLst>
          </p:cNvPr>
          <p:cNvSpPr txBox="1"/>
          <p:nvPr/>
        </p:nvSpPr>
        <p:spPr>
          <a:xfrm>
            <a:off x="752797" y="743519"/>
            <a:ext cx="11179008" cy="1200329"/>
          </a:xfrm>
          <a:prstGeom prst="rect">
            <a:avLst/>
          </a:prstGeom>
          <a:noFill/>
        </p:spPr>
        <p:txBody>
          <a:bodyPr wrap="square">
            <a:spAutoFit/>
          </a:bodyPr>
          <a:lstStyle/>
          <a:p>
            <a:r>
              <a:rPr lang="en-US" sz="3600" b="1" dirty="0">
                <a:solidFill>
                  <a:schemeClr val="accent1"/>
                </a:solidFill>
              </a:rPr>
              <a:t>Why can Sensirion deliver while competitors cannot?</a:t>
            </a:r>
          </a:p>
          <a:p>
            <a:r>
              <a:rPr lang="en-US" sz="3600" b="1" dirty="0">
                <a:solidFill>
                  <a:schemeClr val="accent1"/>
                </a:solidFill>
                <a:sym typeface="Wingdings" panose="05000000000000000000" pitchFamily="2" charset="2"/>
              </a:rPr>
              <a:t> Critical SCD4x components are produced by Sensirion</a:t>
            </a:r>
            <a:endParaRPr lang="en-US" sz="3600" b="1" dirty="0">
              <a:solidFill>
                <a:schemeClr val="accent1"/>
              </a:solidFill>
            </a:endParaRPr>
          </a:p>
        </p:txBody>
      </p:sp>
      <p:sp>
        <p:nvSpPr>
          <p:cNvPr id="9" name="object 11">
            <a:extLst>
              <a:ext uri="{FF2B5EF4-FFF2-40B4-BE49-F238E27FC236}">
                <a16:creationId xmlns:a16="http://schemas.microsoft.com/office/drawing/2014/main" id="{EA6529B3-5D6A-C349-BBC6-D381BD2983B9}"/>
              </a:ext>
            </a:extLst>
          </p:cNvPr>
          <p:cNvSpPr/>
          <p:nvPr/>
        </p:nvSpPr>
        <p:spPr>
          <a:xfrm>
            <a:off x="9858579" y="6415912"/>
            <a:ext cx="1493634" cy="145006"/>
          </a:xfrm>
          <a:custGeom>
            <a:avLst/>
            <a:gdLst/>
            <a:ahLst/>
            <a:cxnLst/>
            <a:rect l="l" t="t" r="r" b="b"/>
            <a:pathLst>
              <a:path w="3917950" h="380364">
                <a:moveTo>
                  <a:pt x="438912" y="7175"/>
                </a:moveTo>
                <a:lnTo>
                  <a:pt x="170980" y="7175"/>
                </a:lnTo>
                <a:lnTo>
                  <a:pt x="108643" y="11199"/>
                </a:lnTo>
                <a:lnTo>
                  <a:pt x="60671" y="23721"/>
                </a:lnTo>
                <a:lnTo>
                  <a:pt x="26769" y="45421"/>
                </a:lnTo>
                <a:lnTo>
                  <a:pt x="6643" y="76975"/>
                </a:lnTo>
                <a:lnTo>
                  <a:pt x="0" y="119062"/>
                </a:lnTo>
                <a:lnTo>
                  <a:pt x="6182" y="158120"/>
                </a:lnTo>
                <a:lnTo>
                  <a:pt x="25034" y="187643"/>
                </a:lnTo>
                <a:lnTo>
                  <a:pt x="57011" y="208121"/>
                </a:lnTo>
                <a:lnTo>
                  <a:pt x="102570" y="220047"/>
                </a:lnTo>
                <a:lnTo>
                  <a:pt x="162166" y="223913"/>
                </a:lnTo>
                <a:lnTo>
                  <a:pt x="282905" y="223913"/>
                </a:lnTo>
                <a:lnTo>
                  <a:pt x="315141" y="225930"/>
                </a:lnTo>
                <a:lnTo>
                  <a:pt x="337769" y="232808"/>
                </a:lnTo>
                <a:lnTo>
                  <a:pt x="351110" y="245789"/>
                </a:lnTo>
                <a:lnTo>
                  <a:pt x="355485" y="266115"/>
                </a:lnTo>
                <a:lnTo>
                  <a:pt x="350716" y="285891"/>
                </a:lnTo>
                <a:lnTo>
                  <a:pt x="336151" y="298589"/>
                </a:lnTo>
                <a:lnTo>
                  <a:pt x="311406" y="305363"/>
                </a:lnTo>
                <a:lnTo>
                  <a:pt x="276098" y="307365"/>
                </a:lnTo>
                <a:lnTo>
                  <a:pt x="19685" y="307365"/>
                </a:lnTo>
                <a:lnTo>
                  <a:pt x="19685" y="372478"/>
                </a:lnTo>
                <a:lnTo>
                  <a:pt x="292392" y="372478"/>
                </a:lnTo>
                <a:lnTo>
                  <a:pt x="354386" y="368478"/>
                </a:lnTo>
                <a:lnTo>
                  <a:pt x="402148" y="356103"/>
                </a:lnTo>
                <a:lnTo>
                  <a:pt x="435941" y="334789"/>
                </a:lnTo>
                <a:lnTo>
                  <a:pt x="456024" y="303973"/>
                </a:lnTo>
                <a:lnTo>
                  <a:pt x="462661" y="263093"/>
                </a:lnTo>
                <a:lnTo>
                  <a:pt x="456924" y="223039"/>
                </a:lnTo>
                <a:lnTo>
                  <a:pt x="439237" y="193765"/>
                </a:lnTo>
                <a:lnTo>
                  <a:pt x="408886" y="174192"/>
                </a:lnTo>
                <a:lnTo>
                  <a:pt x="365154" y="163240"/>
                </a:lnTo>
                <a:lnTo>
                  <a:pt x="307327" y="159829"/>
                </a:lnTo>
                <a:lnTo>
                  <a:pt x="171653" y="159829"/>
                </a:lnTo>
                <a:lnTo>
                  <a:pt x="143558" y="157344"/>
                </a:lnTo>
                <a:lnTo>
                  <a:pt x="123405" y="149890"/>
                </a:lnTo>
                <a:lnTo>
                  <a:pt x="111263" y="137471"/>
                </a:lnTo>
                <a:lnTo>
                  <a:pt x="107200" y="120091"/>
                </a:lnTo>
                <a:lnTo>
                  <a:pt x="111961" y="98466"/>
                </a:lnTo>
                <a:lnTo>
                  <a:pt x="126452" y="83607"/>
                </a:lnTo>
                <a:lnTo>
                  <a:pt x="150990" y="75039"/>
                </a:lnTo>
                <a:lnTo>
                  <a:pt x="185889" y="72288"/>
                </a:lnTo>
                <a:lnTo>
                  <a:pt x="438912" y="72288"/>
                </a:lnTo>
                <a:lnTo>
                  <a:pt x="438912" y="7175"/>
                </a:lnTo>
                <a:close/>
              </a:path>
              <a:path w="3917950" h="380364">
                <a:moveTo>
                  <a:pt x="908342" y="7175"/>
                </a:moveTo>
                <a:lnTo>
                  <a:pt x="738060" y="7175"/>
                </a:lnTo>
                <a:lnTo>
                  <a:pt x="676022" y="10877"/>
                </a:lnTo>
                <a:lnTo>
                  <a:pt x="624082" y="22091"/>
                </a:lnTo>
                <a:lnTo>
                  <a:pt x="582038" y="40976"/>
                </a:lnTo>
                <a:lnTo>
                  <a:pt x="549688" y="67694"/>
                </a:lnTo>
                <a:lnTo>
                  <a:pt x="526831" y="102404"/>
                </a:lnTo>
                <a:lnTo>
                  <a:pt x="513264" y="145267"/>
                </a:lnTo>
                <a:lnTo>
                  <a:pt x="508787" y="196443"/>
                </a:lnTo>
                <a:lnTo>
                  <a:pt x="513385" y="242623"/>
                </a:lnTo>
                <a:lnTo>
                  <a:pt x="527267" y="281979"/>
                </a:lnTo>
                <a:lnTo>
                  <a:pt x="550562" y="314556"/>
                </a:lnTo>
                <a:lnTo>
                  <a:pt x="583399" y="340398"/>
                </a:lnTo>
                <a:lnTo>
                  <a:pt x="618874" y="357422"/>
                </a:lnTo>
                <a:lnTo>
                  <a:pt x="693386" y="371469"/>
                </a:lnTo>
                <a:lnTo>
                  <a:pt x="735355" y="372478"/>
                </a:lnTo>
                <a:lnTo>
                  <a:pt x="908342" y="372478"/>
                </a:lnTo>
                <a:lnTo>
                  <a:pt x="908342" y="308876"/>
                </a:lnTo>
                <a:lnTo>
                  <a:pt x="740117" y="308876"/>
                </a:lnTo>
                <a:lnTo>
                  <a:pt x="688027" y="304111"/>
                </a:lnTo>
                <a:lnTo>
                  <a:pt x="652094" y="288707"/>
                </a:lnTo>
                <a:lnTo>
                  <a:pt x="631172" y="261004"/>
                </a:lnTo>
                <a:lnTo>
                  <a:pt x="624116" y="219341"/>
                </a:lnTo>
                <a:lnTo>
                  <a:pt x="908342" y="219341"/>
                </a:lnTo>
                <a:lnTo>
                  <a:pt x="908342" y="155778"/>
                </a:lnTo>
                <a:lnTo>
                  <a:pt x="624789" y="155778"/>
                </a:lnTo>
                <a:lnTo>
                  <a:pt x="634126" y="118225"/>
                </a:lnTo>
                <a:lnTo>
                  <a:pt x="656250" y="91703"/>
                </a:lnTo>
                <a:lnTo>
                  <a:pt x="691476" y="75968"/>
                </a:lnTo>
                <a:lnTo>
                  <a:pt x="740117" y="70777"/>
                </a:lnTo>
                <a:lnTo>
                  <a:pt x="908342" y="70777"/>
                </a:lnTo>
                <a:lnTo>
                  <a:pt x="908342" y="7175"/>
                </a:lnTo>
                <a:close/>
              </a:path>
              <a:path w="3917950" h="380364">
                <a:moveTo>
                  <a:pt x="1127442" y="7175"/>
                </a:moveTo>
                <a:lnTo>
                  <a:pt x="997877" y="7175"/>
                </a:lnTo>
                <a:lnTo>
                  <a:pt x="997877" y="372478"/>
                </a:lnTo>
                <a:lnTo>
                  <a:pt x="1098511" y="373087"/>
                </a:lnTo>
                <a:lnTo>
                  <a:pt x="1098245" y="96189"/>
                </a:lnTo>
                <a:lnTo>
                  <a:pt x="1195059" y="96189"/>
                </a:lnTo>
                <a:lnTo>
                  <a:pt x="1127442" y="7175"/>
                </a:lnTo>
                <a:close/>
              </a:path>
              <a:path w="3917950" h="380364">
                <a:moveTo>
                  <a:pt x="1195059" y="96189"/>
                </a:moveTo>
                <a:lnTo>
                  <a:pt x="1098245" y="96189"/>
                </a:lnTo>
                <a:lnTo>
                  <a:pt x="1307884" y="372478"/>
                </a:lnTo>
                <a:lnTo>
                  <a:pt x="1426603" y="372478"/>
                </a:lnTo>
                <a:lnTo>
                  <a:pt x="1426721" y="269697"/>
                </a:lnTo>
                <a:lnTo>
                  <a:pt x="1326857" y="269697"/>
                </a:lnTo>
                <a:lnTo>
                  <a:pt x="1195059" y="96189"/>
                </a:lnTo>
                <a:close/>
              </a:path>
              <a:path w="3917950" h="380364">
                <a:moveTo>
                  <a:pt x="1427022" y="5727"/>
                </a:moveTo>
                <a:lnTo>
                  <a:pt x="1327162" y="6235"/>
                </a:lnTo>
                <a:lnTo>
                  <a:pt x="1326857" y="269697"/>
                </a:lnTo>
                <a:lnTo>
                  <a:pt x="1426721" y="269697"/>
                </a:lnTo>
                <a:lnTo>
                  <a:pt x="1427022" y="5727"/>
                </a:lnTo>
                <a:close/>
              </a:path>
              <a:path w="3917950" h="380364">
                <a:moveTo>
                  <a:pt x="1937397" y="7175"/>
                </a:moveTo>
                <a:lnTo>
                  <a:pt x="1669414" y="7175"/>
                </a:lnTo>
                <a:lnTo>
                  <a:pt x="1607102" y="11199"/>
                </a:lnTo>
                <a:lnTo>
                  <a:pt x="1559141" y="23721"/>
                </a:lnTo>
                <a:lnTo>
                  <a:pt x="1525243" y="45421"/>
                </a:lnTo>
                <a:lnTo>
                  <a:pt x="1505117" y="76975"/>
                </a:lnTo>
                <a:lnTo>
                  <a:pt x="1498473" y="119062"/>
                </a:lnTo>
                <a:lnTo>
                  <a:pt x="1504655" y="158120"/>
                </a:lnTo>
                <a:lnTo>
                  <a:pt x="1523505" y="187643"/>
                </a:lnTo>
                <a:lnTo>
                  <a:pt x="1555476" y="208121"/>
                </a:lnTo>
                <a:lnTo>
                  <a:pt x="1601023" y="220047"/>
                </a:lnTo>
                <a:lnTo>
                  <a:pt x="1660601" y="223913"/>
                </a:lnTo>
                <a:lnTo>
                  <a:pt x="1781365" y="223913"/>
                </a:lnTo>
                <a:lnTo>
                  <a:pt x="1813585" y="225930"/>
                </a:lnTo>
                <a:lnTo>
                  <a:pt x="1836215" y="232808"/>
                </a:lnTo>
                <a:lnTo>
                  <a:pt x="1849565" y="245789"/>
                </a:lnTo>
                <a:lnTo>
                  <a:pt x="1853945" y="266115"/>
                </a:lnTo>
                <a:lnTo>
                  <a:pt x="1849175" y="285891"/>
                </a:lnTo>
                <a:lnTo>
                  <a:pt x="1834610" y="298589"/>
                </a:lnTo>
                <a:lnTo>
                  <a:pt x="1809872" y="305363"/>
                </a:lnTo>
                <a:lnTo>
                  <a:pt x="1774583" y="307365"/>
                </a:lnTo>
                <a:lnTo>
                  <a:pt x="1518145" y="307365"/>
                </a:lnTo>
                <a:lnTo>
                  <a:pt x="1518145" y="372478"/>
                </a:lnTo>
                <a:lnTo>
                  <a:pt x="1790865" y="372478"/>
                </a:lnTo>
                <a:lnTo>
                  <a:pt x="1852857" y="368478"/>
                </a:lnTo>
                <a:lnTo>
                  <a:pt x="1900617" y="356103"/>
                </a:lnTo>
                <a:lnTo>
                  <a:pt x="1934405" y="334789"/>
                </a:lnTo>
                <a:lnTo>
                  <a:pt x="1954486" y="303973"/>
                </a:lnTo>
                <a:lnTo>
                  <a:pt x="1961121" y="263093"/>
                </a:lnTo>
                <a:lnTo>
                  <a:pt x="1955387" y="223039"/>
                </a:lnTo>
                <a:lnTo>
                  <a:pt x="1937705" y="193765"/>
                </a:lnTo>
                <a:lnTo>
                  <a:pt x="1907357" y="174192"/>
                </a:lnTo>
                <a:lnTo>
                  <a:pt x="1863624" y="163240"/>
                </a:lnTo>
                <a:lnTo>
                  <a:pt x="1805787" y="159829"/>
                </a:lnTo>
                <a:lnTo>
                  <a:pt x="1670100" y="159829"/>
                </a:lnTo>
                <a:lnTo>
                  <a:pt x="1642012" y="157344"/>
                </a:lnTo>
                <a:lnTo>
                  <a:pt x="1621872" y="149890"/>
                </a:lnTo>
                <a:lnTo>
                  <a:pt x="1609743" y="137471"/>
                </a:lnTo>
                <a:lnTo>
                  <a:pt x="1605686" y="120091"/>
                </a:lnTo>
                <a:lnTo>
                  <a:pt x="1610440" y="98466"/>
                </a:lnTo>
                <a:lnTo>
                  <a:pt x="1624917" y="83607"/>
                </a:lnTo>
                <a:lnTo>
                  <a:pt x="1649438" y="75039"/>
                </a:lnTo>
                <a:lnTo>
                  <a:pt x="1684324" y="72288"/>
                </a:lnTo>
                <a:lnTo>
                  <a:pt x="1937397" y="72288"/>
                </a:lnTo>
                <a:lnTo>
                  <a:pt x="1937397" y="7175"/>
                </a:lnTo>
                <a:close/>
              </a:path>
              <a:path w="3917950" h="380364">
                <a:moveTo>
                  <a:pt x="2145626" y="7175"/>
                </a:moveTo>
                <a:lnTo>
                  <a:pt x="2038477" y="7175"/>
                </a:lnTo>
                <a:lnTo>
                  <a:pt x="2038477" y="372478"/>
                </a:lnTo>
                <a:lnTo>
                  <a:pt x="2145626" y="372478"/>
                </a:lnTo>
                <a:lnTo>
                  <a:pt x="2145626" y="7175"/>
                </a:lnTo>
                <a:close/>
              </a:path>
              <a:path w="3917950" h="380364">
                <a:moveTo>
                  <a:pt x="2499055" y="7175"/>
                </a:moveTo>
                <a:lnTo>
                  <a:pt x="2246642" y="7175"/>
                </a:lnTo>
                <a:lnTo>
                  <a:pt x="2246642" y="372478"/>
                </a:lnTo>
                <a:lnTo>
                  <a:pt x="2349144" y="372478"/>
                </a:lnTo>
                <a:lnTo>
                  <a:pt x="2349144" y="229019"/>
                </a:lnTo>
                <a:lnTo>
                  <a:pt x="2578237" y="229019"/>
                </a:lnTo>
                <a:lnTo>
                  <a:pt x="2570924" y="219824"/>
                </a:lnTo>
                <a:lnTo>
                  <a:pt x="2612925" y="207406"/>
                </a:lnTo>
                <a:lnTo>
                  <a:pt x="2643787" y="185796"/>
                </a:lnTo>
                <a:lnTo>
                  <a:pt x="2657236" y="164388"/>
                </a:lnTo>
                <a:lnTo>
                  <a:pt x="2349144" y="164388"/>
                </a:lnTo>
                <a:lnTo>
                  <a:pt x="2349144" y="72288"/>
                </a:lnTo>
                <a:lnTo>
                  <a:pt x="2660169" y="72288"/>
                </a:lnTo>
                <a:lnTo>
                  <a:pt x="2642577" y="45198"/>
                </a:lnTo>
                <a:lnTo>
                  <a:pt x="2608779" y="23733"/>
                </a:lnTo>
                <a:lnTo>
                  <a:pt x="2561023" y="11229"/>
                </a:lnTo>
                <a:lnTo>
                  <a:pt x="2499055" y="7175"/>
                </a:lnTo>
                <a:close/>
              </a:path>
              <a:path w="3917950" h="380364">
                <a:moveTo>
                  <a:pt x="2578237" y="229019"/>
                </a:moveTo>
                <a:lnTo>
                  <a:pt x="2469908" y="229019"/>
                </a:lnTo>
                <a:lnTo>
                  <a:pt x="2577045" y="372478"/>
                </a:lnTo>
                <a:lnTo>
                  <a:pt x="2692336" y="372478"/>
                </a:lnTo>
                <a:lnTo>
                  <a:pt x="2578237" y="229019"/>
                </a:lnTo>
                <a:close/>
              </a:path>
              <a:path w="3917950" h="380364">
                <a:moveTo>
                  <a:pt x="2660169" y="72288"/>
                </a:moveTo>
                <a:lnTo>
                  <a:pt x="2474607" y="72288"/>
                </a:lnTo>
                <a:lnTo>
                  <a:pt x="2514574" y="74154"/>
                </a:lnTo>
                <a:lnTo>
                  <a:pt x="2542965" y="81086"/>
                </a:lnTo>
                <a:lnTo>
                  <a:pt x="2559907" y="95080"/>
                </a:lnTo>
                <a:lnTo>
                  <a:pt x="2565527" y="118135"/>
                </a:lnTo>
                <a:lnTo>
                  <a:pt x="2559907" y="140996"/>
                </a:lnTo>
                <a:lnTo>
                  <a:pt x="2542965" y="155159"/>
                </a:lnTo>
                <a:lnTo>
                  <a:pt x="2514574" y="162373"/>
                </a:lnTo>
                <a:lnTo>
                  <a:pt x="2474607" y="164388"/>
                </a:lnTo>
                <a:lnTo>
                  <a:pt x="2657236" y="164388"/>
                </a:lnTo>
                <a:lnTo>
                  <a:pt x="2662814" y="155510"/>
                </a:lnTo>
                <a:lnTo>
                  <a:pt x="2669311" y="117068"/>
                </a:lnTo>
                <a:lnTo>
                  <a:pt x="2662670" y="76139"/>
                </a:lnTo>
                <a:lnTo>
                  <a:pt x="2660169" y="72288"/>
                </a:lnTo>
                <a:close/>
              </a:path>
              <a:path w="3917950" h="380364">
                <a:moveTo>
                  <a:pt x="2863354" y="7175"/>
                </a:moveTo>
                <a:lnTo>
                  <a:pt x="2756103" y="7175"/>
                </a:lnTo>
                <a:lnTo>
                  <a:pt x="2756103" y="372478"/>
                </a:lnTo>
                <a:lnTo>
                  <a:pt x="2863354" y="372478"/>
                </a:lnTo>
                <a:lnTo>
                  <a:pt x="2863354" y="7175"/>
                </a:lnTo>
                <a:close/>
              </a:path>
              <a:path w="3917950" h="380364">
                <a:moveTo>
                  <a:pt x="3176003" y="0"/>
                </a:moveTo>
                <a:lnTo>
                  <a:pt x="3118606" y="2856"/>
                </a:lnTo>
                <a:lnTo>
                  <a:pt x="3069116" y="11432"/>
                </a:lnTo>
                <a:lnTo>
                  <a:pt x="3027357" y="25802"/>
                </a:lnTo>
                <a:lnTo>
                  <a:pt x="2993315" y="46010"/>
                </a:lnTo>
                <a:lnTo>
                  <a:pt x="2948158" y="104150"/>
                </a:lnTo>
                <a:lnTo>
                  <a:pt x="2936934" y="142187"/>
                </a:lnTo>
                <a:lnTo>
                  <a:pt x="2933204" y="186270"/>
                </a:lnTo>
                <a:lnTo>
                  <a:pt x="2936765" y="232712"/>
                </a:lnTo>
                <a:lnTo>
                  <a:pt x="2947580" y="272562"/>
                </a:lnTo>
                <a:lnTo>
                  <a:pt x="2991772" y="332981"/>
                </a:lnTo>
                <a:lnTo>
                  <a:pt x="3025549" y="353796"/>
                </a:lnTo>
                <a:lnTo>
                  <a:pt x="3067380" y="368511"/>
                </a:lnTo>
                <a:lnTo>
                  <a:pt x="3117465" y="377250"/>
                </a:lnTo>
                <a:lnTo>
                  <a:pt x="3176003" y="380136"/>
                </a:lnTo>
                <a:lnTo>
                  <a:pt x="3234011" y="377250"/>
                </a:lnTo>
                <a:lnTo>
                  <a:pt x="3283803" y="368566"/>
                </a:lnTo>
                <a:lnTo>
                  <a:pt x="3325623" y="353982"/>
                </a:lnTo>
                <a:lnTo>
                  <a:pt x="3359557" y="333424"/>
                </a:lnTo>
                <a:lnTo>
                  <a:pt x="3375693" y="317017"/>
                </a:lnTo>
                <a:lnTo>
                  <a:pt x="3176003" y="317017"/>
                </a:lnTo>
                <a:lnTo>
                  <a:pt x="3127238" y="312018"/>
                </a:lnTo>
                <a:lnTo>
                  <a:pt x="3090372" y="296811"/>
                </a:lnTo>
                <a:lnTo>
                  <a:pt x="3064795" y="271077"/>
                </a:lnTo>
                <a:lnTo>
                  <a:pt x="3049896" y="234497"/>
                </a:lnTo>
                <a:lnTo>
                  <a:pt x="3045066" y="186753"/>
                </a:lnTo>
                <a:lnTo>
                  <a:pt x="3050221" y="142009"/>
                </a:lnTo>
                <a:lnTo>
                  <a:pt x="3065768" y="107249"/>
                </a:lnTo>
                <a:lnTo>
                  <a:pt x="3091832" y="82448"/>
                </a:lnTo>
                <a:lnTo>
                  <a:pt x="3128535" y="67585"/>
                </a:lnTo>
                <a:lnTo>
                  <a:pt x="3176003" y="62636"/>
                </a:lnTo>
                <a:lnTo>
                  <a:pt x="3375529" y="62636"/>
                </a:lnTo>
                <a:lnTo>
                  <a:pt x="3359557" y="46453"/>
                </a:lnTo>
                <a:lnTo>
                  <a:pt x="3325623" y="25989"/>
                </a:lnTo>
                <a:lnTo>
                  <a:pt x="3283803" y="11488"/>
                </a:lnTo>
                <a:lnTo>
                  <a:pt x="3233971" y="2856"/>
                </a:lnTo>
                <a:lnTo>
                  <a:pt x="3176003" y="0"/>
                </a:lnTo>
                <a:close/>
              </a:path>
              <a:path w="3917950" h="380364">
                <a:moveTo>
                  <a:pt x="3375529" y="62636"/>
                </a:moveTo>
                <a:lnTo>
                  <a:pt x="3176003" y="62636"/>
                </a:lnTo>
                <a:lnTo>
                  <a:pt x="3224355" y="67610"/>
                </a:lnTo>
                <a:lnTo>
                  <a:pt x="3261327" y="82644"/>
                </a:lnTo>
                <a:lnTo>
                  <a:pt x="3287284" y="107910"/>
                </a:lnTo>
                <a:lnTo>
                  <a:pt x="3302592" y="143576"/>
                </a:lnTo>
                <a:lnTo>
                  <a:pt x="3307613" y="189814"/>
                </a:lnTo>
                <a:lnTo>
                  <a:pt x="3302592" y="236064"/>
                </a:lnTo>
                <a:lnTo>
                  <a:pt x="3287284" y="271738"/>
                </a:lnTo>
                <a:lnTo>
                  <a:pt x="3261327" y="297007"/>
                </a:lnTo>
                <a:lnTo>
                  <a:pt x="3224355" y="312043"/>
                </a:lnTo>
                <a:lnTo>
                  <a:pt x="3176003" y="317017"/>
                </a:lnTo>
                <a:lnTo>
                  <a:pt x="3375693" y="317017"/>
                </a:lnTo>
                <a:lnTo>
                  <a:pt x="3385732" y="306809"/>
                </a:lnTo>
                <a:lnTo>
                  <a:pt x="3404272" y="274057"/>
                </a:lnTo>
                <a:lnTo>
                  <a:pt x="3415304" y="235085"/>
                </a:lnTo>
                <a:lnTo>
                  <a:pt x="3418954" y="189814"/>
                </a:lnTo>
                <a:lnTo>
                  <a:pt x="3415304" y="144560"/>
                </a:lnTo>
                <a:lnTo>
                  <a:pt x="3404272" y="105645"/>
                </a:lnTo>
                <a:lnTo>
                  <a:pt x="3385732" y="72974"/>
                </a:lnTo>
                <a:lnTo>
                  <a:pt x="3375529" y="62636"/>
                </a:lnTo>
                <a:close/>
              </a:path>
              <a:path w="3917950" h="380364">
                <a:moveTo>
                  <a:pt x="3618318" y="7175"/>
                </a:moveTo>
                <a:lnTo>
                  <a:pt x="3488740" y="7175"/>
                </a:lnTo>
                <a:lnTo>
                  <a:pt x="3488740" y="372478"/>
                </a:lnTo>
                <a:lnTo>
                  <a:pt x="3589439" y="372478"/>
                </a:lnTo>
                <a:lnTo>
                  <a:pt x="3589147" y="96189"/>
                </a:lnTo>
                <a:lnTo>
                  <a:pt x="3685939" y="96189"/>
                </a:lnTo>
                <a:lnTo>
                  <a:pt x="3618318" y="7175"/>
                </a:lnTo>
                <a:close/>
              </a:path>
              <a:path w="3917950" h="380364">
                <a:moveTo>
                  <a:pt x="3685939" y="96189"/>
                </a:moveTo>
                <a:lnTo>
                  <a:pt x="3589147" y="96189"/>
                </a:lnTo>
                <a:lnTo>
                  <a:pt x="3798773" y="372478"/>
                </a:lnTo>
                <a:lnTo>
                  <a:pt x="3917480" y="372478"/>
                </a:lnTo>
                <a:lnTo>
                  <a:pt x="3917480" y="269697"/>
                </a:lnTo>
                <a:lnTo>
                  <a:pt x="3817747" y="269697"/>
                </a:lnTo>
                <a:lnTo>
                  <a:pt x="3685939" y="96189"/>
                </a:lnTo>
                <a:close/>
              </a:path>
              <a:path w="3917950" h="380364">
                <a:moveTo>
                  <a:pt x="3917480" y="7175"/>
                </a:moveTo>
                <a:lnTo>
                  <a:pt x="3817454" y="7175"/>
                </a:lnTo>
                <a:lnTo>
                  <a:pt x="3817747" y="269697"/>
                </a:lnTo>
                <a:lnTo>
                  <a:pt x="3917480" y="269697"/>
                </a:lnTo>
                <a:lnTo>
                  <a:pt x="3917480" y="7175"/>
                </a:lnTo>
                <a:close/>
              </a:path>
            </a:pathLst>
          </a:custGeom>
          <a:solidFill>
            <a:srgbClr val="66CC33"/>
          </a:solidFill>
        </p:spPr>
        <p:txBody>
          <a:bodyPr wrap="square" lIns="0" tIns="0" rIns="0" bIns="0" rtlCol="0"/>
          <a:lstStyle/>
          <a:p>
            <a:endParaRPr lang="de-CH"/>
          </a:p>
        </p:txBody>
      </p:sp>
      <p:sp>
        <p:nvSpPr>
          <p:cNvPr id="25" name="Rectangle: Rounded Corners 49">
            <a:extLst>
              <a:ext uri="{FF2B5EF4-FFF2-40B4-BE49-F238E27FC236}">
                <a16:creationId xmlns:a16="http://schemas.microsoft.com/office/drawing/2014/main" id="{019D089D-FAF1-4451-AA3C-B7F1001A1BDA}"/>
              </a:ext>
            </a:extLst>
          </p:cNvPr>
          <p:cNvSpPr/>
          <p:nvPr/>
        </p:nvSpPr>
        <p:spPr>
          <a:xfrm>
            <a:off x="5983272" y="2287719"/>
            <a:ext cx="3028050" cy="1137358"/>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r"/>
            <a:r>
              <a:rPr lang="en-US" sz="1400" dirty="0">
                <a:solidFill>
                  <a:schemeClr val="tx1"/>
                </a:solidFill>
              </a:rPr>
              <a:t>Sensirion MEMS IR emitter to realize fast emittance modulation and </a:t>
            </a:r>
            <a:r>
              <a:rPr lang="en-US" sz="1400" b="1" dirty="0">
                <a:solidFill>
                  <a:schemeClr val="tx1"/>
                </a:solidFill>
              </a:rPr>
              <a:t>high long-term stability</a:t>
            </a:r>
          </a:p>
        </p:txBody>
      </p:sp>
      <p:sp>
        <p:nvSpPr>
          <p:cNvPr id="26" name="Rectangle: Rounded Corners 49">
            <a:extLst>
              <a:ext uri="{FF2B5EF4-FFF2-40B4-BE49-F238E27FC236}">
                <a16:creationId xmlns:a16="http://schemas.microsoft.com/office/drawing/2014/main" id="{97C898E5-7E7C-43A1-9D2E-D7385FC0CEA8}"/>
              </a:ext>
            </a:extLst>
          </p:cNvPr>
          <p:cNvSpPr/>
          <p:nvPr/>
        </p:nvSpPr>
        <p:spPr>
          <a:xfrm>
            <a:off x="5983272" y="5155312"/>
            <a:ext cx="3115819" cy="108000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r>
              <a:rPr lang="en-US" sz="1400" dirty="0" err="1">
                <a:solidFill>
                  <a:schemeClr val="tx1"/>
                </a:solidFill>
              </a:rPr>
              <a:t>Sensirion</a:t>
            </a:r>
            <a:r>
              <a:rPr lang="en-US" sz="1400" dirty="0">
                <a:solidFill>
                  <a:schemeClr val="tx1"/>
                </a:solidFill>
              </a:rPr>
              <a:t> humidity and temperature sensor - Superior RH and T compensation to </a:t>
            </a:r>
            <a:r>
              <a:rPr lang="en-US" sz="1400" b="1" dirty="0">
                <a:solidFill>
                  <a:schemeClr val="tx1"/>
                </a:solidFill>
              </a:rPr>
              <a:t>realize accurate readings across entire RH and T range</a:t>
            </a:r>
          </a:p>
        </p:txBody>
      </p:sp>
      <p:sp>
        <p:nvSpPr>
          <p:cNvPr id="27" name="Rectangle: Rounded Corners 49">
            <a:extLst>
              <a:ext uri="{FF2B5EF4-FFF2-40B4-BE49-F238E27FC236}">
                <a16:creationId xmlns:a16="http://schemas.microsoft.com/office/drawing/2014/main" id="{D672A22D-57CE-4A4A-A44B-288615833B65}"/>
              </a:ext>
            </a:extLst>
          </p:cNvPr>
          <p:cNvSpPr/>
          <p:nvPr/>
        </p:nvSpPr>
        <p:spPr>
          <a:xfrm>
            <a:off x="6739972" y="3713035"/>
            <a:ext cx="3115819" cy="108000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r"/>
            <a:r>
              <a:rPr lang="en-US" sz="1400" dirty="0">
                <a:solidFill>
                  <a:schemeClr val="tx1"/>
                </a:solidFill>
              </a:rPr>
              <a:t>Sensirion ASIC leverages advanced signal processing to ensure </a:t>
            </a:r>
            <a:r>
              <a:rPr lang="en-US" sz="1400" b="1" dirty="0">
                <a:solidFill>
                  <a:schemeClr val="tx1"/>
                </a:solidFill>
              </a:rPr>
              <a:t>highest accuracy and lowest noise level</a:t>
            </a:r>
          </a:p>
        </p:txBody>
      </p:sp>
      <p:pic>
        <p:nvPicPr>
          <p:cNvPr id="37" name="Content Placeholder 5">
            <a:extLst>
              <a:ext uri="{FF2B5EF4-FFF2-40B4-BE49-F238E27FC236}">
                <a16:creationId xmlns:a16="http://schemas.microsoft.com/office/drawing/2014/main" id="{A07496B1-4946-444A-9EF3-2110A3AE589A}"/>
              </a:ext>
            </a:extLst>
          </p:cNvPr>
          <p:cNvPicPr>
            <a:picLocks noChangeAspect="1"/>
          </p:cNvPicPr>
          <p:nvPr/>
        </p:nvPicPr>
        <p:blipFill>
          <a:blip r:embed="rId2"/>
          <a:stretch>
            <a:fillRect/>
          </a:stretch>
        </p:blipFill>
        <p:spPr>
          <a:xfrm>
            <a:off x="1646781" y="2894548"/>
            <a:ext cx="3072400" cy="2576114"/>
          </a:xfrm>
          <a:prstGeom prst="ellipse">
            <a:avLst/>
          </a:prstGeom>
        </p:spPr>
      </p:pic>
      <p:cxnSp>
        <p:nvCxnSpPr>
          <p:cNvPr id="12" name="Straight Connector 11">
            <a:extLst>
              <a:ext uri="{FF2B5EF4-FFF2-40B4-BE49-F238E27FC236}">
                <a16:creationId xmlns:a16="http://schemas.microsoft.com/office/drawing/2014/main" id="{28352726-59FD-4527-8305-9DB5F490FC0C}"/>
              </a:ext>
            </a:extLst>
          </p:cNvPr>
          <p:cNvCxnSpPr>
            <a:cxnSpLocks/>
          </p:cNvCxnSpPr>
          <p:nvPr/>
        </p:nvCxnSpPr>
        <p:spPr>
          <a:xfrm flipV="1">
            <a:off x="3182981" y="2751496"/>
            <a:ext cx="2230581" cy="967333"/>
          </a:xfrm>
          <a:prstGeom prst="line">
            <a:avLst/>
          </a:prstGeom>
          <a:ln w="12700">
            <a:solidFill>
              <a:srgbClr val="7F7F7F"/>
            </a:solidFill>
            <a:head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E1E06BE-8D08-4658-BFF4-ACC4B4D55575}"/>
              </a:ext>
            </a:extLst>
          </p:cNvPr>
          <p:cNvCxnSpPr>
            <a:cxnSpLocks/>
            <a:endCxn id="44" idx="2"/>
          </p:cNvCxnSpPr>
          <p:nvPr/>
        </p:nvCxnSpPr>
        <p:spPr>
          <a:xfrm>
            <a:off x="3296240" y="4713262"/>
            <a:ext cx="1764061" cy="982049"/>
          </a:xfrm>
          <a:prstGeom prst="line">
            <a:avLst/>
          </a:prstGeom>
          <a:ln w="12700">
            <a:solidFill>
              <a:srgbClr val="7F7F7F"/>
            </a:solidFill>
            <a:head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826FEBD-B986-4F14-8C42-66894BC53FA1}"/>
              </a:ext>
            </a:extLst>
          </p:cNvPr>
          <p:cNvCxnSpPr>
            <a:cxnSpLocks/>
          </p:cNvCxnSpPr>
          <p:nvPr/>
        </p:nvCxnSpPr>
        <p:spPr>
          <a:xfrm>
            <a:off x="3900341" y="4269994"/>
            <a:ext cx="1995775" cy="0"/>
          </a:xfrm>
          <a:prstGeom prst="line">
            <a:avLst/>
          </a:prstGeom>
          <a:ln w="12700">
            <a:solidFill>
              <a:srgbClr val="7F7F7F"/>
            </a:solidFill>
            <a:headEnd type="ova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C3C84CEC-A311-428C-83A5-6DF1D393E40D}"/>
              </a:ext>
            </a:extLst>
          </p:cNvPr>
          <p:cNvGrpSpPr/>
          <p:nvPr/>
        </p:nvGrpSpPr>
        <p:grpSpPr>
          <a:xfrm>
            <a:off x="5060301" y="2287719"/>
            <a:ext cx="1080000" cy="1080000"/>
            <a:chOff x="7704667" y="2158745"/>
            <a:chExt cx="906949" cy="899809"/>
          </a:xfrm>
        </p:grpSpPr>
        <p:sp>
          <p:nvSpPr>
            <p:cNvPr id="41" name="Oval 40">
              <a:extLst>
                <a:ext uri="{FF2B5EF4-FFF2-40B4-BE49-F238E27FC236}">
                  <a16:creationId xmlns:a16="http://schemas.microsoft.com/office/drawing/2014/main" id="{A6E02390-76A1-457E-BD78-FED978292624}"/>
                </a:ext>
              </a:extLst>
            </p:cNvPr>
            <p:cNvSpPr/>
            <p:nvPr/>
          </p:nvSpPr>
          <p:spPr>
            <a:xfrm>
              <a:off x="7704667" y="2158745"/>
              <a:ext cx="906949" cy="899809"/>
            </a:xfrm>
            <a:prstGeom prst="ellipse">
              <a:avLst/>
            </a:prstGeom>
            <a:solidFill>
              <a:schemeClr val="bg1"/>
            </a:solidFill>
            <a:ln w="28575">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Picture 41">
              <a:extLst>
                <a:ext uri="{FF2B5EF4-FFF2-40B4-BE49-F238E27FC236}">
                  <a16:creationId xmlns:a16="http://schemas.microsoft.com/office/drawing/2014/main" id="{972034F7-1321-4A7C-B189-71ACB7094BD4}"/>
                </a:ext>
              </a:extLst>
            </p:cNvPr>
            <p:cNvPicPr>
              <a:picLocks noChangeAspect="1"/>
            </p:cNvPicPr>
            <p:nvPr/>
          </p:nvPicPr>
          <p:blipFill>
            <a:blip r:embed="rId3"/>
            <a:stretch>
              <a:fillRect/>
            </a:stretch>
          </p:blipFill>
          <p:spPr>
            <a:xfrm>
              <a:off x="7842468" y="2322284"/>
              <a:ext cx="627757" cy="568999"/>
            </a:xfrm>
            <a:prstGeom prst="rect">
              <a:avLst/>
            </a:prstGeom>
          </p:spPr>
        </p:pic>
      </p:grpSp>
      <p:grpSp>
        <p:nvGrpSpPr>
          <p:cNvPr id="17" name="Group 16">
            <a:extLst>
              <a:ext uri="{FF2B5EF4-FFF2-40B4-BE49-F238E27FC236}">
                <a16:creationId xmlns:a16="http://schemas.microsoft.com/office/drawing/2014/main" id="{907CFAA3-2E7F-44D2-AF7F-8E4BB4F70DE1}"/>
              </a:ext>
            </a:extLst>
          </p:cNvPr>
          <p:cNvGrpSpPr/>
          <p:nvPr/>
        </p:nvGrpSpPr>
        <p:grpSpPr>
          <a:xfrm>
            <a:off x="5828640" y="3713035"/>
            <a:ext cx="1080000" cy="1080000"/>
            <a:chOff x="7775620" y="4216469"/>
            <a:chExt cx="1080000" cy="1080000"/>
          </a:xfrm>
        </p:grpSpPr>
        <p:sp>
          <p:nvSpPr>
            <p:cNvPr id="39" name="Oval 38">
              <a:extLst>
                <a:ext uri="{FF2B5EF4-FFF2-40B4-BE49-F238E27FC236}">
                  <a16:creationId xmlns:a16="http://schemas.microsoft.com/office/drawing/2014/main" id="{ACDD016C-930F-42CE-AB5E-68D3921ADBD0}"/>
                </a:ext>
              </a:extLst>
            </p:cNvPr>
            <p:cNvSpPr/>
            <p:nvPr/>
          </p:nvSpPr>
          <p:spPr>
            <a:xfrm>
              <a:off x="7775620" y="4216469"/>
              <a:ext cx="1080000" cy="1080000"/>
            </a:xfrm>
            <a:prstGeom prst="ellipse">
              <a:avLst/>
            </a:prstGeom>
            <a:solidFill>
              <a:schemeClr val="bg1"/>
            </a:solidFill>
            <a:ln w="28575">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3" name="Picture 2" descr="NCH-RSL10-101Q48-ABG | ON Semiconductor System-on-Chip (SOC), SMD,  Mikroprozessor, ARM Cortex, QFN, 48-Pin, für Bluetooth | RS Components">
              <a:extLst>
                <a:ext uri="{FF2B5EF4-FFF2-40B4-BE49-F238E27FC236}">
                  <a16:creationId xmlns:a16="http://schemas.microsoft.com/office/drawing/2014/main" id="{5E3BCA5C-E0E4-4038-AEFC-AD07E0DB561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216" r="5557"/>
            <a:stretch/>
          </p:blipFill>
          <p:spPr bwMode="auto">
            <a:xfrm>
              <a:off x="7923438" y="4538190"/>
              <a:ext cx="812347" cy="5171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F9F74BFC-3051-4339-B256-5B23BEABA9BD}"/>
              </a:ext>
            </a:extLst>
          </p:cNvPr>
          <p:cNvGrpSpPr/>
          <p:nvPr/>
        </p:nvGrpSpPr>
        <p:grpSpPr>
          <a:xfrm>
            <a:off x="5060301" y="5155311"/>
            <a:ext cx="1080000" cy="1080000"/>
            <a:chOff x="3489825" y="4133929"/>
            <a:chExt cx="1080000" cy="1080000"/>
          </a:xfrm>
        </p:grpSpPr>
        <p:sp>
          <p:nvSpPr>
            <p:cNvPr id="44" name="Oval 43">
              <a:extLst>
                <a:ext uri="{FF2B5EF4-FFF2-40B4-BE49-F238E27FC236}">
                  <a16:creationId xmlns:a16="http://schemas.microsoft.com/office/drawing/2014/main" id="{EEE34696-88B3-42F4-83FD-0563E36E1D50}"/>
                </a:ext>
              </a:extLst>
            </p:cNvPr>
            <p:cNvSpPr/>
            <p:nvPr/>
          </p:nvSpPr>
          <p:spPr>
            <a:xfrm>
              <a:off x="3489825" y="4133929"/>
              <a:ext cx="1080000" cy="1080000"/>
            </a:xfrm>
            <a:prstGeom prst="ellipse">
              <a:avLst/>
            </a:prstGeom>
            <a:solidFill>
              <a:schemeClr val="bg1"/>
            </a:solidFill>
            <a:ln w="28575">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5" name="Picture 4" descr="SHT40-AD1B-R2 Sensirion AG | Sensors, Transducers | DigiKey">
              <a:extLst>
                <a:ext uri="{FF2B5EF4-FFF2-40B4-BE49-F238E27FC236}">
                  <a16:creationId xmlns:a16="http://schemas.microsoft.com/office/drawing/2014/main" id="{D40620B0-C998-4392-9376-E86087CC913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847" t="22723" r="18525" b="24108"/>
            <a:stretch/>
          </p:blipFill>
          <p:spPr bwMode="auto">
            <a:xfrm>
              <a:off x="3695530" y="4400443"/>
              <a:ext cx="717266" cy="629022"/>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Fußzeilenplatzhalter 4">
            <a:extLst>
              <a:ext uri="{FF2B5EF4-FFF2-40B4-BE49-F238E27FC236}">
                <a16:creationId xmlns:a16="http://schemas.microsoft.com/office/drawing/2014/main" id="{2D9F17CA-915D-412E-90E5-280E254D0C0F}"/>
              </a:ext>
            </a:extLst>
          </p:cNvPr>
          <p:cNvSpPr txBox="1">
            <a:spLocks/>
          </p:cNvSpPr>
          <p:nvPr/>
        </p:nvSpPr>
        <p:spPr bwMode="auto">
          <a:xfrm>
            <a:off x="839769" y="638766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Tree>
    <p:extLst>
      <p:ext uri="{BB962C8B-B14F-4D97-AF65-F5344CB8AC3E}">
        <p14:creationId xmlns:p14="http://schemas.microsoft.com/office/powerpoint/2010/main" val="26826628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BCC11E-ECF1-0C48-AFC2-362D844614F1}"/>
              </a:ext>
            </a:extLst>
          </p:cNvPr>
          <p:cNvGrpSpPr/>
          <p:nvPr/>
        </p:nvGrpSpPr>
        <p:grpSpPr>
          <a:xfrm>
            <a:off x="839769" y="6387669"/>
            <a:ext cx="5150521" cy="235359"/>
            <a:chOff x="839769" y="6387669"/>
            <a:chExt cx="5150521" cy="235359"/>
          </a:xfrm>
        </p:grpSpPr>
        <p:grpSp>
          <p:nvGrpSpPr>
            <p:cNvPr id="4" name="Gruppierung 1">
              <a:extLst>
                <a:ext uri="{FF2B5EF4-FFF2-40B4-BE49-F238E27FC236}">
                  <a16:creationId xmlns:a16="http://schemas.microsoft.com/office/drawing/2014/main" id="{286C387A-61B1-E04E-9A3E-1BCAA7C5CD89}"/>
                </a:ext>
              </a:extLst>
            </p:cNvPr>
            <p:cNvGrpSpPr/>
            <p:nvPr/>
          </p:nvGrpSpPr>
          <p:grpSpPr>
            <a:xfrm>
              <a:off x="839769" y="6387669"/>
              <a:ext cx="5150521" cy="235359"/>
              <a:chOff x="839769" y="6369739"/>
              <a:chExt cx="5150521" cy="235359"/>
            </a:xfrm>
          </p:grpSpPr>
          <p:sp>
            <p:nvSpPr>
              <p:cNvPr id="6" name="Fußzeilenplatzhalter 4">
                <a:extLst>
                  <a:ext uri="{FF2B5EF4-FFF2-40B4-BE49-F238E27FC236}">
                    <a16:creationId xmlns:a16="http://schemas.microsoft.com/office/drawing/2014/main" id="{5BAD2516-DF0C-4342-8710-9093C69A2884}"/>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7" name="Fußzeilenplatzhalter 4">
                <a:extLst>
                  <a:ext uri="{FF2B5EF4-FFF2-40B4-BE49-F238E27FC236}">
                    <a16:creationId xmlns:a16="http://schemas.microsoft.com/office/drawing/2014/main" id="{9A677FA2-3505-1247-A0AD-A1ECAA259958}"/>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5" name="Straight Connector 4">
              <a:extLst>
                <a:ext uri="{FF2B5EF4-FFF2-40B4-BE49-F238E27FC236}">
                  <a16:creationId xmlns:a16="http://schemas.microsoft.com/office/drawing/2014/main" id="{AC98DF89-84F2-9848-BB42-F045FC3335E7}"/>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31832007-25FE-BE45-9EF7-9D9FCF3F27F3}"/>
              </a:ext>
            </a:extLst>
          </p:cNvPr>
          <p:cNvSpPr txBox="1"/>
          <p:nvPr/>
        </p:nvSpPr>
        <p:spPr>
          <a:xfrm>
            <a:off x="752797" y="743519"/>
            <a:ext cx="10801877" cy="646331"/>
          </a:xfrm>
          <a:prstGeom prst="rect">
            <a:avLst/>
          </a:prstGeom>
          <a:noFill/>
        </p:spPr>
        <p:txBody>
          <a:bodyPr wrap="square">
            <a:spAutoFit/>
          </a:bodyPr>
          <a:lstStyle/>
          <a:p>
            <a:r>
              <a:rPr lang="en-US" sz="3600" b="1" dirty="0">
                <a:solidFill>
                  <a:schemeClr val="accent1"/>
                </a:solidFill>
              </a:rPr>
              <a:t>SCD4x - Before breaking the rules you must master them</a:t>
            </a:r>
          </a:p>
        </p:txBody>
      </p:sp>
      <p:sp>
        <p:nvSpPr>
          <p:cNvPr id="67" name="Rectangle: Rounded Corners 49">
            <a:extLst>
              <a:ext uri="{FF2B5EF4-FFF2-40B4-BE49-F238E27FC236}">
                <a16:creationId xmlns:a16="http://schemas.microsoft.com/office/drawing/2014/main" id="{73FDC34A-8FB5-8746-859A-618CC283ACCB}"/>
              </a:ext>
            </a:extLst>
          </p:cNvPr>
          <p:cNvSpPr/>
          <p:nvPr/>
        </p:nvSpPr>
        <p:spPr>
          <a:xfrm>
            <a:off x="850962" y="1620216"/>
            <a:ext cx="4618500" cy="4617072"/>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9BAD63C6-7420-8F4B-99FA-9F5A4D7F77F0}"/>
              </a:ext>
            </a:extLst>
          </p:cNvPr>
          <p:cNvSpPr/>
          <p:nvPr/>
        </p:nvSpPr>
        <p:spPr>
          <a:xfrm>
            <a:off x="1085583" y="2664444"/>
            <a:ext cx="2795515" cy="535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SCD30 </a:t>
            </a:r>
          </a:p>
          <a:p>
            <a:r>
              <a:rPr lang="en-US" sz="2400" b="1" dirty="0">
                <a:solidFill>
                  <a:schemeClr val="tx1"/>
                </a:solidFill>
              </a:rPr>
              <a:t>success story</a:t>
            </a:r>
          </a:p>
        </p:txBody>
      </p:sp>
      <p:cxnSp>
        <p:nvCxnSpPr>
          <p:cNvPr id="72" name="Straight Connector 71">
            <a:extLst>
              <a:ext uri="{FF2B5EF4-FFF2-40B4-BE49-F238E27FC236}">
                <a16:creationId xmlns:a16="http://schemas.microsoft.com/office/drawing/2014/main" id="{0CD5EF07-5017-7A4F-9A9D-02E419C0316C}"/>
              </a:ext>
            </a:extLst>
          </p:cNvPr>
          <p:cNvCxnSpPr>
            <a:cxnSpLocks/>
          </p:cNvCxnSpPr>
          <p:nvPr/>
        </p:nvCxnSpPr>
        <p:spPr>
          <a:xfrm>
            <a:off x="1156487" y="4039949"/>
            <a:ext cx="4115012"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3F840BB0-179D-C940-B262-774C218AAEF8}"/>
              </a:ext>
            </a:extLst>
          </p:cNvPr>
          <p:cNvSpPr>
            <a:spLocks noChangeAspect="1"/>
          </p:cNvSpPr>
          <p:nvPr/>
        </p:nvSpPr>
        <p:spPr>
          <a:xfrm>
            <a:off x="3301090" y="1970430"/>
            <a:ext cx="1789633" cy="1789633"/>
          </a:xfrm>
          <a:prstGeom prst="ellipse">
            <a:avLst/>
          </a:prstGeom>
          <a:solidFill>
            <a:schemeClr val="bg1"/>
          </a:solidFill>
          <a:ln w="28575">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7FCB8EF1-2777-0B49-8EEC-29940E746DCA}"/>
              </a:ext>
            </a:extLst>
          </p:cNvPr>
          <p:cNvSpPr/>
          <p:nvPr/>
        </p:nvSpPr>
        <p:spPr>
          <a:xfrm>
            <a:off x="1151254" y="4331970"/>
            <a:ext cx="4346162" cy="1631216"/>
          </a:xfrm>
          <a:prstGeom prst="rect">
            <a:avLst/>
          </a:prstGeom>
        </p:spPr>
        <p:txBody>
          <a:bodyPr wrap="square">
            <a:spAutoFit/>
          </a:bodyPr>
          <a:lstStyle/>
          <a:p>
            <a:pPr marL="342900" indent="-342900">
              <a:spcBef>
                <a:spcPts val="400"/>
              </a:spcBef>
              <a:spcAft>
                <a:spcPts val="400"/>
              </a:spcAft>
              <a:buFont typeface="Arial" panose="020B0604020202020204" pitchFamily="34" charset="0"/>
              <a:buChar char="•"/>
            </a:pPr>
            <a:r>
              <a:rPr lang="en-US" sz="1600" dirty="0"/>
              <a:t>Dual channel NDIR CO</a:t>
            </a:r>
            <a:r>
              <a:rPr lang="en-US" sz="1600" baseline="-25000" dirty="0"/>
              <a:t>2</a:t>
            </a:r>
            <a:r>
              <a:rPr lang="en-US" sz="1600" dirty="0"/>
              <a:t> sensor</a:t>
            </a:r>
          </a:p>
          <a:p>
            <a:pPr marL="342900" indent="-342900">
              <a:spcBef>
                <a:spcPts val="400"/>
              </a:spcBef>
              <a:spcAft>
                <a:spcPts val="400"/>
              </a:spcAft>
              <a:buFont typeface="Arial" panose="020B0604020202020204" pitchFamily="34" charset="0"/>
              <a:buChar char="•"/>
            </a:pPr>
            <a:r>
              <a:rPr lang="en-US" sz="1600" dirty="0"/>
              <a:t>Highest performance and superior long-term stability </a:t>
            </a:r>
          </a:p>
          <a:p>
            <a:pPr marL="342900" indent="-342900">
              <a:spcBef>
                <a:spcPts val="400"/>
              </a:spcBef>
              <a:spcAft>
                <a:spcPts val="400"/>
              </a:spcAft>
              <a:buFont typeface="Arial" panose="020B0604020202020204" pitchFamily="34" charset="0"/>
              <a:buChar char="•"/>
            </a:pPr>
            <a:r>
              <a:rPr lang="en-US" sz="1600" dirty="0"/>
              <a:t>Integrated temperature and humidity sensor</a:t>
            </a:r>
          </a:p>
          <a:p>
            <a:pPr marL="342900" indent="-342900">
              <a:spcBef>
                <a:spcPts val="400"/>
              </a:spcBef>
              <a:spcAft>
                <a:spcPts val="400"/>
              </a:spcAft>
              <a:buFont typeface="Arial" panose="020B0604020202020204" pitchFamily="34" charset="0"/>
              <a:buChar char="•"/>
            </a:pPr>
            <a:r>
              <a:rPr lang="en-US" sz="1600" dirty="0"/>
              <a:t>Thinnest package on the market</a:t>
            </a:r>
          </a:p>
        </p:txBody>
      </p:sp>
      <p:grpSp>
        <p:nvGrpSpPr>
          <p:cNvPr id="28" name="Group 27">
            <a:extLst>
              <a:ext uri="{FF2B5EF4-FFF2-40B4-BE49-F238E27FC236}">
                <a16:creationId xmlns:a16="http://schemas.microsoft.com/office/drawing/2014/main" id="{D7BED6EE-AD78-824F-9378-20A2C45DBCDD}"/>
              </a:ext>
            </a:extLst>
          </p:cNvPr>
          <p:cNvGrpSpPr/>
          <p:nvPr/>
        </p:nvGrpSpPr>
        <p:grpSpPr>
          <a:xfrm>
            <a:off x="3384303" y="2388364"/>
            <a:ext cx="1623205" cy="1085680"/>
            <a:chOff x="7600719" y="741795"/>
            <a:chExt cx="3776365" cy="2517506"/>
          </a:xfrm>
        </p:grpSpPr>
        <p:pic>
          <p:nvPicPr>
            <p:cNvPr id="29" name="Picture 28">
              <a:extLst>
                <a:ext uri="{FF2B5EF4-FFF2-40B4-BE49-F238E27FC236}">
                  <a16:creationId xmlns:a16="http://schemas.microsoft.com/office/drawing/2014/main" id="{23E2774F-8694-D94F-A1C3-00773A2F9C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00719" y="741795"/>
              <a:ext cx="2418122" cy="2136008"/>
            </a:xfrm>
            <a:prstGeom prst="rect">
              <a:avLst/>
            </a:prstGeom>
          </p:spPr>
        </p:pic>
        <p:pic>
          <p:nvPicPr>
            <p:cNvPr id="30" name="Picture 29">
              <a:extLst>
                <a:ext uri="{FF2B5EF4-FFF2-40B4-BE49-F238E27FC236}">
                  <a16:creationId xmlns:a16="http://schemas.microsoft.com/office/drawing/2014/main" id="{E78FC9AD-AEF8-2C4F-80C1-43030BA6DB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93355" y="1123293"/>
              <a:ext cx="2483729" cy="2136008"/>
            </a:xfrm>
            <a:prstGeom prst="rect">
              <a:avLst/>
            </a:prstGeom>
          </p:spPr>
        </p:pic>
      </p:grpSp>
      <p:grpSp>
        <p:nvGrpSpPr>
          <p:cNvPr id="10" name="Group 9">
            <a:extLst>
              <a:ext uri="{FF2B5EF4-FFF2-40B4-BE49-F238E27FC236}">
                <a16:creationId xmlns:a16="http://schemas.microsoft.com/office/drawing/2014/main" id="{A7F43560-5FA3-4FDE-961C-875CB8613119}"/>
              </a:ext>
            </a:extLst>
          </p:cNvPr>
          <p:cNvGrpSpPr/>
          <p:nvPr/>
        </p:nvGrpSpPr>
        <p:grpSpPr>
          <a:xfrm>
            <a:off x="5818366" y="1624613"/>
            <a:ext cx="5539307" cy="4617072"/>
            <a:chOff x="5818366" y="1624613"/>
            <a:chExt cx="5539307" cy="4617072"/>
          </a:xfrm>
        </p:grpSpPr>
        <p:grpSp>
          <p:nvGrpSpPr>
            <p:cNvPr id="2" name="Group 1">
              <a:extLst>
                <a:ext uri="{FF2B5EF4-FFF2-40B4-BE49-F238E27FC236}">
                  <a16:creationId xmlns:a16="http://schemas.microsoft.com/office/drawing/2014/main" id="{4CA9C023-1FBE-8240-AF79-102D66DB317B}"/>
                </a:ext>
              </a:extLst>
            </p:cNvPr>
            <p:cNvGrpSpPr/>
            <p:nvPr/>
          </p:nvGrpSpPr>
          <p:grpSpPr>
            <a:xfrm>
              <a:off x="5818366" y="3676808"/>
              <a:ext cx="542068" cy="655162"/>
              <a:chOff x="5720127" y="3482622"/>
              <a:chExt cx="633260" cy="852002"/>
            </a:xfrm>
            <a:gradFill>
              <a:gsLst>
                <a:gs pos="100000">
                  <a:srgbClr val="66CC33">
                    <a:alpha val="63000"/>
                  </a:srgbClr>
                </a:gs>
                <a:gs pos="0">
                  <a:srgbClr val="E0F5D6"/>
                </a:gs>
              </a:gsLst>
              <a:lin ang="0" scaled="1"/>
            </a:gradFill>
          </p:grpSpPr>
          <p:sp>
            <p:nvSpPr>
              <p:cNvPr id="89" name="Chevron 88">
                <a:extLst>
                  <a:ext uri="{FF2B5EF4-FFF2-40B4-BE49-F238E27FC236}">
                    <a16:creationId xmlns:a16="http://schemas.microsoft.com/office/drawing/2014/main" id="{4374A44C-40D4-4D48-86A1-DC1AE6B820AA}"/>
                  </a:ext>
                </a:extLst>
              </p:cNvPr>
              <p:cNvSpPr/>
              <p:nvPr/>
            </p:nvSpPr>
            <p:spPr>
              <a:xfrm>
                <a:off x="5720127" y="3494106"/>
                <a:ext cx="401994" cy="840518"/>
              </a:xfrm>
              <a:prstGeom prst="chevron">
                <a:avLst>
                  <a:gd name="adj" fmla="val 739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a:solidFill>
                    <a:schemeClr val="tx1"/>
                  </a:solidFill>
                </a:endParaRPr>
              </a:p>
            </p:txBody>
          </p:sp>
          <p:sp>
            <p:nvSpPr>
              <p:cNvPr id="94" name="Chevron 93">
                <a:extLst>
                  <a:ext uri="{FF2B5EF4-FFF2-40B4-BE49-F238E27FC236}">
                    <a16:creationId xmlns:a16="http://schemas.microsoft.com/office/drawing/2014/main" id="{EBACDE5C-349C-054A-AC44-0FE77006DBEA}"/>
                  </a:ext>
                </a:extLst>
              </p:cNvPr>
              <p:cNvSpPr/>
              <p:nvPr/>
            </p:nvSpPr>
            <p:spPr>
              <a:xfrm>
                <a:off x="5951393" y="3482622"/>
                <a:ext cx="401994" cy="840518"/>
              </a:xfrm>
              <a:prstGeom prst="chevron">
                <a:avLst>
                  <a:gd name="adj" fmla="val 6941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a:solidFill>
                    <a:schemeClr val="tx1"/>
                  </a:solidFill>
                </a:endParaRPr>
              </a:p>
            </p:txBody>
          </p:sp>
        </p:grpSp>
        <p:sp>
          <p:nvSpPr>
            <p:cNvPr id="32" name="Rectangle: Rounded Corners 49">
              <a:extLst>
                <a:ext uri="{FF2B5EF4-FFF2-40B4-BE49-F238E27FC236}">
                  <a16:creationId xmlns:a16="http://schemas.microsoft.com/office/drawing/2014/main" id="{762CA926-13D8-0248-B235-136687FABFCF}"/>
                </a:ext>
              </a:extLst>
            </p:cNvPr>
            <p:cNvSpPr/>
            <p:nvPr/>
          </p:nvSpPr>
          <p:spPr>
            <a:xfrm>
              <a:off x="6739173" y="1624613"/>
              <a:ext cx="4618500" cy="4617072"/>
            </a:xfrm>
            <a:prstGeom prst="roundRect">
              <a:avLst>
                <a:gd name="adj" fmla="val 2882"/>
              </a:avLst>
            </a:prstGeom>
            <a:solidFill>
              <a:schemeClr val="bg1"/>
            </a:solidFill>
            <a:ln w="28575">
              <a:solidFill>
                <a:srgbClr val="66CC33"/>
              </a:solid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708B138B-8730-0645-A98B-D5B04CC3B5A7}"/>
                </a:ext>
              </a:extLst>
            </p:cNvPr>
            <p:cNvSpPr/>
            <p:nvPr/>
          </p:nvSpPr>
          <p:spPr>
            <a:xfrm>
              <a:off x="6973794" y="2668841"/>
              <a:ext cx="2273113" cy="535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SCD4x miniature CO</a:t>
              </a:r>
              <a:r>
                <a:rPr lang="en-US" sz="2400" b="1" baseline="-25000" dirty="0">
                  <a:solidFill>
                    <a:schemeClr val="tx1"/>
                  </a:solidFill>
                </a:rPr>
                <a:t>2</a:t>
              </a:r>
              <a:r>
                <a:rPr lang="en-US" sz="2400" b="1" dirty="0">
                  <a:solidFill>
                    <a:schemeClr val="tx1"/>
                  </a:solidFill>
                </a:rPr>
                <a:t> sensor</a:t>
              </a:r>
            </a:p>
          </p:txBody>
        </p:sp>
        <p:cxnSp>
          <p:nvCxnSpPr>
            <p:cNvPr id="34" name="Straight Connector 33">
              <a:extLst>
                <a:ext uri="{FF2B5EF4-FFF2-40B4-BE49-F238E27FC236}">
                  <a16:creationId xmlns:a16="http://schemas.microsoft.com/office/drawing/2014/main" id="{92B50557-BDE2-EA49-99C7-D7982E95C3CA}"/>
                </a:ext>
              </a:extLst>
            </p:cNvPr>
            <p:cNvCxnSpPr>
              <a:cxnSpLocks/>
            </p:cNvCxnSpPr>
            <p:nvPr/>
          </p:nvCxnSpPr>
          <p:spPr>
            <a:xfrm>
              <a:off x="7044698" y="3998416"/>
              <a:ext cx="4115012"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C05C9045-5AF0-F846-B884-4EA2BD7D45A3}"/>
                </a:ext>
              </a:extLst>
            </p:cNvPr>
            <p:cNvSpPr/>
            <p:nvPr/>
          </p:nvSpPr>
          <p:spPr>
            <a:xfrm>
              <a:off x="6940238" y="4202208"/>
              <a:ext cx="4246987" cy="1774845"/>
            </a:xfrm>
            <a:prstGeom prst="rect">
              <a:avLst/>
            </a:prstGeom>
          </p:spPr>
          <p:txBody>
            <a:bodyPr wrap="square">
              <a:spAutoFit/>
            </a:bodyPr>
            <a:lstStyle/>
            <a:p>
              <a:pPr marL="342900" indent="-342900">
                <a:spcBef>
                  <a:spcPts val="400"/>
                </a:spcBef>
                <a:spcAft>
                  <a:spcPts val="400"/>
                </a:spcAft>
                <a:buFont typeface="Arial" panose="020B0604020202020204" pitchFamily="34" charset="0"/>
                <a:buChar char="•"/>
              </a:pPr>
              <a:r>
                <a:rPr lang="en-US" sz="1600" dirty="0"/>
                <a:t>SCD4x mission: </a:t>
              </a:r>
              <a:r>
                <a:rPr lang="en-US" sz="1600" b="1" dirty="0">
                  <a:solidFill>
                    <a:srgbClr val="66CC33"/>
                  </a:solidFill>
                </a:rPr>
                <a:t>break the size and cost barrier </a:t>
              </a:r>
              <a:r>
                <a:rPr lang="en-US" sz="1600" dirty="0"/>
                <a:t>to revolutionize the CO</a:t>
              </a:r>
              <a:r>
                <a:rPr lang="en-US" sz="1600" baseline="-25000" dirty="0"/>
                <a:t>2</a:t>
              </a:r>
              <a:r>
                <a:rPr lang="en-US" sz="1600" dirty="0"/>
                <a:t> sensing market to enable new use-cases </a:t>
              </a:r>
            </a:p>
            <a:p>
              <a:pPr marL="342900" indent="-342900">
                <a:spcBef>
                  <a:spcPts val="400"/>
                </a:spcBef>
                <a:spcAft>
                  <a:spcPts val="400"/>
                </a:spcAft>
                <a:buFont typeface="Arial" panose="020B0604020202020204" pitchFamily="34" charset="0"/>
                <a:buChar char="•"/>
              </a:pPr>
              <a:r>
                <a:rPr lang="en-US" sz="1600" dirty="0"/>
                <a:t>SCD4x powered by novel photoacoustic sensing technology: </a:t>
              </a:r>
              <a:r>
                <a:rPr lang="en-US" sz="1600" dirty="0" err="1"/>
                <a:t>PASens</a:t>
              </a:r>
              <a:r>
                <a:rPr lang="en-US" sz="1600" dirty="0"/>
                <a:t>® </a:t>
              </a:r>
            </a:p>
            <a:p>
              <a:pPr marL="342900" indent="-342900">
                <a:spcBef>
                  <a:spcPts val="400"/>
                </a:spcBef>
                <a:spcAft>
                  <a:spcPts val="400"/>
                </a:spcAft>
                <a:buFont typeface="Arial" panose="020B0604020202020204" pitchFamily="34" charset="0"/>
                <a:buChar char="•"/>
              </a:pPr>
              <a:r>
                <a:rPr lang="en-US" sz="1600" dirty="0"/>
                <a:t>Integrated temperature and humidity sensor</a:t>
              </a:r>
            </a:p>
          </p:txBody>
        </p:sp>
        <p:sp>
          <p:nvSpPr>
            <p:cNvPr id="47" name="Oval 46">
              <a:extLst>
                <a:ext uri="{FF2B5EF4-FFF2-40B4-BE49-F238E27FC236}">
                  <a16:creationId xmlns:a16="http://schemas.microsoft.com/office/drawing/2014/main" id="{D6242A79-EC54-384A-9118-AD913CF4B10F}"/>
                </a:ext>
              </a:extLst>
            </p:cNvPr>
            <p:cNvSpPr>
              <a:spLocks noChangeAspect="1"/>
            </p:cNvSpPr>
            <p:nvPr/>
          </p:nvSpPr>
          <p:spPr>
            <a:xfrm>
              <a:off x="9350276" y="1969149"/>
              <a:ext cx="1789633" cy="1789633"/>
            </a:xfrm>
            <a:prstGeom prst="ellipse">
              <a:avLst/>
            </a:prstGeom>
            <a:solidFill>
              <a:schemeClr val="bg1"/>
            </a:solidFill>
            <a:ln w="28575">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A picture containing dishware, tableware&#10;&#10;Description automatically generated">
              <a:extLst>
                <a:ext uri="{FF2B5EF4-FFF2-40B4-BE49-F238E27FC236}">
                  <a16:creationId xmlns:a16="http://schemas.microsoft.com/office/drawing/2014/main" id="{9F19000F-7325-C64B-89D9-BD4B589A0E1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16785" y="2196598"/>
              <a:ext cx="1789632" cy="1328623"/>
            </a:xfrm>
            <a:prstGeom prst="rect">
              <a:avLst/>
            </a:prstGeom>
          </p:spPr>
        </p:pic>
      </p:grpSp>
    </p:spTree>
    <p:extLst>
      <p:ext uri="{BB962C8B-B14F-4D97-AF65-F5344CB8AC3E}">
        <p14:creationId xmlns:p14="http://schemas.microsoft.com/office/powerpoint/2010/main" val="4892677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BCC11E-ECF1-0C48-AFC2-362D844614F1}"/>
              </a:ext>
            </a:extLst>
          </p:cNvPr>
          <p:cNvGrpSpPr/>
          <p:nvPr/>
        </p:nvGrpSpPr>
        <p:grpSpPr>
          <a:xfrm>
            <a:off x="839769" y="6387669"/>
            <a:ext cx="5150521" cy="235359"/>
            <a:chOff x="839769" y="6387669"/>
            <a:chExt cx="5150521" cy="235359"/>
          </a:xfrm>
        </p:grpSpPr>
        <p:grpSp>
          <p:nvGrpSpPr>
            <p:cNvPr id="4" name="Gruppierung 1">
              <a:extLst>
                <a:ext uri="{FF2B5EF4-FFF2-40B4-BE49-F238E27FC236}">
                  <a16:creationId xmlns:a16="http://schemas.microsoft.com/office/drawing/2014/main" id="{286C387A-61B1-E04E-9A3E-1BCAA7C5CD89}"/>
                </a:ext>
              </a:extLst>
            </p:cNvPr>
            <p:cNvGrpSpPr/>
            <p:nvPr/>
          </p:nvGrpSpPr>
          <p:grpSpPr>
            <a:xfrm>
              <a:off x="839769" y="6387669"/>
              <a:ext cx="5150521" cy="235359"/>
              <a:chOff x="839769" y="6369739"/>
              <a:chExt cx="5150521" cy="235359"/>
            </a:xfrm>
          </p:grpSpPr>
          <p:sp>
            <p:nvSpPr>
              <p:cNvPr id="6" name="Fußzeilenplatzhalter 4">
                <a:extLst>
                  <a:ext uri="{FF2B5EF4-FFF2-40B4-BE49-F238E27FC236}">
                    <a16:creationId xmlns:a16="http://schemas.microsoft.com/office/drawing/2014/main" id="{5BAD2516-DF0C-4342-8710-9093C69A2884}"/>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7" name="Fußzeilenplatzhalter 4">
                <a:extLst>
                  <a:ext uri="{FF2B5EF4-FFF2-40B4-BE49-F238E27FC236}">
                    <a16:creationId xmlns:a16="http://schemas.microsoft.com/office/drawing/2014/main" id="{9A677FA2-3505-1247-A0AD-A1ECAA259958}"/>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5" name="Straight Connector 4">
              <a:extLst>
                <a:ext uri="{FF2B5EF4-FFF2-40B4-BE49-F238E27FC236}">
                  <a16:creationId xmlns:a16="http://schemas.microsoft.com/office/drawing/2014/main" id="{AC98DF89-84F2-9848-BB42-F045FC3335E7}"/>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31832007-25FE-BE45-9EF7-9D9FCF3F27F3}"/>
              </a:ext>
            </a:extLst>
          </p:cNvPr>
          <p:cNvSpPr txBox="1"/>
          <p:nvPr/>
        </p:nvSpPr>
        <p:spPr>
          <a:xfrm>
            <a:off x="752797" y="743519"/>
            <a:ext cx="10801877" cy="646331"/>
          </a:xfrm>
          <a:prstGeom prst="rect">
            <a:avLst/>
          </a:prstGeom>
          <a:noFill/>
        </p:spPr>
        <p:txBody>
          <a:bodyPr wrap="square">
            <a:spAutoFit/>
          </a:bodyPr>
          <a:lstStyle/>
          <a:p>
            <a:r>
              <a:rPr lang="en-US" sz="3600" b="1" dirty="0">
                <a:solidFill>
                  <a:schemeClr val="accent1"/>
                </a:solidFill>
              </a:rPr>
              <a:t>SCD4x: a truly disruptive CO</a:t>
            </a:r>
            <a:r>
              <a:rPr lang="en-US" sz="3600" b="1" baseline="-25000" dirty="0">
                <a:solidFill>
                  <a:schemeClr val="accent1"/>
                </a:solidFill>
              </a:rPr>
              <a:t>2</a:t>
            </a:r>
            <a:r>
              <a:rPr lang="en-US" sz="3600" b="1" dirty="0">
                <a:solidFill>
                  <a:schemeClr val="accent1"/>
                </a:solidFill>
              </a:rPr>
              <a:t> sensor</a:t>
            </a:r>
          </a:p>
        </p:txBody>
      </p:sp>
      <p:pic>
        <p:nvPicPr>
          <p:cNvPr id="14" name="Picture 13">
            <a:extLst>
              <a:ext uri="{FF2B5EF4-FFF2-40B4-BE49-F238E27FC236}">
                <a16:creationId xmlns:a16="http://schemas.microsoft.com/office/drawing/2014/main" id="{E36B3E2A-40FC-D047-BD7C-58DC7FA9B8DC}"/>
              </a:ext>
            </a:extLst>
          </p:cNvPr>
          <p:cNvPicPr>
            <a:picLocks noChangeAspect="1"/>
          </p:cNvPicPr>
          <p:nvPr/>
        </p:nvPicPr>
        <p:blipFill rotWithShape="1">
          <a:blip r:embed="rId2"/>
          <a:srcRect l="6735" t="8458" r="11192" b="15922"/>
          <a:stretch/>
        </p:blipFill>
        <p:spPr>
          <a:xfrm>
            <a:off x="5688735" y="2000417"/>
            <a:ext cx="5745347" cy="3995169"/>
          </a:xfrm>
          <a:prstGeom prst="rect">
            <a:avLst/>
          </a:prstGeom>
        </p:spPr>
      </p:pic>
      <p:grpSp>
        <p:nvGrpSpPr>
          <p:cNvPr id="23" name="Group 22">
            <a:extLst>
              <a:ext uri="{FF2B5EF4-FFF2-40B4-BE49-F238E27FC236}">
                <a16:creationId xmlns:a16="http://schemas.microsoft.com/office/drawing/2014/main" id="{E8ABF1A7-ADBA-4C4B-8F03-485565A2F00C}"/>
              </a:ext>
            </a:extLst>
          </p:cNvPr>
          <p:cNvGrpSpPr/>
          <p:nvPr/>
        </p:nvGrpSpPr>
        <p:grpSpPr>
          <a:xfrm>
            <a:off x="917952" y="2004061"/>
            <a:ext cx="3933867" cy="2838068"/>
            <a:chOff x="1171532" y="2004061"/>
            <a:chExt cx="4328718" cy="2838068"/>
          </a:xfrm>
        </p:grpSpPr>
        <p:sp>
          <p:nvSpPr>
            <p:cNvPr id="25" name="Rectangle: Rounded Corners 49">
              <a:extLst>
                <a:ext uri="{FF2B5EF4-FFF2-40B4-BE49-F238E27FC236}">
                  <a16:creationId xmlns:a16="http://schemas.microsoft.com/office/drawing/2014/main" id="{41BCF66E-9A1A-43D6-B077-B5D353FEC838}"/>
                </a:ext>
              </a:extLst>
            </p:cNvPr>
            <p:cNvSpPr/>
            <p:nvPr/>
          </p:nvSpPr>
          <p:spPr>
            <a:xfrm>
              <a:off x="1171532" y="2004061"/>
              <a:ext cx="4328718" cy="2838068"/>
            </a:xfrm>
            <a:prstGeom prst="roundRect">
              <a:avLst>
                <a:gd name="adj" fmla="val 3775"/>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5BE2CE65-ABCC-4225-9399-D73C4065C85E}"/>
                </a:ext>
              </a:extLst>
            </p:cNvPr>
            <p:cNvSpPr/>
            <p:nvPr/>
          </p:nvSpPr>
          <p:spPr>
            <a:xfrm>
              <a:off x="1291323" y="2222194"/>
              <a:ext cx="2795515" cy="535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fontAlgn="auto">
                <a:spcBef>
                  <a:spcPts val="900"/>
                </a:spcBef>
                <a:spcAft>
                  <a:spcPts val="0"/>
                </a:spcAft>
                <a:buSzPct val="100000"/>
                <a:defRPr/>
              </a:pPr>
              <a:r>
                <a:rPr lang="en-US" sz="2400" b="1" dirty="0">
                  <a:solidFill>
                    <a:srgbClr val="000000"/>
                  </a:solidFill>
                  <a:cs typeface="+mn-cs"/>
                </a:rPr>
                <a:t>SCD4x Features </a:t>
              </a:r>
            </a:p>
          </p:txBody>
        </p:sp>
        <p:cxnSp>
          <p:nvCxnSpPr>
            <p:cNvPr id="27" name="Straight Connector 26">
              <a:extLst>
                <a:ext uri="{FF2B5EF4-FFF2-40B4-BE49-F238E27FC236}">
                  <a16:creationId xmlns:a16="http://schemas.microsoft.com/office/drawing/2014/main" id="{DF7ECDCA-C5A2-4B8C-8E77-37673EE21139}"/>
                </a:ext>
              </a:extLst>
            </p:cNvPr>
            <p:cNvCxnSpPr>
              <a:cxnSpLocks/>
            </p:cNvCxnSpPr>
            <p:nvPr/>
          </p:nvCxnSpPr>
          <p:spPr>
            <a:xfrm>
              <a:off x="1346987" y="2757909"/>
              <a:ext cx="3987013"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391ACFC-1C1D-4051-B87C-4A5EBF352283}"/>
                </a:ext>
              </a:extLst>
            </p:cNvPr>
            <p:cNvSpPr txBox="1"/>
            <p:nvPr/>
          </p:nvSpPr>
          <p:spPr>
            <a:xfrm>
              <a:off x="1291323" y="2919162"/>
              <a:ext cx="4042677" cy="369332"/>
            </a:xfrm>
            <a:prstGeom prst="rect">
              <a:avLst/>
            </a:prstGeom>
            <a:noFill/>
          </p:spPr>
          <p:txBody>
            <a:bodyPr wrap="square">
              <a:spAutoFit/>
            </a:bodyPr>
            <a:lstStyle/>
            <a:p>
              <a:pPr marL="285750" lvl="0" indent="-285750" fontAlgn="auto">
                <a:spcBef>
                  <a:spcPts val="0"/>
                </a:spcBef>
                <a:spcAft>
                  <a:spcPts val="0"/>
                </a:spcAft>
                <a:buFont typeface="Arial" panose="020B0604020202020204" pitchFamily="34" charset="0"/>
                <a:buChar char="•"/>
                <a:defRPr/>
              </a:pPr>
              <a:r>
                <a:rPr lang="en-US" sz="1800" dirty="0">
                  <a:cs typeface="+mn-cs"/>
                </a:rPr>
                <a:t>Smallest CO</a:t>
              </a:r>
              <a:r>
                <a:rPr lang="en-US" sz="1800" baseline="-25000" dirty="0">
                  <a:cs typeface="+mn-cs"/>
                </a:rPr>
                <a:t>2</a:t>
              </a:r>
              <a:r>
                <a:rPr lang="en-US" sz="1800" dirty="0">
                  <a:cs typeface="+mn-cs"/>
                </a:rPr>
                <a:t> sensor: 10 x 10 x 7 mm</a:t>
              </a:r>
              <a:r>
                <a:rPr lang="en-US" sz="1800" baseline="30000" dirty="0">
                  <a:cs typeface="+mn-cs"/>
                </a:rPr>
                <a:t>3</a:t>
              </a:r>
            </a:p>
          </p:txBody>
        </p:sp>
      </p:grpSp>
      <p:grpSp>
        <p:nvGrpSpPr>
          <p:cNvPr id="29" name="Group 28">
            <a:extLst>
              <a:ext uri="{FF2B5EF4-FFF2-40B4-BE49-F238E27FC236}">
                <a16:creationId xmlns:a16="http://schemas.microsoft.com/office/drawing/2014/main" id="{37D3EC95-C34B-421F-9FEC-A2DFC35982A3}"/>
              </a:ext>
            </a:extLst>
          </p:cNvPr>
          <p:cNvGrpSpPr/>
          <p:nvPr/>
        </p:nvGrpSpPr>
        <p:grpSpPr>
          <a:xfrm>
            <a:off x="917952" y="4917092"/>
            <a:ext cx="3933866" cy="1078495"/>
            <a:chOff x="917952" y="4995982"/>
            <a:chExt cx="3933866" cy="1078495"/>
          </a:xfrm>
        </p:grpSpPr>
        <p:sp>
          <p:nvSpPr>
            <p:cNvPr id="30" name="Rectangle: Rounded Corners 29">
              <a:extLst>
                <a:ext uri="{FF2B5EF4-FFF2-40B4-BE49-F238E27FC236}">
                  <a16:creationId xmlns:a16="http://schemas.microsoft.com/office/drawing/2014/main" id="{EFE31A2F-A906-46BA-8CCF-A6EE1A6098EA}"/>
                </a:ext>
              </a:extLst>
            </p:cNvPr>
            <p:cNvSpPr/>
            <p:nvPr/>
          </p:nvSpPr>
          <p:spPr>
            <a:xfrm>
              <a:off x="917952" y="4995982"/>
              <a:ext cx="3933866" cy="1078495"/>
            </a:xfrm>
            <a:prstGeom prst="roundRect">
              <a:avLst>
                <a:gd name="adj" fmla="val 2852"/>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C131C6B4-B36B-428F-AEC5-E667B799C7EB}"/>
                </a:ext>
              </a:extLst>
            </p:cNvPr>
            <p:cNvSpPr txBox="1"/>
            <p:nvPr/>
          </p:nvSpPr>
          <p:spPr>
            <a:xfrm>
              <a:off x="2187833" y="5212064"/>
              <a:ext cx="2325389" cy="646331"/>
            </a:xfrm>
            <a:prstGeom prst="rect">
              <a:avLst/>
            </a:prstGeom>
            <a:noFill/>
          </p:spPr>
          <p:txBody>
            <a:bodyPr wrap="square">
              <a:spAutoFit/>
            </a:bodyPr>
            <a:lstStyle/>
            <a:p>
              <a:pPr algn="ctr"/>
              <a:r>
                <a:rPr lang="en-US" sz="1800" dirty="0">
                  <a:solidFill>
                    <a:schemeClr val="bg1"/>
                  </a:solidFill>
                </a:rPr>
                <a:t>Up to </a:t>
              </a:r>
              <a:r>
                <a:rPr lang="en-US" sz="1800" b="1" dirty="0">
                  <a:solidFill>
                    <a:schemeClr val="bg1"/>
                  </a:solidFill>
                </a:rPr>
                <a:t>10 times </a:t>
              </a:r>
              <a:r>
                <a:rPr lang="en-US" sz="1800" dirty="0">
                  <a:solidFill>
                    <a:schemeClr val="bg1"/>
                  </a:solidFill>
                </a:rPr>
                <a:t>smaller than other CO</a:t>
              </a:r>
              <a:r>
                <a:rPr lang="en-US" sz="1800" baseline="-25000" dirty="0">
                  <a:solidFill>
                    <a:schemeClr val="bg1"/>
                  </a:solidFill>
                </a:rPr>
                <a:t>2</a:t>
              </a:r>
              <a:r>
                <a:rPr lang="en-US" sz="1800" dirty="0">
                  <a:solidFill>
                    <a:schemeClr val="bg1"/>
                  </a:solidFill>
                </a:rPr>
                <a:t> sensors!</a:t>
              </a:r>
            </a:p>
          </p:txBody>
        </p:sp>
        <p:grpSp>
          <p:nvGrpSpPr>
            <p:cNvPr id="32" name="Group 31">
              <a:extLst>
                <a:ext uri="{FF2B5EF4-FFF2-40B4-BE49-F238E27FC236}">
                  <a16:creationId xmlns:a16="http://schemas.microsoft.com/office/drawing/2014/main" id="{53A30343-22B8-4725-833A-FC18F16D2C3D}"/>
                </a:ext>
              </a:extLst>
            </p:cNvPr>
            <p:cNvGrpSpPr/>
            <p:nvPr/>
          </p:nvGrpSpPr>
          <p:grpSpPr>
            <a:xfrm>
              <a:off x="1124962" y="5173092"/>
              <a:ext cx="724275" cy="724275"/>
              <a:chOff x="6661431" y="2189755"/>
              <a:chExt cx="640080" cy="640080"/>
            </a:xfrm>
            <a:effectLst>
              <a:outerShdw blurRad="317500" sx="102000" sy="102000" algn="ctr" rotWithShape="0">
                <a:prstClr val="black">
                  <a:alpha val="10000"/>
                </a:prstClr>
              </a:outerShdw>
            </a:effectLst>
          </p:grpSpPr>
          <p:sp>
            <p:nvSpPr>
              <p:cNvPr id="33" name="Oval 32">
                <a:extLst>
                  <a:ext uri="{FF2B5EF4-FFF2-40B4-BE49-F238E27FC236}">
                    <a16:creationId xmlns:a16="http://schemas.microsoft.com/office/drawing/2014/main" id="{5E02D288-E050-47EF-8B79-ECADBE51F1A3}"/>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47A5CB15-078C-4808-BC2B-032DF37B7CF8}"/>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36" name="Graphic 35">
            <a:extLst>
              <a:ext uri="{FF2B5EF4-FFF2-40B4-BE49-F238E27FC236}">
                <a16:creationId xmlns:a16="http://schemas.microsoft.com/office/drawing/2014/main" id="{AF3F626B-DEB7-4156-8D6B-FCD5C5C2CA4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287072" y="5256311"/>
            <a:ext cx="400053" cy="400053"/>
          </a:xfrm>
          <a:prstGeom prst="rect">
            <a:avLst/>
          </a:prstGeom>
        </p:spPr>
      </p:pic>
    </p:spTree>
    <p:extLst>
      <p:ext uri="{BB962C8B-B14F-4D97-AF65-F5344CB8AC3E}">
        <p14:creationId xmlns:p14="http://schemas.microsoft.com/office/powerpoint/2010/main" val="3932885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BCC11E-ECF1-0C48-AFC2-362D844614F1}"/>
              </a:ext>
            </a:extLst>
          </p:cNvPr>
          <p:cNvGrpSpPr/>
          <p:nvPr/>
        </p:nvGrpSpPr>
        <p:grpSpPr>
          <a:xfrm>
            <a:off x="839769" y="6387669"/>
            <a:ext cx="5150521" cy="235359"/>
            <a:chOff x="839769" y="6387669"/>
            <a:chExt cx="5150521" cy="235359"/>
          </a:xfrm>
        </p:grpSpPr>
        <p:grpSp>
          <p:nvGrpSpPr>
            <p:cNvPr id="4" name="Gruppierung 1">
              <a:extLst>
                <a:ext uri="{FF2B5EF4-FFF2-40B4-BE49-F238E27FC236}">
                  <a16:creationId xmlns:a16="http://schemas.microsoft.com/office/drawing/2014/main" id="{286C387A-61B1-E04E-9A3E-1BCAA7C5CD89}"/>
                </a:ext>
              </a:extLst>
            </p:cNvPr>
            <p:cNvGrpSpPr/>
            <p:nvPr/>
          </p:nvGrpSpPr>
          <p:grpSpPr>
            <a:xfrm>
              <a:off x="839769" y="6387669"/>
              <a:ext cx="5150521" cy="235359"/>
              <a:chOff x="839769" y="6369739"/>
              <a:chExt cx="5150521" cy="235359"/>
            </a:xfrm>
          </p:grpSpPr>
          <p:sp>
            <p:nvSpPr>
              <p:cNvPr id="6" name="Fußzeilenplatzhalter 4">
                <a:extLst>
                  <a:ext uri="{FF2B5EF4-FFF2-40B4-BE49-F238E27FC236}">
                    <a16:creationId xmlns:a16="http://schemas.microsoft.com/office/drawing/2014/main" id="{5BAD2516-DF0C-4342-8710-9093C69A2884}"/>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7" name="Fußzeilenplatzhalter 4">
                <a:extLst>
                  <a:ext uri="{FF2B5EF4-FFF2-40B4-BE49-F238E27FC236}">
                    <a16:creationId xmlns:a16="http://schemas.microsoft.com/office/drawing/2014/main" id="{9A677FA2-3505-1247-A0AD-A1ECAA259958}"/>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5" name="Straight Connector 4">
              <a:extLst>
                <a:ext uri="{FF2B5EF4-FFF2-40B4-BE49-F238E27FC236}">
                  <a16:creationId xmlns:a16="http://schemas.microsoft.com/office/drawing/2014/main" id="{AC98DF89-84F2-9848-BB42-F045FC3335E7}"/>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31832007-25FE-BE45-9EF7-9D9FCF3F27F3}"/>
              </a:ext>
            </a:extLst>
          </p:cNvPr>
          <p:cNvSpPr txBox="1"/>
          <p:nvPr/>
        </p:nvSpPr>
        <p:spPr>
          <a:xfrm>
            <a:off x="752797" y="743519"/>
            <a:ext cx="10801877" cy="646331"/>
          </a:xfrm>
          <a:prstGeom prst="rect">
            <a:avLst/>
          </a:prstGeom>
          <a:noFill/>
        </p:spPr>
        <p:txBody>
          <a:bodyPr wrap="square">
            <a:spAutoFit/>
          </a:bodyPr>
          <a:lstStyle/>
          <a:p>
            <a:r>
              <a:rPr lang="en-US" sz="3600" b="1" dirty="0">
                <a:solidFill>
                  <a:schemeClr val="accent1"/>
                </a:solidFill>
              </a:rPr>
              <a:t>SCD4x: a truly disruptive CO</a:t>
            </a:r>
            <a:r>
              <a:rPr lang="en-US" sz="3600" b="1" baseline="-25000" dirty="0">
                <a:solidFill>
                  <a:schemeClr val="accent1"/>
                </a:solidFill>
              </a:rPr>
              <a:t>2</a:t>
            </a:r>
            <a:r>
              <a:rPr lang="en-US" sz="3600" b="1" dirty="0">
                <a:solidFill>
                  <a:schemeClr val="accent1"/>
                </a:solidFill>
              </a:rPr>
              <a:t> sensor</a:t>
            </a:r>
          </a:p>
        </p:txBody>
      </p:sp>
      <p:sp>
        <p:nvSpPr>
          <p:cNvPr id="15" name="Isosceles Triangle 14">
            <a:extLst>
              <a:ext uri="{FF2B5EF4-FFF2-40B4-BE49-F238E27FC236}">
                <a16:creationId xmlns:a16="http://schemas.microsoft.com/office/drawing/2014/main" id="{2F34E5CB-1A5B-4DDE-B943-0A601ACA6747}"/>
              </a:ext>
            </a:extLst>
          </p:cNvPr>
          <p:cNvSpPr/>
          <p:nvPr/>
        </p:nvSpPr>
        <p:spPr>
          <a:xfrm rot="13715017">
            <a:off x="8254228" y="1986971"/>
            <a:ext cx="1604139" cy="3045042"/>
          </a:xfrm>
          <a:prstGeom prst="triangle">
            <a:avLst>
              <a:gd name="adj" fmla="val 51082"/>
            </a:avLst>
          </a:prstGeom>
          <a:gradFill flip="none" rotWithShape="1">
            <a:gsLst>
              <a:gs pos="4000">
                <a:schemeClr val="bg1"/>
              </a:gs>
              <a:gs pos="100000">
                <a:schemeClr val="bg1">
                  <a:lumMod val="8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descr="A picture containing dishware, tableware&#10;&#10;Description automatically generated">
            <a:extLst>
              <a:ext uri="{FF2B5EF4-FFF2-40B4-BE49-F238E27FC236}">
                <a16:creationId xmlns:a16="http://schemas.microsoft.com/office/drawing/2014/main" id="{E543749E-EA3A-F74E-A678-EE3DAA60A09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08229" y="2490051"/>
            <a:ext cx="5190482" cy="3853414"/>
          </a:xfrm>
          <a:prstGeom prst="rect">
            <a:avLst/>
          </a:prstGeom>
        </p:spPr>
      </p:pic>
      <p:grpSp>
        <p:nvGrpSpPr>
          <p:cNvPr id="14" name="Group 13">
            <a:extLst>
              <a:ext uri="{FF2B5EF4-FFF2-40B4-BE49-F238E27FC236}">
                <a16:creationId xmlns:a16="http://schemas.microsoft.com/office/drawing/2014/main" id="{989B5894-3941-4040-9E8E-5534E6628F9F}"/>
              </a:ext>
            </a:extLst>
          </p:cNvPr>
          <p:cNvGrpSpPr/>
          <p:nvPr/>
        </p:nvGrpSpPr>
        <p:grpSpPr>
          <a:xfrm>
            <a:off x="9314424" y="1739896"/>
            <a:ext cx="1850760" cy="1500310"/>
            <a:chOff x="-2998200" y="2421996"/>
            <a:chExt cx="2707692" cy="2194978"/>
          </a:xfrm>
        </p:grpSpPr>
        <p:sp>
          <p:nvSpPr>
            <p:cNvPr id="37" name="Oval 36">
              <a:extLst>
                <a:ext uri="{FF2B5EF4-FFF2-40B4-BE49-F238E27FC236}">
                  <a16:creationId xmlns:a16="http://schemas.microsoft.com/office/drawing/2014/main" id="{2615FD99-218A-2940-8D8D-8936BD9BF0B1}"/>
                </a:ext>
              </a:extLst>
            </p:cNvPr>
            <p:cNvSpPr>
              <a:spLocks noChangeAspect="1"/>
            </p:cNvSpPr>
            <p:nvPr/>
          </p:nvSpPr>
          <p:spPr>
            <a:xfrm>
              <a:off x="-2741843" y="2421996"/>
              <a:ext cx="2194978" cy="2194978"/>
            </a:xfrm>
            <a:prstGeom prst="ellipse">
              <a:avLst/>
            </a:prstGeom>
            <a:solidFill>
              <a:schemeClr val="bg1"/>
            </a:solidFill>
            <a:ln w="28575">
              <a:solidFill>
                <a:srgbClr val="66CC33"/>
              </a:solid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https://cdn-assets-eu.frontify.com/s3/frontify-enterprise-files-eu/eyJwYXRoIjoic2Vuc2lyaW9uXC9hY2NvdW50c1wvNGZcLzQwMDA0MDRcL3Byb2plY3RzXC8xOVwvYXNzZXRzXC9mMVwvMjgwMTdcLzJhMTY0ZGFmZTk5Zjg3NDdmNzk2OGMxZjIzNDY5NTgxLTE1NzQ4NjY2NDMucG5nIn0:sensirion:ij5Yo9xU_2ZYxFxkXPIUU0fDUCu8baIzublQoUPJs5s?width=2400">
              <a:extLst>
                <a:ext uri="{FF2B5EF4-FFF2-40B4-BE49-F238E27FC236}">
                  <a16:creationId xmlns:a16="http://schemas.microsoft.com/office/drawing/2014/main" id="{F8A2340A-30F2-F149-9B79-24A6636D442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98200" y="2560510"/>
              <a:ext cx="2707692" cy="19179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BA87E4D8-BDD5-4458-B448-8BE8E4D1BEBA}"/>
              </a:ext>
            </a:extLst>
          </p:cNvPr>
          <p:cNvGrpSpPr/>
          <p:nvPr/>
        </p:nvGrpSpPr>
        <p:grpSpPr>
          <a:xfrm>
            <a:off x="917952" y="2004061"/>
            <a:ext cx="3933867" cy="2838068"/>
            <a:chOff x="1171532" y="2004061"/>
            <a:chExt cx="4328718" cy="2838068"/>
          </a:xfrm>
        </p:grpSpPr>
        <p:sp>
          <p:nvSpPr>
            <p:cNvPr id="23" name="Rectangle: Rounded Corners 49">
              <a:extLst>
                <a:ext uri="{FF2B5EF4-FFF2-40B4-BE49-F238E27FC236}">
                  <a16:creationId xmlns:a16="http://schemas.microsoft.com/office/drawing/2014/main" id="{8E623300-40D7-48AE-9868-4E55F644F3BD}"/>
                </a:ext>
              </a:extLst>
            </p:cNvPr>
            <p:cNvSpPr/>
            <p:nvPr/>
          </p:nvSpPr>
          <p:spPr>
            <a:xfrm>
              <a:off x="1171532" y="2004061"/>
              <a:ext cx="4328718" cy="2838068"/>
            </a:xfrm>
            <a:prstGeom prst="roundRect">
              <a:avLst>
                <a:gd name="adj" fmla="val 3775"/>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A1536741-9196-4AA0-BD1C-E9C9C5E33C1E}"/>
                </a:ext>
              </a:extLst>
            </p:cNvPr>
            <p:cNvSpPr/>
            <p:nvPr/>
          </p:nvSpPr>
          <p:spPr>
            <a:xfrm>
              <a:off x="1291323" y="2222194"/>
              <a:ext cx="2795515" cy="535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fontAlgn="auto">
                <a:spcBef>
                  <a:spcPts val="900"/>
                </a:spcBef>
                <a:spcAft>
                  <a:spcPts val="0"/>
                </a:spcAft>
                <a:buSzPct val="100000"/>
                <a:defRPr/>
              </a:pPr>
              <a:r>
                <a:rPr lang="en-US" sz="2400" b="1" dirty="0">
                  <a:solidFill>
                    <a:srgbClr val="000000"/>
                  </a:solidFill>
                  <a:cs typeface="+mn-cs"/>
                </a:rPr>
                <a:t>SCD4x Features </a:t>
              </a:r>
            </a:p>
          </p:txBody>
        </p:sp>
        <p:cxnSp>
          <p:nvCxnSpPr>
            <p:cNvPr id="27" name="Straight Connector 26">
              <a:extLst>
                <a:ext uri="{FF2B5EF4-FFF2-40B4-BE49-F238E27FC236}">
                  <a16:creationId xmlns:a16="http://schemas.microsoft.com/office/drawing/2014/main" id="{78D2A0EF-0EBF-485B-8142-54B29D78F808}"/>
                </a:ext>
              </a:extLst>
            </p:cNvPr>
            <p:cNvCxnSpPr>
              <a:cxnSpLocks/>
            </p:cNvCxnSpPr>
            <p:nvPr/>
          </p:nvCxnSpPr>
          <p:spPr>
            <a:xfrm>
              <a:off x="1346987" y="2757909"/>
              <a:ext cx="3987013"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281ECEF-696D-426A-8B2C-2C3D0E9B7DB3}"/>
                </a:ext>
              </a:extLst>
            </p:cNvPr>
            <p:cNvSpPr txBox="1"/>
            <p:nvPr/>
          </p:nvSpPr>
          <p:spPr>
            <a:xfrm>
              <a:off x="1291323" y="2919162"/>
              <a:ext cx="3987012" cy="748923"/>
            </a:xfrm>
            <a:prstGeom prst="rect">
              <a:avLst/>
            </a:prstGeom>
            <a:noFill/>
          </p:spPr>
          <p:txBody>
            <a:bodyPr wrap="square">
              <a:spAutoFit/>
            </a:bodyPr>
            <a:lstStyle/>
            <a:p>
              <a:pPr marL="342900" indent="-342900">
                <a:spcBef>
                  <a:spcPts val="400"/>
                </a:spcBef>
                <a:spcAft>
                  <a:spcPts val="400"/>
                </a:spcAft>
                <a:buFont typeface="Arial" panose="020B0604020202020204" pitchFamily="34" charset="0"/>
                <a:buChar char="•"/>
              </a:pPr>
              <a:r>
                <a:rPr lang="en-US" sz="1800" dirty="0"/>
                <a:t>Smallest CO</a:t>
              </a:r>
              <a:r>
                <a:rPr lang="en-US" sz="1800" baseline="-25000" dirty="0"/>
                <a:t>2</a:t>
              </a:r>
              <a:r>
                <a:rPr lang="en-US" sz="1800" dirty="0"/>
                <a:t> sensor</a:t>
              </a:r>
            </a:p>
            <a:p>
              <a:pPr marL="342900" indent="-342900">
                <a:spcBef>
                  <a:spcPts val="400"/>
                </a:spcBef>
                <a:spcAft>
                  <a:spcPts val="400"/>
                </a:spcAft>
                <a:buFont typeface="Arial" panose="020B0604020202020204" pitchFamily="34" charset="0"/>
                <a:buChar char="•"/>
              </a:pPr>
              <a:r>
                <a:rPr lang="en-US" sz="1800" dirty="0"/>
                <a:t>SMD soldering, tape &amp; reel package</a:t>
              </a:r>
            </a:p>
          </p:txBody>
        </p:sp>
      </p:grpSp>
      <p:grpSp>
        <p:nvGrpSpPr>
          <p:cNvPr id="29" name="Group 28">
            <a:extLst>
              <a:ext uri="{FF2B5EF4-FFF2-40B4-BE49-F238E27FC236}">
                <a16:creationId xmlns:a16="http://schemas.microsoft.com/office/drawing/2014/main" id="{521B370E-DDF8-41EF-8B6D-B809382115E6}"/>
              </a:ext>
            </a:extLst>
          </p:cNvPr>
          <p:cNvGrpSpPr/>
          <p:nvPr/>
        </p:nvGrpSpPr>
        <p:grpSpPr>
          <a:xfrm>
            <a:off x="917952" y="4917092"/>
            <a:ext cx="3933866" cy="1078495"/>
            <a:chOff x="917952" y="4995982"/>
            <a:chExt cx="3933866" cy="1078495"/>
          </a:xfrm>
        </p:grpSpPr>
        <p:sp>
          <p:nvSpPr>
            <p:cNvPr id="30" name="Rectangle: Rounded Corners 29">
              <a:extLst>
                <a:ext uri="{FF2B5EF4-FFF2-40B4-BE49-F238E27FC236}">
                  <a16:creationId xmlns:a16="http://schemas.microsoft.com/office/drawing/2014/main" id="{62531B42-1AF8-4469-A020-49D7FA2A83F8}"/>
                </a:ext>
              </a:extLst>
            </p:cNvPr>
            <p:cNvSpPr/>
            <p:nvPr/>
          </p:nvSpPr>
          <p:spPr>
            <a:xfrm>
              <a:off x="917952" y="4995982"/>
              <a:ext cx="3933866" cy="1078495"/>
            </a:xfrm>
            <a:prstGeom prst="roundRect">
              <a:avLst>
                <a:gd name="adj" fmla="val 2852"/>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C906092C-5084-49C8-8B3E-9BE28C9E9AB4}"/>
                </a:ext>
              </a:extLst>
            </p:cNvPr>
            <p:cNvSpPr txBox="1"/>
            <p:nvPr/>
          </p:nvSpPr>
          <p:spPr>
            <a:xfrm>
              <a:off x="2187833" y="5212064"/>
              <a:ext cx="2325389" cy="646331"/>
            </a:xfrm>
            <a:prstGeom prst="rect">
              <a:avLst/>
            </a:prstGeom>
            <a:noFill/>
          </p:spPr>
          <p:txBody>
            <a:bodyPr wrap="square">
              <a:spAutoFit/>
            </a:bodyPr>
            <a:lstStyle/>
            <a:p>
              <a:pPr>
                <a:spcBef>
                  <a:spcPts val="0"/>
                </a:spcBef>
                <a:spcAft>
                  <a:spcPts val="300"/>
                </a:spcAft>
                <a:buClr>
                  <a:schemeClr val="tx1"/>
                </a:buClr>
              </a:pPr>
              <a:r>
                <a:rPr lang="en-US" sz="1800" b="1" dirty="0">
                  <a:solidFill>
                    <a:schemeClr val="bg1"/>
                  </a:solidFill>
                </a:rPr>
                <a:t>Automated, low cost and reliable assembly</a:t>
              </a:r>
            </a:p>
          </p:txBody>
        </p:sp>
        <p:grpSp>
          <p:nvGrpSpPr>
            <p:cNvPr id="33" name="Group 32">
              <a:extLst>
                <a:ext uri="{FF2B5EF4-FFF2-40B4-BE49-F238E27FC236}">
                  <a16:creationId xmlns:a16="http://schemas.microsoft.com/office/drawing/2014/main" id="{F672AB19-C6CF-41EF-9474-AB445F1886B3}"/>
                </a:ext>
              </a:extLst>
            </p:cNvPr>
            <p:cNvGrpSpPr/>
            <p:nvPr/>
          </p:nvGrpSpPr>
          <p:grpSpPr>
            <a:xfrm>
              <a:off x="1124962" y="5173092"/>
              <a:ext cx="724275" cy="724275"/>
              <a:chOff x="6661431" y="2189755"/>
              <a:chExt cx="640080" cy="640080"/>
            </a:xfrm>
            <a:effectLst>
              <a:outerShdw blurRad="317500" sx="102000" sy="102000" algn="ctr" rotWithShape="0">
                <a:prstClr val="black">
                  <a:alpha val="10000"/>
                </a:prstClr>
              </a:outerShdw>
            </a:effectLst>
          </p:grpSpPr>
          <p:sp>
            <p:nvSpPr>
              <p:cNvPr id="34" name="Oval 33">
                <a:extLst>
                  <a:ext uri="{FF2B5EF4-FFF2-40B4-BE49-F238E27FC236}">
                    <a16:creationId xmlns:a16="http://schemas.microsoft.com/office/drawing/2014/main" id="{3733FCC5-7098-4038-A9B0-A21FEB48C714}"/>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5552A1FF-1510-4B22-87CD-DBD544D65BEB}"/>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39" name="Picture 38">
            <a:extLst>
              <a:ext uri="{FF2B5EF4-FFF2-40B4-BE49-F238E27FC236}">
                <a16:creationId xmlns:a16="http://schemas.microsoft.com/office/drawing/2014/main" id="{56AF1664-3BF5-4416-9A21-FC79501DA73B}"/>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1257884" y="5230990"/>
            <a:ext cx="434849" cy="450699"/>
          </a:xfrm>
          <a:prstGeom prst="rect">
            <a:avLst/>
          </a:prstGeom>
        </p:spPr>
      </p:pic>
    </p:spTree>
    <p:extLst>
      <p:ext uri="{BB962C8B-B14F-4D97-AF65-F5344CB8AC3E}">
        <p14:creationId xmlns:p14="http://schemas.microsoft.com/office/powerpoint/2010/main" val="609033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8B937-E2A4-48AC-8141-18C10E881735}"/>
              </a:ext>
            </a:extLst>
          </p:cNvPr>
          <p:cNvSpPr>
            <a:spLocks noGrp="1"/>
          </p:cNvSpPr>
          <p:nvPr>
            <p:ph type="title"/>
          </p:nvPr>
        </p:nvSpPr>
        <p:spPr/>
        <p:txBody>
          <a:bodyPr/>
          <a:lstStyle/>
          <a:p>
            <a:r>
              <a:rPr lang="en-US"/>
              <a:t>Wide range of solutions across diverse end markets</a:t>
            </a:r>
          </a:p>
        </p:txBody>
      </p:sp>
      <p:sp>
        <p:nvSpPr>
          <p:cNvPr id="3" name="Slide Number Placeholder 2">
            <a:extLst>
              <a:ext uri="{FF2B5EF4-FFF2-40B4-BE49-F238E27FC236}">
                <a16:creationId xmlns:a16="http://schemas.microsoft.com/office/drawing/2014/main" id="{3CC1EEDA-7885-4A43-8BD5-6FE329489740}"/>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6</a:t>
            </a:fld>
            <a:endParaRPr lang="en-US"/>
          </a:p>
        </p:txBody>
      </p:sp>
      <p:sp>
        <p:nvSpPr>
          <p:cNvPr id="4" name="Rectangle 3">
            <a:extLst>
              <a:ext uri="{FF2B5EF4-FFF2-40B4-BE49-F238E27FC236}">
                <a16:creationId xmlns:a16="http://schemas.microsoft.com/office/drawing/2014/main" id="{F70CC999-D2B2-4548-9C81-DE0165A29FDD}"/>
              </a:ext>
            </a:extLst>
          </p:cNvPr>
          <p:cNvSpPr/>
          <p:nvPr/>
        </p:nvSpPr>
        <p:spPr>
          <a:xfrm>
            <a:off x="4230510" y="1480521"/>
            <a:ext cx="1728000" cy="434448"/>
          </a:xfrm>
          <a:prstGeom prst="rect">
            <a:avLst/>
          </a:prstGeom>
          <a:solidFill>
            <a:srgbClr val="66CC33"/>
          </a:solidFill>
          <a:ln>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prstClr val="white"/>
                </a:solidFill>
                <a:latin typeface="Arial Narrow" panose="020B0606020202030204" pitchFamily="34" charset="0"/>
              </a:rPr>
              <a:t>24%</a:t>
            </a:r>
          </a:p>
        </p:txBody>
      </p:sp>
      <p:sp>
        <p:nvSpPr>
          <p:cNvPr id="6" name="Rectangle 5">
            <a:extLst>
              <a:ext uri="{FF2B5EF4-FFF2-40B4-BE49-F238E27FC236}">
                <a16:creationId xmlns:a16="http://schemas.microsoft.com/office/drawing/2014/main" id="{41019412-88DB-458B-A015-176B312E02D3}"/>
              </a:ext>
            </a:extLst>
          </p:cNvPr>
          <p:cNvSpPr>
            <a:spLocks/>
          </p:cNvSpPr>
          <p:nvPr/>
        </p:nvSpPr>
        <p:spPr>
          <a:xfrm>
            <a:off x="4230510" y="1986926"/>
            <a:ext cx="1728000" cy="1848802"/>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4400" kern="0">
                <a:solidFill>
                  <a:srgbClr val="66CC33"/>
                </a:solidFill>
                <a:ea typeface="LF_Kai"/>
                <a:sym typeface="Wingdings"/>
              </a:rPr>
              <a:t></a:t>
            </a:r>
            <a:endParaRPr lang="en-US" sz="4400" kern="0">
              <a:solidFill>
                <a:prstClr val="black"/>
              </a:solidFill>
              <a:ea typeface="LF_Kai"/>
            </a:endParaRPr>
          </a:p>
        </p:txBody>
      </p:sp>
      <p:sp>
        <p:nvSpPr>
          <p:cNvPr id="7" name="Rectangle 6">
            <a:extLst>
              <a:ext uri="{FF2B5EF4-FFF2-40B4-BE49-F238E27FC236}">
                <a16:creationId xmlns:a16="http://schemas.microsoft.com/office/drawing/2014/main" id="{A17F70EB-A4F6-4479-8E30-B0D0437A060F}"/>
              </a:ext>
            </a:extLst>
          </p:cNvPr>
          <p:cNvSpPr>
            <a:spLocks/>
          </p:cNvSpPr>
          <p:nvPr/>
        </p:nvSpPr>
        <p:spPr>
          <a:xfrm>
            <a:off x="4230510" y="3956939"/>
            <a:ext cx="1728000" cy="125102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r>
              <a:rPr lang="en-US" sz="4400" kern="0">
                <a:solidFill>
                  <a:srgbClr val="66CC33"/>
                </a:solidFill>
                <a:ea typeface="LF_Kai"/>
                <a:sym typeface="Wingdings"/>
              </a:rPr>
              <a:t></a:t>
            </a:r>
            <a:endParaRPr lang="en-US" sz="4400" kern="0">
              <a:solidFill>
                <a:prstClr val="black"/>
              </a:solidFill>
              <a:ea typeface="LF_Kai"/>
            </a:endParaRPr>
          </a:p>
        </p:txBody>
      </p:sp>
      <p:sp>
        <p:nvSpPr>
          <p:cNvPr id="8" name="Rectangle 7">
            <a:extLst>
              <a:ext uri="{FF2B5EF4-FFF2-40B4-BE49-F238E27FC236}">
                <a16:creationId xmlns:a16="http://schemas.microsoft.com/office/drawing/2014/main" id="{44B7069A-2FEE-44F9-A13F-025B7E36598A}"/>
              </a:ext>
            </a:extLst>
          </p:cNvPr>
          <p:cNvSpPr/>
          <p:nvPr/>
        </p:nvSpPr>
        <p:spPr>
          <a:xfrm>
            <a:off x="7831626" y="1480474"/>
            <a:ext cx="1728000" cy="434448"/>
          </a:xfrm>
          <a:prstGeom prst="rect">
            <a:avLst/>
          </a:prstGeom>
          <a:solidFill>
            <a:srgbClr val="BFBFBF"/>
          </a:solid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prstClr val="white"/>
                </a:solidFill>
                <a:latin typeface="Arial Narrow" panose="020B0606020202030204" pitchFamily="34" charset="0"/>
              </a:rPr>
              <a:t>49%</a:t>
            </a:r>
          </a:p>
        </p:txBody>
      </p:sp>
      <p:sp>
        <p:nvSpPr>
          <p:cNvPr id="10" name="Rectangle 9">
            <a:extLst>
              <a:ext uri="{FF2B5EF4-FFF2-40B4-BE49-F238E27FC236}">
                <a16:creationId xmlns:a16="http://schemas.microsoft.com/office/drawing/2014/main" id="{7C3FD14C-83BD-4C6C-8186-F05BC4001C1A}"/>
              </a:ext>
            </a:extLst>
          </p:cNvPr>
          <p:cNvSpPr>
            <a:spLocks/>
          </p:cNvSpPr>
          <p:nvPr/>
        </p:nvSpPr>
        <p:spPr>
          <a:xfrm>
            <a:off x="7831626" y="1986878"/>
            <a:ext cx="1728000" cy="1848845"/>
          </a:xfrm>
          <a:prstGeom prst="rect">
            <a:avLst/>
          </a:prstGeom>
          <a:noFill/>
          <a:ln w="9525" cap="flat" cmpd="sng" algn="ctr">
            <a:solidFill>
              <a:srgbClr val="BFBFBF"/>
            </a:solidFill>
            <a:prstDash val="solid"/>
          </a:ln>
          <a:effectLst/>
        </p:spPr>
        <p:txBody>
          <a:bodyPr rtlCol="0" anchor="ctr"/>
          <a:lstStyle/>
          <a:p>
            <a:pPr algn="ctr" fontAlgn="auto">
              <a:spcBef>
                <a:spcPts val="0"/>
              </a:spcBef>
              <a:spcAft>
                <a:spcPts val="0"/>
              </a:spcAft>
              <a:defRPr/>
            </a:pPr>
            <a:r>
              <a:rPr lang="en-US" sz="4400" kern="0">
                <a:solidFill>
                  <a:srgbClr val="BFBFBF"/>
                </a:solidFill>
                <a:ea typeface="LF_Kai"/>
                <a:sym typeface="Wingdings"/>
              </a:rPr>
              <a:t></a:t>
            </a:r>
            <a:endParaRPr lang="en-US" sz="4400" kern="0">
              <a:solidFill>
                <a:srgbClr val="BFBFBF"/>
              </a:solidFill>
              <a:ea typeface="LF_Kai"/>
            </a:endParaRPr>
          </a:p>
        </p:txBody>
      </p:sp>
      <p:sp>
        <p:nvSpPr>
          <p:cNvPr id="11" name="Rectangle 10">
            <a:extLst>
              <a:ext uri="{FF2B5EF4-FFF2-40B4-BE49-F238E27FC236}">
                <a16:creationId xmlns:a16="http://schemas.microsoft.com/office/drawing/2014/main" id="{09F0327F-A1A8-48E1-A3D5-84E11A0E2AFA}"/>
              </a:ext>
            </a:extLst>
          </p:cNvPr>
          <p:cNvSpPr>
            <a:spLocks/>
          </p:cNvSpPr>
          <p:nvPr/>
        </p:nvSpPr>
        <p:spPr>
          <a:xfrm>
            <a:off x="7831626" y="3956939"/>
            <a:ext cx="1728000" cy="1250986"/>
          </a:xfrm>
          <a:prstGeom prst="rect">
            <a:avLst/>
          </a:prstGeom>
          <a:noFill/>
          <a:ln w="9525" cap="flat" cmpd="sng" algn="ctr">
            <a:solidFill>
              <a:srgbClr val="BFBFBF"/>
            </a:solidFill>
            <a:prstDash val="solid"/>
          </a:ln>
          <a:effectLst/>
        </p:spPr>
        <p:txBody>
          <a:bodyPr rtlCol="0" anchor="ctr"/>
          <a:lstStyle/>
          <a:p>
            <a:pPr algn="ctr" fontAlgn="auto">
              <a:spcBef>
                <a:spcPts val="0"/>
              </a:spcBef>
              <a:spcAft>
                <a:spcPts val="0"/>
              </a:spcAft>
              <a:defRPr/>
            </a:pPr>
            <a:r>
              <a:rPr lang="en-US" sz="4400" kern="0">
                <a:solidFill>
                  <a:srgbClr val="BFBFBF"/>
                </a:solidFill>
                <a:ea typeface="LF_Kai"/>
                <a:sym typeface="Wingdings"/>
              </a:rPr>
              <a:t></a:t>
            </a:r>
            <a:endParaRPr lang="en-US" sz="4400" kern="0">
              <a:solidFill>
                <a:srgbClr val="BFBFBF"/>
              </a:solidFill>
              <a:ea typeface="LF_Kai"/>
            </a:endParaRPr>
          </a:p>
        </p:txBody>
      </p:sp>
      <p:sp>
        <p:nvSpPr>
          <p:cNvPr id="12" name="Rectangle 11">
            <a:extLst>
              <a:ext uri="{FF2B5EF4-FFF2-40B4-BE49-F238E27FC236}">
                <a16:creationId xmlns:a16="http://schemas.microsoft.com/office/drawing/2014/main" id="{CC80BCF2-5A35-4C92-B3BF-8561E22797C5}"/>
              </a:ext>
            </a:extLst>
          </p:cNvPr>
          <p:cNvSpPr/>
          <p:nvPr/>
        </p:nvSpPr>
        <p:spPr>
          <a:xfrm>
            <a:off x="6021534" y="1480521"/>
            <a:ext cx="1728000" cy="434448"/>
          </a:xfrm>
          <a:prstGeom prst="rect">
            <a:avLst/>
          </a:prstGeom>
          <a:solidFill>
            <a:srgbClr val="00573D"/>
          </a:solidFill>
          <a:ln>
            <a:solidFill>
              <a:srgbClr val="00573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prstClr val="white"/>
                </a:solidFill>
                <a:latin typeface="Arial Narrow" panose="020B0606020202030204" pitchFamily="34" charset="0"/>
              </a:rPr>
              <a:t>17%</a:t>
            </a:r>
          </a:p>
        </p:txBody>
      </p:sp>
      <p:sp>
        <p:nvSpPr>
          <p:cNvPr id="14" name="Rectangle 13">
            <a:extLst>
              <a:ext uri="{FF2B5EF4-FFF2-40B4-BE49-F238E27FC236}">
                <a16:creationId xmlns:a16="http://schemas.microsoft.com/office/drawing/2014/main" id="{CDBC9DA4-B7C3-452C-A96B-80B4E2404296}"/>
              </a:ext>
            </a:extLst>
          </p:cNvPr>
          <p:cNvSpPr>
            <a:spLocks/>
          </p:cNvSpPr>
          <p:nvPr/>
        </p:nvSpPr>
        <p:spPr>
          <a:xfrm>
            <a:off x="6021534" y="1986926"/>
            <a:ext cx="1728000" cy="1848801"/>
          </a:xfrm>
          <a:prstGeom prst="rect">
            <a:avLst/>
          </a:prstGeom>
          <a:noFill/>
          <a:ln w="9525" cap="flat" cmpd="sng" algn="ctr">
            <a:solidFill>
              <a:srgbClr val="00573D"/>
            </a:solidFill>
            <a:prstDash val="solid"/>
          </a:ln>
          <a:effectLst/>
        </p:spPr>
        <p:txBody>
          <a:bodyPr rtlCol="0" anchor="ctr"/>
          <a:lstStyle/>
          <a:p>
            <a:pPr algn="ctr" fontAlgn="auto">
              <a:spcBef>
                <a:spcPts val="0"/>
              </a:spcBef>
              <a:spcAft>
                <a:spcPts val="0"/>
              </a:spcAft>
              <a:defRPr/>
            </a:pPr>
            <a:r>
              <a:rPr lang="en-US" sz="4400" kern="0">
                <a:solidFill>
                  <a:srgbClr val="00573D"/>
                </a:solidFill>
                <a:ea typeface="LF_Kai"/>
                <a:sym typeface="Wingdings"/>
              </a:rPr>
              <a:t></a:t>
            </a:r>
            <a:endParaRPr lang="en-US" sz="4400" kern="0">
              <a:solidFill>
                <a:srgbClr val="00573D"/>
              </a:solidFill>
              <a:ea typeface="LF_Kai"/>
            </a:endParaRPr>
          </a:p>
        </p:txBody>
      </p:sp>
      <p:sp>
        <p:nvSpPr>
          <p:cNvPr id="15" name="Rectangle 14">
            <a:extLst>
              <a:ext uri="{FF2B5EF4-FFF2-40B4-BE49-F238E27FC236}">
                <a16:creationId xmlns:a16="http://schemas.microsoft.com/office/drawing/2014/main" id="{527335F0-1E9B-4A4F-AC19-46F076F690CA}"/>
              </a:ext>
            </a:extLst>
          </p:cNvPr>
          <p:cNvSpPr>
            <a:spLocks/>
          </p:cNvSpPr>
          <p:nvPr/>
        </p:nvSpPr>
        <p:spPr>
          <a:xfrm>
            <a:off x="6021534" y="3956939"/>
            <a:ext cx="1728000" cy="1251024"/>
          </a:xfrm>
          <a:prstGeom prst="rect">
            <a:avLst/>
          </a:prstGeom>
          <a:noFill/>
          <a:ln w="9525" cap="flat" cmpd="sng" algn="ctr">
            <a:solidFill>
              <a:srgbClr val="00573D"/>
            </a:solidFill>
            <a:prstDash val="solid"/>
          </a:ln>
          <a:effectLst/>
        </p:spPr>
        <p:txBody>
          <a:bodyPr rtlCol="0" anchor="ctr"/>
          <a:lstStyle/>
          <a:p>
            <a:pPr algn="ctr" fontAlgn="auto">
              <a:spcBef>
                <a:spcPts val="0"/>
              </a:spcBef>
              <a:spcAft>
                <a:spcPts val="0"/>
              </a:spcAft>
              <a:defRPr/>
            </a:pPr>
            <a:r>
              <a:rPr lang="en-US" sz="4400" kern="0">
                <a:solidFill>
                  <a:srgbClr val="00573D"/>
                </a:solidFill>
                <a:ea typeface="LF_Kai"/>
                <a:sym typeface="Wingdings"/>
              </a:rPr>
              <a:t></a:t>
            </a:r>
            <a:endParaRPr lang="en-US" sz="4400" kern="0">
              <a:solidFill>
                <a:srgbClr val="00573D"/>
              </a:solidFill>
              <a:ea typeface="LF_Kai"/>
            </a:endParaRPr>
          </a:p>
        </p:txBody>
      </p:sp>
      <p:sp>
        <p:nvSpPr>
          <p:cNvPr id="16" name="Rectangle 15">
            <a:extLst>
              <a:ext uri="{FF2B5EF4-FFF2-40B4-BE49-F238E27FC236}">
                <a16:creationId xmlns:a16="http://schemas.microsoft.com/office/drawing/2014/main" id="{BBB6D149-A79C-4D1B-8F0B-83783C4280B9}"/>
              </a:ext>
            </a:extLst>
          </p:cNvPr>
          <p:cNvSpPr/>
          <p:nvPr/>
        </p:nvSpPr>
        <p:spPr>
          <a:xfrm>
            <a:off x="2378912" y="1480015"/>
            <a:ext cx="1800462" cy="434448"/>
          </a:xfrm>
          <a:prstGeom prst="rect">
            <a:avLst/>
          </a:prstGeom>
          <a:noFill/>
          <a:ln w="9525" cap="flat" cmpd="sng" algn="ctr">
            <a:solidFill>
              <a:srgbClr val="66CC33"/>
            </a:solidFill>
            <a:prstDash val="solid"/>
          </a:ln>
          <a:effectLst/>
        </p:spPr>
        <p:txBody>
          <a:bodyPr rtlCol="0" anchor="ctr"/>
          <a:lstStyle/>
          <a:p>
            <a:pPr fontAlgn="auto">
              <a:spcBef>
                <a:spcPts val="0"/>
              </a:spcBef>
              <a:spcAft>
                <a:spcPts val="0"/>
              </a:spcAft>
            </a:pPr>
            <a:r>
              <a:rPr lang="en-US" sz="1400" b="1" kern="0">
                <a:solidFill>
                  <a:prstClr val="black"/>
                </a:solidFill>
                <a:latin typeface="Arial Narrow" pitchFamily="34" charset="0"/>
                <a:ea typeface="LF_Kai"/>
                <a:cs typeface="Arial" charset="0"/>
              </a:rPr>
              <a:t>% of </a:t>
            </a:r>
            <a:r>
              <a:rPr lang="en-US" sz="1400" b="1" kern="0">
                <a:solidFill>
                  <a:prstClr val="black"/>
                </a:solidFill>
                <a:ea typeface="LF_Kai"/>
              </a:rPr>
              <a:t>FY</a:t>
            </a:r>
            <a:r>
              <a:rPr lang="en-US" sz="1400" b="1" kern="0">
                <a:solidFill>
                  <a:prstClr val="black"/>
                </a:solidFill>
                <a:latin typeface="Arial Narrow" pitchFamily="34" charset="0"/>
                <a:ea typeface="LF_Kai"/>
                <a:cs typeface="Arial" charset="0"/>
              </a:rPr>
              <a:t> 2021 revenue </a:t>
            </a:r>
            <a:r>
              <a:rPr lang="en-US" sz="700" b="1" kern="0">
                <a:solidFill>
                  <a:prstClr val="black"/>
                </a:solidFill>
                <a:latin typeface="Arial Narrow" pitchFamily="34" charset="0"/>
                <a:ea typeface="LF_Kai"/>
                <a:cs typeface="Arial" charset="0"/>
              </a:rPr>
              <a:t>(excl. COVID-19-related ventilator business)</a:t>
            </a:r>
            <a:endParaRPr lang="en-US" sz="1400" b="1" kern="0">
              <a:solidFill>
                <a:prstClr val="black"/>
              </a:solidFill>
              <a:latin typeface="Arial Narrow" pitchFamily="34" charset="0"/>
              <a:ea typeface="LF_Kai"/>
              <a:cs typeface="Arial" charset="0"/>
            </a:endParaRPr>
          </a:p>
        </p:txBody>
      </p:sp>
      <p:sp>
        <p:nvSpPr>
          <p:cNvPr id="18" name="Rectangle 17">
            <a:extLst>
              <a:ext uri="{FF2B5EF4-FFF2-40B4-BE49-F238E27FC236}">
                <a16:creationId xmlns:a16="http://schemas.microsoft.com/office/drawing/2014/main" id="{29863254-FA8B-431A-AE02-487498CDBBA3}"/>
              </a:ext>
            </a:extLst>
          </p:cNvPr>
          <p:cNvSpPr>
            <a:spLocks/>
          </p:cNvSpPr>
          <p:nvPr/>
        </p:nvSpPr>
        <p:spPr>
          <a:xfrm>
            <a:off x="840415" y="1986879"/>
            <a:ext cx="1440000" cy="1849430"/>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3200" kern="0">
              <a:solidFill>
                <a:prstClr val="black"/>
              </a:solidFill>
              <a:ea typeface="LF_Kai"/>
            </a:endParaRPr>
          </a:p>
        </p:txBody>
      </p:sp>
      <p:sp>
        <p:nvSpPr>
          <p:cNvPr id="19" name="Rechteck 8">
            <a:extLst>
              <a:ext uri="{FF2B5EF4-FFF2-40B4-BE49-F238E27FC236}">
                <a16:creationId xmlns:a16="http://schemas.microsoft.com/office/drawing/2014/main" id="{E3C98062-AF7F-48D2-959D-105E08882980}"/>
              </a:ext>
            </a:extLst>
          </p:cNvPr>
          <p:cNvSpPr/>
          <p:nvPr/>
        </p:nvSpPr>
        <p:spPr>
          <a:xfrm>
            <a:off x="837546" y="2745952"/>
            <a:ext cx="1440000" cy="869647"/>
          </a:xfrm>
          <a:prstGeom prst="rect">
            <a:avLst/>
          </a:prstGeom>
          <a:noFill/>
        </p:spPr>
        <p:txBody>
          <a:bodyPr wrap="square" lIns="0" tIns="0" rIns="0" bIns="0" rtlCol="0" anchor="ctr">
            <a:no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pPr algn="ctr">
              <a:spcBef>
                <a:spcPct val="50000"/>
              </a:spcBef>
              <a:buClr>
                <a:prstClr val="white"/>
              </a:buClr>
            </a:pPr>
            <a:r>
              <a:rPr lang="en-US" sz="1400" b="1">
                <a:solidFill>
                  <a:prstClr val="black"/>
                </a:solidFill>
              </a:rPr>
              <a:t>Environmental</a:t>
            </a:r>
            <a:br>
              <a:rPr lang="en-US" sz="1400" b="1">
                <a:solidFill>
                  <a:prstClr val="black"/>
                </a:solidFill>
              </a:rPr>
            </a:br>
            <a:r>
              <a:rPr lang="en-US" sz="1400" b="1">
                <a:solidFill>
                  <a:prstClr val="black"/>
                </a:solidFill>
              </a:rPr>
              <a:t>sensing solutions</a:t>
            </a:r>
          </a:p>
        </p:txBody>
      </p:sp>
      <p:sp>
        <p:nvSpPr>
          <p:cNvPr id="20" name="Rectangle 19">
            <a:extLst>
              <a:ext uri="{FF2B5EF4-FFF2-40B4-BE49-F238E27FC236}">
                <a16:creationId xmlns:a16="http://schemas.microsoft.com/office/drawing/2014/main" id="{2178B085-6047-4AC1-9A10-51F839552FE8}"/>
              </a:ext>
            </a:extLst>
          </p:cNvPr>
          <p:cNvSpPr>
            <a:spLocks/>
          </p:cNvSpPr>
          <p:nvPr/>
        </p:nvSpPr>
        <p:spPr>
          <a:xfrm>
            <a:off x="843708" y="3956939"/>
            <a:ext cx="1440000" cy="1251023"/>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3200" kern="0">
              <a:solidFill>
                <a:prstClr val="black"/>
              </a:solidFill>
              <a:ea typeface="LF_Kai"/>
            </a:endParaRPr>
          </a:p>
        </p:txBody>
      </p:sp>
      <p:sp>
        <p:nvSpPr>
          <p:cNvPr id="21" name="Rechteck 47">
            <a:extLst>
              <a:ext uri="{FF2B5EF4-FFF2-40B4-BE49-F238E27FC236}">
                <a16:creationId xmlns:a16="http://schemas.microsoft.com/office/drawing/2014/main" id="{C07EDA38-098A-4CE9-A451-01CCC5137731}"/>
              </a:ext>
            </a:extLst>
          </p:cNvPr>
          <p:cNvSpPr/>
          <p:nvPr/>
        </p:nvSpPr>
        <p:spPr>
          <a:xfrm>
            <a:off x="844954" y="4487785"/>
            <a:ext cx="1440000" cy="705272"/>
          </a:xfrm>
          <a:prstGeom prst="rect">
            <a:avLst/>
          </a:prstGeom>
          <a:noFill/>
        </p:spPr>
        <p:txBody>
          <a:bodyPr wrap="square" lIns="0" tIns="0" rIns="0" bIns="0" rtlCol="0" anchor="ctr">
            <a:no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pPr algn="ctr">
              <a:spcBef>
                <a:spcPct val="50000"/>
              </a:spcBef>
              <a:buClr>
                <a:prstClr val="white"/>
              </a:buClr>
            </a:pPr>
            <a:r>
              <a:rPr lang="en-US" sz="1400" b="1">
                <a:solidFill>
                  <a:prstClr val="black"/>
                </a:solidFill>
              </a:rPr>
              <a:t>Flow sensing solutions</a:t>
            </a:r>
          </a:p>
        </p:txBody>
      </p:sp>
      <p:pic>
        <p:nvPicPr>
          <p:cNvPr id="22" name="Grafik 3">
            <a:extLst>
              <a:ext uri="{FF2B5EF4-FFF2-40B4-BE49-F238E27FC236}">
                <a16:creationId xmlns:a16="http://schemas.microsoft.com/office/drawing/2014/main" id="{EEFE4641-BFFA-4411-B15C-36132C30D467}"/>
              </a:ext>
            </a:extLst>
          </p:cNvPr>
          <p:cNvPicPr>
            <a:picLocks noChangeAspect="1"/>
          </p:cNvPicPr>
          <p:nvPr/>
        </p:nvPicPr>
        <p:blipFill>
          <a:blip r:embed="rId7" cstate="print">
            <a:duotone>
              <a:prstClr val="black"/>
              <a:srgbClr val="616161">
                <a:tint val="45000"/>
                <a:satMod val="400000"/>
              </a:srgbClr>
            </a:duotone>
            <a:extLst>
              <a:ext uri="{28A0092B-C50C-407E-A947-70E740481C1C}">
                <a14:useLocalDpi xmlns:a14="http://schemas.microsoft.com/office/drawing/2010/main" val="0"/>
              </a:ext>
            </a:extLst>
          </a:blip>
          <a:stretch>
            <a:fillRect/>
          </a:stretch>
        </p:blipFill>
        <p:spPr>
          <a:xfrm>
            <a:off x="1319398" y="4137549"/>
            <a:ext cx="475990" cy="365141"/>
          </a:xfrm>
          <a:prstGeom prst="rect">
            <a:avLst/>
          </a:prstGeom>
        </p:spPr>
      </p:pic>
      <p:pic>
        <p:nvPicPr>
          <p:cNvPr id="23" name="Grafik 1">
            <a:extLst>
              <a:ext uri="{FF2B5EF4-FFF2-40B4-BE49-F238E27FC236}">
                <a16:creationId xmlns:a16="http://schemas.microsoft.com/office/drawing/2014/main" id="{12B4678A-8E41-4891-8CE1-236DA06CF01C}"/>
              </a:ext>
            </a:extLst>
          </p:cNvPr>
          <p:cNvPicPr>
            <a:picLocks noChangeAspect="1"/>
          </p:cNvPicPr>
          <p:nvPr/>
        </p:nvPicPr>
        <p:blipFill>
          <a:blip r:embed="rId8" cstate="print">
            <a:duotone>
              <a:prstClr val="black"/>
              <a:srgbClr val="616161">
                <a:tint val="45000"/>
                <a:satMod val="400000"/>
              </a:srgbClr>
            </a:duotone>
            <a:extLst>
              <a:ext uri="{28A0092B-C50C-407E-A947-70E740481C1C}">
                <a14:useLocalDpi xmlns:a14="http://schemas.microsoft.com/office/drawing/2010/main" val="0"/>
              </a:ext>
            </a:extLst>
          </a:blip>
          <a:stretch>
            <a:fillRect/>
          </a:stretch>
        </p:blipFill>
        <p:spPr>
          <a:xfrm>
            <a:off x="1319704" y="2219210"/>
            <a:ext cx="475684" cy="590227"/>
          </a:xfrm>
          <a:prstGeom prst="rect">
            <a:avLst/>
          </a:prstGeom>
        </p:spPr>
      </p:pic>
      <p:grpSp>
        <p:nvGrpSpPr>
          <p:cNvPr id="24" name="Group 23">
            <a:extLst>
              <a:ext uri="{FF2B5EF4-FFF2-40B4-BE49-F238E27FC236}">
                <a16:creationId xmlns:a16="http://schemas.microsoft.com/office/drawing/2014/main" id="{F9CE6EEB-F236-49B0-8175-CFA799EFD669}"/>
              </a:ext>
            </a:extLst>
          </p:cNvPr>
          <p:cNvGrpSpPr/>
          <p:nvPr/>
        </p:nvGrpSpPr>
        <p:grpSpPr>
          <a:xfrm>
            <a:off x="2375691" y="4607463"/>
            <a:ext cx="1800000" cy="277954"/>
            <a:chOff x="2375691" y="5055578"/>
            <a:chExt cx="1800000" cy="277954"/>
          </a:xfrm>
        </p:grpSpPr>
        <p:sp>
          <p:nvSpPr>
            <p:cNvPr id="25" name="Rechteck 75">
              <a:extLst>
                <a:ext uri="{FF2B5EF4-FFF2-40B4-BE49-F238E27FC236}">
                  <a16:creationId xmlns:a16="http://schemas.microsoft.com/office/drawing/2014/main" id="{8D4A7DE0-02F3-4093-B747-906879E94BB6}"/>
                </a:ext>
              </a:extLst>
            </p:cNvPr>
            <p:cNvSpPr/>
            <p:nvPr/>
          </p:nvSpPr>
          <p:spPr>
            <a:xfrm>
              <a:off x="2418723" y="5115056"/>
              <a:ext cx="822926" cy="147405"/>
            </a:xfrm>
            <a:prstGeom prst="rect">
              <a:avLst/>
            </a:prstGeom>
            <a:noFill/>
          </p:spPr>
          <p:txBody>
            <a:bodyPr wrap="square" lIns="27000" tIns="0" rIns="67500" bIns="67500" rtlCol="0" anchor="t">
              <a:noAutofit/>
            </a:bodyPr>
            <a:lstStyle/>
            <a:p>
              <a:pPr>
                <a:spcBef>
                  <a:spcPct val="50000"/>
                </a:spcBef>
                <a:buClr>
                  <a:prstClr val="white"/>
                </a:buClr>
              </a:pPr>
              <a:r>
                <a:rPr lang="en-US" sz="1000" b="1">
                  <a:solidFill>
                    <a:prstClr val="black"/>
                  </a:solidFill>
                </a:rPr>
                <a:t>Gas metering</a:t>
              </a:r>
              <a:endParaRPr lang="en-US" sz="1000" b="1" baseline="30000">
                <a:solidFill>
                  <a:prstClr val="black"/>
                </a:solidFill>
              </a:endParaRPr>
            </a:p>
          </p:txBody>
        </p:sp>
        <p:sp>
          <p:nvSpPr>
            <p:cNvPr id="26" name="Rectangle 25">
              <a:extLst>
                <a:ext uri="{FF2B5EF4-FFF2-40B4-BE49-F238E27FC236}">
                  <a16:creationId xmlns:a16="http://schemas.microsoft.com/office/drawing/2014/main" id="{4D66707F-1390-4542-94C1-5CF16A21B220}"/>
                </a:ext>
              </a:extLst>
            </p:cNvPr>
            <p:cNvSpPr>
              <a:spLocks/>
            </p:cNvSpPr>
            <p:nvPr/>
          </p:nvSpPr>
          <p:spPr>
            <a:xfrm>
              <a:off x="2375691" y="5055578"/>
              <a:ext cx="1800000" cy="27795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pic>
          <p:nvPicPr>
            <p:cNvPr id="27" name="Grafik 44">
              <a:extLst>
                <a:ext uri="{FF2B5EF4-FFF2-40B4-BE49-F238E27FC236}">
                  <a16:creationId xmlns:a16="http://schemas.microsoft.com/office/drawing/2014/main" id="{287F65A0-318B-4C91-9CF9-252B145FE51A}"/>
                </a:ext>
              </a:extLst>
            </p:cNvPr>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14828" r="13793"/>
            <a:stretch/>
          </p:blipFill>
          <p:spPr>
            <a:xfrm>
              <a:off x="3782820" y="5088982"/>
              <a:ext cx="284879" cy="199554"/>
            </a:xfrm>
            <a:prstGeom prst="rect">
              <a:avLst/>
            </a:prstGeom>
          </p:spPr>
        </p:pic>
      </p:grpSp>
      <p:grpSp>
        <p:nvGrpSpPr>
          <p:cNvPr id="28" name="Group 27">
            <a:extLst>
              <a:ext uri="{FF2B5EF4-FFF2-40B4-BE49-F238E27FC236}">
                <a16:creationId xmlns:a16="http://schemas.microsoft.com/office/drawing/2014/main" id="{7B37F4BB-0DCD-40F2-A3E6-DC10B5C642F7}"/>
              </a:ext>
            </a:extLst>
          </p:cNvPr>
          <p:cNvGrpSpPr/>
          <p:nvPr/>
        </p:nvGrpSpPr>
        <p:grpSpPr>
          <a:xfrm>
            <a:off x="2375691" y="4928380"/>
            <a:ext cx="1803683" cy="288638"/>
            <a:chOff x="2375691" y="5457461"/>
            <a:chExt cx="1803683" cy="288638"/>
          </a:xfrm>
        </p:grpSpPr>
        <p:sp>
          <p:nvSpPr>
            <p:cNvPr id="29" name="Rechteck 77">
              <a:extLst>
                <a:ext uri="{FF2B5EF4-FFF2-40B4-BE49-F238E27FC236}">
                  <a16:creationId xmlns:a16="http://schemas.microsoft.com/office/drawing/2014/main" id="{D2C7194F-2E5F-49E2-9C16-A1C0F2113B86}"/>
                </a:ext>
              </a:extLst>
            </p:cNvPr>
            <p:cNvSpPr/>
            <p:nvPr/>
          </p:nvSpPr>
          <p:spPr>
            <a:xfrm>
              <a:off x="2418723" y="5516249"/>
              <a:ext cx="987395" cy="152445"/>
            </a:xfrm>
            <a:prstGeom prst="rect">
              <a:avLst/>
            </a:prstGeom>
            <a:noFill/>
          </p:spPr>
          <p:txBody>
            <a:bodyPr wrap="square" lIns="27000" tIns="0" rIns="67500" bIns="67500" rtlCol="0" anchor="t">
              <a:noAutofit/>
            </a:bodyPr>
            <a:lstStyle/>
            <a:p>
              <a:pPr>
                <a:spcBef>
                  <a:spcPct val="50000"/>
                </a:spcBef>
                <a:buClr>
                  <a:prstClr val="white"/>
                </a:buClr>
              </a:pPr>
              <a:r>
                <a:rPr lang="en-US" sz="1000" b="1">
                  <a:solidFill>
                    <a:prstClr val="black"/>
                  </a:solidFill>
                </a:rPr>
                <a:t>Liquid flow</a:t>
              </a:r>
            </a:p>
          </p:txBody>
        </p:sp>
        <p:sp>
          <p:nvSpPr>
            <p:cNvPr id="30" name="Rectangle 29">
              <a:extLst>
                <a:ext uri="{FF2B5EF4-FFF2-40B4-BE49-F238E27FC236}">
                  <a16:creationId xmlns:a16="http://schemas.microsoft.com/office/drawing/2014/main" id="{A1AAC1BE-348E-40B8-9F0A-DC00BAA6A8AB}"/>
                </a:ext>
              </a:extLst>
            </p:cNvPr>
            <p:cNvSpPr>
              <a:spLocks/>
            </p:cNvSpPr>
            <p:nvPr/>
          </p:nvSpPr>
          <p:spPr>
            <a:xfrm>
              <a:off x="2375691" y="5459089"/>
              <a:ext cx="1803683" cy="27795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pic>
          <p:nvPicPr>
            <p:cNvPr id="31" name="Picture 30">
              <a:extLst>
                <a:ext uri="{FF2B5EF4-FFF2-40B4-BE49-F238E27FC236}">
                  <a16:creationId xmlns:a16="http://schemas.microsoft.com/office/drawing/2014/main" id="{6B1AAAE5-1358-4230-9D0A-DCDB1492A557}"/>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330" y="5457461"/>
              <a:ext cx="382447" cy="288638"/>
            </a:xfrm>
            <a:prstGeom prst="rect">
              <a:avLst/>
            </a:prstGeom>
          </p:spPr>
        </p:pic>
      </p:grpSp>
      <p:grpSp>
        <p:nvGrpSpPr>
          <p:cNvPr id="32" name="Group 31">
            <a:extLst>
              <a:ext uri="{FF2B5EF4-FFF2-40B4-BE49-F238E27FC236}">
                <a16:creationId xmlns:a16="http://schemas.microsoft.com/office/drawing/2014/main" id="{FC76AEAE-E7EC-44CD-9CCE-EC0ABC1A608A}"/>
              </a:ext>
            </a:extLst>
          </p:cNvPr>
          <p:cNvGrpSpPr/>
          <p:nvPr/>
        </p:nvGrpSpPr>
        <p:grpSpPr>
          <a:xfrm>
            <a:off x="2379375" y="3956940"/>
            <a:ext cx="1800000" cy="277954"/>
            <a:chOff x="2379375" y="4257417"/>
            <a:chExt cx="1800000" cy="277954"/>
          </a:xfrm>
        </p:grpSpPr>
        <p:sp>
          <p:nvSpPr>
            <p:cNvPr id="33" name="Rectangle 32">
              <a:extLst>
                <a:ext uri="{FF2B5EF4-FFF2-40B4-BE49-F238E27FC236}">
                  <a16:creationId xmlns:a16="http://schemas.microsoft.com/office/drawing/2014/main" id="{1F2914B4-131C-45E1-9DAB-3D98DDC5566A}"/>
                </a:ext>
              </a:extLst>
            </p:cNvPr>
            <p:cNvSpPr>
              <a:spLocks/>
            </p:cNvSpPr>
            <p:nvPr/>
          </p:nvSpPr>
          <p:spPr>
            <a:xfrm>
              <a:off x="2379375" y="4257417"/>
              <a:ext cx="1800000" cy="27795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sp>
          <p:nvSpPr>
            <p:cNvPr id="34" name="Rechteck 61">
              <a:extLst>
                <a:ext uri="{FF2B5EF4-FFF2-40B4-BE49-F238E27FC236}">
                  <a16:creationId xmlns:a16="http://schemas.microsoft.com/office/drawing/2014/main" id="{2DEA66FA-A4C0-437C-AD92-D9711565B576}"/>
                </a:ext>
              </a:extLst>
            </p:cNvPr>
            <p:cNvSpPr/>
            <p:nvPr/>
          </p:nvSpPr>
          <p:spPr>
            <a:xfrm>
              <a:off x="2423567" y="4321582"/>
              <a:ext cx="1210689" cy="162138"/>
            </a:xfrm>
            <a:prstGeom prst="rect">
              <a:avLst/>
            </a:prstGeom>
            <a:noFill/>
          </p:spPr>
          <p:txBody>
            <a:bodyPr wrap="square" lIns="27000" tIns="0" rIns="67500" bIns="67500" rtlCol="0" anchor="t">
              <a:noAutofit/>
            </a:bodyPr>
            <a:lstStyle/>
            <a:p>
              <a:pPr>
                <a:spcBef>
                  <a:spcPct val="50000"/>
                </a:spcBef>
                <a:buClr>
                  <a:prstClr val="white"/>
                </a:buClr>
              </a:pPr>
              <a:r>
                <a:rPr lang="en-US" sz="1000" b="1">
                  <a:solidFill>
                    <a:prstClr val="black"/>
                  </a:solidFill>
                </a:rPr>
                <a:t>Differential pressure</a:t>
              </a:r>
            </a:p>
          </p:txBody>
        </p:sp>
        <p:pic>
          <p:nvPicPr>
            <p:cNvPr id="35" name="Picture 34">
              <a:extLst>
                <a:ext uri="{FF2B5EF4-FFF2-40B4-BE49-F238E27FC236}">
                  <a16:creationId xmlns:a16="http://schemas.microsoft.com/office/drawing/2014/main" id="{3819F567-2752-4CDB-8D03-0C03AE5FBE5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77329" y="4271845"/>
              <a:ext cx="301783" cy="227759"/>
            </a:xfrm>
            <a:prstGeom prst="rect">
              <a:avLst/>
            </a:prstGeom>
          </p:spPr>
        </p:pic>
      </p:grpSp>
      <p:grpSp>
        <p:nvGrpSpPr>
          <p:cNvPr id="36" name="Group 35">
            <a:extLst>
              <a:ext uri="{FF2B5EF4-FFF2-40B4-BE49-F238E27FC236}">
                <a16:creationId xmlns:a16="http://schemas.microsoft.com/office/drawing/2014/main" id="{41F710EE-B844-46FA-BF15-55895D2F927F}"/>
              </a:ext>
            </a:extLst>
          </p:cNvPr>
          <p:cNvGrpSpPr/>
          <p:nvPr/>
        </p:nvGrpSpPr>
        <p:grpSpPr>
          <a:xfrm>
            <a:off x="2379375" y="4279399"/>
            <a:ext cx="1800000" cy="277954"/>
            <a:chOff x="2379375" y="4653695"/>
            <a:chExt cx="1800000" cy="277954"/>
          </a:xfrm>
        </p:grpSpPr>
        <p:sp>
          <p:nvSpPr>
            <p:cNvPr id="37" name="Rectangle 36">
              <a:extLst>
                <a:ext uri="{FF2B5EF4-FFF2-40B4-BE49-F238E27FC236}">
                  <a16:creationId xmlns:a16="http://schemas.microsoft.com/office/drawing/2014/main" id="{68F84A77-8841-41FB-BCBC-8BA8BA5D5432}"/>
                </a:ext>
              </a:extLst>
            </p:cNvPr>
            <p:cNvSpPr>
              <a:spLocks/>
            </p:cNvSpPr>
            <p:nvPr/>
          </p:nvSpPr>
          <p:spPr>
            <a:xfrm>
              <a:off x="2379375" y="4653695"/>
              <a:ext cx="1800000" cy="27795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sp>
          <p:nvSpPr>
            <p:cNvPr id="38" name="Rechteck 51">
              <a:extLst>
                <a:ext uri="{FF2B5EF4-FFF2-40B4-BE49-F238E27FC236}">
                  <a16:creationId xmlns:a16="http://schemas.microsoft.com/office/drawing/2014/main" id="{85CC6CF3-BB87-486B-9C2D-8BF45175B0C7}"/>
                </a:ext>
              </a:extLst>
            </p:cNvPr>
            <p:cNvSpPr/>
            <p:nvPr/>
          </p:nvSpPr>
          <p:spPr>
            <a:xfrm>
              <a:off x="2423595" y="4705998"/>
              <a:ext cx="1056187" cy="145003"/>
            </a:xfrm>
            <a:prstGeom prst="rect">
              <a:avLst/>
            </a:prstGeom>
            <a:noFill/>
          </p:spPr>
          <p:txBody>
            <a:bodyPr wrap="square" lIns="27000" tIns="0" rIns="67500" bIns="67500" rtlCol="0" anchor="t">
              <a:noAutofit/>
            </a:bodyPr>
            <a:lstStyle/>
            <a:p>
              <a:pPr>
                <a:spcBef>
                  <a:spcPct val="50000"/>
                </a:spcBef>
                <a:buClr>
                  <a:prstClr val="white"/>
                </a:buClr>
              </a:pPr>
              <a:r>
                <a:rPr lang="en-US" sz="1000" b="1">
                  <a:solidFill>
                    <a:prstClr val="black"/>
                  </a:solidFill>
                </a:rPr>
                <a:t>Mass flow</a:t>
              </a:r>
            </a:p>
          </p:txBody>
        </p:sp>
        <p:pic>
          <p:nvPicPr>
            <p:cNvPr id="39" name="Picture 38">
              <a:extLst>
                <a:ext uri="{FF2B5EF4-FFF2-40B4-BE49-F238E27FC236}">
                  <a16:creationId xmlns:a16="http://schemas.microsoft.com/office/drawing/2014/main" id="{D000D3CE-3F13-4518-8128-145B9E766A5D}"/>
                </a:ext>
              </a:extLst>
            </p:cNvPr>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13760" y="4681934"/>
              <a:ext cx="425753" cy="212876"/>
            </a:xfrm>
            <a:prstGeom prst="rect">
              <a:avLst/>
            </a:prstGeom>
          </p:spPr>
        </p:pic>
      </p:grpSp>
      <p:grpSp>
        <p:nvGrpSpPr>
          <p:cNvPr id="40" name="Group 39">
            <a:extLst>
              <a:ext uri="{FF2B5EF4-FFF2-40B4-BE49-F238E27FC236}">
                <a16:creationId xmlns:a16="http://schemas.microsoft.com/office/drawing/2014/main" id="{ACFE5EC7-BB2E-46DE-9034-1C9300E4EFAB}"/>
              </a:ext>
            </a:extLst>
          </p:cNvPr>
          <p:cNvGrpSpPr/>
          <p:nvPr/>
        </p:nvGrpSpPr>
        <p:grpSpPr>
          <a:xfrm>
            <a:off x="2379375" y="2300331"/>
            <a:ext cx="1800000" cy="277954"/>
            <a:chOff x="2379375" y="2043386"/>
            <a:chExt cx="1800000" cy="277954"/>
          </a:xfrm>
        </p:grpSpPr>
        <p:sp>
          <p:nvSpPr>
            <p:cNvPr id="41" name="Rechteck 56">
              <a:extLst>
                <a:ext uri="{FF2B5EF4-FFF2-40B4-BE49-F238E27FC236}">
                  <a16:creationId xmlns:a16="http://schemas.microsoft.com/office/drawing/2014/main" id="{ADE2DFB0-7268-4CA4-A1BD-641F4D3F3195}"/>
                </a:ext>
              </a:extLst>
            </p:cNvPr>
            <p:cNvSpPr/>
            <p:nvPr/>
          </p:nvSpPr>
          <p:spPr>
            <a:xfrm>
              <a:off x="2428912" y="2131488"/>
              <a:ext cx="1414426" cy="155612"/>
            </a:xfrm>
            <a:prstGeom prst="rect">
              <a:avLst/>
            </a:prstGeom>
            <a:noFill/>
          </p:spPr>
          <p:txBody>
            <a:bodyPr wrap="square" lIns="27000" tIns="0" rIns="67500" bIns="67500" rtlCol="0" anchor="ctr">
              <a:noAutofit/>
            </a:bodyPr>
            <a:lstStyle/>
            <a:p>
              <a:pPr>
                <a:spcBef>
                  <a:spcPct val="50000"/>
                </a:spcBef>
                <a:buClr>
                  <a:prstClr val="white"/>
                </a:buClr>
              </a:pPr>
              <a:r>
                <a:rPr lang="en-US" sz="1000" b="1"/>
                <a:t>Gas (VOC, formaldehyde)</a:t>
              </a:r>
              <a:endParaRPr lang="en-US" sz="1000" b="1" baseline="30000"/>
            </a:p>
          </p:txBody>
        </p:sp>
        <p:sp>
          <p:nvSpPr>
            <p:cNvPr id="42" name="Rectangle 41">
              <a:extLst>
                <a:ext uri="{FF2B5EF4-FFF2-40B4-BE49-F238E27FC236}">
                  <a16:creationId xmlns:a16="http://schemas.microsoft.com/office/drawing/2014/main" id="{89308C48-FEE2-4404-870C-9D0EEAE0D9CE}"/>
                </a:ext>
              </a:extLst>
            </p:cNvPr>
            <p:cNvSpPr>
              <a:spLocks/>
            </p:cNvSpPr>
            <p:nvPr/>
          </p:nvSpPr>
          <p:spPr>
            <a:xfrm>
              <a:off x="2379375" y="2043386"/>
              <a:ext cx="1800000" cy="27795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pic>
          <p:nvPicPr>
            <p:cNvPr id="43" name="Grafik 82">
              <a:extLst>
                <a:ext uri="{FF2B5EF4-FFF2-40B4-BE49-F238E27FC236}">
                  <a16:creationId xmlns:a16="http://schemas.microsoft.com/office/drawing/2014/main" id="{AD5B7C42-5329-4A7F-B62A-23A45BE7DC2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2197" r="11089"/>
            <a:stretch/>
          </p:blipFill>
          <p:spPr>
            <a:xfrm>
              <a:off x="3774085" y="2090754"/>
              <a:ext cx="379007" cy="170944"/>
            </a:xfrm>
            <a:prstGeom prst="rect">
              <a:avLst/>
            </a:prstGeom>
          </p:spPr>
        </p:pic>
      </p:grpSp>
      <p:grpSp>
        <p:nvGrpSpPr>
          <p:cNvPr id="44" name="Group 43">
            <a:extLst>
              <a:ext uri="{FF2B5EF4-FFF2-40B4-BE49-F238E27FC236}">
                <a16:creationId xmlns:a16="http://schemas.microsoft.com/office/drawing/2014/main" id="{C3035AE0-0C5F-4C76-8F70-2BB35D3502DF}"/>
              </a:ext>
            </a:extLst>
          </p:cNvPr>
          <p:cNvGrpSpPr/>
          <p:nvPr/>
        </p:nvGrpSpPr>
        <p:grpSpPr>
          <a:xfrm>
            <a:off x="2379375" y="1986926"/>
            <a:ext cx="1800000" cy="289144"/>
            <a:chOff x="2379375" y="1837296"/>
            <a:chExt cx="1800000" cy="289144"/>
          </a:xfrm>
        </p:grpSpPr>
        <p:pic>
          <p:nvPicPr>
            <p:cNvPr id="45" name="Picture 44" descr="A picture containing electronics&#10;&#10;Description automatically generated">
              <a:extLst>
                <a:ext uri="{FF2B5EF4-FFF2-40B4-BE49-F238E27FC236}">
                  <a16:creationId xmlns:a16="http://schemas.microsoft.com/office/drawing/2014/main" id="{A0EFFAC6-7F0F-477C-956E-9B6EBA94C3E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819758" y="1870200"/>
              <a:ext cx="355040" cy="256240"/>
            </a:xfrm>
            <a:prstGeom prst="rect">
              <a:avLst/>
            </a:prstGeom>
          </p:spPr>
        </p:pic>
        <p:sp>
          <p:nvSpPr>
            <p:cNvPr id="46" name="Rechteck 66">
              <a:extLst>
                <a:ext uri="{FF2B5EF4-FFF2-40B4-BE49-F238E27FC236}">
                  <a16:creationId xmlns:a16="http://schemas.microsoft.com/office/drawing/2014/main" id="{D94075C5-F4C8-4E65-ACBB-EEAD2F59373A}"/>
                </a:ext>
              </a:extLst>
            </p:cNvPr>
            <p:cNvSpPr/>
            <p:nvPr/>
          </p:nvSpPr>
          <p:spPr>
            <a:xfrm>
              <a:off x="2415915" y="1898263"/>
              <a:ext cx="1511560" cy="214639"/>
            </a:xfrm>
            <a:prstGeom prst="rect">
              <a:avLst/>
            </a:prstGeom>
            <a:noFill/>
          </p:spPr>
          <p:txBody>
            <a:bodyPr wrap="square" lIns="27000" tIns="0" rIns="67500" bIns="67500" rtlCol="0" anchor="ctr">
              <a:noAutofit/>
            </a:bodyPr>
            <a:lstStyle/>
            <a:p>
              <a:pPr>
                <a:spcBef>
                  <a:spcPct val="50000"/>
                </a:spcBef>
                <a:buClr>
                  <a:prstClr val="white"/>
                </a:buClr>
              </a:pPr>
              <a:r>
                <a:rPr lang="en-US" sz="1000" b="1">
                  <a:solidFill>
                    <a:prstClr val="black"/>
                  </a:solidFill>
                </a:rPr>
                <a:t>Humidity/temperature (RHT)</a:t>
              </a:r>
              <a:endParaRPr lang="en-US" sz="1000" b="1" baseline="30000">
                <a:solidFill>
                  <a:prstClr val="black"/>
                </a:solidFill>
              </a:endParaRPr>
            </a:p>
          </p:txBody>
        </p:sp>
        <p:sp>
          <p:nvSpPr>
            <p:cNvPr id="47" name="Rectangle 46">
              <a:extLst>
                <a:ext uri="{FF2B5EF4-FFF2-40B4-BE49-F238E27FC236}">
                  <a16:creationId xmlns:a16="http://schemas.microsoft.com/office/drawing/2014/main" id="{10DD5EBA-F7A4-47A1-A34F-CECC92CEBA31}"/>
                </a:ext>
              </a:extLst>
            </p:cNvPr>
            <p:cNvSpPr>
              <a:spLocks/>
            </p:cNvSpPr>
            <p:nvPr/>
          </p:nvSpPr>
          <p:spPr>
            <a:xfrm>
              <a:off x="2379375" y="1837296"/>
              <a:ext cx="1800000" cy="27795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grpSp>
      <p:grpSp>
        <p:nvGrpSpPr>
          <p:cNvPr id="48" name="Group 47">
            <a:extLst>
              <a:ext uri="{FF2B5EF4-FFF2-40B4-BE49-F238E27FC236}">
                <a16:creationId xmlns:a16="http://schemas.microsoft.com/office/drawing/2014/main" id="{D0E01C7D-55C8-4C29-954D-841C6FF879C2}"/>
              </a:ext>
            </a:extLst>
          </p:cNvPr>
          <p:cNvGrpSpPr/>
          <p:nvPr/>
        </p:nvGrpSpPr>
        <p:grpSpPr>
          <a:xfrm>
            <a:off x="2376155" y="3573302"/>
            <a:ext cx="1799536" cy="273866"/>
            <a:chOff x="2376155" y="3243858"/>
            <a:chExt cx="1799536" cy="273866"/>
          </a:xfrm>
        </p:grpSpPr>
        <p:sp>
          <p:nvSpPr>
            <p:cNvPr id="49" name="Rectangle 48">
              <a:extLst>
                <a:ext uri="{FF2B5EF4-FFF2-40B4-BE49-F238E27FC236}">
                  <a16:creationId xmlns:a16="http://schemas.microsoft.com/office/drawing/2014/main" id="{9B5B8914-730D-4540-88BC-91DF2C1587D0}"/>
                </a:ext>
              </a:extLst>
            </p:cNvPr>
            <p:cNvSpPr>
              <a:spLocks/>
            </p:cNvSpPr>
            <p:nvPr/>
          </p:nvSpPr>
          <p:spPr>
            <a:xfrm>
              <a:off x="2376155" y="3243858"/>
              <a:ext cx="1799536" cy="273866"/>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sp>
          <p:nvSpPr>
            <p:cNvPr id="50" name="Rechteck 51">
              <a:extLst>
                <a:ext uri="{FF2B5EF4-FFF2-40B4-BE49-F238E27FC236}">
                  <a16:creationId xmlns:a16="http://schemas.microsoft.com/office/drawing/2014/main" id="{3E6B55E6-85DE-48B1-B95F-613D22241943}"/>
                </a:ext>
              </a:extLst>
            </p:cNvPr>
            <p:cNvSpPr/>
            <p:nvPr/>
          </p:nvSpPr>
          <p:spPr>
            <a:xfrm>
              <a:off x="2415915" y="3302620"/>
              <a:ext cx="1511559" cy="180778"/>
            </a:xfrm>
            <a:prstGeom prst="rect">
              <a:avLst/>
            </a:prstGeom>
            <a:noFill/>
          </p:spPr>
          <p:txBody>
            <a:bodyPr wrap="square" lIns="27000" tIns="0" rIns="67500" bIns="67500" rtlCol="0" anchor="t">
              <a:noAutofit/>
            </a:bodyPr>
            <a:lstStyle/>
            <a:p>
              <a:pPr>
                <a:spcBef>
                  <a:spcPct val="50000"/>
                </a:spcBef>
                <a:buClr>
                  <a:prstClr val="white"/>
                </a:buClr>
              </a:pPr>
              <a:r>
                <a:rPr lang="en-US" sz="1000" b="1"/>
                <a:t>Auto Custom Modules</a:t>
              </a:r>
            </a:p>
          </p:txBody>
        </p:sp>
        <p:pic>
          <p:nvPicPr>
            <p:cNvPr id="51" name="Picture 50">
              <a:extLst>
                <a:ext uri="{FF2B5EF4-FFF2-40B4-BE49-F238E27FC236}">
                  <a16:creationId xmlns:a16="http://schemas.microsoft.com/office/drawing/2014/main" id="{469AFD18-B8BC-4631-B69B-449DEC2AC0DD}"/>
                </a:ext>
              </a:extLst>
            </p:cNvPr>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76616" y="3264046"/>
              <a:ext cx="291083" cy="233166"/>
            </a:xfrm>
            <a:prstGeom prst="rect">
              <a:avLst/>
            </a:prstGeom>
          </p:spPr>
        </p:pic>
      </p:grpSp>
      <p:sp>
        <p:nvSpPr>
          <p:cNvPr id="53" name="Rectangle 52">
            <a:extLst>
              <a:ext uri="{FF2B5EF4-FFF2-40B4-BE49-F238E27FC236}">
                <a16:creationId xmlns:a16="http://schemas.microsoft.com/office/drawing/2014/main" id="{079F355C-8C5C-403A-B69F-091FB70A7DE0}"/>
              </a:ext>
            </a:extLst>
          </p:cNvPr>
          <p:cNvSpPr>
            <a:spLocks/>
          </p:cNvSpPr>
          <p:nvPr/>
        </p:nvSpPr>
        <p:spPr>
          <a:xfrm>
            <a:off x="9620221" y="1986926"/>
            <a:ext cx="1728000" cy="1848800"/>
          </a:xfrm>
          <a:prstGeom prst="rect">
            <a:avLst/>
          </a:prstGeom>
          <a:noFill/>
          <a:ln w="9525" cap="flat" cmpd="sng" algn="ctr">
            <a:solidFill>
              <a:srgbClr val="7F7F7F"/>
            </a:solidFill>
            <a:prstDash val="solid"/>
          </a:ln>
          <a:effectLst/>
        </p:spPr>
        <p:txBody>
          <a:bodyPr rtlCol="0" anchor="ctr"/>
          <a:lstStyle/>
          <a:p>
            <a:pPr algn="ctr" fontAlgn="auto">
              <a:spcBef>
                <a:spcPts val="0"/>
              </a:spcBef>
              <a:spcAft>
                <a:spcPts val="0"/>
              </a:spcAft>
              <a:defRPr/>
            </a:pPr>
            <a:r>
              <a:rPr lang="en-US" sz="4400" kern="0">
                <a:solidFill>
                  <a:srgbClr val="7F7F7F"/>
                </a:solidFill>
                <a:ea typeface="LF_Kai"/>
                <a:sym typeface="Wingdings"/>
              </a:rPr>
              <a:t></a:t>
            </a:r>
            <a:endParaRPr lang="en-US" sz="4400" kern="0">
              <a:solidFill>
                <a:srgbClr val="7F7F7F"/>
              </a:solidFill>
              <a:ea typeface="LF_Kai"/>
            </a:endParaRPr>
          </a:p>
        </p:txBody>
      </p:sp>
      <p:sp>
        <p:nvSpPr>
          <p:cNvPr id="54" name="Rectangle 53">
            <a:extLst>
              <a:ext uri="{FF2B5EF4-FFF2-40B4-BE49-F238E27FC236}">
                <a16:creationId xmlns:a16="http://schemas.microsoft.com/office/drawing/2014/main" id="{D6561B3D-C91C-4168-BDFA-D27CAEF7AB22}"/>
              </a:ext>
            </a:extLst>
          </p:cNvPr>
          <p:cNvSpPr/>
          <p:nvPr/>
        </p:nvSpPr>
        <p:spPr>
          <a:xfrm>
            <a:off x="9620221" y="1480474"/>
            <a:ext cx="1728000" cy="43444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prstClr val="white"/>
                </a:solidFill>
                <a:latin typeface="Arial Narrow" panose="020B0606020202030204" pitchFamily="34" charset="0"/>
              </a:rPr>
              <a:t>10%</a:t>
            </a:r>
          </a:p>
        </p:txBody>
      </p:sp>
      <p:grpSp>
        <p:nvGrpSpPr>
          <p:cNvPr id="56" name="Group 55">
            <a:extLst>
              <a:ext uri="{FF2B5EF4-FFF2-40B4-BE49-F238E27FC236}">
                <a16:creationId xmlns:a16="http://schemas.microsoft.com/office/drawing/2014/main" id="{18519705-5C6A-4F46-BA1B-66ADE318811C}"/>
              </a:ext>
            </a:extLst>
          </p:cNvPr>
          <p:cNvGrpSpPr/>
          <p:nvPr/>
        </p:nvGrpSpPr>
        <p:grpSpPr>
          <a:xfrm>
            <a:off x="2379375" y="2922694"/>
            <a:ext cx="1800000" cy="277954"/>
            <a:chOff x="2379375" y="2843549"/>
            <a:chExt cx="1800000" cy="277954"/>
          </a:xfrm>
        </p:grpSpPr>
        <p:sp>
          <p:nvSpPr>
            <p:cNvPr id="57" name="Rechteck 72">
              <a:extLst>
                <a:ext uri="{FF2B5EF4-FFF2-40B4-BE49-F238E27FC236}">
                  <a16:creationId xmlns:a16="http://schemas.microsoft.com/office/drawing/2014/main" id="{1ECF1DBB-4D8B-4BD5-8704-85055AE1B834}"/>
                </a:ext>
              </a:extLst>
            </p:cNvPr>
            <p:cNvSpPr/>
            <p:nvPr/>
          </p:nvSpPr>
          <p:spPr>
            <a:xfrm>
              <a:off x="2415916" y="2906613"/>
              <a:ext cx="1550652" cy="167177"/>
            </a:xfrm>
            <a:prstGeom prst="rect">
              <a:avLst/>
            </a:prstGeom>
            <a:noFill/>
          </p:spPr>
          <p:txBody>
            <a:bodyPr wrap="square" lIns="27000" tIns="0" rIns="67500" bIns="67500" rtlCol="0" anchor="t">
              <a:noAutofit/>
            </a:bodyPr>
            <a:lstStyle/>
            <a:p>
              <a:pPr>
                <a:spcBef>
                  <a:spcPct val="50000"/>
                </a:spcBef>
                <a:buClr>
                  <a:prstClr val="white"/>
                </a:buClr>
              </a:pPr>
              <a:r>
                <a:rPr lang="en-US" sz="1000" b="1">
                  <a:solidFill>
                    <a:prstClr val="black"/>
                  </a:solidFill>
                </a:rPr>
                <a:t>Particulate matter (PM2.5)</a:t>
              </a:r>
              <a:endParaRPr lang="en-US" sz="1000" b="1" baseline="30000">
                <a:solidFill>
                  <a:prstClr val="black"/>
                </a:solidFill>
              </a:endParaRPr>
            </a:p>
          </p:txBody>
        </p:sp>
        <p:sp>
          <p:nvSpPr>
            <p:cNvPr id="58" name="Rectangle 57">
              <a:extLst>
                <a:ext uri="{FF2B5EF4-FFF2-40B4-BE49-F238E27FC236}">
                  <a16:creationId xmlns:a16="http://schemas.microsoft.com/office/drawing/2014/main" id="{0DC24F6E-7B8D-4436-B75E-454A235BC664}"/>
                </a:ext>
              </a:extLst>
            </p:cNvPr>
            <p:cNvSpPr>
              <a:spLocks/>
            </p:cNvSpPr>
            <p:nvPr/>
          </p:nvSpPr>
          <p:spPr>
            <a:xfrm>
              <a:off x="2379375" y="2843549"/>
              <a:ext cx="1800000" cy="27795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pic>
          <p:nvPicPr>
            <p:cNvPr id="59" name="Picture 58">
              <a:extLst>
                <a:ext uri="{FF2B5EF4-FFF2-40B4-BE49-F238E27FC236}">
                  <a16:creationId xmlns:a16="http://schemas.microsoft.com/office/drawing/2014/main" id="{8FD6A73E-B42F-486F-96CD-571C2B3A870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776616" y="2881195"/>
              <a:ext cx="326161" cy="240272"/>
            </a:xfrm>
            <a:prstGeom prst="rect">
              <a:avLst/>
            </a:prstGeom>
          </p:spPr>
        </p:pic>
      </p:grpSp>
      <p:sp>
        <p:nvSpPr>
          <p:cNvPr id="60" name="Rectangle 59">
            <a:extLst>
              <a:ext uri="{FF2B5EF4-FFF2-40B4-BE49-F238E27FC236}">
                <a16:creationId xmlns:a16="http://schemas.microsoft.com/office/drawing/2014/main" id="{CB18A54F-9A52-401B-AD93-E3CBF9E64D35}"/>
              </a:ext>
            </a:extLst>
          </p:cNvPr>
          <p:cNvSpPr>
            <a:spLocks/>
          </p:cNvSpPr>
          <p:nvPr>
            <p:custDataLst>
              <p:tags r:id="rId1"/>
            </p:custDataLst>
          </p:nvPr>
        </p:nvSpPr>
        <p:spPr>
          <a:xfrm>
            <a:off x="4230510" y="5329137"/>
            <a:ext cx="1728000" cy="770443"/>
          </a:xfrm>
          <a:prstGeom prst="rect">
            <a:avLst/>
          </a:prstGeom>
          <a:noFill/>
          <a:ln w="9525" cap="flat" cmpd="sng" algn="ctr">
            <a:solidFill>
              <a:srgbClr val="66CC33"/>
            </a:solidFill>
            <a:prstDash val="solid"/>
          </a:ln>
          <a:effectLst/>
        </p:spPr>
        <p:txBody>
          <a:bodyPr tIns="36576" rIns="36576" bIns="36576" rtlCol="0" anchor="ctr"/>
          <a:lstStyle/>
          <a:p>
            <a:pPr marL="92075" lvl="1" indent="-92075">
              <a:lnSpc>
                <a:spcPct val="85000"/>
              </a:lnSpc>
              <a:spcBef>
                <a:spcPts val="175"/>
              </a:spcBef>
              <a:spcAft>
                <a:spcPts val="175"/>
              </a:spcAft>
              <a:buClr>
                <a:srgbClr val="66CC33"/>
              </a:buClr>
              <a:buSzPct val="92000"/>
              <a:buFont typeface="Wingdings" panose="05000000000000000000" pitchFamily="2" charset="2"/>
              <a:buChar char="§"/>
            </a:pPr>
            <a:r>
              <a:rPr lang="en-US" sz="1000" b="1">
                <a:solidFill>
                  <a:prstClr val="black"/>
                </a:solidFill>
              </a:rPr>
              <a:t>Auto defogging, RLS</a:t>
            </a:r>
          </a:p>
          <a:p>
            <a:pPr marL="92075" lvl="1" indent="-92075">
              <a:lnSpc>
                <a:spcPct val="85000"/>
              </a:lnSpc>
              <a:spcBef>
                <a:spcPts val="175"/>
              </a:spcBef>
              <a:spcAft>
                <a:spcPts val="175"/>
              </a:spcAft>
              <a:buClr>
                <a:srgbClr val="66CC33"/>
              </a:buClr>
              <a:buSzPct val="92000"/>
              <a:buFont typeface="Wingdings" panose="05000000000000000000" pitchFamily="2" charset="2"/>
              <a:buChar char="§"/>
            </a:pPr>
            <a:r>
              <a:rPr lang="en-US" sz="1000" b="1">
                <a:solidFill>
                  <a:prstClr val="black"/>
                </a:solidFill>
              </a:rPr>
              <a:t>Air quality, Temp</a:t>
            </a:r>
          </a:p>
          <a:p>
            <a:pPr marL="92075" lvl="1" indent="-92075">
              <a:lnSpc>
                <a:spcPct val="85000"/>
              </a:lnSpc>
              <a:spcBef>
                <a:spcPts val="175"/>
              </a:spcBef>
              <a:spcAft>
                <a:spcPts val="175"/>
              </a:spcAft>
              <a:buClr>
                <a:srgbClr val="66CC33"/>
              </a:buClr>
              <a:buSzPct val="92000"/>
              <a:buFont typeface="Wingdings" panose="05000000000000000000" pitchFamily="2" charset="2"/>
              <a:buChar char="§"/>
            </a:pPr>
            <a:r>
              <a:rPr lang="en-US" sz="1000" b="1">
                <a:solidFill>
                  <a:prstClr val="black"/>
                </a:solidFill>
              </a:rPr>
              <a:t>Engine control</a:t>
            </a:r>
          </a:p>
          <a:p>
            <a:pPr marL="92075" lvl="1" indent="-92075">
              <a:lnSpc>
                <a:spcPct val="85000"/>
              </a:lnSpc>
              <a:spcBef>
                <a:spcPts val="175"/>
              </a:spcBef>
              <a:spcAft>
                <a:spcPts val="175"/>
              </a:spcAft>
              <a:buClr>
                <a:srgbClr val="66CC33"/>
              </a:buClr>
              <a:buSzPct val="92000"/>
              <a:buFont typeface="Wingdings" panose="05000000000000000000" pitchFamily="2" charset="2"/>
              <a:buChar char="§"/>
            </a:pPr>
            <a:r>
              <a:rPr lang="en-US" sz="1000" b="1">
                <a:solidFill>
                  <a:prstClr val="black"/>
                </a:solidFill>
              </a:rPr>
              <a:t>BMS, ADAS / LIDAR</a:t>
            </a:r>
          </a:p>
        </p:txBody>
      </p:sp>
      <p:sp>
        <p:nvSpPr>
          <p:cNvPr id="61" name="Rectangle 60">
            <a:extLst>
              <a:ext uri="{FF2B5EF4-FFF2-40B4-BE49-F238E27FC236}">
                <a16:creationId xmlns:a16="http://schemas.microsoft.com/office/drawing/2014/main" id="{08E94CED-4A7F-4157-BEAC-4459397FF8A9}"/>
              </a:ext>
            </a:extLst>
          </p:cNvPr>
          <p:cNvSpPr>
            <a:spLocks/>
          </p:cNvSpPr>
          <p:nvPr>
            <p:custDataLst>
              <p:tags r:id="rId2"/>
            </p:custDataLst>
          </p:nvPr>
        </p:nvSpPr>
        <p:spPr>
          <a:xfrm>
            <a:off x="6021535" y="5329137"/>
            <a:ext cx="1728000" cy="770443"/>
          </a:xfrm>
          <a:prstGeom prst="rect">
            <a:avLst/>
          </a:prstGeom>
          <a:noFill/>
          <a:ln w="9525" cap="flat" cmpd="sng" algn="ctr">
            <a:solidFill>
              <a:srgbClr val="00573D"/>
            </a:solidFill>
            <a:prstDash val="solid"/>
          </a:ln>
          <a:effectLst/>
        </p:spPr>
        <p:txBody>
          <a:bodyPr tIns="36576" rIns="36576" bIns="36576" rtlCol="0" anchor="ctr"/>
          <a:lstStyle/>
          <a:p>
            <a:pPr marL="92075" lvl="1" indent="-92075">
              <a:lnSpc>
                <a:spcPct val="85000"/>
              </a:lnSpc>
              <a:spcBef>
                <a:spcPts val="175"/>
              </a:spcBef>
              <a:spcAft>
                <a:spcPts val="175"/>
              </a:spcAft>
              <a:buClr>
                <a:srgbClr val="00573D"/>
              </a:buClr>
              <a:buSzPct val="92000"/>
              <a:buFont typeface="Wingdings" panose="05000000000000000000" pitchFamily="2" charset="2"/>
              <a:buChar char="§"/>
            </a:pPr>
            <a:r>
              <a:rPr lang="en-US" sz="1000" b="1">
                <a:solidFill>
                  <a:prstClr val="black"/>
                </a:solidFill>
              </a:rPr>
              <a:t>CPAP (sleep apnea)</a:t>
            </a:r>
          </a:p>
          <a:p>
            <a:pPr marL="92075" lvl="1" indent="-92075">
              <a:lnSpc>
                <a:spcPct val="85000"/>
              </a:lnSpc>
              <a:spcBef>
                <a:spcPts val="175"/>
              </a:spcBef>
              <a:spcAft>
                <a:spcPts val="175"/>
              </a:spcAft>
              <a:buClr>
                <a:srgbClr val="00573D"/>
              </a:buClr>
              <a:buSzPct val="92000"/>
              <a:buFont typeface="Wingdings" panose="05000000000000000000" pitchFamily="2" charset="2"/>
              <a:buChar char="§"/>
            </a:pPr>
            <a:r>
              <a:rPr lang="en-US" sz="1000" b="1">
                <a:solidFill>
                  <a:prstClr val="black"/>
                </a:solidFill>
              </a:rPr>
              <a:t>Ventilators, Anesthesia, Nitric Oxide, Smart Resuscitation</a:t>
            </a:r>
          </a:p>
          <a:p>
            <a:pPr marL="92075" lvl="1" indent="-92075">
              <a:lnSpc>
                <a:spcPct val="85000"/>
              </a:lnSpc>
              <a:spcBef>
                <a:spcPts val="175"/>
              </a:spcBef>
              <a:spcAft>
                <a:spcPts val="175"/>
              </a:spcAft>
              <a:buClr>
                <a:srgbClr val="00573D"/>
              </a:buClr>
              <a:buSzPct val="92000"/>
              <a:buFont typeface="Wingdings" panose="05000000000000000000" pitchFamily="2" charset="2"/>
              <a:buChar char="§"/>
            </a:pPr>
            <a:r>
              <a:rPr lang="en-US" sz="1000" b="1">
                <a:solidFill>
                  <a:prstClr val="black"/>
                </a:solidFill>
              </a:rPr>
              <a:t>Smart Inhaler, Breath Analysis</a:t>
            </a:r>
          </a:p>
        </p:txBody>
      </p:sp>
      <p:sp>
        <p:nvSpPr>
          <p:cNvPr id="62" name="Rectangle 61">
            <a:extLst>
              <a:ext uri="{FF2B5EF4-FFF2-40B4-BE49-F238E27FC236}">
                <a16:creationId xmlns:a16="http://schemas.microsoft.com/office/drawing/2014/main" id="{2EFA55A7-7F6D-4E13-BC04-F1142E4B9C97}"/>
              </a:ext>
            </a:extLst>
          </p:cNvPr>
          <p:cNvSpPr>
            <a:spLocks/>
          </p:cNvSpPr>
          <p:nvPr>
            <p:custDataLst>
              <p:tags r:id="rId3"/>
            </p:custDataLst>
          </p:nvPr>
        </p:nvSpPr>
        <p:spPr>
          <a:xfrm>
            <a:off x="7831627" y="5329137"/>
            <a:ext cx="1728000" cy="770443"/>
          </a:xfrm>
          <a:prstGeom prst="rect">
            <a:avLst/>
          </a:prstGeom>
          <a:noFill/>
          <a:ln w="9525" cap="flat" cmpd="sng" algn="ctr">
            <a:solidFill>
              <a:srgbClr val="BFBFBF"/>
            </a:solidFill>
            <a:prstDash val="solid"/>
          </a:ln>
          <a:effectLst/>
        </p:spPr>
        <p:txBody>
          <a:bodyPr tIns="36576" rIns="36576" bIns="36576" rtlCol="0" anchor="ctr"/>
          <a:lstStyle/>
          <a:p>
            <a:pPr marL="92075" lvl="1" indent="-92075">
              <a:lnSpc>
                <a:spcPct val="85000"/>
              </a:lnSpc>
              <a:spcBef>
                <a:spcPts val="175"/>
              </a:spcBef>
              <a:spcAft>
                <a:spcPts val="175"/>
              </a:spcAft>
              <a:buClr>
                <a:srgbClr val="BFBFBF"/>
              </a:buClr>
              <a:buSzPct val="92000"/>
              <a:buFont typeface="Wingdings" panose="05000000000000000000" pitchFamily="2" charset="2"/>
              <a:buChar char="§"/>
            </a:pPr>
            <a:r>
              <a:rPr lang="en-US" sz="1100" b="1">
                <a:solidFill>
                  <a:prstClr val="black"/>
                </a:solidFill>
              </a:rPr>
              <a:t>Air purifiers, </a:t>
            </a:r>
            <a:r>
              <a:rPr lang="en-US" sz="1000" b="1">
                <a:solidFill>
                  <a:prstClr val="black"/>
                </a:solidFill>
              </a:rPr>
              <a:t>air exchangers, refrigerators, HVAC</a:t>
            </a:r>
          </a:p>
          <a:p>
            <a:pPr marL="92075" lvl="1" indent="-92075">
              <a:lnSpc>
                <a:spcPct val="85000"/>
              </a:lnSpc>
              <a:spcBef>
                <a:spcPts val="175"/>
              </a:spcBef>
              <a:spcAft>
                <a:spcPts val="175"/>
              </a:spcAft>
              <a:buClr>
                <a:srgbClr val="BFBFBF"/>
              </a:buClr>
              <a:buSzPct val="92000"/>
              <a:buFont typeface="Wingdings" panose="05000000000000000000" pitchFamily="2" charset="2"/>
              <a:buChar char="§"/>
            </a:pPr>
            <a:r>
              <a:rPr lang="en-US" sz="1000" b="1">
                <a:solidFill>
                  <a:prstClr val="black"/>
                </a:solidFill>
              </a:rPr>
              <a:t>Gas metering</a:t>
            </a:r>
          </a:p>
          <a:p>
            <a:pPr marL="92075" lvl="1" indent="-92075">
              <a:lnSpc>
                <a:spcPct val="85000"/>
              </a:lnSpc>
              <a:spcBef>
                <a:spcPts val="175"/>
              </a:spcBef>
              <a:spcAft>
                <a:spcPts val="175"/>
              </a:spcAft>
              <a:buClr>
                <a:srgbClr val="BFBFBF"/>
              </a:buClr>
              <a:buSzPct val="92000"/>
              <a:buFont typeface="Wingdings" panose="05000000000000000000" pitchFamily="2" charset="2"/>
              <a:buChar char="§"/>
            </a:pPr>
            <a:r>
              <a:rPr lang="en-US" sz="1000" b="1">
                <a:solidFill>
                  <a:prstClr val="black"/>
                </a:solidFill>
              </a:rPr>
              <a:t>Building ventilation (VAV)</a:t>
            </a:r>
          </a:p>
        </p:txBody>
      </p:sp>
      <p:sp>
        <p:nvSpPr>
          <p:cNvPr id="63" name="Rectangle 62">
            <a:extLst>
              <a:ext uri="{FF2B5EF4-FFF2-40B4-BE49-F238E27FC236}">
                <a16:creationId xmlns:a16="http://schemas.microsoft.com/office/drawing/2014/main" id="{8868414E-B05F-454D-A73B-BC2377C25CFB}"/>
              </a:ext>
            </a:extLst>
          </p:cNvPr>
          <p:cNvSpPr>
            <a:spLocks/>
          </p:cNvSpPr>
          <p:nvPr>
            <p:custDataLst>
              <p:tags r:id="rId4"/>
            </p:custDataLst>
          </p:nvPr>
        </p:nvSpPr>
        <p:spPr>
          <a:xfrm>
            <a:off x="9620221" y="5329137"/>
            <a:ext cx="1728000" cy="770443"/>
          </a:xfrm>
          <a:prstGeom prst="rect">
            <a:avLst/>
          </a:prstGeom>
          <a:noFill/>
          <a:ln w="9525" cap="flat" cmpd="sng" algn="ctr">
            <a:solidFill>
              <a:srgbClr val="7F7F7F"/>
            </a:solidFill>
            <a:prstDash val="solid"/>
          </a:ln>
          <a:effectLst/>
        </p:spPr>
        <p:txBody>
          <a:bodyPr tIns="36576" rIns="36576" bIns="36576" rtlCol="0" anchor="ctr"/>
          <a:lstStyle/>
          <a:p>
            <a:pPr marL="180975" lvl="1" indent="-180975">
              <a:lnSpc>
                <a:spcPct val="85000"/>
              </a:lnSpc>
              <a:spcBef>
                <a:spcPts val="175"/>
              </a:spcBef>
              <a:spcAft>
                <a:spcPts val="175"/>
              </a:spcAft>
              <a:buClr>
                <a:srgbClr val="7F7F7F"/>
              </a:buClr>
              <a:buSzPct val="92000"/>
              <a:buFont typeface="Wingdings" panose="05000000000000000000" pitchFamily="2" charset="2"/>
              <a:buChar char="§"/>
            </a:pPr>
            <a:r>
              <a:rPr lang="en-US" sz="1200" b="1">
                <a:solidFill>
                  <a:prstClr val="black"/>
                </a:solidFill>
              </a:rPr>
              <a:t>Air Quality</a:t>
            </a:r>
          </a:p>
          <a:p>
            <a:pPr marL="180975" lvl="1" indent="-180975">
              <a:lnSpc>
                <a:spcPct val="85000"/>
              </a:lnSpc>
              <a:spcBef>
                <a:spcPts val="175"/>
              </a:spcBef>
              <a:spcAft>
                <a:spcPts val="175"/>
              </a:spcAft>
              <a:buClr>
                <a:srgbClr val="7F7F7F"/>
              </a:buClr>
              <a:buSzPct val="92000"/>
              <a:buFont typeface="Wingdings" panose="05000000000000000000" pitchFamily="2" charset="2"/>
              <a:buChar char="§"/>
            </a:pPr>
            <a:r>
              <a:rPr lang="en-US" sz="1000" b="1">
                <a:solidFill>
                  <a:prstClr val="black"/>
                </a:solidFill>
              </a:rPr>
              <a:t>Consumer gadgets</a:t>
            </a:r>
          </a:p>
          <a:p>
            <a:pPr marL="180975" lvl="1" indent="-180975">
              <a:lnSpc>
                <a:spcPct val="85000"/>
              </a:lnSpc>
              <a:spcBef>
                <a:spcPts val="175"/>
              </a:spcBef>
              <a:spcAft>
                <a:spcPts val="175"/>
              </a:spcAft>
              <a:buClr>
                <a:srgbClr val="7F7F7F"/>
              </a:buClr>
              <a:buSzPct val="92000"/>
              <a:buFont typeface="Wingdings" panose="05000000000000000000" pitchFamily="2" charset="2"/>
              <a:buChar char="§"/>
            </a:pPr>
            <a:r>
              <a:rPr lang="en-US" sz="1000" b="1">
                <a:solidFill>
                  <a:prstClr val="black"/>
                </a:solidFill>
              </a:rPr>
              <a:t>Smart thermostats</a:t>
            </a:r>
          </a:p>
          <a:p>
            <a:pPr marL="180975" lvl="1" indent="-180975">
              <a:lnSpc>
                <a:spcPct val="85000"/>
              </a:lnSpc>
              <a:spcBef>
                <a:spcPts val="175"/>
              </a:spcBef>
              <a:spcAft>
                <a:spcPts val="175"/>
              </a:spcAft>
              <a:buClr>
                <a:srgbClr val="7F7F7F"/>
              </a:buClr>
              <a:buSzPct val="92000"/>
              <a:buFont typeface="Wingdings" panose="05000000000000000000" pitchFamily="2" charset="2"/>
              <a:buChar char="§"/>
            </a:pPr>
            <a:r>
              <a:rPr lang="en-US" sz="1000" b="1">
                <a:solidFill>
                  <a:prstClr val="black"/>
                </a:solidFill>
              </a:rPr>
              <a:t>IP/security cameras</a:t>
            </a:r>
          </a:p>
        </p:txBody>
      </p:sp>
      <p:grpSp>
        <p:nvGrpSpPr>
          <p:cNvPr id="64" name="Group 63">
            <a:extLst>
              <a:ext uri="{FF2B5EF4-FFF2-40B4-BE49-F238E27FC236}">
                <a16:creationId xmlns:a16="http://schemas.microsoft.com/office/drawing/2014/main" id="{7DAF6CD7-380C-4D11-9B1E-CFD2196071FD}"/>
              </a:ext>
            </a:extLst>
          </p:cNvPr>
          <p:cNvGrpSpPr/>
          <p:nvPr/>
        </p:nvGrpSpPr>
        <p:grpSpPr>
          <a:xfrm>
            <a:off x="2369473" y="3238982"/>
            <a:ext cx="1799536" cy="273866"/>
            <a:chOff x="2375691" y="3664272"/>
            <a:chExt cx="1799536" cy="273866"/>
          </a:xfrm>
        </p:grpSpPr>
        <p:sp>
          <p:nvSpPr>
            <p:cNvPr id="65" name="Rectangle 64">
              <a:extLst>
                <a:ext uri="{FF2B5EF4-FFF2-40B4-BE49-F238E27FC236}">
                  <a16:creationId xmlns:a16="http://schemas.microsoft.com/office/drawing/2014/main" id="{37CEF5ED-576C-4F3F-9A7F-32EFDA4D66FC}"/>
                </a:ext>
              </a:extLst>
            </p:cNvPr>
            <p:cNvSpPr>
              <a:spLocks/>
            </p:cNvSpPr>
            <p:nvPr/>
          </p:nvSpPr>
          <p:spPr>
            <a:xfrm>
              <a:off x="2375691" y="3664272"/>
              <a:ext cx="1799536" cy="273866"/>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sp>
          <p:nvSpPr>
            <p:cNvPr id="66" name="Rechteck 51">
              <a:extLst>
                <a:ext uri="{FF2B5EF4-FFF2-40B4-BE49-F238E27FC236}">
                  <a16:creationId xmlns:a16="http://schemas.microsoft.com/office/drawing/2014/main" id="{730D2E83-BC55-4133-ADE2-FCB7305BCE15}"/>
                </a:ext>
              </a:extLst>
            </p:cNvPr>
            <p:cNvSpPr/>
            <p:nvPr/>
          </p:nvSpPr>
          <p:spPr>
            <a:xfrm>
              <a:off x="2415916" y="3713343"/>
              <a:ext cx="1380016" cy="152220"/>
            </a:xfrm>
            <a:prstGeom prst="rect">
              <a:avLst/>
            </a:prstGeom>
            <a:noFill/>
          </p:spPr>
          <p:txBody>
            <a:bodyPr wrap="square" lIns="27000" tIns="0" rIns="67500" bIns="67500" rtlCol="0" anchor="t">
              <a:noAutofit/>
            </a:bodyPr>
            <a:lstStyle/>
            <a:p>
              <a:pPr>
                <a:spcBef>
                  <a:spcPct val="50000"/>
                </a:spcBef>
                <a:buClr>
                  <a:prstClr val="white"/>
                </a:buClr>
              </a:pPr>
              <a:r>
                <a:rPr lang="en-US" sz="1000" b="1"/>
                <a:t>Gas analyzers</a:t>
              </a:r>
            </a:p>
          </p:txBody>
        </p:sp>
        <p:pic>
          <p:nvPicPr>
            <p:cNvPr id="67" name="Picture 66">
              <a:extLst>
                <a:ext uri="{FF2B5EF4-FFF2-40B4-BE49-F238E27FC236}">
                  <a16:creationId xmlns:a16="http://schemas.microsoft.com/office/drawing/2014/main" id="{B893DF54-B9D8-49C4-9899-8E703655A0F4}"/>
                </a:ext>
              </a:extLst>
            </p:cNvPr>
            <p:cNvPicPr>
              <a:picLocks noChangeAspect="1"/>
            </p:cNvPicPr>
            <p:nvPr/>
          </p:nvPicPr>
          <p:blipFill>
            <a:blip r:embed="rId17"/>
            <a:stretch>
              <a:fillRect/>
            </a:stretch>
          </p:blipFill>
          <p:spPr>
            <a:xfrm>
              <a:off x="3776616" y="3689564"/>
              <a:ext cx="320871" cy="211059"/>
            </a:xfrm>
            <a:prstGeom prst="rect">
              <a:avLst/>
            </a:prstGeom>
          </p:spPr>
        </p:pic>
      </p:grpSp>
      <p:grpSp>
        <p:nvGrpSpPr>
          <p:cNvPr id="68" name="Group 67">
            <a:extLst>
              <a:ext uri="{FF2B5EF4-FFF2-40B4-BE49-F238E27FC236}">
                <a16:creationId xmlns:a16="http://schemas.microsoft.com/office/drawing/2014/main" id="{B10F8D0C-BB9E-4ED7-A094-B2E598FADE45}"/>
              </a:ext>
            </a:extLst>
          </p:cNvPr>
          <p:cNvGrpSpPr/>
          <p:nvPr/>
        </p:nvGrpSpPr>
        <p:grpSpPr>
          <a:xfrm>
            <a:off x="2379375" y="2611657"/>
            <a:ext cx="1800000" cy="286037"/>
            <a:chOff x="2379375" y="2443612"/>
            <a:chExt cx="1800000" cy="286037"/>
          </a:xfrm>
        </p:grpSpPr>
        <p:sp>
          <p:nvSpPr>
            <p:cNvPr id="69" name="Rechteck 58">
              <a:extLst>
                <a:ext uri="{FF2B5EF4-FFF2-40B4-BE49-F238E27FC236}">
                  <a16:creationId xmlns:a16="http://schemas.microsoft.com/office/drawing/2014/main" id="{B0E2F2B8-D780-41A6-8B89-E2F7AA6C65E1}"/>
                </a:ext>
              </a:extLst>
            </p:cNvPr>
            <p:cNvSpPr/>
            <p:nvPr/>
          </p:nvSpPr>
          <p:spPr>
            <a:xfrm>
              <a:off x="2415916" y="2498457"/>
              <a:ext cx="1275134" cy="147594"/>
            </a:xfrm>
            <a:prstGeom prst="rect">
              <a:avLst/>
            </a:prstGeom>
            <a:noFill/>
          </p:spPr>
          <p:txBody>
            <a:bodyPr wrap="square" lIns="27000" tIns="0" rIns="67500" bIns="67500" rtlCol="0" anchor="t">
              <a:noAutofit/>
            </a:bodyPr>
            <a:lstStyle/>
            <a:p>
              <a:pPr>
                <a:spcBef>
                  <a:spcPct val="50000"/>
                </a:spcBef>
                <a:buClr>
                  <a:prstClr val="white"/>
                </a:buClr>
              </a:pPr>
              <a:r>
                <a:rPr lang="en-US" sz="1000" b="1">
                  <a:solidFill>
                    <a:prstClr val="black"/>
                  </a:solidFill>
                </a:rPr>
                <a:t>Carbon dioxide (CO</a:t>
              </a:r>
              <a:r>
                <a:rPr lang="en-US" sz="1000" b="1" baseline="-25000">
                  <a:solidFill>
                    <a:prstClr val="black"/>
                  </a:solidFill>
                </a:rPr>
                <a:t>2</a:t>
              </a:r>
              <a:r>
                <a:rPr lang="en-US" sz="1000" b="1">
                  <a:solidFill>
                    <a:prstClr val="black"/>
                  </a:solidFill>
                </a:rPr>
                <a:t>)</a:t>
              </a:r>
              <a:endParaRPr lang="en-US" sz="1000" b="1" baseline="30000">
                <a:solidFill>
                  <a:prstClr val="black"/>
                </a:solidFill>
              </a:endParaRPr>
            </a:p>
          </p:txBody>
        </p:sp>
        <p:sp>
          <p:nvSpPr>
            <p:cNvPr id="70" name="Rectangle 69">
              <a:extLst>
                <a:ext uri="{FF2B5EF4-FFF2-40B4-BE49-F238E27FC236}">
                  <a16:creationId xmlns:a16="http://schemas.microsoft.com/office/drawing/2014/main" id="{22E91D39-0C10-4E37-9955-8983874A7958}"/>
                </a:ext>
              </a:extLst>
            </p:cNvPr>
            <p:cNvSpPr>
              <a:spLocks/>
            </p:cNvSpPr>
            <p:nvPr/>
          </p:nvSpPr>
          <p:spPr>
            <a:xfrm>
              <a:off x="2379375" y="2443612"/>
              <a:ext cx="1800000" cy="277954"/>
            </a:xfrm>
            <a:prstGeom prst="rect">
              <a:avLst/>
            </a:prstGeom>
            <a:noFill/>
            <a:ln w="9525" cap="flat" cmpd="sng" algn="ctr">
              <a:solidFill>
                <a:srgbClr val="66CC33"/>
              </a:solidFill>
              <a:prstDash val="solid"/>
            </a:ln>
            <a:effectLst/>
          </p:spPr>
          <p:txBody>
            <a:bodyPr rtlCol="0" anchor="ctr"/>
            <a:lstStyle/>
            <a:p>
              <a:pPr algn="ctr" fontAlgn="auto">
                <a:spcBef>
                  <a:spcPts val="0"/>
                </a:spcBef>
                <a:spcAft>
                  <a:spcPts val="0"/>
                </a:spcAft>
                <a:defRPr/>
              </a:pPr>
              <a:endParaRPr lang="en-US" sz="1200" kern="0">
                <a:solidFill>
                  <a:prstClr val="black"/>
                </a:solidFill>
                <a:ea typeface="LF_Kai"/>
              </a:endParaRPr>
            </a:p>
          </p:txBody>
        </p:sp>
        <p:pic>
          <p:nvPicPr>
            <p:cNvPr id="71" name="Picture 70" descr="A picture containing dishware, tableware&#10;&#10;Description automatically generated">
              <a:extLst>
                <a:ext uri="{FF2B5EF4-FFF2-40B4-BE49-F238E27FC236}">
                  <a16:creationId xmlns:a16="http://schemas.microsoft.com/office/drawing/2014/main" id="{22A451C0-5B9A-4337-B955-EAF321E4382E}"/>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27413" y="2468454"/>
              <a:ext cx="351699" cy="261195"/>
            </a:xfrm>
            <a:prstGeom prst="rect">
              <a:avLst/>
            </a:prstGeom>
          </p:spPr>
        </p:pic>
      </p:grpSp>
      <p:sp>
        <p:nvSpPr>
          <p:cNvPr id="72" name="Rectangle 71">
            <a:extLst>
              <a:ext uri="{FF2B5EF4-FFF2-40B4-BE49-F238E27FC236}">
                <a16:creationId xmlns:a16="http://schemas.microsoft.com/office/drawing/2014/main" id="{635D5EA2-23CD-471B-B0A5-45914C47F123}"/>
              </a:ext>
            </a:extLst>
          </p:cNvPr>
          <p:cNvSpPr/>
          <p:nvPr/>
        </p:nvSpPr>
        <p:spPr>
          <a:xfrm>
            <a:off x="2367023" y="5302318"/>
            <a:ext cx="1800462" cy="770443"/>
          </a:xfrm>
          <a:prstGeom prst="rect">
            <a:avLst/>
          </a:prstGeom>
          <a:noFill/>
          <a:ln w="9525" cap="flat" cmpd="sng" algn="ctr">
            <a:solidFill>
              <a:srgbClr val="66CC33"/>
            </a:solidFill>
            <a:prstDash val="solid"/>
          </a:ln>
          <a:effectLst/>
        </p:spPr>
        <p:txBody>
          <a:bodyPr rtlCol="0" anchor="ctr"/>
          <a:lstStyle/>
          <a:p>
            <a:pPr fontAlgn="auto">
              <a:spcBef>
                <a:spcPts val="0"/>
              </a:spcBef>
              <a:spcAft>
                <a:spcPts val="0"/>
              </a:spcAft>
            </a:pPr>
            <a:r>
              <a:rPr lang="en-US" sz="1400" b="1" kern="0">
                <a:solidFill>
                  <a:prstClr val="black"/>
                </a:solidFill>
                <a:latin typeface="Arial Narrow" pitchFamily="34" charset="0"/>
                <a:ea typeface="LF_Kai"/>
                <a:cs typeface="Arial" charset="0"/>
              </a:rPr>
              <a:t>Key applications</a:t>
            </a:r>
          </a:p>
        </p:txBody>
      </p:sp>
      <p:sp>
        <p:nvSpPr>
          <p:cNvPr id="73" name="Rectangle 72">
            <a:extLst>
              <a:ext uri="{FF2B5EF4-FFF2-40B4-BE49-F238E27FC236}">
                <a16:creationId xmlns:a16="http://schemas.microsoft.com/office/drawing/2014/main" id="{C22CA780-98F2-4B25-A7BC-1CC3685B2CB1}"/>
              </a:ext>
            </a:extLst>
          </p:cNvPr>
          <p:cNvSpPr/>
          <p:nvPr/>
        </p:nvSpPr>
        <p:spPr>
          <a:xfrm>
            <a:off x="4233280" y="967905"/>
            <a:ext cx="1728000" cy="434448"/>
          </a:xfrm>
          <a:prstGeom prst="rect">
            <a:avLst/>
          </a:prstGeom>
          <a:solidFill>
            <a:srgbClr val="66CC33"/>
          </a:solidFill>
          <a:ln>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prstClr val="white"/>
                </a:solidFill>
                <a:latin typeface="Arial Narrow" panose="020B0606020202030204" pitchFamily="34" charset="0"/>
              </a:rPr>
              <a:t>Automotive</a:t>
            </a:r>
          </a:p>
        </p:txBody>
      </p:sp>
      <p:sp>
        <p:nvSpPr>
          <p:cNvPr id="74" name="Rectangle 73">
            <a:extLst>
              <a:ext uri="{FF2B5EF4-FFF2-40B4-BE49-F238E27FC236}">
                <a16:creationId xmlns:a16="http://schemas.microsoft.com/office/drawing/2014/main" id="{DC02C155-A067-4498-B153-CAE357475E24}"/>
              </a:ext>
            </a:extLst>
          </p:cNvPr>
          <p:cNvSpPr/>
          <p:nvPr/>
        </p:nvSpPr>
        <p:spPr>
          <a:xfrm>
            <a:off x="7834396" y="967858"/>
            <a:ext cx="1728000" cy="434448"/>
          </a:xfrm>
          <a:prstGeom prst="rect">
            <a:avLst/>
          </a:prstGeom>
          <a:solidFill>
            <a:srgbClr val="BFBFBF"/>
          </a:solid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prstClr val="white"/>
                </a:solidFill>
                <a:latin typeface="Arial Narrow" panose="020B0606020202030204" pitchFamily="34" charset="0"/>
              </a:rPr>
              <a:t>Industrial</a:t>
            </a:r>
          </a:p>
        </p:txBody>
      </p:sp>
      <p:sp>
        <p:nvSpPr>
          <p:cNvPr id="75" name="Rectangle 74">
            <a:extLst>
              <a:ext uri="{FF2B5EF4-FFF2-40B4-BE49-F238E27FC236}">
                <a16:creationId xmlns:a16="http://schemas.microsoft.com/office/drawing/2014/main" id="{1E61D727-CCEE-4B93-8A78-53B4CCA2614A}"/>
              </a:ext>
            </a:extLst>
          </p:cNvPr>
          <p:cNvSpPr/>
          <p:nvPr/>
        </p:nvSpPr>
        <p:spPr>
          <a:xfrm>
            <a:off x="6024304" y="967905"/>
            <a:ext cx="1728000" cy="434448"/>
          </a:xfrm>
          <a:prstGeom prst="rect">
            <a:avLst/>
          </a:prstGeom>
          <a:solidFill>
            <a:srgbClr val="00573D"/>
          </a:solidFill>
          <a:ln>
            <a:solidFill>
              <a:srgbClr val="00573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prstClr val="white"/>
                </a:solidFill>
                <a:latin typeface="Arial Narrow" panose="020B0606020202030204" pitchFamily="34" charset="0"/>
              </a:rPr>
              <a:t>Medical</a:t>
            </a:r>
          </a:p>
        </p:txBody>
      </p:sp>
      <p:sp>
        <p:nvSpPr>
          <p:cNvPr id="76" name="Rectangle 75">
            <a:extLst>
              <a:ext uri="{FF2B5EF4-FFF2-40B4-BE49-F238E27FC236}">
                <a16:creationId xmlns:a16="http://schemas.microsoft.com/office/drawing/2014/main" id="{DEDB0E80-DEF7-4815-8B90-B75A672125EB}"/>
              </a:ext>
            </a:extLst>
          </p:cNvPr>
          <p:cNvSpPr/>
          <p:nvPr/>
        </p:nvSpPr>
        <p:spPr>
          <a:xfrm>
            <a:off x="2381682" y="967399"/>
            <a:ext cx="1800462" cy="434448"/>
          </a:xfrm>
          <a:prstGeom prst="rect">
            <a:avLst/>
          </a:prstGeom>
          <a:noFill/>
          <a:ln w="9525" cap="flat" cmpd="sng" algn="ctr">
            <a:solidFill>
              <a:srgbClr val="66CC33"/>
            </a:solidFill>
            <a:prstDash val="solid"/>
          </a:ln>
          <a:effectLst/>
        </p:spPr>
        <p:txBody>
          <a:bodyPr rtlCol="0" anchor="ctr"/>
          <a:lstStyle/>
          <a:p>
            <a:pPr fontAlgn="auto">
              <a:spcBef>
                <a:spcPts val="0"/>
              </a:spcBef>
              <a:spcAft>
                <a:spcPts val="0"/>
              </a:spcAft>
            </a:pPr>
            <a:r>
              <a:rPr lang="en-US" sz="1400" b="1" kern="0">
                <a:solidFill>
                  <a:prstClr val="black"/>
                </a:solidFill>
                <a:latin typeface="Arial Narrow" pitchFamily="34" charset="0"/>
                <a:ea typeface="LF_Kai"/>
                <a:cs typeface="Arial" charset="0"/>
              </a:rPr>
              <a:t>End market</a:t>
            </a:r>
          </a:p>
        </p:txBody>
      </p:sp>
      <p:sp>
        <p:nvSpPr>
          <p:cNvPr id="77" name="Rectangle 76">
            <a:extLst>
              <a:ext uri="{FF2B5EF4-FFF2-40B4-BE49-F238E27FC236}">
                <a16:creationId xmlns:a16="http://schemas.microsoft.com/office/drawing/2014/main" id="{1D935F1A-6F75-40A6-ACF3-9B1E5C809277}"/>
              </a:ext>
            </a:extLst>
          </p:cNvPr>
          <p:cNvSpPr/>
          <p:nvPr/>
        </p:nvSpPr>
        <p:spPr>
          <a:xfrm>
            <a:off x="9622991" y="967858"/>
            <a:ext cx="1728000" cy="43444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prstClr val="white"/>
                </a:solidFill>
                <a:latin typeface="Arial Narrow" panose="020B0606020202030204" pitchFamily="34" charset="0"/>
              </a:rPr>
              <a:t>Consumer</a:t>
            </a:r>
          </a:p>
        </p:txBody>
      </p:sp>
      <p:sp>
        <p:nvSpPr>
          <p:cNvPr id="5" name="Rectangle 4">
            <a:extLst>
              <a:ext uri="{FF2B5EF4-FFF2-40B4-BE49-F238E27FC236}">
                <a16:creationId xmlns:a16="http://schemas.microsoft.com/office/drawing/2014/main" id="{4A68DC31-51DE-B8CD-538E-D52AA64C9CEB}"/>
              </a:ext>
            </a:extLst>
          </p:cNvPr>
          <p:cNvSpPr>
            <a:spLocks/>
          </p:cNvSpPr>
          <p:nvPr/>
        </p:nvSpPr>
        <p:spPr>
          <a:xfrm>
            <a:off x="9641718" y="3956939"/>
            <a:ext cx="1728000" cy="1260079"/>
          </a:xfrm>
          <a:prstGeom prst="rect">
            <a:avLst/>
          </a:prstGeom>
          <a:noFill/>
          <a:ln w="9525" cap="flat" cmpd="sng" algn="ctr">
            <a:solidFill>
              <a:srgbClr val="7F7F7F"/>
            </a:solidFill>
            <a:prstDash val="solid"/>
          </a:ln>
          <a:effectLst/>
        </p:spPr>
        <p:txBody>
          <a:bodyPr rtlCol="0" anchor="ctr"/>
          <a:lstStyle/>
          <a:p>
            <a:pPr algn="ctr" fontAlgn="auto">
              <a:spcBef>
                <a:spcPts val="0"/>
              </a:spcBef>
              <a:spcAft>
                <a:spcPts val="0"/>
              </a:spcAft>
              <a:defRPr/>
            </a:pPr>
            <a:r>
              <a:rPr lang="en-US" sz="4400" kern="0">
                <a:solidFill>
                  <a:srgbClr val="7F7F7F"/>
                </a:solidFill>
                <a:ea typeface="LF_Kai"/>
                <a:sym typeface="Wingdings"/>
              </a:rPr>
              <a:t>-</a:t>
            </a:r>
            <a:endParaRPr lang="en-US" sz="4400" kern="0">
              <a:solidFill>
                <a:srgbClr val="7F7F7F"/>
              </a:solidFill>
              <a:ea typeface="LF_Kai"/>
            </a:endParaRPr>
          </a:p>
        </p:txBody>
      </p:sp>
      <p:sp>
        <p:nvSpPr>
          <p:cNvPr id="9" name="Rectangle 8">
            <a:extLst>
              <a:ext uri="{FF2B5EF4-FFF2-40B4-BE49-F238E27FC236}">
                <a16:creationId xmlns:a16="http://schemas.microsoft.com/office/drawing/2014/main" id="{FF6BC8C6-8F67-CC50-D46B-BACFD96DBBB0}"/>
              </a:ext>
            </a:extLst>
          </p:cNvPr>
          <p:cNvSpPr/>
          <p:nvPr/>
        </p:nvSpPr>
        <p:spPr>
          <a:xfrm>
            <a:off x="2204977" y="3207405"/>
            <a:ext cx="2022664" cy="68987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81DE394A-3015-7E7A-4D92-531205B5777C}"/>
              </a:ext>
            </a:extLst>
          </p:cNvPr>
          <p:cNvSpPr txBox="1"/>
          <p:nvPr/>
        </p:nvSpPr>
        <p:spPr>
          <a:xfrm>
            <a:off x="766825" y="5616643"/>
            <a:ext cx="1266693" cy="276999"/>
          </a:xfrm>
          <a:prstGeom prst="rect">
            <a:avLst/>
          </a:prstGeom>
          <a:noFill/>
        </p:spPr>
        <p:txBody>
          <a:bodyPr wrap="none" rtlCol="0">
            <a:spAutoFit/>
          </a:bodyPr>
          <a:lstStyle/>
          <a:p>
            <a:r>
              <a:rPr lang="en-US" sz="1200">
                <a:solidFill>
                  <a:srgbClr val="FF0000"/>
                </a:solidFill>
              </a:rPr>
              <a:t>Not in the channels</a:t>
            </a:r>
          </a:p>
        </p:txBody>
      </p:sp>
      <p:sp>
        <p:nvSpPr>
          <p:cNvPr id="17" name="Rectangle 16">
            <a:extLst>
              <a:ext uri="{FF2B5EF4-FFF2-40B4-BE49-F238E27FC236}">
                <a16:creationId xmlns:a16="http://schemas.microsoft.com/office/drawing/2014/main" id="{9FA82004-23C4-B781-B192-54B3473959CA}"/>
              </a:ext>
            </a:extLst>
          </p:cNvPr>
          <p:cNvSpPr/>
          <p:nvPr/>
        </p:nvSpPr>
        <p:spPr>
          <a:xfrm>
            <a:off x="2204977" y="4567808"/>
            <a:ext cx="2022664" cy="3137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5" name="Straight Arrow Connector 54">
            <a:extLst>
              <a:ext uri="{FF2B5EF4-FFF2-40B4-BE49-F238E27FC236}">
                <a16:creationId xmlns:a16="http://schemas.microsoft.com/office/drawing/2014/main" id="{2C98E3BA-AC6F-458D-9234-DC3807722E37}"/>
              </a:ext>
            </a:extLst>
          </p:cNvPr>
          <p:cNvCxnSpPr>
            <a:cxnSpLocks/>
          </p:cNvCxnSpPr>
          <p:nvPr/>
        </p:nvCxnSpPr>
        <p:spPr>
          <a:xfrm flipV="1">
            <a:off x="1957730" y="3882089"/>
            <a:ext cx="256889" cy="185051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27D0BED9-81A9-A72E-25E4-7F6BF81A6904}"/>
              </a:ext>
            </a:extLst>
          </p:cNvPr>
          <p:cNvCxnSpPr>
            <a:cxnSpLocks/>
          </p:cNvCxnSpPr>
          <p:nvPr/>
        </p:nvCxnSpPr>
        <p:spPr>
          <a:xfrm flipV="1">
            <a:off x="1956635" y="4916175"/>
            <a:ext cx="275983" cy="77136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41299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utoShape 2" descr="Formaldehyde Sensirion">
            <a:extLst>
              <a:ext uri="{FF2B5EF4-FFF2-40B4-BE49-F238E27FC236}">
                <a16:creationId xmlns:a16="http://schemas.microsoft.com/office/drawing/2014/main" id="{C5AFDDF9-E43C-48BB-AA01-3329FA148B56}"/>
              </a:ext>
            </a:extLst>
          </p:cNvPr>
          <p:cNvSpPr>
            <a:spLocks noChangeAspect="1" noChangeArrowheads="1"/>
          </p:cNvSpPr>
          <p:nvPr/>
        </p:nvSpPr>
        <p:spPr bwMode="auto">
          <a:xfrm>
            <a:off x="-1710777" y="236670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nvGrpSpPr>
          <p:cNvPr id="42" name="Group 41">
            <a:extLst>
              <a:ext uri="{FF2B5EF4-FFF2-40B4-BE49-F238E27FC236}">
                <a16:creationId xmlns:a16="http://schemas.microsoft.com/office/drawing/2014/main" id="{280350FB-0BEF-4932-A562-80D6257F0A38}"/>
              </a:ext>
            </a:extLst>
          </p:cNvPr>
          <p:cNvGrpSpPr/>
          <p:nvPr/>
        </p:nvGrpSpPr>
        <p:grpSpPr>
          <a:xfrm>
            <a:off x="839769" y="6387669"/>
            <a:ext cx="5150521" cy="235359"/>
            <a:chOff x="839769" y="6387669"/>
            <a:chExt cx="5150521" cy="235359"/>
          </a:xfrm>
        </p:grpSpPr>
        <p:grpSp>
          <p:nvGrpSpPr>
            <p:cNvPr id="43" name="Gruppierung 1">
              <a:extLst>
                <a:ext uri="{FF2B5EF4-FFF2-40B4-BE49-F238E27FC236}">
                  <a16:creationId xmlns:a16="http://schemas.microsoft.com/office/drawing/2014/main" id="{8E97F148-A765-464B-92DF-9AF45ABA8AD0}"/>
                </a:ext>
              </a:extLst>
            </p:cNvPr>
            <p:cNvGrpSpPr/>
            <p:nvPr/>
          </p:nvGrpSpPr>
          <p:grpSpPr>
            <a:xfrm>
              <a:off x="839769" y="6387669"/>
              <a:ext cx="5150521" cy="235359"/>
              <a:chOff x="839769" y="6369739"/>
              <a:chExt cx="5150521" cy="235359"/>
            </a:xfrm>
          </p:grpSpPr>
          <p:sp>
            <p:nvSpPr>
              <p:cNvPr id="45" name="Fußzeilenplatzhalter 4">
                <a:extLst>
                  <a:ext uri="{FF2B5EF4-FFF2-40B4-BE49-F238E27FC236}">
                    <a16:creationId xmlns:a16="http://schemas.microsoft.com/office/drawing/2014/main" id="{F5450457-7C44-44AE-9C3A-EF423A77C8BE}"/>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46" name="Fußzeilenplatzhalter 4">
                <a:extLst>
                  <a:ext uri="{FF2B5EF4-FFF2-40B4-BE49-F238E27FC236}">
                    <a16:creationId xmlns:a16="http://schemas.microsoft.com/office/drawing/2014/main" id="{D2A8B8C6-1113-4D40-BE84-CF404CD61C19}"/>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44" name="Straight Connector 43">
              <a:extLst>
                <a:ext uri="{FF2B5EF4-FFF2-40B4-BE49-F238E27FC236}">
                  <a16:creationId xmlns:a16="http://schemas.microsoft.com/office/drawing/2014/main" id="{DFA724F7-FF78-4DAD-97F9-3FEED8B1A5A2}"/>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7" name="TextBox 46">
            <a:extLst>
              <a:ext uri="{FF2B5EF4-FFF2-40B4-BE49-F238E27FC236}">
                <a16:creationId xmlns:a16="http://schemas.microsoft.com/office/drawing/2014/main" id="{B1F75D1B-72D1-458E-A66A-7A4B5C34800C}"/>
              </a:ext>
            </a:extLst>
          </p:cNvPr>
          <p:cNvSpPr txBox="1"/>
          <p:nvPr/>
        </p:nvSpPr>
        <p:spPr>
          <a:xfrm>
            <a:off x="752798" y="743519"/>
            <a:ext cx="8198042" cy="646331"/>
          </a:xfrm>
          <a:prstGeom prst="rect">
            <a:avLst/>
          </a:prstGeom>
          <a:noFill/>
        </p:spPr>
        <p:txBody>
          <a:bodyPr wrap="square">
            <a:spAutoFit/>
          </a:bodyPr>
          <a:lstStyle/>
          <a:p>
            <a:r>
              <a:rPr lang="en-US" sz="3600" b="1" dirty="0">
                <a:solidFill>
                  <a:schemeClr val="accent1"/>
                </a:solidFill>
              </a:rPr>
              <a:t>SCD4x: a truly disruptive CO</a:t>
            </a:r>
            <a:r>
              <a:rPr lang="en-US" sz="3600" b="1" baseline="-25000" dirty="0">
                <a:solidFill>
                  <a:schemeClr val="accent1"/>
                </a:solidFill>
              </a:rPr>
              <a:t>2</a:t>
            </a:r>
            <a:r>
              <a:rPr lang="en-US" sz="3600" b="1" dirty="0">
                <a:solidFill>
                  <a:schemeClr val="accent1"/>
                </a:solidFill>
              </a:rPr>
              <a:t> sensor</a:t>
            </a:r>
          </a:p>
        </p:txBody>
      </p:sp>
      <p:grpSp>
        <p:nvGrpSpPr>
          <p:cNvPr id="5" name="Group 4">
            <a:extLst>
              <a:ext uri="{FF2B5EF4-FFF2-40B4-BE49-F238E27FC236}">
                <a16:creationId xmlns:a16="http://schemas.microsoft.com/office/drawing/2014/main" id="{F8D1903F-FEE0-4D93-9601-AA075DF454CB}"/>
              </a:ext>
            </a:extLst>
          </p:cNvPr>
          <p:cNvGrpSpPr/>
          <p:nvPr/>
        </p:nvGrpSpPr>
        <p:grpSpPr>
          <a:xfrm>
            <a:off x="917952" y="2004061"/>
            <a:ext cx="3933867" cy="2838068"/>
            <a:chOff x="1171532" y="2004061"/>
            <a:chExt cx="4328718" cy="2838068"/>
          </a:xfrm>
        </p:grpSpPr>
        <p:sp>
          <p:nvSpPr>
            <p:cNvPr id="27" name="Rectangle: Rounded Corners 49">
              <a:extLst>
                <a:ext uri="{FF2B5EF4-FFF2-40B4-BE49-F238E27FC236}">
                  <a16:creationId xmlns:a16="http://schemas.microsoft.com/office/drawing/2014/main" id="{F7CC4DF0-420A-4C8E-974D-5ECBAE01B8C1}"/>
                </a:ext>
              </a:extLst>
            </p:cNvPr>
            <p:cNvSpPr/>
            <p:nvPr/>
          </p:nvSpPr>
          <p:spPr>
            <a:xfrm>
              <a:off x="1171532" y="2004061"/>
              <a:ext cx="4328718" cy="2838068"/>
            </a:xfrm>
            <a:prstGeom prst="roundRect">
              <a:avLst>
                <a:gd name="adj" fmla="val 3775"/>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B082188-D16A-440B-8210-BABECD4F2527}"/>
                </a:ext>
              </a:extLst>
            </p:cNvPr>
            <p:cNvSpPr/>
            <p:nvPr/>
          </p:nvSpPr>
          <p:spPr>
            <a:xfrm>
              <a:off x="1291323" y="2222194"/>
              <a:ext cx="2795515" cy="535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fontAlgn="auto">
                <a:spcBef>
                  <a:spcPts val="900"/>
                </a:spcBef>
                <a:spcAft>
                  <a:spcPts val="0"/>
                </a:spcAft>
                <a:buSzPct val="100000"/>
                <a:defRPr/>
              </a:pPr>
              <a:r>
                <a:rPr lang="en-US" sz="2400" b="1" dirty="0">
                  <a:solidFill>
                    <a:srgbClr val="000000"/>
                  </a:solidFill>
                  <a:cs typeface="+mn-cs"/>
                </a:rPr>
                <a:t>SCD4x Features </a:t>
              </a:r>
            </a:p>
          </p:txBody>
        </p:sp>
        <p:cxnSp>
          <p:nvCxnSpPr>
            <p:cNvPr id="36" name="Straight Connector 35">
              <a:extLst>
                <a:ext uri="{FF2B5EF4-FFF2-40B4-BE49-F238E27FC236}">
                  <a16:creationId xmlns:a16="http://schemas.microsoft.com/office/drawing/2014/main" id="{EEDC60B2-5416-4C52-973E-4A89001EAFA7}"/>
                </a:ext>
              </a:extLst>
            </p:cNvPr>
            <p:cNvCxnSpPr>
              <a:cxnSpLocks/>
            </p:cNvCxnSpPr>
            <p:nvPr/>
          </p:nvCxnSpPr>
          <p:spPr>
            <a:xfrm>
              <a:off x="1346987" y="2757909"/>
              <a:ext cx="3987013"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2E1C432-2EC9-495A-89A0-955A35AFFF66}"/>
                </a:ext>
              </a:extLst>
            </p:cNvPr>
            <p:cNvSpPr txBox="1"/>
            <p:nvPr/>
          </p:nvSpPr>
          <p:spPr>
            <a:xfrm>
              <a:off x="1291323" y="2919162"/>
              <a:ext cx="3987012" cy="1128514"/>
            </a:xfrm>
            <a:prstGeom prst="rect">
              <a:avLst/>
            </a:prstGeom>
            <a:noFill/>
          </p:spPr>
          <p:txBody>
            <a:bodyPr wrap="square">
              <a:spAutoFit/>
            </a:bodyPr>
            <a:lstStyle/>
            <a:p>
              <a:pPr marL="342900" indent="-342900">
                <a:spcBef>
                  <a:spcPts val="400"/>
                </a:spcBef>
                <a:spcAft>
                  <a:spcPts val="400"/>
                </a:spcAft>
                <a:buFont typeface="Arial" panose="020B0604020202020204" pitchFamily="34" charset="0"/>
                <a:buChar char="•"/>
              </a:pPr>
              <a:r>
                <a:rPr lang="en-US" sz="1800" dirty="0"/>
                <a:t>Smallest CO</a:t>
              </a:r>
              <a:r>
                <a:rPr lang="en-US" sz="1800" baseline="-25000" dirty="0"/>
                <a:t>2</a:t>
              </a:r>
              <a:r>
                <a:rPr lang="en-US" sz="1800" dirty="0"/>
                <a:t> sensor</a:t>
              </a:r>
            </a:p>
            <a:p>
              <a:pPr marL="342900" indent="-342900">
                <a:spcBef>
                  <a:spcPts val="400"/>
                </a:spcBef>
                <a:spcAft>
                  <a:spcPts val="400"/>
                </a:spcAft>
                <a:buFont typeface="Arial" panose="020B0604020202020204" pitchFamily="34" charset="0"/>
                <a:buChar char="•"/>
              </a:pPr>
              <a:r>
                <a:rPr lang="en-US" sz="1800" dirty="0"/>
                <a:t>SMD soldering, tape &amp; reel package</a:t>
              </a:r>
            </a:p>
            <a:p>
              <a:pPr marL="342900" indent="-342900">
                <a:spcBef>
                  <a:spcPts val="400"/>
                </a:spcBef>
                <a:spcAft>
                  <a:spcPts val="400"/>
                </a:spcAft>
                <a:buFont typeface="Arial" panose="020B0604020202020204" pitchFamily="34" charset="0"/>
                <a:buChar char="•"/>
              </a:pPr>
              <a:r>
                <a:rPr lang="en-US" sz="1800" dirty="0"/>
                <a:t>Great sensing performance</a:t>
              </a:r>
            </a:p>
          </p:txBody>
        </p:sp>
      </p:grpSp>
      <p:grpSp>
        <p:nvGrpSpPr>
          <p:cNvPr id="2" name="Group 1">
            <a:extLst>
              <a:ext uri="{FF2B5EF4-FFF2-40B4-BE49-F238E27FC236}">
                <a16:creationId xmlns:a16="http://schemas.microsoft.com/office/drawing/2014/main" id="{A0A99D83-5F93-4806-9635-D494FB6B1D07}"/>
              </a:ext>
            </a:extLst>
          </p:cNvPr>
          <p:cNvGrpSpPr/>
          <p:nvPr/>
        </p:nvGrpSpPr>
        <p:grpSpPr>
          <a:xfrm>
            <a:off x="917952" y="4917092"/>
            <a:ext cx="3933866" cy="1078495"/>
            <a:chOff x="917952" y="4995982"/>
            <a:chExt cx="3933866" cy="1078495"/>
          </a:xfrm>
        </p:grpSpPr>
        <p:sp>
          <p:nvSpPr>
            <p:cNvPr id="67" name="Rectangle: Rounded Corners 66">
              <a:extLst>
                <a:ext uri="{FF2B5EF4-FFF2-40B4-BE49-F238E27FC236}">
                  <a16:creationId xmlns:a16="http://schemas.microsoft.com/office/drawing/2014/main" id="{9982F4B3-8B0C-451A-8DDB-45B7B7ADD4C8}"/>
                </a:ext>
              </a:extLst>
            </p:cNvPr>
            <p:cNvSpPr/>
            <p:nvPr/>
          </p:nvSpPr>
          <p:spPr>
            <a:xfrm>
              <a:off x="917952" y="4995982"/>
              <a:ext cx="3933866" cy="1078495"/>
            </a:xfrm>
            <a:prstGeom prst="roundRect">
              <a:avLst>
                <a:gd name="adj" fmla="val 2852"/>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6298C8CE-4231-4865-81F7-911A679B22D9}"/>
                </a:ext>
              </a:extLst>
            </p:cNvPr>
            <p:cNvSpPr txBox="1"/>
            <p:nvPr/>
          </p:nvSpPr>
          <p:spPr>
            <a:xfrm>
              <a:off x="2187833" y="5212064"/>
              <a:ext cx="2462312" cy="646331"/>
            </a:xfrm>
            <a:prstGeom prst="rect">
              <a:avLst/>
            </a:prstGeom>
            <a:noFill/>
          </p:spPr>
          <p:txBody>
            <a:bodyPr wrap="square">
              <a:spAutoFit/>
            </a:bodyPr>
            <a:lstStyle/>
            <a:p>
              <a:pPr>
                <a:spcBef>
                  <a:spcPts val="0"/>
                </a:spcBef>
                <a:spcAft>
                  <a:spcPts val="300"/>
                </a:spcAft>
                <a:buClr>
                  <a:schemeClr val="tx1"/>
                </a:buClr>
              </a:pPr>
              <a:r>
                <a:rPr lang="en-US" sz="1800" b="1" dirty="0">
                  <a:solidFill>
                    <a:schemeClr val="bg1"/>
                  </a:solidFill>
                </a:rPr>
                <a:t>Highly selective, on-chip RH/T compensation</a:t>
              </a:r>
            </a:p>
          </p:txBody>
        </p:sp>
        <p:grpSp>
          <p:nvGrpSpPr>
            <p:cNvPr id="70" name="Group 69">
              <a:extLst>
                <a:ext uri="{FF2B5EF4-FFF2-40B4-BE49-F238E27FC236}">
                  <a16:creationId xmlns:a16="http://schemas.microsoft.com/office/drawing/2014/main" id="{FF45B00A-E9C4-49CD-A544-859105CF075D}"/>
                </a:ext>
              </a:extLst>
            </p:cNvPr>
            <p:cNvGrpSpPr/>
            <p:nvPr/>
          </p:nvGrpSpPr>
          <p:grpSpPr>
            <a:xfrm>
              <a:off x="1124962" y="5173092"/>
              <a:ext cx="724275" cy="724275"/>
              <a:chOff x="6661431" y="2189755"/>
              <a:chExt cx="640080" cy="640080"/>
            </a:xfrm>
            <a:effectLst>
              <a:outerShdw blurRad="317500" sx="102000" sy="102000" algn="ctr" rotWithShape="0">
                <a:prstClr val="black">
                  <a:alpha val="10000"/>
                </a:prstClr>
              </a:outerShdw>
            </a:effectLst>
          </p:grpSpPr>
          <p:sp>
            <p:nvSpPr>
              <p:cNvPr id="71" name="Oval 70">
                <a:extLst>
                  <a:ext uri="{FF2B5EF4-FFF2-40B4-BE49-F238E27FC236}">
                    <a16:creationId xmlns:a16="http://schemas.microsoft.com/office/drawing/2014/main" id="{532B52E3-C587-476D-93FA-9BE49680EDC4}"/>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DA9CA028-4FD4-4FC3-8E0E-3A21A975F909}"/>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78" name="Picture 77" descr="A picture containing dishware, tableware&#10;&#10;Description automatically generated">
            <a:extLst>
              <a:ext uri="{FF2B5EF4-FFF2-40B4-BE49-F238E27FC236}">
                <a16:creationId xmlns:a16="http://schemas.microsoft.com/office/drawing/2014/main" id="{033F69A4-F6F8-4C01-B91D-7557D1093E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8828" y="3613020"/>
            <a:ext cx="2840898" cy="2109083"/>
          </a:xfrm>
          <a:prstGeom prst="rect">
            <a:avLst/>
          </a:prstGeom>
        </p:spPr>
      </p:pic>
      <p:sp>
        <p:nvSpPr>
          <p:cNvPr id="88" name="TextBox 87">
            <a:extLst>
              <a:ext uri="{FF2B5EF4-FFF2-40B4-BE49-F238E27FC236}">
                <a16:creationId xmlns:a16="http://schemas.microsoft.com/office/drawing/2014/main" id="{AB07C353-A81D-4C09-A4DE-203A78D427EA}"/>
              </a:ext>
            </a:extLst>
          </p:cNvPr>
          <p:cNvSpPr txBox="1"/>
          <p:nvPr/>
        </p:nvSpPr>
        <p:spPr>
          <a:xfrm>
            <a:off x="8130907" y="2702480"/>
            <a:ext cx="3623330" cy="1877437"/>
          </a:xfrm>
          <a:prstGeom prst="rect">
            <a:avLst/>
          </a:prstGeom>
          <a:noFill/>
        </p:spPr>
        <p:txBody>
          <a:bodyPr wrap="square">
            <a:spAutoFit/>
          </a:bodyPr>
          <a:lstStyle/>
          <a:p>
            <a:pPr marL="347472" indent="-342900">
              <a:spcBef>
                <a:spcPts val="400"/>
              </a:spcBef>
              <a:spcAft>
                <a:spcPts val="400"/>
              </a:spcAft>
              <a:buFont typeface="Arial" panose="020B0604020202020204" pitchFamily="34" charset="0"/>
              <a:buChar char="•"/>
            </a:pPr>
            <a:r>
              <a:rPr lang="en-US" sz="1600" dirty="0"/>
              <a:t>Measurement range: </a:t>
            </a:r>
            <a:br>
              <a:rPr lang="en-US" sz="1600" dirty="0"/>
            </a:br>
            <a:r>
              <a:rPr lang="en-US" sz="1600" b="1" dirty="0"/>
              <a:t>0 ppm – 40’000 ppm</a:t>
            </a:r>
          </a:p>
          <a:p>
            <a:pPr marL="347472" indent="-342900">
              <a:spcBef>
                <a:spcPts val="400"/>
              </a:spcBef>
              <a:spcAft>
                <a:spcPts val="0"/>
              </a:spcAft>
              <a:buFont typeface="Arial" panose="020B0604020202020204" pitchFamily="34" charset="0"/>
              <a:buChar char="•"/>
            </a:pPr>
            <a:r>
              <a:rPr lang="en-US" sz="1600" dirty="0"/>
              <a:t>Accuracy:</a:t>
            </a:r>
          </a:p>
          <a:p>
            <a:pPr marL="347472">
              <a:spcBef>
                <a:spcPts val="0"/>
              </a:spcBef>
              <a:spcAft>
                <a:spcPts val="400"/>
              </a:spcAft>
            </a:pPr>
            <a:r>
              <a:rPr lang="en-US" sz="1600" b="1" dirty="0"/>
              <a:t>±(40 ppm + 5%) </a:t>
            </a:r>
          </a:p>
          <a:p>
            <a:pPr marL="347472" indent="-342900">
              <a:spcBef>
                <a:spcPts val="400"/>
              </a:spcBef>
              <a:spcAft>
                <a:spcPts val="400"/>
              </a:spcAft>
              <a:buFont typeface="Arial" panose="020B0604020202020204" pitchFamily="34" charset="0"/>
              <a:buChar char="•"/>
            </a:pPr>
            <a:r>
              <a:rPr lang="en-US" sz="1600" dirty="0"/>
              <a:t>Fully calibrated and linearized output</a:t>
            </a:r>
          </a:p>
          <a:p>
            <a:pPr marL="347472" indent="-342900">
              <a:spcBef>
                <a:spcPts val="400"/>
              </a:spcBef>
              <a:spcAft>
                <a:spcPts val="400"/>
              </a:spcAft>
              <a:buFont typeface="Arial" panose="020B0604020202020204" pitchFamily="34" charset="0"/>
              <a:buChar char="•"/>
            </a:pPr>
            <a:r>
              <a:rPr lang="en-US" sz="1600" dirty="0"/>
              <a:t>Digital I</a:t>
            </a:r>
            <a:r>
              <a:rPr lang="en-US" sz="1600" baseline="30000" dirty="0"/>
              <a:t>2</a:t>
            </a:r>
            <a:r>
              <a:rPr lang="en-US" sz="1600" dirty="0"/>
              <a:t>C interface</a:t>
            </a:r>
          </a:p>
        </p:txBody>
      </p:sp>
      <p:pic>
        <p:nvPicPr>
          <p:cNvPr id="32" name="Graphic 31">
            <a:extLst>
              <a:ext uri="{FF2B5EF4-FFF2-40B4-BE49-F238E27FC236}">
                <a16:creationId xmlns:a16="http://schemas.microsoft.com/office/drawing/2014/main" id="{A8187335-04C3-4944-9E10-A87AA39154A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8222" y="5261060"/>
            <a:ext cx="390560" cy="390560"/>
          </a:xfrm>
          <a:prstGeom prst="rect">
            <a:avLst/>
          </a:prstGeom>
        </p:spPr>
      </p:pic>
      <p:pic>
        <p:nvPicPr>
          <p:cNvPr id="1028" name="Picture 4" descr="Carbon dioxide - Swyde">
            <a:extLst>
              <a:ext uri="{FF2B5EF4-FFF2-40B4-BE49-F238E27FC236}">
                <a16:creationId xmlns:a16="http://schemas.microsoft.com/office/drawing/2014/main" id="{0388E3CF-2BD4-442F-9A1B-C8C61E8F94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5894851">
            <a:off x="6757955" y="1636378"/>
            <a:ext cx="655030" cy="65503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Carbon dioxide - Swyde">
            <a:extLst>
              <a:ext uri="{FF2B5EF4-FFF2-40B4-BE49-F238E27FC236}">
                <a16:creationId xmlns:a16="http://schemas.microsoft.com/office/drawing/2014/main" id="{2201CD3F-3D18-466E-BEB1-6F81442D050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2572402">
            <a:off x="5781298" y="2016486"/>
            <a:ext cx="1135191" cy="113519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Carbon dioxide - Swyde">
            <a:extLst>
              <a:ext uri="{FF2B5EF4-FFF2-40B4-BE49-F238E27FC236}">
                <a16:creationId xmlns:a16="http://schemas.microsoft.com/office/drawing/2014/main" id="{CF3BD36C-C9AF-44C2-A160-FBDEE092CDA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29774" y="3240290"/>
            <a:ext cx="432313" cy="43231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Carbon dioxide - Swyde">
            <a:extLst>
              <a:ext uri="{FF2B5EF4-FFF2-40B4-BE49-F238E27FC236}">
                <a16:creationId xmlns:a16="http://schemas.microsoft.com/office/drawing/2014/main" id="{37B6BC57-73E4-46B0-9BBE-96D1F9889B0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8196829">
            <a:off x="6839252" y="2619940"/>
            <a:ext cx="959830" cy="95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518062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B5D90D4C-AB07-4E8E-88C4-1BEF54A2EF38}"/>
              </a:ext>
            </a:extLst>
          </p:cNvPr>
          <p:cNvSpPr/>
          <p:nvPr/>
        </p:nvSpPr>
        <p:spPr>
          <a:xfrm>
            <a:off x="-104186"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81F0FA3C-949F-4866-8D87-F4BC988DCDD3}"/>
              </a:ext>
            </a:extLst>
          </p:cNvPr>
          <p:cNvSpPr/>
          <p:nvPr/>
        </p:nvSpPr>
        <p:spPr>
          <a:xfrm>
            <a:off x="5168900" y="3200400"/>
            <a:ext cx="2838068" cy="2838068"/>
          </a:xfrm>
          <a:prstGeom prst="ellipse">
            <a:avLst/>
          </a:prstGeom>
          <a:gradFill flip="none" rotWithShape="1">
            <a:gsLst>
              <a:gs pos="44000">
                <a:schemeClr val="bg1"/>
              </a:gs>
              <a:gs pos="83000">
                <a:schemeClr val="accent1">
                  <a:lumMod val="45000"/>
                  <a:lumOff val="55000"/>
                </a:schemeClr>
              </a:gs>
              <a:gs pos="100000">
                <a:schemeClr val="accent1">
                  <a:lumMod val="30000"/>
                  <a:lumOff val="70000"/>
                </a:schemeClr>
              </a:gs>
            </a:gsLst>
            <a:lin ang="17400000" scaled="0"/>
            <a:tileRect/>
          </a:gra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AutoShape 2" descr="Formaldehyde Sensirion">
            <a:extLst>
              <a:ext uri="{FF2B5EF4-FFF2-40B4-BE49-F238E27FC236}">
                <a16:creationId xmlns:a16="http://schemas.microsoft.com/office/drawing/2014/main" id="{C5AFDDF9-E43C-48BB-AA01-3329FA148B56}"/>
              </a:ext>
            </a:extLst>
          </p:cNvPr>
          <p:cNvSpPr>
            <a:spLocks noChangeAspect="1" noChangeArrowheads="1"/>
          </p:cNvSpPr>
          <p:nvPr/>
        </p:nvSpPr>
        <p:spPr bwMode="auto">
          <a:xfrm>
            <a:off x="-1710777" y="236670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nvGrpSpPr>
          <p:cNvPr id="42" name="Group 41">
            <a:extLst>
              <a:ext uri="{FF2B5EF4-FFF2-40B4-BE49-F238E27FC236}">
                <a16:creationId xmlns:a16="http://schemas.microsoft.com/office/drawing/2014/main" id="{280350FB-0BEF-4932-A562-80D6257F0A38}"/>
              </a:ext>
            </a:extLst>
          </p:cNvPr>
          <p:cNvGrpSpPr/>
          <p:nvPr/>
        </p:nvGrpSpPr>
        <p:grpSpPr>
          <a:xfrm>
            <a:off x="839769" y="6387669"/>
            <a:ext cx="5150521" cy="235359"/>
            <a:chOff x="839769" y="6387669"/>
            <a:chExt cx="5150521" cy="235359"/>
          </a:xfrm>
        </p:grpSpPr>
        <p:grpSp>
          <p:nvGrpSpPr>
            <p:cNvPr id="43" name="Gruppierung 1">
              <a:extLst>
                <a:ext uri="{FF2B5EF4-FFF2-40B4-BE49-F238E27FC236}">
                  <a16:creationId xmlns:a16="http://schemas.microsoft.com/office/drawing/2014/main" id="{8E97F148-A765-464B-92DF-9AF45ABA8AD0}"/>
                </a:ext>
              </a:extLst>
            </p:cNvPr>
            <p:cNvGrpSpPr/>
            <p:nvPr/>
          </p:nvGrpSpPr>
          <p:grpSpPr>
            <a:xfrm>
              <a:off x="839769" y="6387669"/>
              <a:ext cx="5150521" cy="235359"/>
              <a:chOff x="839769" y="6369739"/>
              <a:chExt cx="5150521" cy="235359"/>
            </a:xfrm>
          </p:grpSpPr>
          <p:sp>
            <p:nvSpPr>
              <p:cNvPr id="45" name="Fußzeilenplatzhalter 4">
                <a:extLst>
                  <a:ext uri="{FF2B5EF4-FFF2-40B4-BE49-F238E27FC236}">
                    <a16:creationId xmlns:a16="http://schemas.microsoft.com/office/drawing/2014/main" id="{F5450457-7C44-44AE-9C3A-EF423A77C8BE}"/>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46" name="Fußzeilenplatzhalter 4">
                <a:extLst>
                  <a:ext uri="{FF2B5EF4-FFF2-40B4-BE49-F238E27FC236}">
                    <a16:creationId xmlns:a16="http://schemas.microsoft.com/office/drawing/2014/main" id="{D2A8B8C6-1113-4D40-BE84-CF404CD61C19}"/>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44" name="Straight Connector 43">
              <a:extLst>
                <a:ext uri="{FF2B5EF4-FFF2-40B4-BE49-F238E27FC236}">
                  <a16:creationId xmlns:a16="http://schemas.microsoft.com/office/drawing/2014/main" id="{DFA724F7-FF78-4DAD-97F9-3FEED8B1A5A2}"/>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7" name="TextBox 46">
            <a:extLst>
              <a:ext uri="{FF2B5EF4-FFF2-40B4-BE49-F238E27FC236}">
                <a16:creationId xmlns:a16="http://schemas.microsoft.com/office/drawing/2014/main" id="{B1F75D1B-72D1-458E-A66A-7A4B5C34800C}"/>
              </a:ext>
            </a:extLst>
          </p:cNvPr>
          <p:cNvSpPr txBox="1"/>
          <p:nvPr/>
        </p:nvSpPr>
        <p:spPr>
          <a:xfrm>
            <a:off x="752798" y="743519"/>
            <a:ext cx="8198042" cy="646331"/>
          </a:xfrm>
          <a:prstGeom prst="rect">
            <a:avLst/>
          </a:prstGeom>
          <a:noFill/>
        </p:spPr>
        <p:txBody>
          <a:bodyPr wrap="square">
            <a:spAutoFit/>
          </a:bodyPr>
          <a:lstStyle/>
          <a:p>
            <a:r>
              <a:rPr lang="en-US" sz="3600" b="1" dirty="0">
                <a:solidFill>
                  <a:schemeClr val="accent1"/>
                </a:solidFill>
              </a:rPr>
              <a:t>SCD4x: a truly disruptive CO</a:t>
            </a:r>
            <a:r>
              <a:rPr lang="en-US" sz="3600" b="1" baseline="-25000" dirty="0">
                <a:solidFill>
                  <a:schemeClr val="accent1"/>
                </a:solidFill>
              </a:rPr>
              <a:t>2</a:t>
            </a:r>
            <a:r>
              <a:rPr lang="en-US" sz="3600" b="1" dirty="0">
                <a:solidFill>
                  <a:schemeClr val="accent1"/>
                </a:solidFill>
              </a:rPr>
              <a:t> sensor</a:t>
            </a:r>
          </a:p>
        </p:txBody>
      </p:sp>
      <p:sp>
        <p:nvSpPr>
          <p:cNvPr id="48" name="object 11">
            <a:extLst>
              <a:ext uri="{FF2B5EF4-FFF2-40B4-BE49-F238E27FC236}">
                <a16:creationId xmlns:a16="http://schemas.microsoft.com/office/drawing/2014/main" id="{4202EF42-14C1-C642-A41A-0A2764337F59}"/>
              </a:ext>
            </a:extLst>
          </p:cNvPr>
          <p:cNvSpPr/>
          <p:nvPr/>
        </p:nvSpPr>
        <p:spPr>
          <a:xfrm>
            <a:off x="9858579" y="6415912"/>
            <a:ext cx="1493634" cy="145006"/>
          </a:xfrm>
          <a:custGeom>
            <a:avLst/>
            <a:gdLst/>
            <a:ahLst/>
            <a:cxnLst/>
            <a:rect l="l" t="t" r="r" b="b"/>
            <a:pathLst>
              <a:path w="3917950" h="380364">
                <a:moveTo>
                  <a:pt x="438912" y="7175"/>
                </a:moveTo>
                <a:lnTo>
                  <a:pt x="170980" y="7175"/>
                </a:lnTo>
                <a:lnTo>
                  <a:pt x="108643" y="11199"/>
                </a:lnTo>
                <a:lnTo>
                  <a:pt x="60671" y="23721"/>
                </a:lnTo>
                <a:lnTo>
                  <a:pt x="26769" y="45421"/>
                </a:lnTo>
                <a:lnTo>
                  <a:pt x="6643" y="76975"/>
                </a:lnTo>
                <a:lnTo>
                  <a:pt x="0" y="119062"/>
                </a:lnTo>
                <a:lnTo>
                  <a:pt x="6182" y="158120"/>
                </a:lnTo>
                <a:lnTo>
                  <a:pt x="25034" y="187643"/>
                </a:lnTo>
                <a:lnTo>
                  <a:pt x="57011" y="208121"/>
                </a:lnTo>
                <a:lnTo>
                  <a:pt x="102570" y="220047"/>
                </a:lnTo>
                <a:lnTo>
                  <a:pt x="162166" y="223913"/>
                </a:lnTo>
                <a:lnTo>
                  <a:pt x="282905" y="223913"/>
                </a:lnTo>
                <a:lnTo>
                  <a:pt x="315141" y="225930"/>
                </a:lnTo>
                <a:lnTo>
                  <a:pt x="337769" y="232808"/>
                </a:lnTo>
                <a:lnTo>
                  <a:pt x="351110" y="245789"/>
                </a:lnTo>
                <a:lnTo>
                  <a:pt x="355485" y="266115"/>
                </a:lnTo>
                <a:lnTo>
                  <a:pt x="350716" y="285891"/>
                </a:lnTo>
                <a:lnTo>
                  <a:pt x="336151" y="298589"/>
                </a:lnTo>
                <a:lnTo>
                  <a:pt x="311406" y="305363"/>
                </a:lnTo>
                <a:lnTo>
                  <a:pt x="276098" y="307365"/>
                </a:lnTo>
                <a:lnTo>
                  <a:pt x="19685" y="307365"/>
                </a:lnTo>
                <a:lnTo>
                  <a:pt x="19685" y="372478"/>
                </a:lnTo>
                <a:lnTo>
                  <a:pt x="292392" y="372478"/>
                </a:lnTo>
                <a:lnTo>
                  <a:pt x="354386" y="368478"/>
                </a:lnTo>
                <a:lnTo>
                  <a:pt x="402148" y="356103"/>
                </a:lnTo>
                <a:lnTo>
                  <a:pt x="435941" y="334789"/>
                </a:lnTo>
                <a:lnTo>
                  <a:pt x="456024" y="303973"/>
                </a:lnTo>
                <a:lnTo>
                  <a:pt x="462661" y="263093"/>
                </a:lnTo>
                <a:lnTo>
                  <a:pt x="456924" y="223039"/>
                </a:lnTo>
                <a:lnTo>
                  <a:pt x="439237" y="193765"/>
                </a:lnTo>
                <a:lnTo>
                  <a:pt x="408886" y="174192"/>
                </a:lnTo>
                <a:lnTo>
                  <a:pt x="365154" y="163240"/>
                </a:lnTo>
                <a:lnTo>
                  <a:pt x="307327" y="159829"/>
                </a:lnTo>
                <a:lnTo>
                  <a:pt x="171653" y="159829"/>
                </a:lnTo>
                <a:lnTo>
                  <a:pt x="143558" y="157344"/>
                </a:lnTo>
                <a:lnTo>
                  <a:pt x="123405" y="149890"/>
                </a:lnTo>
                <a:lnTo>
                  <a:pt x="111263" y="137471"/>
                </a:lnTo>
                <a:lnTo>
                  <a:pt x="107200" y="120091"/>
                </a:lnTo>
                <a:lnTo>
                  <a:pt x="111961" y="98466"/>
                </a:lnTo>
                <a:lnTo>
                  <a:pt x="126452" y="83607"/>
                </a:lnTo>
                <a:lnTo>
                  <a:pt x="150990" y="75039"/>
                </a:lnTo>
                <a:lnTo>
                  <a:pt x="185889" y="72288"/>
                </a:lnTo>
                <a:lnTo>
                  <a:pt x="438912" y="72288"/>
                </a:lnTo>
                <a:lnTo>
                  <a:pt x="438912" y="7175"/>
                </a:lnTo>
                <a:close/>
              </a:path>
              <a:path w="3917950" h="380364">
                <a:moveTo>
                  <a:pt x="908342" y="7175"/>
                </a:moveTo>
                <a:lnTo>
                  <a:pt x="738060" y="7175"/>
                </a:lnTo>
                <a:lnTo>
                  <a:pt x="676022" y="10877"/>
                </a:lnTo>
                <a:lnTo>
                  <a:pt x="624082" y="22091"/>
                </a:lnTo>
                <a:lnTo>
                  <a:pt x="582038" y="40976"/>
                </a:lnTo>
                <a:lnTo>
                  <a:pt x="549688" y="67694"/>
                </a:lnTo>
                <a:lnTo>
                  <a:pt x="526831" y="102404"/>
                </a:lnTo>
                <a:lnTo>
                  <a:pt x="513264" y="145267"/>
                </a:lnTo>
                <a:lnTo>
                  <a:pt x="508787" y="196443"/>
                </a:lnTo>
                <a:lnTo>
                  <a:pt x="513385" y="242623"/>
                </a:lnTo>
                <a:lnTo>
                  <a:pt x="527267" y="281979"/>
                </a:lnTo>
                <a:lnTo>
                  <a:pt x="550562" y="314556"/>
                </a:lnTo>
                <a:lnTo>
                  <a:pt x="583399" y="340398"/>
                </a:lnTo>
                <a:lnTo>
                  <a:pt x="618874" y="357422"/>
                </a:lnTo>
                <a:lnTo>
                  <a:pt x="693386" y="371469"/>
                </a:lnTo>
                <a:lnTo>
                  <a:pt x="735355" y="372478"/>
                </a:lnTo>
                <a:lnTo>
                  <a:pt x="908342" y="372478"/>
                </a:lnTo>
                <a:lnTo>
                  <a:pt x="908342" y="308876"/>
                </a:lnTo>
                <a:lnTo>
                  <a:pt x="740117" y="308876"/>
                </a:lnTo>
                <a:lnTo>
                  <a:pt x="688027" y="304111"/>
                </a:lnTo>
                <a:lnTo>
                  <a:pt x="652094" y="288707"/>
                </a:lnTo>
                <a:lnTo>
                  <a:pt x="631172" y="261004"/>
                </a:lnTo>
                <a:lnTo>
                  <a:pt x="624116" y="219341"/>
                </a:lnTo>
                <a:lnTo>
                  <a:pt x="908342" y="219341"/>
                </a:lnTo>
                <a:lnTo>
                  <a:pt x="908342" y="155778"/>
                </a:lnTo>
                <a:lnTo>
                  <a:pt x="624789" y="155778"/>
                </a:lnTo>
                <a:lnTo>
                  <a:pt x="634126" y="118225"/>
                </a:lnTo>
                <a:lnTo>
                  <a:pt x="656250" y="91703"/>
                </a:lnTo>
                <a:lnTo>
                  <a:pt x="691476" y="75968"/>
                </a:lnTo>
                <a:lnTo>
                  <a:pt x="740117" y="70777"/>
                </a:lnTo>
                <a:lnTo>
                  <a:pt x="908342" y="70777"/>
                </a:lnTo>
                <a:lnTo>
                  <a:pt x="908342" y="7175"/>
                </a:lnTo>
                <a:close/>
              </a:path>
              <a:path w="3917950" h="380364">
                <a:moveTo>
                  <a:pt x="1127442" y="7175"/>
                </a:moveTo>
                <a:lnTo>
                  <a:pt x="997877" y="7175"/>
                </a:lnTo>
                <a:lnTo>
                  <a:pt x="997877" y="372478"/>
                </a:lnTo>
                <a:lnTo>
                  <a:pt x="1098511" y="373087"/>
                </a:lnTo>
                <a:lnTo>
                  <a:pt x="1098245" y="96189"/>
                </a:lnTo>
                <a:lnTo>
                  <a:pt x="1195059" y="96189"/>
                </a:lnTo>
                <a:lnTo>
                  <a:pt x="1127442" y="7175"/>
                </a:lnTo>
                <a:close/>
              </a:path>
              <a:path w="3917950" h="380364">
                <a:moveTo>
                  <a:pt x="1195059" y="96189"/>
                </a:moveTo>
                <a:lnTo>
                  <a:pt x="1098245" y="96189"/>
                </a:lnTo>
                <a:lnTo>
                  <a:pt x="1307884" y="372478"/>
                </a:lnTo>
                <a:lnTo>
                  <a:pt x="1426603" y="372478"/>
                </a:lnTo>
                <a:lnTo>
                  <a:pt x="1426721" y="269697"/>
                </a:lnTo>
                <a:lnTo>
                  <a:pt x="1326857" y="269697"/>
                </a:lnTo>
                <a:lnTo>
                  <a:pt x="1195059" y="96189"/>
                </a:lnTo>
                <a:close/>
              </a:path>
              <a:path w="3917950" h="380364">
                <a:moveTo>
                  <a:pt x="1427022" y="5727"/>
                </a:moveTo>
                <a:lnTo>
                  <a:pt x="1327162" y="6235"/>
                </a:lnTo>
                <a:lnTo>
                  <a:pt x="1326857" y="269697"/>
                </a:lnTo>
                <a:lnTo>
                  <a:pt x="1426721" y="269697"/>
                </a:lnTo>
                <a:lnTo>
                  <a:pt x="1427022" y="5727"/>
                </a:lnTo>
                <a:close/>
              </a:path>
              <a:path w="3917950" h="380364">
                <a:moveTo>
                  <a:pt x="1937397" y="7175"/>
                </a:moveTo>
                <a:lnTo>
                  <a:pt x="1669414" y="7175"/>
                </a:lnTo>
                <a:lnTo>
                  <a:pt x="1607102" y="11199"/>
                </a:lnTo>
                <a:lnTo>
                  <a:pt x="1559141" y="23721"/>
                </a:lnTo>
                <a:lnTo>
                  <a:pt x="1525243" y="45421"/>
                </a:lnTo>
                <a:lnTo>
                  <a:pt x="1505117" y="76975"/>
                </a:lnTo>
                <a:lnTo>
                  <a:pt x="1498473" y="119062"/>
                </a:lnTo>
                <a:lnTo>
                  <a:pt x="1504655" y="158120"/>
                </a:lnTo>
                <a:lnTo>
                  <a:pt x="1523505" y="187643"/>
                </a:lnTo>
                <a:lnTo>
                  <a:pt x="1555476" y="208121"/>
                </a:lnTo>
                <a:lnTo>
                  <a:pt x="1601023" y="220047"/>
                </a:lnTo>
                <a:lnTo>
                  <a:pt x="1660601" y="223913"/>
                </a:lnTo>
                <a:lnTo>
                  <a:pt x="1781365" y="223913"/>
                </a:lnTo>
                <a:lnTo>
                  <a:pt x="1813585" y="225930"/>
                </a:lnTo>
                <a:lnTo>
                  <a:pt x="1836215" y="232808"/>
                </a:lnTo>
                <a:lnTo>
                  <a:pt x="1849565" y="245789"/>
                </a:lnTo>
                <a:lnTo>
                  <a:pt x="1853945" y="266115"/>
                </a:lnTo>
                <a:lnTo>
                  <a:pt x="1849175" y="285891"/>
                </a:lnTo>
                <a:lnTo>
                  <a:pt x="1834610" y="298589"/>
                </a:lnTo>
                <a:lnTo>
                  <a:pt x="1809872" y="305363"/>
                </a:lnTo>
                <a:lnTo>
                  <a:pt x="1774583" y="307365"/>
                </a:lnTo>
                <a:lnTo>
                  <a:pt x="1518145" y="307365"/>
                </a:lnTo>
                <a:lnTo>
                  <a:pt x="1518145" y="372478"/>
                </a:lnTo>
                <a:lnTo>
                  <a:pt x="1790865" y="372478"/>
                </a:lnTo>
                <a:lnTo>
                  <a:pt x="1852857" y="368478"/>
                </a:lnTo>
                <a:lnTo>
                  <a:pt x="1900617" y="356103"/>
                </a:lnTo>
                <a:lnTo>
                  <a:pt x="1934405" y="334789"/>
                </a:lnTo>
                <a:lnTo>
                  <a:pt x="1954486" y="303973"/>
                </a:lnTo>
                <a:lnTo>
                  <a:pt x="1961121" y="263093"/>
                </a:lnTo>
                <a:lnTo>
                  <a:pt x="1955387" y="223039"/>
                </a:lnTo>
                <a:lnTo>
                  <a:pt x="1937705" y="193765"/>
                </a:lnTo>
                <a:lnTo>
                  <a:pt x="1907357" y="174192"/>
                </a:lnTo>
                <a:lnTo>
                  <a:pt x="1863624" y="163240"/>
                </a:lnTo>
                <a:lnTo>
                  <a:pt x="1805787" y="159829"/>
                </a:lnTo>
                <a:lnTo>
                  <a:pt x="1670100" y="159829"/>
                </a:lnTo>
                <a:lnTo>
                  <a:pt x="1642012" y="157344"/>
                </a:lnTo>
                <a:lnTo>
                  <a:pt x="1621872" y="149890"/>
                </a:lnTo>
                <a:lnTo>
                  <a:pt x="1609743" y="137471"/>
                </a:lnTo>
                <a:lnTo>
                  <a:pt x="1605686" y="120091"/>
                </a:lnTo>
                <a:lnTo>
                  <a:pt x="1610440" y="98466"/>
                </a:lnTo>
                <a:lnTo>
                  <a:pt x="1624917" y="83607"/>
                </a:lnTo>
                <a:lnTo>
                  <a:pt x="1649438" y="75039"/>
                </a:lnTo>
                <a:lnTo>
                  <a:pt x="1684324" y="72288"/>
                </a:lnTo>
                <a:lnTo>
                  <a:pt x="1937397" y="72288"/>
                </a:lnTo>
                <a:lnTo>
                  <a:pt x="1937397" y="7175"/>
                </a:lnTo>
                <a:close/>
              </a:path>
              <a:path w="3917950" h="380364">
                <a:moveTo>
                  <a:pt x="2145626" y="7175"/>
                </a:moveTo>
                <a:lnTo>
                  <a:pt x="2038477" y="7175"/>
                </a:lnTo>
                <a:lnTo>
                  <a:pt x="2038477" y="372478"/>
                </a:lnTo>
                <a:lnTo>
                  <a:pt x="2145626" y="372478"/>
                </a:lnTo>
                <a:lnTo>
                  <a:pt x="2145626" y="7175"/>
                </a:lnTo>
                <a:close/>
              </a:path>
              <a:path w="3917950" h="380364">
                <a:moveTo>
                  <a:pt x="2499055" y="7175"/>
                </a:moveTo>
                <a:lnTo>
                  <a:pt x="2246642" y="7175"/>
                </a:lnTo>
                <a:lnTo>
                  <a:pt x="2246642" y="372478"/>
                </a:lnTo>
                <a:lnTo>
                  <a:pt x="2349144" y="372478"/>
                </a:lnTo>
                <a:lnTo>
                  <a:pt x="2349144" y="229019"/>
                </a:lnTo>
                <a:lnTo>
                  <a:pt x="2578237" y="229019"/>
                </a:lnTo>
                <a:lnTo>
                  <a:pt x="2570924" y="219824"/>
                </a:lnTo>
                <a:lnTo>
                  <a:pt x="2612925" y="207406"/>
                </a:lnTo>
                <a:lnTo>
                  <a:pt x="2643787" y="185796"/>
                </a:lnTo>
                <a:lnTo>
                  <a:pt x="2657236" y="164388"/>
                </a:lnTo>
                <a:lnTo>
                  <a:pt x="2349144" y="164388"/>
                </a:lnTo>
                <a:lnTo>
                  <a:pt x="2349144" y="72288"/>
                </a:lnTo>
                <a:lnTo>
                  <a:pt x="2660169" y="72288"/>
                </a:lnTo>
                <a:lnTo>
                  <a:pt x="2642577" y="45198"/>
                </a:lnTo>
                <a:lnTo>
                  <a:pt x="2608779" y="23733"/>
                </a:lnTo>
                <a:lnTo>
                  <a:pt x="2561023" y="11229"/>
                </a:lnTo>
                <a:lnTo>
                  <a:pt x="2499055" y="7175"/>
                </a:lnTo>
                <a:close/>
              </a:path>
              <a:path w="3917950" h="380364">
                <a:moveTo>
                  <a:pt x="2578237" y="229019"/>
                </a:moveTo>
                <a:lnTo>
                  <a:pt x="2469908" y="229019"/>
                </a:lnTo>
                <a:lnTo>
                  <a:pt x="2577045" y="372478"/>
                </a:lnTo>
                <a:lnTo>
                  <a:pt x="2692336" y="372478"/>
                </a:lnTo>
                <a:lnTo>
                  <a:pt x="2578237" y="229019"/>
                </a:lnTo>
                <a:close/>
              </a:path>
              <a:path w="3917950" h="380364">
                <a:moveTo>
                  <a:pt x="2660169" y="72288"/>
                </a:moveTo>
                <a:lnTo>
                  <a:pt x="2474607" y="72288"/>
                </a:lnTo>
                <a:lnTo>
                  <a:pt x="2514574" y="74154"/>
                </a:lnTo>
                <a:lnTo>
                  <a:pt x="2542965" y="81086"/>
                </a:lnTo>
                <a:lnTo>
                  <a:pt x="2559907" y="95080"/>
                </a:lnTo>
                <a:lnTo>
                  <a:pt x="2565527" y="118135"/>
                </a:lnTo>
                <a:lnTo>
                  <a:pt x="2559907" y="140996"/>
                </a:lnTo>
                <a:lnTo>
                  <a:pt x="2542965" y="155159"/>
                </a:lnTo>
                <a:lnTo>
                  <a:pt x="2514574" y="162373"/>
                </a:lnTo>
                <a:lnTo>
                  <a:pt x="2474607" y="164388"/>
                </a:lnTo>
                <a:lnTo>
                  <a:pt x="2657236" y="164388"/>
                </a:lnTo>
                <a:lnTo>
                  <a:pt x="2662814" y="155510"/>
                </a:lnTo>
                <a:lnTo>
                  <a:pt x="2669311" y="117068"/>
                </a:lnTo>
                <a:lnTo>
                  <a:pt x="2662670" y="76139"/>
                </a:lnTo>
                <a:lnTo>
                  <a:pt x="2660169" y="72288"/>
                </a:lnTo>
                <a:close/>
              </a:path>
              <a:path w="3917950" h="380364">
                <a:moveTo>
                  <a:pt x="2863354" y="7175"/>
                </a:moveTo>
                <a:lnTo>
                  <a:pt x="2756103" y="7175"/>
                </a:lnTo>
                <a:lnTo>
                  <a:pt x="2756103" y="372478"/>
                </a:lnTo>
                <a:lnTo>
                  <a:pt x="2863354" y="372478"/>
                </a:lnTo>
                <a:lnTo>
                  <a:pt x="2863354" y="7175"/>
                </a:lnTo>
                <a:close/>
              </a:path>
              <a:path w="3917950" h="380364">
                <a:moveTo>
                  <a:pt x="3176003" y="0"/>
                </a:moveTo>
                <a:lnTo>
                  <a:pt x="3118606" y="2856"/>
                </a:lnTo>
                <a:lnTo>
                  <a:pt x="3069116" y="11432"/>
                </a:lnTo>
                <a:lnTo>
                  <a:pt x="3027357" y="25802"/>
                </a:lnTo>
                <a:lnTo>
                  <a:pt x="2993315" y="46010"/>
                </a:lnTo>
                <a:lnTo>
                  <a:pt x="2948158" y="104150"/>
                </a:lnTo>
                <a:lnTo>
                  <a:pt x="2936934" y="142187"/>
                </a:lnTo>
                <a:lnTo>
                  <a:pt x="2933204" y="186270"/>
                </a:lnTo>
                <a:lnTo>
                  <a:pt x="2936765" y="232712"/>
                </a:lnTo>
                <a:lnTo>
                  <a:pt x="2947580" y="272562"/>
                </a:lnTo>
                <a:lnTo>
                  <a:pt x="2991772" y="332981"/>
                </a:lnTo>
                <a:lnTo>
                  <a:pt x="3025549" y="353796"/>
                </a:lnTo>
                <a:lnTo>
                  <a:pt x="3067380" y="368511"/>
                </a:lnTo>
                <a:lnTo>
                  <a:pt x="3117465" y="377250"/>
                </a:lnTo>
                <a:lnTo>
                  <a:pt x="3176003" y="380136"/>
                </a:lnTo>
                <a:lnTo>
                  <a:pt x="3234011" y="377250"/>
                </a:lnTo>
                <a:lnTo>
                  <a:pt x="3283803" y="368566"/>
                </a:lnTo>
                <a:lnTo>
                  <a:pt x="3325623" y="353982"/>
                </a:lnTo>
                <a:lnTo>
                  <a:pt x="3359557" y="333424"/>
                </a:lnTo>
                <a:lnTo>
                  <a:pt x="3375693" y="317017"/>
                </a:lnTo>
                <a:lnTo>
                  <a:pt x="3176003" y="317017"/>
                </a:lnTo>
                <a:lnTo>
                  <a:pt x="3127238" y="312018"/>
                </a:lnTo>
                <a:lnTo>
                  <a:pt x="3090372" y="296811"/>
                </a:lnTo>
                <a:lnTo>
                  <a:pt x="3064795" y="271077"/>
                </a:lnTo>
                <a:lnTo>
                  <a:pt x="3049896" y="234497"/>
                </a:lnTo>
                <a:lnTo>
                  <a:pt x="3045066" y="186753"/>
                </a:lnTo>
                <a:lnTo>
                  <a:pt x="3050221" y="142009"/>
                </a:lnTo>
                <a:lnTo>
                  <a:pt x="3065768" y="107249"/>
                </a:lnTo>
                <a:lnTo>
                  <a:pt x="3091832" y="82448"/>
                </a:lnTo>
                <a:lnTo>
                  <a:pt x="3128535" y="67585"/>
                </a:lnTo>
                <a:lnTo>
                  <a:pt x="3176003" y="62636"/>
                </a:lnTo>
                <a:lnTo>
                  <a:pt x="3375529" y="62636"/>
                </a:lnTo>
                <a:lnTo>
                  <a:pt x="3359557" y="46453"/>
                </a:lnTo>
                <a:lnTo>
                  <a:pt x="3325623" y="25989"/>
                </a:lnTo>
                <a:lnTo>
                  <a:pt x="3283803" y="11488"/>
                </a:lnTo>
                <a:lnTo>
                  <a:pt x="3233971" y="2856"/>
                </a:lnTo>
                <a:lnTo>
                  <a:pt x="3176003" y="0"/>
                </a:lnTo>
                <a:close/>
              </a:path>
              <a:path w="3917950" h="380364">
                <a:moveTo>
                  <a:pt x="3375529" y="62636"/>
                </a:moveTo>
                <a:lnTo>
                  <a:pt x="3176003" y="62636"/>
                </a:lnTo>
                <a:lnTo>
                  <a:pt x="3224355" y="67610"/>
                </a:lnTo>
                <a:lnTo>
                  <a:pt x="3261327" y="82644"/>
                </a:lnTo>
                <a:lnTo>
                  <a:pt x="3287284" y="107910"/>
                </a:lnTo>
                <a:lnTo>
                  <a:pt x="3302592" y="143576"/>
                </a:lnTo>
                <a:lnTo>
                  <a:pt x="3307613" y="189814"/>
                </a:lnTo>
                <a:lnTo>
                  <a:pt x="3302592" y="236064"/>
                </a:lnTo>
                <a:lnTo>
                  <a:pt x="3287284" y="271738"/>
                </a:lnTo>
                <a:lnTo>
                  <a:pt x="3261327" y="297007"/>
                </a:lnTo>
                <a:lnTo>
                  <a:pt x="3224355" y="312043"/>
                </a:lnTo>
                <a:lnTo>
                  <a:pt x="3176003" y="317017"/>
                </a:lnTo>
                <a:lnTo>
                  <a:pt x="3375693" y="317017"/>
                </a:lnTo>
                <a:lnTo>
                  <a:pt x="3385732" y="306809"/>
                </a:lnTo>
                <a:lnTo>
                  <a:pt x="3404272" y="274057"/>
                </a:lnTo>
                <a:lnTo>
                  <a:pt x="3415304" y="235085"/>
                </a:lnTo>
                <a:lnTo>
                  <a:pt x="3418954" y="189814"/>
                </a:lnTo>
                <a:lnTo>
                  <a:pt x="3415304" y="144560"/>
                </a:lnTo>
                <a:lnTo>
                  <a:pt x="3404272" y="105645"/>
                </a:lnTo>
                <a:lnTo>
                  <a:pt x="3385732" y="72974"/>
                </a:lnTo>
                <a:lnTo>
                  <a:pt x="3375529" y="62636"/>
                </a:lnTo>
                <a:close/>
              </a:path>
              <a:path w="3917950" h="380364">
                <a:moveTo>
                  <a:pt x="3618318" y="7175"/>
                </a:moveTo>
                <a:lnTo>
                  <a:pt x="3488740" y="7175"/>
                </a:lnTo>
                <a:lnTo>
                  <a:pt x="3488740" y="372478"/>
                </a:lnTo>
                <a:lnTo>
                  <a:pt x="3589439" y="372478"/>
                </a:lnTo>
                <a:lnTo>
                  <a:pt x="3589147" y="96189"/>
                </a:lnTo>
                <a:lnTo>
                  <a:pt x="3685939" y="96189"/>
                </a:lnTo>
                <a:lnTo>
                  <a:pt x="3618318" y="7175"/>
                </a:lnTo>
                <a:close/>
              </a:path>
              <a:path w="3917950" h="380364">
                <a:moveTo>
                  <a:pt x="3685939" y="96189"/>
                </a:moveTo>
                <a:lnTo>
                  <a:pt x="3589147" y="96189"/>
                </a:lnTo>
                <a:lnTo>
                  <a:pt x="3798773" y="372478"/>
                </a:lnTo>
                <a:lnTo>
                  <a:pt x="3917480" y="372478"/>
                </a:lnTo>
                <a:lnTo>
                  <a:pt x="3917480" y="269697"/>
                </a:lnTo>
                <a:lnTo>
                  <a:pt x="3817747" y="269697"/>
                </a:lnTo>
                <a:lnTo>
                  <a:pt x="3685939" y="96189"/>
                </a:lnTo>
                <a:close/>
              </a:path>
              <a:path w="3917950" h="380364">
                <a:moveTo>
                  <a:pt x="3917480" y="7175"/>
                </a:moveTo>
                <a:lnTo>
                  <a:pt x="3817454" y="7175"/>
                </a:lnTo>
                <a:lnTo>
                  <a:pt x="3817747" y="269697"/>
                </a:lnTo>
                <a:lnTo>
                  <a:pt x="3917480" y="269697"/>
                </a:lnTo>
                <a:lnTo>
                  <a:pt x="3917480" y="7175"/>
                </a:lnTo>
                <a:close/>
              </a:path>
            </a:pathLst>
          </a:custGeom>
          <a:solidFill>
            <a:srgbClr val="66CC33"/>
          </a:solidFill>
        </p:spPr>
        <p:txBody>
          <a:bodyPr wrap="square" lIns="0" tIns="0" rIns="0" bIns="0" rtlCol="0"/>
          <a:lstStyle/>
          <a:p>
            <a:endParaRPr lang="de-CH"/>
          </a:p>
        </p:txBody>
      </p:sp>
      <p:grpSp>
        <p:nvGrpSpPr>
          <p:cNvPr id="5" name="Group 4">
            <a:extLst>
              <a:ext uri="{FF2B5EF4-FFF2-40B4-BE49-F238E27FC236}">
                <a16:creationId xmlns:a16="http://schemas.microsoft.com/office/drawing/2014/main" id="{F8D1903F-FEE0-4D93-9601-AA075DF454CB}"/>
              </a:ext>
            </a:extLst>
          </p:cNvPr>
          <p:cNvGrpSpPr/>
          <p:nvPr/>
        </p:nvGrpSpPr>
        <p:grpSpPr>
          <a:xfrm>
            <a:off x="917952" y="2004061"/>
            <a:ext cx="3933867" cy="2838068"/>
            <a:chOff x="1171532" y="2004061"/>
            <a:chExt cx="4328718" cy="2838068"/>
          </a:xfrm>
        </p:grpSpPr>
        <p:sp>
          <p:nvSpPr>
            <p:cNvPr id="27" name="Rectangle: Rounded Corners 49">
              <a:extLst>
                <a:ext uri="{FF2B5EF4-FFF2-40B4-BE49-F238E27FC236}">
                  <a16:creationId xmlns:a16="http://schemas.microsoft.com/office/drawing/2014/main" id="{F7CC4DF0-420A-4C8E-974D-5ECBAE01B8C1}"/>
                </a:ext>
              </a:extLst>
            </p:cNvPr>
            <p:cNvSpPr/>
            <p:nvPr/>
          </p:nvSpPr>
          <p:spPr>
            <a:xfrm>
              <a:off x="1171532" y="2004061"/>
              <a:ext cx="4328718" cy="2838068"/>
            </a:xfrm>
            <a:prstGeom prst="roundRect">
              <a:avLst>
                <a:gd name="adj" fmla="val 3775"/>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B082188-D16A-440B-8210-BABECD4F2527}"/>
                </a:ext>
              </a:extLst>
            </p:cNvPr>
            <p:cNvSpPr/>
            <p:nvPr/>
          </p:nvSpPr>
          <p:spPr>
            <a:xfrm>
              <a:off x="1291323" y="2222194"/>
              <a:ext cx="2795515" cy="535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fontAlgn="auto">
                <a:spcBef>
                  <a:spcPts val="900"/>
                </a:spcBef>
                <a:spcAft>
                  <a:spcPts val="0"/>
                </a:spcAft>
                <a:buSzPct val="100000"/>
                <a:defRPr/>
              </a:pPr>
              <a:r>
                <a:rPr lang="en-US" sz="2400" b="1">
                  <a:solidFill>
                    <a:srgbClr val="000000"/>
                  </a:solidFill>
                  <a:cs typeface="+mn-cs"/>
                </a:rPr>
                <a:t>SCD4x Features </a:t>
              </a:r>
              <a:endParaRPr lang="en-US" sz="2400" b="1" dirty="0">
                <a:solidFill>
                  <a:srgbClr val="000000"/>
                </a:solidFill>
                <a:cs typeface="+mn-cs"/>
              </a:endParaRPr>
            </a:p>
          </p:txBody>
        </p:sp>
        <p:cxnSp>
          <p:nvCxnSpPr>
            <p:cNvPr id="36" name="Straight Connector 35">
              <a:extLst>
                <a:ext uri="{FF2B5EF4-FFF2-40B4-BE49-F238E27FC236}">
                  <a16:creationId xmlns:a16="http://schemas.microsoft.com/office/drawing/2014/main" id="{EEDC60B2-5416-4C52-973E-4A89001EAFA7}"/>
                </a:ext>
              </a:extLst>
            </p:cNvPr>
            <p:cNvCxnSpPr>
              <a:cxnSpLocks/>
            </p:cNvCxnSpPr>
            <p:nvPr/>
          </p:nvCxnSpPr>
          <p:spPr>
            <a:xfrm>
              <a:off x="1346987" y="2757909"/>
              <a:ext cx="3987013"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2E1C432-2EC9-495A-89A0-955A35AFFF66}"/>
                </a:ext>
              </a:extLst>
            </p:cNvPr>
            <p:cNvSpPr txBox="1"/>
            <p:nvPr/>
          </p:nvSpPr>
          <p:spPr>
            <a:xfrm>
              <a:off x="1291323" y="2919162"/>
              <a:ext cx="3987012" cy="1887696"/>
            </a:xfrm>
            <a:prstGeom prst="rect">
              <a:avLst/>
            </a:prstGeom>
            <a:noFill/>
          </p:spPr>
          <p:txBody>
            <a:bodyPr wrap="square">
              <a:spAutoFit/>
            </a:bodyPr>
            <a:lstStyle/>
            <a:p>
              <a:pPr marL="342900" indent="-342900">
                <a:spcBef>
                  <a:spcPts val="400"/>
                </a:spcBef>
                <a:spcAft>
                  <a:spcPts val="400"/>
                </a:spcAft>
                <a:buFont typeface="Arial" panose="020B0604020202020204" pitchFamily="34" charset="0"/>
                <a:buChar char="•"/>
              </a:pPr>
              <a:r>
                <a:rPr lang="en-US" sz="1800" dirty="0"/>
                <a:t>Smallest CO</a:t>
              </a:r>
              <a:r>
                <a:rPr lang="en-US" sz="1800" baseline="-25000" dirty="0"/>
                <a:t>2</a:t>
              </a:r>
              <a:r>
                <a:rPr lang="en-US" sz="1800" dirty="0"/>
                <a:t> sensor</a:t>
              </a:r>
            </a:p>
            <a:p>
              <a:pPr marL="342900" indent="-342900">
                <a:spcBef>
                  <a:spcPts val="400"/>
                </a:spcBef>
                <a:spcAft>
                  <a:spcPts val="400"/>
                </a:spcAft>
                <a:buFont typeface="Arial" panose="020B0604020202020204" pitchFamily="34" charset="0"/>
                <a:buChar char="•"/>
              </a:pPr>
              <a:r>
                <a:rPr lang="en-US" sz="1800" dirty="0"/>
                <a:t>SMD soldering, tape &amp; reel package</a:t>
              </a:r>
            </a:p>
            <a:p>
              <a:pPr marL="342900" indent="-342900">
                <a:spcBef>
                  <a:spcPts val="400"/>
                </a:spcBef>
                <a:spcAft>
                  <a:spcPts val="400"/>
                </a:spcAft>
                <a:buFont typeface="Arial" panose="020B0604020202020204" pitchFamily="34" charset="0"/>
                <a:buChar char="•"/>
              </a:pPr>
              <a:r>
                <a:rPr lang="en-US" sz="1800" dirty="0"/>
                <a:t>Great sensing performance</a:t>
              </a:r>
            </a:p>
            <a:p>
              <a:pPr marL="342900" indent="-342900">
                <a:spcBef>
                  <a:spcPts val="400"/>
                </a:spcBef>
                <a:spcAft>
                  <a:spcPts val="400"/>
                </a:spcAft>
                <a:buFont typeface="Arial" panose="020B0604020202020204" pitchFamily="34" charset="0"/>
                <a:buChar char="•"/>
              </a:pPr>
              <a:r>
                <a:rPr lang="en-US" sz="1800" dirty="0"/>
                <a:t>Unmatched sensor robustness</a:t>
              </a:r>
            </a:p>
            <a:p>
              <a:pPr marL="342900" indent="-342900">
                <a:spcBef>
                  <a:spcPts val="400"/>
                </a:spcBef>
                <a:spcAft>
                  <a:spcPts val="400"/>
                </a:spcAft>
                <a:buFont typeface="Arial" panose="020B0604020202020204" pitchFamily="34" charset="0"/>
                <a:buChar char="•"/>
              </a:pPr>
              <a:endParaRPr lang="en-US" sz="1800" dirty="0"/>
            </a:p>
          </p:txBody>
        </p:sp>
      </p:grpSp>
      <p:grpSp>
        <p:nvGrpSpPr>
          <p:cNvPr id="2" name="Group 1">
            <a:extLst>
              <a:ext uri="{FF2B5EF4-FFF2-40B4-BE49-F238E27FC236}">
                <a16:creationId xmlns:a16="http://schemas.microsoft.com/office/drawing/2014/main" id="{A0A99D83-5F93-4806-9635-D494FB6B1D07}"/>
              </a:ext>
            </a:extLst>
          </p:cNvPr>
          <p:cNvGrpSpPr/>
          <p:nvPr/>
        </p:nvGrpSpPr>
        <p:grpSpPr>
          <a:xfrm>
            <a:off x="917952" y="4917092"/>
            <a:ext cx="3933866" cy="1078495"/>
            <a:chOff x="917952" y="4995982"/>
            <a:chExt cx="3933866" cy="1078495"/>
          </a:xfrm>
        </p:grpSpPr>
        <p:sp>
          <p:nvSpPr>
            <p:cNvPr id="67" name="Rectangle: Rounded Corners 66">
              <a:extLst>
                <a:ext uri="{FF2B5EF4-FFF2-40B4-BE49-F238E27FC236}">
                  <a16:creationId xmlns:a16="http://schemas.microsoft.com/office/drawing/2014/main" id="{9982F4B3-8B0C-451A-8DDB-45B7B7ADD4C8}"/>
                </a:ext>
              </a:extLst>
            </p:cNvPr>
            <p:cNvSpPr/>
            <p:nvPr/>
          </p:nvSpPr>
          <p:spPr>
            <a:xfrm>
              <a:off x="917952" y="4995982"/>
              <a:ext cx="3933866" cy="1078495"/>
            </a:xfrm>
            <a:prstGeom prst="roundRect">
              <a:avLst>
                <a:gd name="adj" fmla="val 2852"/>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6298C8CE-4231-4865-81F7-911A679B22D9}"/>
                </a:ext>
              </a:extLst>
            </p:cNvPr>
            <p:cNvSpPr txBox="1"/>
            <p:nvPr/>
          </p:nvSpPr>
          <p:spPr>
            <a:xfrm>
              <a:off x="2210442" y="5065144"/>
              <a:ext cx="2439704" cy="923330"/>
            </a:xfrm>
            <a:prstGeom prst="rect">
              <a:avLst/>
            </a:prstGeom>
            <a:noFill/>
          </p:spPr>
          <p:txBody>
            <a:bodyPr wrap="square">
              <a:spAutoFit/>
            </a:bodyPr>
            <a:lstStyle/>
            <a:p>
              <a:pPr>
                <a:spcBef>
                  <a:spcPts val="0"/>
                </a:spcBef>
                <a:spcAft>
                  <a:spcPts val="300"/>
                </a:spcAft>
                <a:buClr>
                  <a:schemeClr val="tx1"/>
                </a:buClr>
              </a:pPr>
              <a:r>
                <a:rPr lang="en-US" sz="1800" b="1" dirty="0">
                  <a:solidFill>
                    <a:schemeClr val="bg1"/>
                  </a:solidFill>
                </a:rPr>
                <a:t>Robust against mechanical stress, condensation and dust</a:t>
              </a:r>
            </a:p>
          </p:txBody>
        </p:sp>
        <p:grpSp>
          <p:nvGrpSpPr>
            <p:cNvPr id="70" name="Group 69">
              <a:extLst>
                <a:ext uri="{FF2B5EF4-FFF2-40B4-BE49-F238E27FC236}">
                  <a16:creationId xmlns:a16="http://schemas.microsoft.com/office/drawing/2014/main" id="{FF45B00A-E9C4-49CD-A544-859105CF075D}"/>
                </a:ext>
              </a:extLst>
            </p:cNvPr>
            <p:cNvGrpSpPr/>
            <p:nvPr/>
          </p:nvGrpSpPr>
          <p:grpSpPr>
            <a:xfrm>
              <a:off x="1124962" y="5173092"/>
              <a:ext cx="724275" cy="724275"/>
              <a:chOff x="6661431" y="2189755"/>
              <a:chExt cx="640080" cy="640080"/>
            </a:xfrm>
            <a:effectLst>
              <a:outerShdw blurRad="317500" sx="102000" sy="102000" algn="ctr" rotWithShape="0">
                <a:prstClr val="black">
                  <a:alpha val="10000"/>
                </a:prstClr>
              </a:outerShdw>
            </a:effectLst>
          </p:grpSpPr>
          <p:sp>
            <p:nvSpPr>
              <p:cNvPr id="71" name="Oval 70">
                <a:extLst>
                  <a:ext uri="{FF2B5EF4-FFF2-40B4-BE49-F238E27FC236}">
                    <a16:creationId xmlns:a16="http://schemas.microsoft.com/office/drawing/2014/main" id="{532B52E3-C587-476D-93FA-9BE49680EDC4}"/>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DA9CA028-4FD4-4FC3-8E0E-3A21A975F909}"/>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78" name="Picture 77" descr="A picture containing dishware, tableware&#10;&#10;Description automatically generated">
            <a:extLst>
              <a:ext uri="{FF2B5EF4-FFF2-40B4-BE49-F238E27FC236}">
                <a16:creationId xmlns:a16="http://schemas.microsoft.com/office/drawing/2014/main" id="{033F69A4-F6F8-4C01-B91D-7557D1093E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8828" y="3613020"/>
            <a:ext cx="2840898" cy="2109083"/>
          </a:xfrm>
          <a:prstGeom prst="rect">
            <a:avLst/>
          </a:prstGeom>
        </p:spPr>
      </p:pic>
      <p:pic>
        <p:nvPicPr>
          <p:cNvPr id="32" name="Graphic 31">
            <a:extLst>
              <a:ext uri="{FF2B5EF4-FFF2-40B4-BE49-F238E27FC236}">
                <a16:creationId xmlns:a16="http://schemas.microsoft.com/office/drawing/2014/main" id="{C729C731-B0EB-4C26-93AE-6717079B01E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22485" y="1940533"/>
            <a:ext cx="3035553" cy="1821332"/>
          </a:xfrm>
          <a:prstGeom prst="rect">
            <a:avLst/>
          </a:prstGeom>
        </p:spPr>
      </p:pic>
      <p:pic>
        <p:nvPicPr>
          <p:cNvPr id="6" name="Graphic 5">
            <a:extLst>
              <a:ext uri="{FF2B5EF4-FFF2-40B4-BE49-F238E27FC236}">
                <a16:creationId xmlns:a16="http://schemas.microsoft.com/office/drawing/2014/main" id="{A059E60F-5F1A-436F-8583-E7537465956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8916141">
            <a:off x="5531220" y="2071333"/>
            <a:ext cx="1840169" cy="1319947"/>
          </a:xfrm>
          <a:prstGeom prst="rect">
            <a:avLst/>
          </a:prstGeom>
        </p:spPr>
      </p:pic>
      <p:pic>
        <p:nvPicPr>
          <p:cNvPr id="10" name="Graphic 9">
            <a:extLst>
              <a:ext uri="{FF2B5EF4-FFF2-40B4-BE49-F238E27FC236}">
                <a16:creationId xmlns:a16="http://schemas.microsoft.com/office/drawing/2014/main" id="{12F0EB68-900C-4410-BBC9-EB06D7E582F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888047">
            <a:off x="7204773" y="3105765"/>
            <a:ext cx="1166850" cy="700110"/>
          </a:xfrm>
          <a:prstGeom prst="rect">
            <a:avLst/>
          </a:prstGeom>
        </p:spPr>
      </p:pic>
      <p:pic>
        <p:nvPicPr>
          <p:cNvPr id="39" name="Graphic 38">
            <a:extLst>
              <a:ext uri="{FF2B5EF4-FFF2-40B4-BE49-F238E27FC236}">
                <a16:creationId xmlns:a16="http://schemas.microsoft.com/office/drawing/2014/main" id="{95E2FA05-A949-4FD8-9570-CE9FE15B03B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06081" y="5266417"/>
            <a:ext cx="379845" cy="379845"/>
          </a:xfrm>
          <a:prstGeom prst="rect">
            <a:avLst/>
          </a:prstGeom>
        </p:spPr>
      </p:pic>
    </p:spTree>
    <p:extLst>
      <p:ext uri="{BB962C8B-B14F-4D97-AF65-F5344CB8AC3E}">
        <p14:creationId xmlns:p14="http://schemas.microsoft.com/office/powerpoint/2010/main" val="8018625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B5D90D4C-AB07-4E8E-88C4-1BEF54A2EF38}"/>
              </a:ext>
            </a:extLst>
          </p:cNvPr>
          <p:cNvSpPr/>
          <p:nvPr/>
        </p:nvSpPr>
        <p:spPr>
          <a:xfrm>
            <a:off x="-104186"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aphic 17">
            <a:extLst>
              <a:ext uri="{FF2B5EF4-FFF2-40B4-BE49-F238E27FC236}">
                <a16:creationId xmlns:a16="http://schemas.microsoft.com/office/drawing/2014/main" id="{8675D717-5EF4-4AC2-A0AE-9F443031F88B}"/>
              </a:ext>
            </a:extLst>
          </p:cNvPr>
          <p:cNvGrpSpPr/>
          <p:nvPr/>
        </p:nvGrpSpPr>
        <p:grpSpPr>
          <a:xfrm>
            <a:off x="4553067" y="3697914"/>
            <a:ext cx="4201544" cy="2335207"/>
            <a:chOff x="-960120" y="-985823"/>
            <a:chExt cx="1917756" cy="1917756"/>
          </a:xfrm>
          <a:gradFill flip="none" rotWithShape="1">
            <a:gsLst>
              <a:gs pos="0">
                <a:schemeClr val="accent1">
                  <a:lumMod val="20000"/>
                  <a:lumOff val="80000"/>
                </a:schemeClr>
              </a:gs>
              <a:gs pos="50000">
                <a:schemeClr val="accent1">
                  <a:lumMod val="20000"/>
                  <a:lumOff val="80000"/>
                  <a:alpha val="25000"/>
                </a:schemeClr>
              </a:gs>
              <a:gs pos="100000">
                <a:schemeClr val="accent1">
                  <a:lumMod val="20000"/>
                  <a:lumOff val="80000"/>
                  <a:alpha val="0"/>
                </a:schemeClr>
              </a:gs>
            </a:gsLst>
            <a:lin ang="13500000" scaled="1"/>
            <a:tileRect/>
          </a:gradFill>
        </p:grpSpPr>
        <p:sp>
          <p:nvSpPr>
            <p:cNvPr id="40" name="Freeform: Shape 39">
              <a:extLst>
                <a:ext uri="{FF2B5EF4-FFF2-40B4-BE49-F238E27FC236}">
                  <a16:creationId xmlns:a16="http://schemas.microsoft.com/office/drawing/2014/main" id="{25BC64AC-766C-4A60-9446-CFAF0CA09CF8}"/>
                </a:ext>
              </a:extLst>
            </p:cNvPr>
            <p:cNvSpPr/>
            <p:nvPr/>
          </p:nvSpPr>
          <p:spPr>
            <a:xfrm>
              <a:off x="589315" y="-783039"/>
              <a:ext cx="88562" cy="77802"/>
            </a:xfrm>
            <a:custGeom>
              <a:avLst/>
              <a:gdLst>
                <a:gd name="connsiteX0" fmla="*/ 0 w 88562"/>
                <a:gd name="connsiteY0" fmla="*/ 0 h 77802"/>
                <a:gd name="connsiteX1" fmla="*/ 88563 w 88562"/>
                <a:gd name="connsiteY1" fmla="*/ 77803 h 77802"/>
                <a:gd name="connsiteX2" fmla="*/ 0 w 88562"/>
                <a:gd name="connsiteY2" fmla="*/ 0 h 77802"/>
              </a:gdLst>
              <a:ahLst/>
              <a:cxnLst>
                <a:cxn ang="0">
                  <a:pos x="connsiteX0" y="connsiteY0"/>
                </a:cxn>
                <a:cxn ang="0">
                  <a:pos x="connsiteX1" y="connsiteY1"/>
                </a:cxn>
                <a:cxn ang="0">
                  <a:pos x="connsiteX2" y="connsiteY2"/>
                </a:cxn>
              </a:cxnLst>
              <a:rect l="l" t="t" r="r" b="b"/>
              <a:pathLst>
                <a:path w="88562" h="77802">
                  <a:moveTo>
                    <a:pt x="0" y="0"/>
                  </a:moveTo>
                  <a:cubicBezTo>
                    <a:pt x="30624" y="24003"/>
                    <a:pt x="60421" y="50489"/>
                    <a:pt x="88563" y="77803"/>
                  </a:cubicBezTo>
                  <a:cubicBezTo>
                    <a:pt x="60421" y="50489"/>
                    <a:pt x="30624" y="24003"/>
                    <a:pt x="0" y="0"/>
                  </a:cubicBezTo>
                  <a:close/>
                </a:path>
              </a:pathLst>
            </a:custGeom>
            <a:grpFill/>
            <a:ln w="8252"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2B372B7-C08C-42CD-8F50-F07AA951FD49}"/>
                </a:ext>
              </a:extLst>
            </p:cNvPr>
            <p:cNvSpPr/>
            <p:nvPr/>
          </p:nvSpPr>
          <p:spPr>
            <a:xfrm>
              <a:off x="-960120" y="-985823"/>
              <a:ext cx="1917756" cy="1917756"/>
            </a:xfrm>
            <a:custGeom>
              <a:avLst/>
              <a:gdLst>
                <a:gd name="connsiteX0" fmla="*/ 1844920 w 1917756"/>
                <a:gd name="connsiteY0" fmla="*/ 1325131 h 1917756"/>
                <a:gd name="connsiteX1" fmla="*/ 1637170 w 1917756"/>
                <a:gd name="connsiteY1" fmla="*/ 1635515 h 1917756"/>
                <a:gd name="connsiteX2" fmla="*/ 1325959 w 1917756"/>
                <a:gd name="connsiteY2" fmla="*/ 1843265 h 1917756"/>
                <a:gd name="connsiteX3" fmla="*/ 959292 w 1917756"/>
                <a:gd name="connsiteY3" fmla="*/ 1916102 h 1917756"/>
                <a:gd name="connsiteX4" fmla="*/ 592626 w 1917756"/>
                <a:gd name="connsiteY4" fmla="*/ 1843265 h 1917756"/>
                <a:gd name="connsiteX5" fmla="*/ 282242 w 1917756"/>
                <a:gd name="connsiteY5" fmla="*/ 1635515 h 1917756"/>
                <a:gd name="connsiteX6" fmla="*/ 74492 w 1917756"/>
                <a:gd name="connsiteY6" fmla="*/ 1325131 h 1917756"/>
                <a:gd name="connsiteX7" fmla="*/ 1655 w 1917756"/>
                <a:gd name="connsiteY7" fmla="*/ 958465 h 1917756"/>
                <a:gd name="connsiteX8" fmla="*/ 74492 w 1917756"/>
                <a:gd name="connsiteY8" fmla="*/ 591798 h 1917756"/>
                <a:gd name="connsiteX9" fmla="*/ 282242 w 1917756"/>
                <a:gd name="connsiteY9" fmla="*/ 281414 h 1917756"/>
                <a:gd name="connsiteX10" fmla="*/ 592626 w 1917756"/>
                <a:gd name="connsiteY10" fmla="*/ 73664 h 1917756"/>
                <a:gd name="connsiteX11" fmla="*/ 959292 w 1917756"/>
                <a:gd name="connsiteY11" fmla="*/ 828 h 1917756"/>
                <a:gd name="connsiteX12" fmla="*/ 1325959 w 1917756"/>
                <a:gd name="connsiteY12" fmla="*/ 73664 h 1917756"/>
                <a:gd name="connsiteX13" fmla="*/ 1548607 w 1917756"/>
                <a:gd name="connsiteY13" fmla="*/ 203612 h 1917756"/>
                <a:gd name="connsiteX14" fmla="*/ 1325959 w 1917756"/>
                <a:gd name="connsiteY14" fmla="*/ 73664 h 1917756"/>
                <a:gd name="connsiteX15" fmla="*/ 959292 w 1917756"/>
                <a:gd name="connsiteY15" fmla="*/ 0 h 1917756"/>
                <a:gd name="connsiteX16" fmla="*/ 592626 w 1917756"/>
                <a:gd name="connsiteY16" fmla="*/ 72837 h 1917756"/>
                <a:gd name="connsiteX17" fmla="*/ 281414 w 1917756"/>
                <a:gd name="connsiteY17" fmla="*/ 280587 h 1917756"/>
                <a:gd name="connsiteX18" fmla="*/ 72837 w 1917756"/>
                <a:gd name="connsiteY18" fmla="*/ 591798 h 1917756"/>
                <a:gd name="connsiteX19" fmla="*/ 0 w 1917756"/>
                <a:gd name="connsiteY19" fmla="*/ 958465 h 1917756"/>
                <a:gd name="connsiteX20" fmla="*/ 72837 w 1917756"/>
                <a:gd name="connsiteY20" fmla="*/ 1325959 h 1917756"/>
                <a:gd name="connsiteX21" fmla="*/ 280587 w 1917756"/>
                <a:gd name="connsiteY21" fmla="*/ 1637170 h 1917756"/>
                <a:gd name="connsiteX22" fmla="*/ 591798 w 1917756"/>
                <a:gd name="connsiteY22" fmla="*/ 1844920 h 1917756"/>
                <a:gd name="connsiteX23" fmla="*/ 959292 w 1917756"/>
                <a:gd name="connsiteY23" fmla="*/ 1917757 h 1917756"/>
                <a:gd name="connsiteX24" fmla="*/ 1326787 w 1917756"/>
                <a:gd name="connsiteY24" fmla="*/ 1844920 h 1917756"/>
                <a:gd name="connsiteX25" fmla="*/ 1637998 w 1917756"/>
                <a:gd name="connsiteY25" fmla="*/ 1637170 h 1917756"/>
                <a:gd name="connsiteX26" fmla="*/ 1844920 w 1917756"/>
                <a:gd name="connsiteY26" fmla="*/ 1325131 h 1917756"/>
                <a:gd name="connsiteX27" fmla="*/ 1917757 w 1917756"/>
                <a:gd name="connsiteY27" fmla="*/ 958465 h 1917756"/>
                <a:gd name="connsiteX28" fmla="*/ 1844920 w 1917756"/>
                <a:gd name="connsiteY28" fmla="*/ 1325131 h 191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17756" h="1917756">
                  <a:moveTo>
                    <a:pt x="1844920" y="1325131"/>
                  </a:moveTo>
                  <a:cubicBezTo>
                    <a:pt x="1796914" y="1441008"/>
                    <a:pt x="1725733" y="1546952"/>
                    <a:pt x="1637170" y="1635515"/>
                  </a:cubicBezTo>
                  <a:cubicBezTo>
                    <a:pt x="1548607" y="1724078"/>
                    <a:pt x="1441835" y="1795259"/>
                    <a:pt x="1325959" y="1843265"/>
                  </a:cubicBezTo>
                  <a:cubicBezTo>
                    <a:pt x="1210082" y="1891271"/>
                    <a:pt x="1085101" y="1916102"/>
                    <a:pt x="959292" y="1916102"/>
                  </a:cubicBezTo>
                  <a:cubicBezTo>
                    <a:pt x="834311" y="1916102"/>
                    <a:pt x="708502" y="1891271"/>
                    <a:pt x="592626" y="1843265"/>
                  </a:cubicBezTo>
                  <a:cubicBezTo>
                    <a:pt x="476749" y="1795259"/>
                    <a:pt x="370805" y="1724078"/>
                    <a:pt x="282242" y="1635515"/>
                  </a:cubicBezTo>
                  <a:cubicBezTo>
                    <a:pt x="193679" y="1546952"/>
                    <a:pt x="122498" y="1441008"/>
                    <a:pt x="74492" y="1325131"/>
                  </a:cubicBezTo>
                  <a:cubicBezTo>
                    <a:pt x="26486" y="1209255"/>
                    <a:pt x="1655" y="1084274"/>
                    <a:pt x="1655" y="958465"/>
                  </a:cubicBezTo>
                  <a:cubicBezTo>
                    <a:pt x="1655" y="833483"/>
                    <a:pt x="26486" y="707675"/>
                    <a:pt x="74492" y="591798"/>
                  </a:cubicBezTo>
                  <a:cubicBezTo>
                    <a:pt x="122498" y="475922"/>
                    <a:pt x="193679" y="369977"/>
                    <a:pt x="282242" y="281414"/>
                  </a:cubicBezTo>
                  <a:cubicBezTo>
                    <a:pt x="370805" y="192852"/>
                    <a:pt x="476749" y="121670"/>
                    <a:pt x="592626" y="73664"/>
                  </a:cubicBezTo>
                  <a:cubicBezTo>
                    <a:pt x="708502" y="25658"/>
                    <a:pt x="833483" y="828"/>
                    <a:pt x="959292" y="828"/>
                  </a:cubicBezTo>
                  <a:cubicBezTo>
                    <a:pt x="1085101" y="828"/>
                    <a:pt x="1210082" y="25658"/>
                    <a:pt x="1325959" y="73664"/>
                  </a:cubicBezTo>
                  <a:cubicBezTo>
                    <a:pt x="1405417" y="106772"/>
                    <a:pt x="1480737" y="150640"/>
                    <a:pt x="1548607" y="203612"/>
                  </a:cubicBezTo>
                  <a:cubicBezTo>
                    <a:pt x="1480737" y="150640"/>
                    <a:pt x="1405417" y="106772"/>
                    <a:pt x="1325959" y="73664"/>
                  </a:cubicBezTo>
                  <a:cubicBezTo>
                    <a:pt x="1210082" y="24831"/>
                    <a:pt x="1085101" y="0"/>
                    <a:pt x="959292" y="0"/>
                  </a:cubicBezTo>
                  <a:cubicBezTo>
                    <a:pt x="833483" y="0"/>
                    <a:pt x="708502" y="24831"/>
                    <a:pt x="592626" y="72837"/>
                  </a:cubicBezTo>
                  <a:cubicBezTo>
                    <a:pt x="476749" y="120843"/>
                    <a:pt x="369977" y="192024"/>
                    <a:pt x="281414" y="280587"/>
                  </a:cubicBezTo>
                  <a:cubicBezTo>
                    <a:pt x="192024" y="369150"/>
                    <a:pt x="120843" y="475094"/>
                    <a:pt x="72837" y="591798"/>
                  </a:cubicBezTo>
                  <a:cubicBezTo>
                    <a:pt x="24831" y="707675"/>
                    <a:pt x="0" y="832656"/>
                    <a:pt x="0" y="958465"/>
                  </a:cubicBezTo>
                  <a:cubicBezTo>
                    <a:pt x="0" y="1084274"/>
                    <a:pt x="24831" y="1210082"/>
                    <a:pt x="72837" y="1325959"/>
                  </a:cubicBezTo>
                  <a:cubicBezTo>
                    <a:pt x="120843" y="1441835"/>
                    <a:pt x="192024" y="1548607"/>
                    <a:pt x="280587" y="1637170"/>
                  </a:cubicBezTo>
                  <a:cubicBezTo>
                    <a:pt x="369150" y="1725733"/>
                    <a:pt x="475922" y="1796914"/>
                    <a:pt x="591798" y="1844920"/>
                  </a:cubicBezTo>
                  <a:cubicBezTo>
                    <a:pt x="707675" y="1892926"/>
                    <a:pt x="833483" y="1917757"/>
                    <a:pt x="959292" y="1917757"/>
                  </a:cubicBezTo>
                  <a:cubicBezTo>
                    <a:pt x="1085101" y="1917757"/>
                    <a:pt x="1210082" y="1892926"/>
                    <a:pt x="1326787" y="1844920"/>
                  </a:cubicBezTo>
                  <a:cubicBezTo>
                    <a:pt x="1442663" y="1796914"/>
                    <a:pt x="1549435" y="1725733"/>
                    <a:pt x="1637998" y="1637170"/>
                  </a:cubicBezTo>
                  <a:cubicBezTo>
                    <a:pt x="1726561" y="1547780"/>
                    <a:pt x="1796914" y="1441835"/>
                    <a:pt x="1844920" y="1325131"/>
                  </a:cubicBezTo>
                  <a:cubicBezTo>
                    <a:pt x="1892926" y="1209255"/>
                    <a:pt x="1917757" y="1083446"/>
                    <a:pt x="1917757" y="958465"/>
                  </a:cubicBezTo>
                  <a:cubicBezTo>
                    <a:pt x="1917757" y="1084274"/>
                    <a:pt x="1892926" y="1209255"/>
                    <a:pt x="1844920" y="1325131"/>
                  </a:cubicBezTo>
                  <a:close/>
                </a:path>
              </a:pathLst>
            </a:custGeom>
            <a:grpFill/>
            <a:ln w="8252"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4C2FDB15-6B2E-4EF7-B78F-15DE869D7C77}"/>
                </a:ext>
              </a:extLst>
            </p:cNvPr>
            <p:cNvSpPr/>
            <p:nvPr/>
          </p:nvSpPr>
          <p:spPr>
            <a:xfrm>
              <a:off x="-903009" y="-928712"/>
              <a:ext cx="1802708" cy="1804363"/>
            </a:xfrm>
            <a:custGeom>
              <a:avLst/>
              <a:gdLst>
                <a:gd name="connsiteX0" fmla="*/ 1539503 w 1802708"/>
                <a:gd name="connsiteY0" fmla="*/ 264033 h 1804363"/>
                <a:gd name="connsiteX1" fmla="*/ 1247328 w 1802708"/>
                <a:gd name="connsiteY1" fmla="*/ 68698 h 1804363"/>
                <a:gd name="connsiteX2" fmla="*/ 902182 w 1802708"/>
                <a:gd name="connsiteY2" fmla="*/ 0 h 1804363"/>
                <a:gd name="connsiteX3" fmla="*/ 557035 w 1802708"/>
                <a:gd name="connsiteY3" fmla="*/ 68698 h 1804363"/>
                <a:gd name="connsiteX4" fmla="*/ 264033 w 1802708"/>
                <a:gd name="connsiteY4" fmla="*/ 263205 h 1804363"/>
                <a:gd name="connsiteX5" fmla="*/ 68698 w 1802708"/>
                <a:gd name="connsiteY5" fmla="*/ 556207 h 1804363"/>
                <a:gd name="connsiteX6" fmla="*/ 0 w 1802708"/>
                <a:gd name="connsiteY6" fmla="*/ 901354 h 1804363"/>
                <a:gd name="connsiteX7" fmla="*/ 68698 w 1802708"/>
                <a:gd name="connsiteY7" fmla="*/ 1246501 h 1804363"/>
                <a:gd name="connsiteX8" fmla="*/ 264033 w 1802708"/>
                <a:gd name="connsiteY8" fmla="*/ 1539503 h 1804363"/>
                <a:gd name="connsiteX9" fmla="*/ 557035 w 1802708"/>
                <a:gd name="connsiteY9" fmla="*/ 1735665 h 1804363"/>
                <a:gd name="connsiteX10" fmla="*/ 902182 w 1802708"/>
                <a:gd name="connsiteY10" fmla="*/ 1804363 h 1804363"/>
                <a:gd name="connsiteX11" fmla="*/ 1247328 w 1802708"/>
                <a:gd name="connsiteY11" fmla="*/ 1735665 h 1804363"/>
                <a:gd name="connsiteX12" fmla="*/ 1539503 w 1802708"/>
                <a:gd name="connsiteY12" fmla="*/ 1540331 h 1804363"/>
                <a:gd name="connsiteX13" fmla="*/ 1734838 w 1802708"/>
                <a:gd name="connsiteY13" fmla="*/ 1247328 h 1804363"/>
                <a:gd name="connsiteX14" fmla="*/ 1802708 w 1802708"/>
                <a:gd name="connsiteY14" fmla="*/ 902182 h 1804363"/>
                <a:gd name="connsiteX15" fmla="*/ 1734010 w 1802708"/>
                <a:gd name="connsiteY15" fmla="*/ 557035 h 1804363"/>
                <a:gd name="connsiteX16" fmla="*/ 1539503 w 1802708"/>
                <a:gd name="connsiteY16" fmla="*/ 264033 h 1804363"/>
                <a:gd name="connsiteX17" fmla="*/ 1729871 w 1802708"/>
                <a:gd name="connsiteY17" fmla="*/ 1244018 h 1804363"/>
                <a:gd name="connsiteX18" fmla="*/ 1535364 w 1802708"/>
                <a:gd name="connsiteY18" fmla="*/ 1534537 h 1804363"/>
                <a:gd name="connsiteX19" fmla="*/ 1244845 w 1802708"/>
                <a:gd name="connsiteY19" fmla="*/ 1728216 h 1804363"/>
                <a:gd name="connsiteX20" fmla="*/ 902182 w 1802708"/>
                <a:gd name="connsiteY20" fmla="*/ 1796087 h 1804363"/>
                <a:gd name="connsiteX21" fmla="*/ 559518 w 1802708"/>
                <a:gd name="connsiteY21" fmla="*/ 1728216 h 1804363"/>
                <a:gd name="connsiteX22" fmla="*/ 268999 w 1802708"/>
                <a:gd name="connsiteY22" fmla="*/ 1533709 h 1804363"/>
                <a:gd name="connsiteX23" fmla="*/ 75320 w 1802708"/>
                <a:gd name="connsiteY23" fmla="*/ 1243190 h 1804363"/>
                <a:gd name="connsiteX24" fmla="*/ 7449 w 1802708"/>
                <a:gd name="connsiteY24" fmla="*/ 900526 h 1804363"/>
                <a:gd name="connsiteX25" fmla="*/ 75320 w 1802708"/>
                <a:gd name="connsiteY25" fmla="*/ 557863 h 1804363"/>
                <a:gd name="connsiteX26" fmla="*/ 268999 w 1802708"/>
                <a:gd name="connsiteY26" fmla="*/ 267344 h 1804363"/>
                <a:gd name="connsiteX27" fmla="*/ 559518 w 1802708"/>
                <a:gd name="connsiteY27" fmla="*/ 72837 h 1804363"/>
                <a:gd name="connsiteX28" fmla="*/ 902182 w 1802708"/>
                <a:gd name="connsiteY28" fmla="*/ 4966 h 1804363"/>
                <a:gd name="connsiteX29" fmla="*/ 1244845 w 1802708"/>
                <a:gd name="connsiteY29" fmla="*/ 72837 h 1804363"/>
                <a:gd name="connsiteX30" fmla="*/ 1535364 w 1802708"/>
                <a:gd name="connsiteY30" fmla="*/ 266516 h 1804363"/>
                <a:gd name="connsiteX31" fmla="*/ 1729871 w 1802708"/>
                <a:gd name="connsiteY31" fmla="*/ 557035 h 1804363"/>
                <a:gd name="connsiteX32" fmla="*/ 1797742 w 1802708"/>
                <a:gd name="connsiteY32" fmla="*/ 899699 h 1804363"/>
                <a:gd name="connsiteX33" fmla="*/ 1729871 w 1802708"/>
                <a:gd name="connsiteY33" fmla="*/ 1244018 h 180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02708" h="1804363">
                  <a:moveTo>
                    <a:pt x="1539503" y="264033"/>
                  </a:moveTo>
                  <a:cubicBezTo>
                    <a:pt x="1455906" y="180436"/>
                    <a:pt x="1355756" y="113393"/>
                    <a:pt x="1247328" y="68698"/>
                  </a:cubicBezTo>
                  <a:cubicBezTo>
                    <a:pt x="1138073" y="23175"/>
                    <a:pt x="1020541" y="0"/>
                    <a:pt x="902182" y="0"/>
                  </a:cubicBezTo>
                  <a:cubicBezTo>
                    <a:pt x="783822" y="0"/>
                    <a:pt x="666290" y="23175"/>
                    <a:pt x="557035" y="68698"/>
                  </a:cubicBezTo>
                  <a:cubicBezTo>
                    <a:pt x="447780" y="113393"/>
                    <a:pt x="347630" y="180436"/>
                    <a:pt x="264033" y="263205"/>
                  </a:cubicBezTo>
                  <a:cubicBezTo>
                    <a:pt x="180436" y="346802"/>
                    <a:pt x="113393" y="446952"/>
                    <a:pt x="68698" y="556207"/>
                  </a:cubicBezTo>
                  <a:cubicBezTo>
                    <a:pt x="23175" y="665463"/>
                    <a:pt x="0" y="783822"/>
                    <a:pt x="0" y="901354"/>
                  </a:cubicBezTo>
                  <a:cubicBezTo>
                    <a:pt x="0" y="1019714"/>
                    <a:pt x="23175" y="1137246"/>
                    <a:pt x="68698" y="1246501"/>
                  </a:cubicBezTo>
                  <a:cubicBezTo>
                    <a:pt x="113393" y="1355756"/>
                    <a:pt x="181264" y="1455906"/>
                    <a:pt x="264033" y="1539503"/>
                  </a:cubicBezTo>
                  <a:cubicBezTo>
                    <a:pt x="347630" y="1623099"/>
                    <a:pt x="447780" y="1690142"/>
                    <a:pt x="557035" y="1735665"/>
                  </a:cubicBezTo>
                  <a:cubicBezTo>
                    <a:pt x="666290" y="1781188"/>
                    <a:pt x="784650" y="1804363"/>
                    <a:pt x="902182" y="1804363"/>
                  </a:cubicBezTo>
                  <a:cubicBezTo>
                    <a:pt x="1020541" y="1804363"/>
                    <a:pt x="1138073" y="1781188"/>
                    <a:pt x="1247328" y="1735665"/>
                  </a:cubicBezTo>
                  <a:cubicBezTo>
                    <a:pt x="1356583" y="1690142"/>
                    <a:pt x="1456734" y="1623927"/>
                    <a:pt x="1539503" y="1540331"/>
                  </a:cubicBezTo>
                  <a:cubicBezTo>
                    <a:pt x="1623099" y="1456734"/>
                    <a:pt x="1690142" y="1356583"/>
                    <a:pt x="1734838" y="1247328"/>
                  </a:cubicBezTo>
                  <a:cubicBezTo>
                    <a:pt x="1780361" y="1138073"/>
                    <a:pt x="1802708" y="1020541"/>
                    <a:pt x="1802708" y="902182"/>
                  </a:cubicBezTo>
                  <a:cubicBezTo>
                    <a:pt x="1802708" y="783822"/>
                    <a:pt x="1779533" y="666290"/>
                    <a:pt x="1734010" y="557035"/>
                  </a:cubicBezTo>
                  <a:cubicBezTo>
                    <a:pt x="1690142" y="447780"/>
                    <a:pt x="1623099" y="347630"/>
                    <a:pt x="1539503" y="264033"/>
                  </a:cubicBezTo>
                  <a:close/>
                  <a:moveTo>
                    <a:pt x="1729871" y="1244018"/>
                  </a:moveTo>
                  <a:cubicBezTo>
                    <a:pt x="1685176" y="1352445"/>
                    <a:pt x="1618133" y="1451768"/>
                    <a:pt x="1535364" y="1534537"/>
                  </a:cubicBezTo>
                  <a:cubicBezTo>
                    <a:pt x="1452595" y="1617306"/>
                    <a:pt x="1353273" y="1683521"/>
                    <a:pt x="1244845" y="1728216"/>
                  </a:cubicBezTo>
                  <a:cubicBezTo>
                    <a:pt x="1136418" y="1772911"/>
                    <a:pt x="1019714" y="1796087"/>
                    <a:pt x="902182" y="1796087"/>
                  </a:cubicBezTo>
                  <a:cubicBezTo>
                    <a:pt x="784650" y="1796087"/>
                    <a:pt x="667946" y="1772911"/>
                    <a:pt x="559518" y="1728216"/>
                  </a:cubicBezTo>
                  <a:cubicBezTo>
                    <a:pt x="451091" y="1683521"/>
                    <a:pt x="351768" y="1617306"/>
                    <a:pt x="268999" y="1533709"/>
                  </a:cubicBezTo>
                  <a:cubicBezTo>
                    <a:pt x="186230" y="1450940"/>
                    <a:pt x="120015" y="1351617"/>
                    <a:pt x="75320" y="1243190"/>
                  </a:cubicBezTo>
                  <a:cubicBezTo>
                    <a:pt x="30625" y="1134763"/>
                    <a:pt x="7449" y="1018058"/>
                    <a:pt x="7449" y="900526"/>
                  </a:cubicBezTo>
                  <a:cubicBezTo>
                    <a:pt x="7449" y="782994"/>
                    <a:pt x="30625" y="666290"/>
                    <a:pt x="75320" y="557863"/>
                  </a:cubicBezTo>
                  <a:cubicBezTo>
                    <a:pt x="120015" y="449436"/>
                    <a:pt x="186230" y="350113"/>
                    <a:pt x="268999" y="267344"/>
                  </a:cubicBezTo>
                  <a:cubicBezTo>
                    <a:pt x="351768" y="184575"/>
                    <a:pt x="451091" y="118360"/>
                    <a:pt x="559518" y="72837"/>
                  </a:cubicBezTo>
                  <a:cubicBezTo>
                    <a:pt x="667946" y="28141"/>
                    <a:pt x="784650" y="4966"/>
                    <a:pt x="902182" y="4966"/>
                  </a:cubicBezTo>
                  <a:cubicBezTo>
                    <a:pt x="1019714" y="4966"/>
                    <a:pt x="1136418" y="28141"/>
                    <a:pt x="1244845" y="72837"/>
                  </a:cubicBezTo>
                  <a:cubicBezTo>
                    <a:pt x="1353273" y="117532"/>
                    <a:pt x="1452595" y="183747"/>
                    <a:pt x="1535364" y="266516"/>
                  </a:cubicBezTo>
                  <a:cubicBezTo>
                    <a:pt x="1618133" y="349285"/>
                    <a:pt x="1685176" y="448608"/>
                    <a:pt x="1729871" y="557035"/>
                  </a:cubicBezTo>
                  <a:cubicBezTo>
                    <a:pt x="1774567" y="665463"/>
                    <a:pt x="1797742" y="782994"/>
                    <a:pt x="1797742" y="899699"/>
                  </a:cubicBezTo>
                  <a:cubicBezTo>
                    <a:pt x="1797742" y="1018886"/>
                    <a:pt x="1774567" y="1136418"/>
                    <a:pt x="1729871" y="1244018"/>
                  </a:cubicBezTo>
                  <a:close/>
                </a:path>
              </a:pathLst>
            </a:custGeom>
            <a:grpFill/>
            <a:ln w="825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4E4A3784-5A8F-47E1-8ACA-13CF2A086A30}"/>
                </a:ext>
              </a:extLst>
            </p:cNvPr>
            <p:cNvSpPr/>
            <p:nvPr/>
          </p:nvSpPr>
          <p:spPr>
            <a:xfrm>
              <a:off x="-846726" y="-871601"/>
              <a:ext cx="1690142" cy="1688486"/>
            </a:xfrm>
            <a:custGeom>
              <a:avLst/>
              <a:gdLst>
                <a:gd name="connsiteX0" fmla="*/ 1443491 w 1690142"/>
                <a:gd name="connsiteY0" fmla="*/ 247479 h 1688486"/>
                <a:gd name="connsiteX1" fmla="*/ 1169526 w 1690142"/>
                <a:gd name="connsiteY1" fmla="*/ 64560 h 1688486"/>
                <a:gd name="connsiteX2" fmla="*/ 845899 w 1690142"/>
                <a:gd name="connsiteY2" fmla="*/ 0 h 1688486"/>
                <a:gd name="connsiteX3" fmla="*/ 522272 w 1690142"/>
                <a:gd name="connsiteY3" fmla="*/ 63732 h 1688486"/>
                <a:gd name="connsiteX4" fmla="*/ 248307 w 1690142"/>
                <a:gd name="connsiteY4" fmla="*/ 246652 h 1688486"/>
                <a:gd name="connsiteX5" fmla="*/ 64560 w 1690142"/>
                <a:gd name="connsiteY5" fmla="*/ 520617 h 1688486"/>
                <a:gd name="connsiteX6" fmla="*/ 0 w 1690142"/>
                <a:gd name="connsiteY6" fmla="*/ 844244 h 1688486"/>
                <a:gd name="connsiteX7" fmla="*/ 63732 w 1690142"/>
                <a:gd name="connsiteY7" fmla="*/ 1167870 h 1688486"/>
                <a:gd name="connsiteX8" fmla="*/ 247479 w 1690142"/>
                <a:gd name="connsiteY8" fmla="*/ 1441835 h 1688486"/>
                <a:gd name="connsiteX9" fmla="*/ 522272 w 1690142"/>
                <a:gd name="connsiteY9" fmla="*/ 1624755 h 1688486"/>
                <a:gd name="connsiteX10" fmla="*/ 845899 w 1690142"/>
                <a:gd name="connsiteY10" fmla="*/ 1688487 h 1688486"/>
                <a:gd name="connsiteX11" fmla="*/ 1169526 w 1690142"/>
                <a:gd name="connsiteY11" fmla="*/ 1623927 h 1688486"/>
                <a:gd name="connsiteX12" fmla="*/ 1443491 w 1690142"/>
                <a:gd name="connsiteY12" fmla="*/ 1440180 h 1688486"/>
                <a:gd name="connsiteX13" fmla="*/ 1626410 w 1690142"/>
                <a:gd name="connsiteY13" fmla="*/ 1166215 h 1688486"/>
                <a:gd name="connsiteX14" fmla="*/ 1690142 w 1690142"/>
                <a:gd name="connsiteY14" fmla="*/ 842588 h 1688486"/>
                <a:gd name="connsiteX15" fmla="*/ 1625583 w 1690142"/>
                <a:gd name="connsiteY15" fmla="*/ 519789 h 1688486"/>
                <a:gd name="connsiteX16" fmla="*/ 1443491 w 1690142"/>
                <a:gd name="connsiteY16" fmla="*/ 247479 h 1688486"/>
                <a:gd name="connsiteX17" fmla="*/ 1615650 w 1690142"/>
                <a:gd name="connsiteY17" fmla="*/ 1162904 h 1688486"/>
                <a:gd name="connsiteX18" fmla="*/ 1435214 w 1690142"/>
                <a:gd name="connsiteY18" fmla="*/ 1432731 h 1688486"/>
                <a:gd name="connsiteX19" fmla="*/ 1165387 w 1690142"/>
                <a:gd name="connsiteY19" fmla="*/ 1613167 h 1688486"/>
                <a:gd name="connsiteX20" fmla="*/ 846727 w 1690142"/>
                <a:gd name="connsiteY20" fmla="*/ 1676072 h 1688486"/>
                <a:gd name="connsiteX21" fmla="*/ 528066 w 1690142"/>
                <a:gd name="connsiteY21" fmla="*/ 1613167 h 1688486"/>
                <a:gd name="connsiteX22" fmla="*/ 258239 w 1690142"/>
                <a:gd name="connsiteY22" fmla="*/ 1432731 h 1688486"/>
                <a:gd name="connsiteX23" fmla="*/ 77803 w 1690142"/>
                <a:gd name="connsiteY23" fmla="*/ 1162904 h 1688486"/>
                <a:gd name="connsiteX24" fmla="*/ 14898 w 1690142"/>
                <a:gd name="connsiteY24" fmla="*/ 844244 h 1688486"/>
                <a:gd name="connsiteX25" fmla="*/ 77803 w 1690142"/>
                <a:gd name="connsiteY25" fmla="*/ 525583 h 1688486"/>
                <a:gd name="connsiteX26" fmla="*/ 258239 w 1690142"/>
                <a:gd name="connsiteY26" fmla="*/ 255756 h 1688486"/>
                <a:gd name="connsiteX27" fmla="*/ 528066 w 1690142"/>
                <a:gd name="connsiteY27" fmla="*/ 75320 h 1688486"/>
                <a:gd name="connsiteX28" fmla="*/ 846727 w 1690142"/>
                <a:gd name="connsiteY28" fmla="*/ 11588 h 1688486"/>
                <a:gd name="connsiteX29" fmla="*/ 1165387 w 1690142"/>
                <a:gd name="connsiteY29" fmla="*/ 74492 h 1688486"/>
                <a:gd name="connsiteX30" fmla="*/ 1436042 w 1690142"/>
                <a:gd name="connsiteY30" fmla="*/ 254928 h 1688486"/>
                <a:gd name="connsiteX31" fmla="*/ 1616478 w 1690142"/>
                <a:gd name="connsiteY31" fmla="*/ 524755 h 1688486"/>
                <a:gd name="connsiteX32" fmla="*/ 1679382 w 1690142"/>
                <a:gd name="connsiteY32" fmla="*/ 843416 h 1688486"/>
                <a:gd name="connsiteX33" fmla="*/ 1615650 w 1690142"/>
                <a:gd name="connsiteY33" fmla="*/ 1162904 h 1688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90142" h="1688486">
                  <a:moveTo>
                    <a:pt x="1443491" y="247479"/>
                  </a:moveTo>
                  <a:cubicBezTo>
                    <a:pt x="1365688" y="169676"/>
                    <a:pt x="1271331" y="106772"/>
                    <a:pt x="1169526" y="64560"/>
                  </a:cubicBezTo>
                  <a:cubicBezTo>
                    <a:pt x="1067720" y="22348"/>
                    <a:pt x="956809" y="0"/>
                    <a:pt x="845899" y="0"/>
                  </a:cubicBezTo>
                  <a:cubicBezTo>
                    <a:pt x="734988" y="0"/>
                    <a:pt x="624906" y="21520"/>
                    <a:pt x="522272" y="63732"/>
                  </a:cubicBezTo>
                  <a:cubicBezTo>
                    <a:pt x="419639" y="105944"/>
                    <a:pt x="326110" y="168849"/>
                    <a:pt x="248307" y="246652"/>
                  </a:cubicBezTo>
                  <a:cubicBezTo>
                    <a:pt x="169676" y="324454"/>
                    <a:pt x="107600" y="418811"/>
                    <a:pt x="64560" y="520617"/>
                  </a:cubicBezTo>
                  <a:cubicBezTo>
                    <a:pt x="22348" y="622423"/>
                    <a:pt x="0" y="733333"/>
                    <a:pt x="0" y="844244"/>
                  </a:cubicBezTo>
                  <a:cubicBezTo>
                    <a:pt x="0" y="955154"/>
                    <a:pt x="21520" y="1065237"/>
                    <a:pt x="63732" y="1167870"/>
                  </a:cubicBezTo>
                  <a:cubicBezTo>
                    <a:pt x="105944" y="1270504"/>
                    <a:pt x="168849" y="1364033"/>
                    <a:pt x="247479" y="1441835"/>
                  </a:cubicBezTo>
                  <a:cubicBezTo>
                    <a:pt x="326110" y="1520466"/>
                    <a:pt x="419639" y="1582543"/>
                    <a:pt x="522272" y="1624755"/>
                  </a:cubicBezTo>
                  <a:cubicBezTo>
                    <a:pt x="624906" y="1666967"/>
                    <a:pt x="734988" y="1688487"/>
                    <a:pt x="845899" y="1688487"/>
                  </a:cubicBezTo>
                  <a:cubicBezTo>
                    <a:pt x="956809" y="1688487"/>
                    <a:pt x="1066892" y="1666967"/>
                    <a:pt x="1169526" y="1623927"/>
                  </a:cubicBezTo>
                  <a:cubicBezTo>
                    <a:pt x="1272159" y="1581715"/>
                    <a:pt x="1365688" y="1518811"/>
                    <a:pt x="1443491" y="1440180"/>
                  </a:cubicBezTo>
                  <a:cubicBezTo>
                    <a:pt x="1521294" y="1361550"/>
                    <a:pt x="1584198" y="1268021"/>
                    <a:pt x="1626410" y="1166215"/>
                  </a:cubicBezTo>
                  <a:cubicBezTo>
                    <a:pt x="1668622" y="1064409"/>
                    <a:pt x="1690142" y="953499"/>
                    <a:pt x="1690142" y="842588"/>
                  </a:cubicBezTo>
                  <a:cubicBezTo>
                    <a:pt x="1690142" y="731678"/>
                    <a:pt x="1668622" y="621595"/>
                    <a:pt x="1625583" y="519789"/>
                  </a:cubicBezTo>
                  <a:cubicBezTo>
                    <a:pt x="1584198" y="418811"/>
                    <a:pt x="1521294" y="325282"/>
                    <a:pt x="1443491" y="247479"/>
                  </a:cubicBezTo>
                  <a:close/>
                  <a:moveTo>
                    <a:pt x="1615650" y="1162904"/>
                  </a:moveTo>
                  <a:cubicBezTo>
                    <a:pt x="1574266" y="1263882"/>
                    <a:pt x="1512189" y="1355756"/>
                    <a:pt x="1435214" y="1432731"/>
                  </a:cubicBezTo>
                  <a:cubicBezTo>
                    <a:pt x="1358239" y="1509706"/>
                    <a:pt x="1265538" y="1571783"/>
                    <a:pt x="1165387" y="1613167"/>
                  </a:cubicBezTo>
                  <a:cubicBezTo>
                    <a:pt x="1064409" y="1654552"/>
                    <a:pt x="955982" y="1676072"/>
                    <a:pt x="846727" y="1676072"/>
                  </a:cubicBezTo>
                  <a:cubicBezTo>
                    <a:pt x="737472" y="1676072"/>
                    <a:pt x="629044" y="1654552"/>
                    <a:pt x="528066" y="1613167"/>
                  </a:cubicBezTo>
                  <a:cubicBezTo>
                    <a:pt x="427088" y="1571783"/>
                    <a:pt x="335214" y="1509706"/>
                    <a:pt x="258239" y="1432731"/>
                  </a:cubicBezTo>
                  <a:cubicBezTo>
                    <a:pt x="181264" y="1355756"/>
                    <a:pt x="120015" y="1263054"/>
                    <a:pt x="77803" y="1162904"/>
                  </a:cubicBezTo>
                  <a:cubicBezTo>
                    <a:pt x="36418" y="1062754"/>
                    <a:pt x="14898" y="953499"/>
                    <a:pt x="14898" y="844244"/>
                  </a:cubicBezTo>
                  <a:cubicBezTo>
                    <a:pt x="14898" y="734988"/>
                    <a:pt x="36418" y="626561"/>
                    <a:pt x="77803" y="525583"/>
                  </a:cubicBezTo>
                  <a:cubicBezTo>
                    <a:pt x="119187" y="424605"/>
                    <a:pt x="181264" y="332731"/>
                    <a:pt x="258239" y="255756"/>
                  </a:cubicBezTo>
                  <a:cubicBezTo>
                    <a:pt x="335214" y="178781"/>
                    <a:pt x="427088" y="116704"/>
                    <a:pt x="528066" y="75320"/>
                  </a:cubicBezTo>
                  <a:cubicBezTo>
                    <a:pt x="629044" y="33108"/>
                    <a:pt x="737472" y="12415"/>
                    <a:pt x="846727" y="11588"/>
                  </a:cubicBezTo>
                  <a:cubicBezTo>
                    <a:pt x="955982" y="11588"/>
                    <a:pt x="1064409" y="33108"/>
                    <a:pt x="1165387" y="74492"/>
                  </a:cubicBezTo>
                  <a:cubicBezTo>
                    <a:pt x="1266365" y="115877"/>
                    <a:pt x="1358239" y="177953"/>
                    <a:pt x="1436042" y="254928"/>
                  </a:cubicBezTo>
                  <a:cubicBezTo>
                    <a:pt x="1513017" y="331904"/>
                    <a:pt x="1575093" y="424605"/>
                    <a:pt x="1616478" y="524755"/>
                  </a:cubicBezTo>
                  <a:cubicBezTo>
                    <a:pt x="1657862" y="625733"/>
                    <a:pt x="1679382" y="734161"/>
                    <a:pt x="1679382" y="843416"/>
                  </a:cubicBezTo>
                  <a:cubicBezTo>
                    <a:pt x="1678555" y="953499"/>
                    <a:pt x="1657035" y="1062754"/>
                    <a:pt x="1615650" y="1162904"/>
                  </a:cubicBezTo>
                  <a:close/>
                </a:path>
              </a:pathLst>
            </a:custGeom>
            <a:grpFill/>
            <a:ln w="8252"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BAC850D1-0AE3-4CA9-B212-FD9315FA0826}"/>
                </a:ext>
              </a:extLst>
            </p:cNvPr>
            <p:cNvSpPr/>
            <p:nvPr/>
          </p:nvSpPr>
          <p:spPr>
            <a:xfrm>
              <a:off x="-788788" y="-814491"/>
              <a:ext cx="1575921" cy="1575921"/>
            </a:xfrm>
            <a:custGeom>
              <a:avLst/>
              <a:gdLst>
                <a:gd name="connsiteX0" fmla="*/ 1344996 w 1575921"/>
                <a:gd name="connsiteY0" fmla="*/ 230098 h 1575921"/>
                <a:gd name="connsiteX1" fmla="*/ 1089240 w 1575921"/>
                <a:gd name="connsiteY1" fmla="*/ 59594 h 1575921"/>
                <a:gd name="connsiteX2" fmla="*/ 787961 w 1575921"/>
                <a:gd name="connsiteY2" fmla="*/ 0 h 1575921"/>
                <a:gd name="connsiteX3" fmla="*/ 486682 w 1575921"/>
                <a:gd name="connsiteY3" fmla="*/ 59594 h 1575921"/>
                <a:gd name="connsiteX4" fmla="*/ 230925 w 1575921"/>
                <a:gd name="connsiteY4" fmla="*/ 230098 h 1575921"/>
                <a:gd name="connsiteX5" fmla="*/ 59594 w 1575921"/>
                <a:gd name="connsiteY5" fmla="*/ 485854 h 1575921"/>
                <a:gd name="connsiteX6" fmla="*/ 0 w 1575921"/>
                <a:gd name="connsiteY6" fmla="*/ 787961 h 1575921"/>
                <a:gd name="connsiteX7" fmla="*/ 59594 w 1575921"/>
                <a:gd name="connsiteY7" fmla="*/ 1090067 h 1575921"/>
                <a:gd name="connsiteX8" fmla="*/ 230925 w 1575921"/>
                <a:gd name="connsiteY8" fmla="*/ 1345823 h 1575921"/>
                <a:gd name="connsiteX9" fmla="*/ 486682 w 1575921"/>
                <a:gd name="connsiteY9" fmla="*/ 1516327 h 1575921"/>
                <a:gd name="connsiteX10" fmla="*/ 788788 w 1575921"/>
                <a:gd name="connsiteY10" fmla="*/ 1575921 h 1575921"/>
                <a:gd name="connsiteX11" fmla="*/ 1090067 w 1575921"/>
                <a:gd name="connsiteY11" fmla="*/ 1516327 h 1575921"/>
                <a:gd name="connsiteX12" fmla="*/ 1345823 w 1575921"/>
                <a:gd name="connsiteY12" fmla="*/ 1344996 h 1575921"/>
                <a:gd name="connsiteX13" fmla="*/ 1516327 w 1575921"/>
                <a:gd name="connsiteY13" fmla="*/ 1089240 h 1575921"/>
                <a:gd name="connsiteX14" fmla="*/ 1575921 w 1575921"/>
                <a:gd name="connsiteY14" fmla="*/ 787961 h 1575921"/>
                <a:gd name="connsiteX15" fmla="*/ 1516327 w 1575921"/>
                <a:gd name="connsiteY15" fmla="*/ 486682 h 1575921"/>
                <a:gd name="connsiteX16" fmla="*/ 1344996 w 1575921"/>
                <a:gd name="connsiteY16" fmla="*/ 230098 h 1575921"/>
                <a:gd name="connsiteX17" fmla="*/ 1499774 w 1575921"/>
                <a:gd name="connsiteY17" fmla="*/ 1081790 h 1575921"/>
                <a:gd name="connsiteX18" fmla="*/ 1332580 w 1575921"/>
                <a:gd name="connsiteY18" fmla="*/ 1331753 h 1575921"/>
                <a:gd name="connsiteX19" fmla="*/ 1082618 w 1575921"/>
                <a:gd name="connsiteY19" fmla="*/ 1498118 h 1575921"/>
                <a:gd name="connsiteX20" fmla="*/ 787961 w 1575921"/>
                <a:gd name="connsiteY20" fmla="*/ 1556057 h 1575921"/>
                <a:gd name="connsiteX21" fmla="*/ 493303 w 1575921"/>
                <a:gd name="connsiteY21" fmla="*/ 1497291 h 1575921"/>
                <a:gd name="connsiteX22" fmla="*/ 244168 w 1575921"/>
                <a:gd name="connsiteY22" fmla="*/ 1330097 h 1575921"/>
                <a:gd name="connsiteX23" fmla="*/ 77803 w 1575921"/>
                <a:gd name="connsiteY23" fmla="*/ 1080963 h 1575921"/>
                <a:gd name="connsiteX24" fmla="*/ 19037 w 1575921"/>
                <a:gd name="connsiteY24" fmla="*/ 787133 h 1575921"/>
                <a:gd name="connsiteX25" fmla="*/ 76975 w 1575921"/>
                <a:gd name="connsiteY25" fmla="*/ 492475 h 1575921"/>
                <a:gd name="connsiteX26" fmla="*/ 244168 w 1575921"/>
                <a:gd name="connsiteY26" fmla="*/ 243341 h 1575921"/>
                <a:gd name="connsiteX27" fmla="*/ 494131 w 1575921"/>
                <a:gd name="connsiteY27" fmla="*/ 76147 h 1575921"/>
                <a:gd name="connsiteX28" fmla="*/ 788788 w 1575921"/>
                <a:gd name="connsiteY28" fmla="*/ 17381 h 1575921"/>
                <a:gd name="connsiteX29" fmla="*/ 1083446 w 1575921"/>
                <a:gd name="connsiteY29" fmla="*/ 75320 h 1575921"/>
                <a:gd name="connsiteX30" fmla="*/ 1333408 w 1575921"/>
                <a:gd name="connsiteY30" fmla="*/ 242513 h 1575921"/>
                <a:gd name="connsiteX31" fmla="*/ 1500601 w 1575921"/>
                <a:gd name="connsiteY31" fmla="*/ 492475 h 1575921"/>
                <a:gd name="connsiteX32" fmla="*/ 1559367 w 1575921"/>
                <a:gd name="connsiteY32" fmla="*/ 787133 h 1575921"/>
                <a:gd name="connsiteX33" fmla="*/ 1499774 w 1575921"/>
                <a:gd name="connsiteY33" fmla="*/ 1081790 h 157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75921" h="1575921">
                  <a:moveTo>
                    <a:pt x="1344996" y="230098"/>
                  </a:moveTo>
                  <a:cubicBezTo>
                    <a:pt x="1272159" y="157261"/>
                    <a:pt x="1185252" y="98495"/>
                    <a:pt x="1089240" y="59594"/>
                  </a:cubicBezTo>
                  <a:cubicBezTo>
                    <a:pt x="994055" y="19865"/>
                    <a:pt x="890594" y="0"/>
                    <a:pt x="787961" y="0"/>
                  </a:cubicBezTo>
                  <a:cubicBezTo>
                    <a:pt x="684499" y="0"/>
                    <a:pt x="581866" y="19865"/>
                    <a:pt x="486682" y="59594"/>
                  </a:cubicBezTo>
                  <a:cubicBezTo>
                    <a:pt x="391497" y="98495"/>
                    <a:pt x="303762" y="157261"/>
                    <a:pt x="230925" y="230098"/>
                  </a:cubicBezTo>
                  <a:cubicBezTo>
                    <a:pt x="158089" y="302934"/>
                    <a:pt x="99323" y="390670"/>
                    <a:pt x="59594" y="485854"/>
                  </a:cubicBezTo>
                  <a:cubicBezTo>
                    <a:pt x="19865" y="581038"/>
                    <a:pt x="0" y="684499"/>
                    <a:pt x="0" y="787961"/>
                  </a:cubicBezTo>
                  <a:cubicBezTo>
                    <a:pt x="0" y="891422"/>
                    <a:pt x="19865" y="994055"/>
                    <a:pt x="59594" y="1090067"/>
                  </a:cubicBezTo>
                  <a:cubicBezTo>
                    <a:pt x="99323" y="1185252"/>
                    <a:pt x="157261" y="1272987"/>
                    <a:pt x="230925" y="1345823"/>
                  </a:cubicBezTo>
                  <a:cubicBezTo>
                    <a:pt x="303762" y="1418660"/>
                    <a:pt x="391497" y="1477426"/>
                    <a:pt x="486682" y="1516327"/>
                  </a:cubicBezTo>
                  <a:cubicBezTo>
                    <a:pt x="581866" y="1556057"/>
                    <a:pt x="685327" y="1575921"/>
                    <a:pt x="788788" y="1575921"/>
                  </a:cubicBezTo>
                  <a:cubicBezTo>
                    <a:pt x="892249" y="1575921"/>
                    <a:pt x="994883" y="1555229"/>
                    <a:pt x="1090067" y="1516327"/>
                  </a:cubicBezTo>
                  <a:cubicBezTo>
                    <a:pt x="1185252" y="1476598"/>
                    <a:pt x="1272987" y="1418660"/>
                    <a:pt x="1345823" y="1344996"/>
                  </a:cubicBezTo>
                  <a:cubicBezTo>
                    <a:pt x="1418660" y="1272159"/>
                    <a:pt x="1477426" y="1184424"/>
                    <a:pt x="1516327" y="1089240"/>
                  </a:cubicBezTo>
                  <a:cubicBezTo>
                    <a:pt x="1556057" y="994055"/>
                    <a:pt x="1575921" y="890594"/>
                    <a:pt x="1575921" y="787961"/>
                  </a:cubicBezTo>
                  <a:cubicBezTo>
                    <a:pt x="1575921" y="684499"/>
                    <a:pt x="1555229" y="581866"/>
                    <a:pt x="1516327" y="486682"/>
                  </a:cubicBezTo>
                  <a:cubicBezTo>
                    <a:pt x="1476598" y="390670"/>
                    <a:pt x="1417832" y="303762"/>
                    <a:pt x="1344996" y="230098"/>
                  </a:cubicBezTo>
                  <a:close/>
                  <a:moveTo>
                    <a:pt x="1499774" y="1081790"/>
                  </a:moveTo>
                  <a:cubicBezTo>
                    <a:pt x="1460872" y="1175319"/>
                    <a:pt x="1403762" y="1260571"/>
                    <a:pt x="1332580" y="1331753"/>
                  </a:cubicBezTo>
                  <a:cubicBezTo>
                    <a:pt x="1261399" y="1402934"/>
                    <a:pt x="1176147" y="1460045"/>
                    <a:pt x="1082618" y="1498118"/>
                  </a:cubicBezTo>
                  <a:cubicBezTo>
                    <a:pt x="989917" y="1537020"/>
                    <a:pt x="888939" y="1556057"/>
                    <a:pt x="787961" y="1556057"/>
                  </a:cubicBezTo>
                  <a:cubicBezTo>
                    <a:pt x="686982" y="1556057"/>
                    <a:pt x="586832" y="1536192"/>
                    <a:pt x="493303" y="1497291"/>
                  </a:cubicBezTo>
                  <a:cubicBezTo>
                    <a:pt x="400602" y="1458389"/>
                    <a:pt x="315350" y="1401279"/>
                    <a:pt x="244168" y="1330097"/>
                  </a:cubicBezTo>
                  <a:cubicBezTo>
                    <a:pt x="172987" y="1258916"/>
                    <a:pt x="115877" y="1173664"/>
                    <a:pt x="77803" y="1080963"/>
                  </a:cubicBezTo>
                  <a:cubicBezTo>
                    <a:pt x="38901" y="988262"/>
                    <a:pt x="19037" y="888111"/>
                    <a:pt x="19037" y="787133"/>
                  </a:cubicBezTo>
                  <a:cubicBezTo>
                    <a:pt x="19037" y="686155"/>
                    <a:pt x="38901" y="586004"/>
                    <a:pt x="76975" y="492475"/>
                  </a:cubicBezTo>
                  <a:cubicBezTo>
                    <a:pt x="115877" y="399774"/>
                    <a:pt x="172987" y="314522"/>
                    <a:pt x="244168" y="243341"/>
                  </a:cubicBezTo>
                  <a:cubicBezTo>
                    <a:pt x="315350" y="172159"/>
                    <a:pt x="400602" y="115049"/>
                    <a:pt x="494131" y="76147"/>
                  </a:cubicBezTo>
                  <a:cubicBezTo>
                    <a:pt x="586832" y="37246"/>
                    <a:pt x="687810" y="17381"/>
                    <a:pt x="788788" y="17381"/>
                  </a:cubicBezTo>
                  <a:cubicBezTo>
                    <a:pt x="889766" y="17381"/>
                    <a:pt x="990744" y="37246"/>
                    <a:pt x="1083446" y="75320"/>
                  </a:cubicBezTo>
                  <a:cubicBezTo>
                    <a:pt x="1176975" y="113393"/>
                    <a:pt x="1262227" y="170504"/>
                    <a:pt x="1333408" y="242513"/>
                  </a:cubicBezTo>
                  <a:cubicBezTo>
                    <a:pt x="1404589" y="313694"/>
                    <a:pt x="1461700" y="398946"/>
                    <a:pt x="1500601" y="492475"/>
                  </a:cubicBezTo>
                  <a:cubicBezTo>
                    <a:pt x="1539503" y="586004"/>
                    <a:pt x="1559367" y="686155"/>
                    <a:pt x="1559367" y="787133"/>
                  </a:cubicBezTo>
                  <a:cubicBezTo>
                    <a:pt x="1557712" y="888111"/>
                    <a:pt x="1537847" y="989089"/>
                    <a:pt x="1499774" y="1081790"/>
                  </a:cubicBezTo>
                  <a:close/>
                </a:path>
              </a:pathLst>
            </a:custGeom>
            <a:grpFill/>
            <a:ln w="8252"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599530C5-4F21-49A8-9797-9E1AC4CFA2A5}"/>
                </a:ext>
              </a:extLst>
            </p:cNvPr>
            <p:cNvSpPr/>
            <p:nvPr/>
          </p:nvSpPr>
          <p:spPr>
            <a:xfrm>
              <a:off x="-732505" y="-758208"/>
              <a:ext cx="1461699" cy="1461699"/>
            </a:xfrm>
            <a:custGeom>
              <a:avLst/>
              <a:gdLst>
                <a:gd name="connsiteX0" fmla="*/ 1248156 w 1461699"/>
                <a:gd name="connsiteY0" fmla="*/ 214372 h 1461699"/>
                <a:gd name="connsiteX1" fmla="*/ 1011437 w 1461699"/>
                <a:gd name="connsiteY1" fmla="*/ 55455 h 1461699"/>
                <a:gd name="connsiteX2" fmla="*/ 731678 w 1461699"/>
                <a:gd name="connsiteY2" fmla="*/ 0 h 1461699"/>
                <a:gd name="connsiteX3" fmla="*/ 451919 w 1461699"/>
                <a:gd name="connsiteY3" fmla="*/ 55455 h 1461699"/>
                <a:gd name="connsiteX4" fmla="*/ 214372 w 1461699"/>
                <a:gd name="connsiteY4" fmla="*/ 213544 h 1461699"/>
                <a:gd name="connsiteX5" fmla="*/ 55455 w 1461699"/>
                <a:gd name="connsiteY5" fmla="*/ 451091 h 1461699"/>
                <a:gd name="connsiteX6" fmla="*/ 0 w 1461699"/>
                <a:gd name="connsiteY6" fmla="*/ 730850 h 1461699"/>
                <a:gd name="connsiteX7" fmla="*/ 55455 w 1461699"/>
                <a:gd name="connsiteY7" fmla="*/ 1010609 h 1461699"/>
                <a:gd name="connsiteX8" fmla="*/ 214372 w 1461699"/>
                <a:gd name="connsiteY8" fmla="*/ 1248156 h 1461699"/>
                <a:gd name="connsiteX9" fmla="*/ 451919 w 1461699"/>
                <a:gd name="connsiteY9" fmla="*/ 1406245 h 1461699"/>
                <a:gd name="connsiteX10" fmla="*/ 731678 w 1461699"/>
                <a:gd name="connsiteY10" fmla="*/ 1461700 h 1461699"/>
                <a:gd name="connsiteX11" fmla="*/ 1011437 w 1461699"/>
                <a:gd name="connsiteY11" fmla="*/ 1406245 h 1461699"/>
                <a:gd name="connsiteX12" fmla="*/ 1248156 w 1461699"/>
                <a:gd name="connsiteY12" fmla="*/ 1247328 h 1461699"/>
                <a:gd name="connsiteX13" fmla="*/ 1406245 w 1461699"/>
                <a:gd name="connsiteY13" fmla="*/ 1009781 h 1461699"/>
                <a:gd name="connsiteX14" fmla="*/ 1461700 w 1461699"/>
                <a:gd name="connsiteY14" fmla="*/ 730022 h 1461699"/>
                <a:gd name="connsiteX15" fmla="*/ 1406245 w 1461699"/>
                <a:gd name="connsiteY15" fmla="*/ 450263 h 1461699"/>
                <a:gd name="connsiteX16" fmla="*/ 1248156 w 1461699"/>
                <a:gd name="connsiteY16" fmla="*/ 214372 h 1461699"/>
                <a:gd name="connsiteX17" fmla="*/ 1384725 w 1461699"/>
                <a:gd name="connsiteY17" fmla="*/ 1001505 h 1461699"/>
                <a:gd name="connsiteX18" fmla="*/ 1231602 w 1461699"/>
                <a:gd name="connsiteY18" fmla="*/ 1230775 h 1461699"/>
                <a:gd name="connsiteX19" fmla="*/ 1002332 w 1461699"/>
                <a:gd name="connsiteY19" fmla="*/ 1383897 h 1461699"/>
                <a:gd name="connsiteX20" fmla="*/ 731678 w 1461699"/>
                <a:gd name="connsiteY20" fmla="*/ 1437697 h 1461699"/>
                <a:gd name="connsiteX21" fmla="*/ 461023 w 1461699"/>
                <a:gd name="connsiteY21" fmla="*/ 1383897 h 1461699"/>
                <a:gd name="connsiteX22" fmla="*/ 231753 w 1461699"/>
                <a:gd name="connsiteY22" fmla="*/ 1230775 h 1461699"/>
                <a:gd name="connsiteX23" fmla="*/ 78631 w 1461699"/>
                <a:gd name="connsiteY23" fmla="*/ 1001505 h 1461699"/>
                <a:gd name="connsiteX24" fmla="*/ 24831 w 1461699"/>
                <a:gd name="connsiteY24" fmla="*/ 730850 h 1461699"/>
                <a:gd name="connsiteX25" fmla="*/ 78631 w 1461699"/>
                <a:gd name="connsiteY25" fmla="*/ 460195 h 1461699"/>
                <a:gd name="connsiteX26" fmla="*/ 231753 w 1461699"/>
                <a:gd name="connsiteY26" fmla="*/ 230925 h 1461699"/>
                <a:gd name="connsiteX27" fmla="*/ 461023 w 1461699"/>
                <a:gd name="connsiteY27" fmla="*/ 77803 h 1461699"/>
                <a:gd name="connsiteX28" fmla="*/ 731678 w 1461699"/>
                <a:gd name="connsiteY28" fmla="*/ 24003 h 1461699"/>
                <a:gd name="connsiteX29" fmla="*/ 1002332 w 1461699"/>
                <a:gd name="connsiteY29" fmla="*/ 77803 h 1461699"/>
                <a:gd name="connsiteX30" fmla="*/ 1231602 w 1461699"/>
                <a:gd name="connsiteY30" fmla="*/ 230925 h 1461699"/>
                <a:gd name="connsiteX31" fmla="*/ 1384725 w 1461699"/>
                <a:gd name="connsiteY31" fmla="*/ 460195 h 1461699"/>
                <a:gd name="connsiteX32" fmla="*/ 1438525 w 1461699"/>
                <a:gd name="connsiteY32" fmla="*/ 730850 h 1461699"/>
                <a:gd name="connsiteX33" fmla="*/ 1384725 w 1461699"/>
                <a:gd name="connsiteY33" fmla="*/ 1001505 h 146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61699" h="1461699">
                  <a:moveTo>
                    <a:pt x="1248156" y="214372"/>
                  </a:moveTo>
                  <a:cubicBezTo>
                    <a:pt x="1180286" y="146501"/>
                    <a:pt x="1100000" y="92701"/>
                    <a:pt x="1011437" y="55455"/>
                  </a:cubicBezTo>
                  <a:cubicBezTo>
                    <a:pt x="922874" y="19037"/>
                    <a:pt x="827690" y="0"/>
                    <a:pt x="731678" y="0"/>
                  </a:cubicBezTo>
                  <a:cubicBezTo>
                    <a:pt x="635666" y="0"/>
                    <a:pt x="540481" y="19037"/>
                    <a:pt x="451919" y="55455"/>
                  </a:cubicBezTo>
                  <a:cubicBezTo>
                    <a:pt x="363356" y="91874"/>
                    <a:pt x="282242" y="146501"/>
                    <a:pt x="214372" y="213544"/>
                  </a:cubicBezTo>
                  <a:cubicBezTo>
                    <a:pt x="146501" y="281414"/>
                    <a:pt x="92701" y="362528"/>
                    <a:pt x="55455" y="451091"/>
                  </a:cubicBezTo>
                  <a:cubicBezTo>
                    <a:pt x="19037" y="539654"/>
                    <a:pt x="0" y="635666"/>
                    <a:pt x="0" y="730850"/>
                  </a:cubicBezTo>
                  <a:cubicBezTo>
                    <a:pt x="0" y="826862"/>
                    <a:pt x="19037" y="922046"/>
                    <a:pt x="55455" y="1010609"/>
                  </a:cubicBezTo>
                  <a:cubicBezTo>
                    <a:pt x="91874" y="1099172"/>
                    <a:pt x="146501" y="1180286"/>
                    <a:pt x="214372" y="1248156"/>
                  </a:cubicBezTo>
                  <a:cubicBezTo>
                    <a:pt x="282242" y="1316027"/>
                    <a:pt x="363356" y="1369826"/>
                    <a:pt x="451919" y="1406245"/>
                  </a:cubicBezTo>
                  <a:cubicBezTo>
                    <a:pt x="540481" y="1442663"/>
                    <a:pt x="636493" y="1461700"/>
                    <a:pt x="731678" y="1461700"/>
                  </a:cubicBezTo>
                  <a:cubicBezTo>
                    <a:pt x="827690" y="1461700"/>
                    <a:pt x="922874" y="1442663"/>
                    <a:pt x="1011437" y="1406245"/>
                  </a:cubicBezTo>
                  <a:cubicBezTo>
                    <a:pt x="1100000" y="1369826"/>
                    <a:pt x="1181113" y="1315199"/>
                    <a:pt x="1248156" y="1247328"/>
                  </a:cubicBezTo>
                  <a:cubicBezTo>
                    <a:pt x="1316027" y="1179458"/>
                    <a:pt x="1369826" y="1098344"/>
                    <a:pt x="1406245" y="1009781"/>
                  </a:cubicBezTo>
                  <a:cubicBezTo>
                    <a:pt x="1442663" y="921219"/>
                    <a:pt x="1461700" y="826034"/>
                    <a:pt x="1461700" y="730022"/>
                  </a:cubicBezTo>
                  <a:cubicBezTo>
                    <a:pt x="1461700" y="634010"/>
                    <a:pt x="1442663" y="538826"/>
                    <a:pt x="1406245" y="450263"/>
                  </a:cubicBezTo>
                  <a:cubicBezTo>
                    <a:pt x="1369826" y="363356"/>
                    <a:pt x="1316027" y="282242"/>
                    <a:pt x="1248156" y="214372"/>
                  </a:cubicBezTo>
                  <a:close/>
                  <a:moveTo>
                    <a:pt x="1384725" y="1001505"/>
                  </a:moveTo>
                  <a:cubicBezTo>
                    <a:pt x="1349134" y="1086757"/>
                    <a:pt x="1296990" y="1165387"/>
                    <a:pt x="1231602" y="1230775"/>
                  </a:cubicBezTo>
                  <a:cubicBezTo>
                    <a:pt x="1166215" y="1296162"/>
                    <a:pt x="1087584" y="1348306"/>
                    <a:pt x="1002332" y="1383897"/>
                  </a:cubicBezTo>
                  <a:cubicBezTo>
                    <a:pt x="917080" y="1419488"/>
                    <a:pt x="824379" y="1437697"/>
                    <a:pt x="731678" y="1437697"/>
                  </a:cubicBezTo>
                  <a:cubicBezTo>
                    <a:pt x="638976" y="1437697"/>
                    <a:pt x="547103" y="1419488"/>
                    <a:pt x="461023" y="1383897"/>
                  </a:cubicBezTo>
                  <a:cubicBezTo>
                    <a:pt x="375771" y="1348306"/>
                    <a:pt x="297141" y="1296162"/>
                    <a:pt x="231753" y="1230775"/>
                  </a:cubicBezTo>
                  <a:cubicBezTo>
                    <a:pt x="166366" y="1165387"/>
                    <a:pt x="114221" y="1086757"/>
                    <a:pt x="78631" y="1001505"/>
                  </a:cubicBezTo>
                  <a:cubicBezTo>
                    <a:pt x="43040" y="916252"/>
                    <a:pt x="24831" y="823551"/>
                    <a:pt x="24831" y="730850"/>
                  </a:cubicBezTo>
                  <a:cubicBezTo>
                    <a:pt x="24831" y="638149"/>
                    <a:pt x="43040" y="546275"/>
                    <a:pt x="78631" y="460195"/>
                  </a:cubicBezTo>
                  <a:cubicBezTo>
                    <a:pt x="114221" y="374943"/>
                    <a:pt x="166366" y="296313"/>
                    <a:pt x="231753" y="230925"/>
                  </a:cubicBezTo>
                  <a:cubicBezTo>
                    <a:pt x="297141" y="165538"/>
                    <a:pt x="375771" y="113393"/>
                    <a:pt x="461023" y="77803"/>
                  </a:cubicBezTo>
                  <a:cubicBezTo>
                    <a:pt x="546275" y="42212"/>
                    <a:pt x="638976" y="24003"/>
                    <a:pt x="731678" y="24003"/>
                  </a:cubicBezTo>
                  <a:cubicBezTo>
                    <a:pt x="824379" y="24003"/>
                    <a:pt x="917080" y="42212"/>
                    <a:pt x="1002332" y="77803"/>
                  </a:cubicBezTo>
                  <a:cubicBezTo>
                    <a:pt x="1087584" y="113393"/>
                    <a:pt x="1166215" y="165538"/>
                    <a:pt x="1231602" y="230925"/>
                  </a:cubicBezTo>
                  <a:cubicBezTo>
                    <a:pt x="1296990" y="296313"/>
                    <a:pt x="1349962" y="374943"/>
                    <a:pt x="1384725" y="460195"/>
                  </a:cubicBezTo>
                  <a:cubicBezTo>
                    <a:pt x="1420316" y="545448"/>
                    <a:pt x="1438525" y="638149"/>
                    <a:pt x="1438525" y="730850"/>
                  </a:cubicBezTo>
                  <a:cubicBezTo>
                    <a:pt x="1438525" y="823551"/>
                    <a:pt x="1420316" y="916252"/>
                    <a:pt x="1384725" y="1001505"/>
                  </a:cubicBezTo>
                  <a:close/>
                </a:path>
              </a:pathLst>
            </a:custGeom>
            <a:grpFill/>
            <a:ln w="8252"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E9AA2ED2-D97F-4A93-AF08-CEF9CF15F71A}"/>
                </a:ext>
              </a:extLst>
            </p:cNvPr>
            <p:cNvSpPr/>
            <p:nvPr/>
          </p:nvSpPr>
          <p:spPr>
            <a:xfrm>
              <a:off x="-675394" y="-701097"/>
              <a:ext cx="1348306" cy="1347478"/>
            </a:xfrm>
            <a:custGeom>
              <a:avLst/>
              <a:gdLst>
                <a:gd name="connsiteX0" fmla="*/ 1151316 w 1348306"/>
                <a:gd name="connsiteY0" fmla="*/ 197818 h 1347478"/>
                <a:gd name="connsiteX1" fmla="*/ 932806 w 1348306"/>
                <a:gd name="connsiteY1" fmla="*/ 51317 h 1347478"/>
                <a:gd name="connsiteX2" fmla="*/ 674567 w 1348306"/>
                <a:gd name="connsiteY2" fmla="*/ 0 h 1347478"/>
                <a:gd name="connsiteX3" fmla="*/ 416328 w 1348306"/>
                <a:gd name="connsiteY3" fmla="*/ 51317 h 1347478"/>
                <a:gd name="connsiteX4" fmla="*/ 197818 w 1348306"/>
                <a:gd name="connsiteY4" fmla="*/ 196990 h 1347478"/>
                <a:gd name="connsiteX5" fmla="*/ 51317 w 1348306"/>
                <a:gd name="connsiteY5" fmla="*/ 415500 h 1347478"/>
                <a:gd name="connsiteX6" fmla="*/ 0 w 1348306"/>
                <a:gd name="connsiteY6" fmla="*/ 673739 h 1347478"/>
                <a:gd name="connsiteX7" fmla="*/ 51317 w 1348306"/>
                <a:gd name="connsiteY7" fmla="*/ 931979 h 1347478"/>
                <a:gd name="connsiteX8" fmla="*/ 197818 w 1348306"/>
                <a:gd name="connsiteY8" fmla="*/ 1150489 h 1347478"/>
                <a:gd name="connsiteX9" fmla="*/ 416328 w 1348306"/>
                <a:gd name="connsiteY9" fmla="*/ 1296162 h 1347478"/>
                <a:gd name="connsiteX10" fmla="*/ 674567 w 1348306"/>
                <a:gd name="connsiteY10" fmla="*/ 1347479 h 1347478"/>
                <a:gd name="connsiteX11" fmla="*/ 932806 w 1348306"/>
                <a:gd name="connsiteY11" fmla="*/ 1296162 h 1347478"/>
                <a:gd name="connsiteX12" fmla="*/ 1151316 w 1348306"/>
                <a:gd name="connsiteY12" fmla="*/ 1149661 h 1347478"/>
                <a:gd name="connsiteX13" fmla="*/ 1296990 w 1348306"/>
                <a:gd name="connsiteY13" fmla="*/ 931151 h 1347478"/>
                <a:gd name="connsiteX14" fmla="*/ 1348307 w 1348306"/>
                <a:gd name="connsiteY14" fmla="*/ 673739 h 1347478"/>
                <a:gd name="connsiteX15" fmla="*/ 1296990 w 1348306"/>
                <a:gd name="connsiteY15" fmla="*/ 416328 h 1347478"/>
                <a:gd name="connsiteX16" fmla="*/ 1151316 w 1348306"/>
                <a:gd name="connsiteY16" fmla="*/ 197818 h 1347478"/>
                <a:gd name="connsiteX17" fmla="*/ 1269676 w 1348306"/>
                <a:gd name="connsiteY17" fmla="*/ 920391 h 1347478"/>
                <a:gd name="connsiteX18" fmla="*/ 1129796 w 1348306"/>
                <a:gd name="connsiteY18" fmla="*/ 1128969 h 1347478"/>
                <a:gd name="connsiteX19" fmla="*/ 920391 w 1348306"/>
                <a:gd name="connsiteY19" fmla="*/ 1268848 h 1347478"/>
                <a:gd name="connsiteX20" fmla="*/ 673739 w 1348306"/>
                <a:gd name="connsiteY20" fmla="*/ 1317682 h 1347478"/>
                <a:gd name="connsiteX21" fmla="*/ 427088 w 1348306"/>
                <a:gd name="connsiteY21" fmla="*/ 1268848 h 1347478"/>
                <a:gd name="connsiteX22" fmla="*/ 218510 w 1348306"/>
                <a:gd name="connsiteY22" fmla="*/ 1128969 h 1347478"/>
                <a:gd name="connsiteX23" fmla="*/ 79458 w 1348306"/>
                <a:gd name="connsiteY23" fmla="*/ 920391 h 1347478"/>
                <a:gd name="connsiteX24" fmla="*/ 30624 w 1348306"/>
                <a:gd name="connsiteY24" fmla="*/ 674567 h 1347478"/>
                <a:gd name="connsiteX25" fmla="*/ 79458 w 1348306"/>
                <a:gd name="connsiteY25" fmla="*/ 427916 h 1347478"/>
                <a:gd name="connsiteX26" fmla="*/ 218510 w 1348306"/>
                <a:gd name="connsiteY26" fmla="*/ 219338 h 1347478"/>
                <a:gd name="connsiteX27" fmla="*/ 427088 w 1348306"/>
                <a:gd name="connsiteY27" fmla="*/ 79458 h 1347478"/>
                <a:gd name="connsiteX28" fmla="*/ 673739 w 1348306"/>
                <a:gd name="connsiteY28" fmla="*/ 30624 h 1347478"/>
                <a:gd name="connsiteX29" fmla="*/ 920391 w 1348306"/>
                <a:gd name="connsiteY29" fmla="*/ 79458 h 1347478"/>
                <a:gd name="connsiteX30" fmla="*/ 1129796 w 1348306"/>
                <a:gd name="connsiteY30" fmla="*/ 219338 h 1347478"/>
                <a:gd name="connsiteX31" fmla="*/ 1269676 w 1348306"/>
                <a:gd name="connsiteY31" fmla="*/ 428743 h 1347478"/>
                <a:gd name="connsiteX32" fmla="*/ 1318510 w 1348306"/>
                <a:gd name="connsiteY32" fmla="*/ 675395 h 1347478"/>
                <a:gd name="connsiteX33" fmla="*/ 1269676 w 1348306"/>
                <a:gd name="connsiteY33" fmla="*/ 920391 h 134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48306" h="1347478">
                  <a:moveTo>
                    <a:pt x="1151316" y="197818"/>
                  </a:moveTo>
                  <a:cubicBezTo>
                    <a:pt x="1089240" y="135741"/>
                    <a:pt x="1014748" y="85252"/>
                    <a:pt x="932806" y="51317"/>
                  </a:cubicBezTo>
                  <a:cubicBezTo>
                    <a:pt x="851693" y="17381"/>
                    <a:pt x="763130" y="0"/>
                    <a:pt x="674567" y="0"/>
                  </a:cubicBezTo>
                  <a:cubicBezTo>
                    <a:pt x="586004" y="0"/>
                    <a:pt x="498269" y="17381"/>
                    <a:pt x="416328" y="51317"/>
                  </a:cubicBezTo>
                  <a:cubicBezTo>
                    <a:pt x="334387" y="85252"/>
                    <a:pt x="259895" y="134913"/>
                    <a:pt x="197818" y="196990"/>
                  </a:cubicBezTo>
                  <a:cubicBezTo>
                    <a:pt x="135741" y="259067"/>
                    <a:pt x="85252" y="334387"/>
                    <a:pt x="51317" y="415500"/>
                  </a:cubicBezTo>
                  <a:cubicBezTo>
                    <a:pt x="17381" y="497441"/>
                    <a:pt x="0" y="585177"/>
                    <a:pt x="0" y="673739"/>
                  </a:cubicBezTo>
                  <a:cubicBezTo>
                    <a:pt x="0" y="762302"/>
                    <a:pt x="17381" y="850037"/>
                    <a:pt x="51317" y="931979"/>
                  </a:cubicBezTo>
                  <a:cubicBezTo>
                    <a:pt x="85252" y="1013920"/>
                    <a:pt x="134913" y="1088412"/>
                    <a:pt x="197818" y="1150489"/>
                  </a:cubicBezTo>
                  <a:cubicBezTo>
                    <a:pt x="259895" y="1212565"/>
                    <a:pt x="335214" y="1263054"/>
                    <a:pt x="416328" y="1296162"/>
                  </a:cubicBezTo>
                  <a:cubicBezTo>
                    <a:pt x="498269" y="1330097"/>
                    <a:pt x="586004" y="1347479"/>
                    <a:pt x="674567" y="1347479"/>
                  </a:cubicBezTo>
                  <a:cubicBezTo>
                    <a:pt x="763130" y="1347479"/>
                    <a:pt x="850865" y="1330097"/>
                    <a:pt x="932806" y="1296162"/>
                  </a:cubicBezTo>
                  <a:cubicBezTo>
                    <a:pt x="1014748" y="1262227"/>
                    <a:pt x="1089240" y="1212565"/>
                    <a:pt x="1151316" y="1149661"/>
                  </a:cubicBezTo>
                  <a:cubicBezTo>
                    <a:pt x="1213393" y="1087584"/>
                    <a:pt x="1263882" y="1012264"/>
                    <a:pt x="1296990" y="931151"/>
                  </a:cubicBezTo>
                  <a:cubicBezTo>
                    <a:pt x="1330925" y="850037"/>
                    <a:pt x="1348307" y="761475"/>
                    <a:pt x="1348307" y="673739"/>
                  </a:cubicBezTo>
                  <a:cubicBezTo>
                    <a:pt x="1348307" y="586004"/>
                    <a:pt x="1330925" y="497441"/>
                    <a:pt x="1296990" y="416328"/>
                  </a:cubicBezTo>
                  <a:cubicBezTo>
                    <a:pt x="1263054" y="334387"/>
                    <a:pt x="1213393" y="259895"/>
                    <a:pt x="1151316" y="197818"/>
                  </a:cubicBezTo>
                  <a:close/>
                  <a:moveTo>
                    <a:pt x="1269676" y="920391"/>
                  </a:moveTo>
                  <a:cubicBezTo>
                    <a:pt x="1237396" y="998194"/>
                    <a:pt x="1189390" y="1069375"/>
                    <a:pt x="1129796" y="1128969"/>
                  </a:cubicBezTo>
                  <a:cubicBezTo>
                    <a:pt x="1070203" y="1188562"/>
                    <a:pt x="999021" y="1236568"/>
                    <a:pt x="920391" y="1268848"/>
                  </a:cubicBezTo>
                  <a:cubicBezTo>
                    <a:pt x="842588" y="1301128"/>
                    <a:pt x="758164" y="1317682"/>
                    <a:pt x="673739" y="1317682"/>
                  </a:cubicBezTo>
                  <a:cubicBezTo>
                    <a:pt x="589315" y="1317682"/>
                    <a:pt x="504891" y="1301128"/>
                    <a:pt x="427088" y="1268848"/>
                  </a:cubicBezTo>
                  <a:cubicBezTo>
                    <a:pt x="349285" y="1236568"/>
                    <a:pt x="278104" y="1188562"/>
                    <a:pt x="218510" y="1128969"/>
                  </a:cubicBezTo>
                  <a:cubicBezTo>
                    <a:pt x="158916" y="1069375"/>
                    <a:pt x="111738" y="998194"/>
                    <a:pt x="79458" y="920391"/>
                  </a:cubicBezTo>
                  <a:cubicBezTo>
                    <a:pt x="47178" y="842588"/>
                    <a:pt x="30624" y="758164"/>
                    <a:pt x="30624" y="674567"/>
                  </a:cubicBezTo>
                  <a:cubicBezTo>
                    <a:pt x="30624" y="590143"/>
                    <a:pt x="47178" y="505718"/>
                    <a:pt x="79458" y="427916"/>
                  </a:cubicBezTo>
                  <a:cubicBezTo>
                    <a:pt x="111738" y="350113"/>
                    <a:pt x="158916" y="278931"/>
                    <a:pt x="218510" y="219338"/>
                  </a:cubicBezTo>
                  <a:cubicBezTo>
                    <a:pt x="278104" y="159744"/>
                    <a:pt x="349285" y="111738"/>
                    <a:pt x="427088" y="79458"/>
                  </a:cubicBezTo>
                  <a:cubicBezTo>
                    <a:pt x="504891" y="47178"/>
                    <a:pt x="589315" y="30624"/>
                    <a:pt x="673739" y="30624"/>
                  </a:cubicBezTo>
                  <a:cubicBezTo>
                    <a:pt x="758164" y="30624"/>
                    <a:pt x="842588" y="47178"/>
                    <a:pt x="920391" y="79458"/>
                  </a:cubicBezTo>
                  <a:cubicBezTo>
                    <a:pt x="998194" y="111738"/>
                    <a:pt x="1070203" y="159744"/>
                    <a:pt x="1129796" y="219338"/>
                  </a:cubicBezTo>
                  <a:cubicBezTo>
                    <a:pt x="1189390" y="278931"/>
                    <a:pt x="1237396" y="350113"/>
                    <a:pt x="1269676" y="428743"/>
                  </a:cubicBezTo>
                  <a:cubicBezTo>
                    <a:pt x="1301956" y="506546"/>
                    <a:pt x="1318510" y="590970"/>
                    <a:pt x="1318510" y="675395"/>
                  </a:cubicBezTo>
                  <a:cubicBezTo>
                    <a:pt x="1319337" y="758164"/>
                    <a:pt x="1302784" y="842588"/>
                    <a:pt x="1269676" y="920391"/>
                  </a:cubicBezTo>
                  <a:close/>
                </a:path>
              </a:pathLst>
            </a:custGeom>
            <a:grpFill/>
            <a:ln w="8252"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609C80-3934-4B9B-A20E-348F13E6EAF5}"/>
                </a:ext>
              </a:extLst>
            </p:cNvPr>
            <p:cNvSpPr/>
            <p:nvPr/>
          </p:nvSpPr>
          <p:spPr>
            <a:xfrm>
              <a:off x="-618284" y="-643987"/>
              <a:ext cx="1233257" cy="1234085"/>
            </a:xfrm>
            <a:custGeom>
              <a:avLst/>
              <a:gdLst>
                <a:gd name="connsiteX0" fmla="*/ 1053649 w 1233257"/>
                <a:gd name="connsiteY0" fmla="*/ 181264 h 1234085"/>
                <a:gd name="connsiteX1" fmla="*/ 853348 w 1233257"/>
                <a:gd name="connsiteY1" fmla="*/ 47178 h 1234085"/>
                <a:gd name="connsiteX2" fmla="*/ 617457 w 1233257"/>
                <a:gd name="connsiteY2" fmla="*/ 0 h 1234085"/>
                <a:gd name="connsiteX3" fmla="*/ 381565 w 1233257"/>
                <a:gd name="connsiteY3" fmla="*/ 46351 h 1234085"/>
                <a:gd name="connsiteX4" fmla="*/ 181264 w 1233257"/>
                <a:gd name="connsiteY4" fmla="*/ 179609 h 1234085"/>
                <a:gd name="connsiteX5" fmla="*/ 47178 w 1233257"/>
                <a:gd name="connsiteY5" fmla="*/ 380737 h 1234085"/>
                <a:gd name="connsiteX6" fmla="*/ 0 w 1233257"/>
                <a:gd name="connsiteY6" fmla="*/ 616629 h 1234085"/>
                <a:gd name="connsiteX7" fmla="*/ 46351 w 1233257"/>
                <a:gd name="connsiteY7" fmla="*/ 853348 h 1234085"/>
                <a:gd name="connsiteX8" fmla="*/ 180436 w 1233257"/>
                <a:gd name="connsiteY8" fmla="*/ 1053649 h 1234085"/>
                <a:gd name="connsiteX9" fmla="*/ 380737 w 1233257"/>
                <a:gd name="connsiteY9" fmla="*/ 1187735 h 1234085"/>
                <a:gd name="connsiteX10" fmla="*/ 617457 w 1233257"/>
                <a:gd name="connsiteY10" fmla="*/ 1234085 h 1234085"/>
                <a:gd name="connsiteX11" fmla="*/ 853348 w 1233257"/>
                <a:gd name="connsiteY11" fmla="*/ 1186907 h 1234085"/>
                <a:gd name="connsiteX12" fmla="*/ 1053649 w 1233257"/>
                <a:gd name="connsiteY12" fmla="*/ 1052821 h 1234085"/>
                <a:gd name="connsiteX13" fmla="*/ 1186907 w 1233257"/>
                <a:gd name="connsiteY13" fmla="*/ 852520 h 1234085"/>
                <a:gd name="connsiteX14" fmla="*/ 1233258 w 1233257"/>
                <a:gd name="connsiteY14" fmla="*/ 616629 h 1234085"/>
                <a:gd name="connsiteX15" fmla="*/ 1186079 w 1233257"/>
                <a:gd name="connsiteY15" fmla="*/ 380737 h 1234085"/>
                <a:gd name="connsiteX16" fmla="*/ 1053649 w 1233257"/>
                <a:gd name="connsiteY16" fmla="*/ 181264 h 1234085"/>
                <a:gd name="connsiteX17" fmla="*/ 1154627 w 1233257"/>
                <a:gd name="connsiteY17" fmla="*/ 839277 h 1234085"/>
                <a:gd name="connsiteX18" fmla="*/ 1028818 w 1233257"/>
                <a:gd name="connsiteY18" fmla="*/ 1027991 h 1234085"/>
                <a:gd name="connsiteX19" fmla="*/ 840105 w 1233257"/>
                <a:gd name="connsiteY19" fmla="*/ 1153799 h 1234085"/>
                <a:gd name="connsiteX20" fmla="*/ 617457 w 1233257"/>
                <a:gd name="connsiteY20" fmla="*/ 1197667 h 1234085"/>
                <a:gd name="connsiteX21" fmla="*/ 394808 w 1233257"/>
                <a:gd name="connsiteY21" fmla="*/ 1153799 h 1234085"/>
                <a:gd name="connsiteX22" fmla="*/ 206095 w 1233257"/>
                <a:gd name="connsiteY22" fmla="*/ 1027991 h 1234085"/>
                <a:gd name="connsiteX23" fmla="*/ 80286 w 1233257"/>
                <a:gd name="connsiteY23" fmla="*/ 839277 h 1234085"/>
                <a:gd name="connsiteX24" fmla="*/ 36418 w 1233257"/>
                <a:gd name="connsiteY24" fmla="*/ 617457 h 1234085"/>
                <a:gd name="connsiteX25" fmla="*/ 80286 w 1233257"/>
                <a:gd name="connsiteY25" fmla="*/ 394808 h 1234085"/>
                <a:gd name="connsiteX26" fmla="*/ 206095 w 1233257"/>
                <a:gd name="connsiteY26" fmla="*/ 206095 h 1234085"/>
                <a:gd name="connsiteX27" fmla="*/ 394808 w 1233257"/>
                <a:gd name="connsiteY27" fmla="*/ 80286 h 1234085"/>
                <a:gd name="connsiteX28" fmla="*/ 617457 w 1233257"/>
                <a:gd name="connsiteY28" fmla="*/ 36418 h 1234085"/>
                <a:gd name="connsiteX29" fmla="*/ 840105 w 1233257"/>
                <a:gd name="connsiteY29" fmla="*/ 80286 h 1234085"/>
                <a:gd name="connsiteX30" fmla="*/ 1028818 w 1233257"/>
                <a:gd name="connsiteY30" fmla="*/ 206095 h 1234085"/>
                <a:gd name="connsiteX31" fmla="*/ 1154627 w 1233257"/>
                <a:gd name="connsiteY31" fmla="*/ 394808 h 1234085"/>
                <a:gd name="connsiteX32" fmla="*/ 1198495 w 1233257"/>
                <a:gd name="connsiteY32" fmla="*/ 617457 h 1234085"/>
                <a:gd name="connsiteX33" fmla="*/ 1154627 w 1233257"/>
                <a:gd name="connsiteY33" fmla="*/ 839277 h 123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33257" h="1234085">
                  <a:moveTo>
                    <a:pt x="1053649" y="181264"/>
                  </a:moveTo>
                  <a:cubicBezTo>
                    <a:pt x="996538" y="124153"/>
                    <a:pt x="928668" y="78631"/>
                    <a:pt x="853348" y="47178"/>
                  </a:cubicBezTo>
                  <a:cubicBezTo>
                    <a:pt x="778856" y="16554"/>
                    <a:pt x="697742" y="0"/>
                    <a:pt x="617457" y="0"/>
                  </a:cubicBezTo>
                  <a:cubicBezTo>
                    <a:pt x="537171" y="0"/>
                    <a:pt x="456057" y="15726"/>
                    <a:pt x="381565" y="46351"/>
                  </a:cubicBezTo>
                  <a:cubicBezTo>
                    <a:pt x="307073" y="76975"/>
                    <a:pt x="238375" y="122498"/>
                    <a:pt x="181264" y="179609"/>
                  </a:cubicBezTo>
                  <a:cubicBezTo>
                    <a:pt x="124153" y="237547"/>
                    <a:pt x="77803" y="306245"/>
                    <a:pt x="47178" y="380737"/>
                  </a:cubicBezTo>
                  <a:cubicBezTo>
                    <a:pt x="15726" y="455229"/>
                    <a:pt x="0" y="536343"/>
                    <a:pt x="0" y="616629"/>
                  </a:cubicBezTo>
                  <a:cubicBezTo>
                    <a:pt x="0" y="697742"/>
                    <a:pt x="15726" y="778028"/>
                    <a:pt x="46351" y="853348"/>
                  </a:cubicBezTo>
                  <a:cubicBezTo>
                    <a:pt x="76975" y="927840"/>
                    <a:pt x="123326" y="996538"/>
                    <a:pt x="180436" y="1053649"/>
                  </a:cubicBezTo>
                  <a:cubicBezTo>
                    <a:pt x="237547" y="1110760"/>
                    <a:pt x="306245" y="1156283"/>
                    <a:pt x="380737" y="1187735"/>
                  </a:cubicBezTo>
                  <a:cubicBezTo>
                    <a:pt x="455229" y="1218359"/>
                    <a:pt x="536343" y="1234085"/>
                    <a:pt x="617457" y="1234085"/>
                  </a:cubicBezTo>
                  <a:cubicBezTo>
                    <a:pt x="698570" y="1234085"/>
                    <a:pt x="778856" y="1218359"/>
                    <a:pt x="853348" y="1186907"/>
                  </a:cubicBezTo>
                  <a:cubicBezTo>
                    <a:pt x="927840" y="1156283"/>
                    <a:pt x="996538" y="1109932"/>
                    <a:pt x="1053649" y="1052821"/>
                  </a:cubicBezTo>
                  <a:cubicBezTo>
                    <a:pt x="1110760" y="995711"/>
                    <a:pt x="1156283" y="927012"/>
                    <a:pt x="1186907" y="852520"/>
                  </a:cubicBezTo>
                  <a:cubicBezTo>
                    <a:pt x="1217532" y="778028"/>
                    <a:pt x="1233258" y="696915"/>
                    <a:pt x="1233258" y="616629"/>
                  </a:cubicBezTo>
                  <a:cubicBezTo>
                    <a:pt x="1233258" y="536343"/>
                    <a:pt x="1217532" y="455229"/>
                    <a:pt x="1186079" y="380737"/>
                  </a:cubicBezTo>
                  <a:cubicBezTo>
                    <a:pt x="1156283" y="306245"/>
                    <a:pt x="1110760" y="237547"/>
                    <a:pt x="1053649" y="181264"/>
                  </a:cubicBezTo>
                  <a:close/>
                  <a:moveTo>
                    <a:pt x="1154627" y="839277"/>
                  </a:moveTo>
                  <a:cubicBezTo>
                    <a:pt x="1125658" y="909631"/>
                    <a:pt x="1082618" y="974191"/>
                    <a:pt x="1028818" y="1027991"/>
                  </a:cubicBezTo>
                  <a:cubicBezTo>
                    <a:pt x="975019" y="1081790"/>
                    <a:pt x="910459" y="1124830"/>
                    <a:pt x="840105" y="1153799"/>
                  </a:cubicBezTo>
                  <a:cubicBezTo>
                    <a:pt x="769751" y="1182769"/>
                    <a:pt x="693604" y="1197667"/>
                    <a:pt x="617457" y="1197667"/>
                  </a:cubicBezTo>
                  <a:cubicBezTo>
                    <a:pt x="541309" y="1197667"/>
                    <a:pt x="465162" y="1182769"/>
                    <a:pt x="394808" y="1153799"/>
                  </a:cubicBezTo>
                  <a:cubicBezTo>
                    <a:pt x="324454" y="1124830"/>
                    <a:pt x="259895" y="1081790"/>
                    <a:pt x="206095" y="1027991"/>
                  </a:cubicBezTo>
                  <a:cubicBezTo>
                    <a:pt x="152295" y="974191"/>
                    <a:pt x="109255" y="909631"/>
                    <a:pt x="80286" y="839277"/>
                  </a:cubicBezTo>
                  <a:cubicBezTo>
                    <a:pt x="51317" y="768924"/>
                    <a:pt x="36418" y="692776"/>
                    <a:pt x="36418" y="617457"/>
                  </a:cubicBezTo>
                  <a:cubicBezTo>
                    <a:pt x="36418" y="541309"/>
                    <a:pt x="51317" y="465162"/>
                    <a:pt x="80286" y="394808"/>
                  </a:cubicBezTo>
                  <a:cubicBezTo>
                    <a:pt x="109255" y="324454"/>
                    <a:pt x="152295" y="259895"/>
                    <a:pt x="206095" y="206095"/>
                  </a:cubicBezTo>
                  <a:cubicBezTo>
                    <a:pt x="259895" y="152295"/>
                    <a:pt x="324454" y="109255"/>
                    <a:pt x="394808" y="80286"/>
                  </a:cubicBezTo>
                  <a:cubicBezTo>
                    <a:pt x="465162" y="51317"/>
                    <a:pt x="541309" y="36418"/>
                    <a:pt x="617457" y="36418"/>
                  </a:cubicBezTo>
                  <a:cubicBezTo>
                    <a:pt x="693604" y="36418"/>
                    <a:pt x="769751" y="51317"/>
                    <a:pt x="840105" y="80286"/>
                  </a:cubicBezTo>
                  <a:cubicBezTo>
                    <a:pt x="910459" y="109255"/>
                    <a:pt x="975019" y="152295"/>
                    <a:pt x="1028818" y="206095"/>
                  </a:cubicBezTo>
                  <a:cubicBezTo>
                    <a:pt x="1082618" y="259895"/>
                    <a:pt x="1125658" y="324454"/>
                    <a:pt x="1154627" y="394808"/>
                  </a:cubicBezTo>
                  <a:cubicBezTo>
                    <a:pt x="1183596" y="465162"/>
                    <a:pt x="1198495" y="541309"/>
                    <a:pt x="1198495" y="617457"/>
                  </a:cubicBezTo>
                  <a:cubicBezTo>
                    <a:pt x="1199322" y="692776"/>
                    <a:pt x="1183596" y="768924"/>
                    <a:pt x="1154627" y="839277"/>
                  </a:cubicBezTo>
                  <a:close/>
                </a:path>
              </a:pathLst>
            </a:custGeom>
            <a:grpFill/>
            <a:ln w="8252"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B1A8DA55-E6E1-4DE1-8653-88A7D7882FB0}"/>
                </a:ext>
              </a:extLst>
            </p:cNvPr>
            <p:cNvSpPr/>
            <p:nvPr/>
          </p:nvSpPr>
          <p:spPr>
            <a:xfrm>
              <a:off x="-560345" y="-586876"/>
              <a:ext cx="1119036" cy="1119036"/>
            </a:xfrm>
            <a:custGeom>
              <a:avLst/>
              <a:gdLst>
                <a:gd name="connsiteX0" fmla="*/ 559518 w 1119036"/>
                <a:gd name="connsiteY0" fmla="*/ 0 h 1119036"/>
                <a:gd name="connsiteX1" fmla="*/ 0 w 1119036"/>
                <a:gd name="connsiteY1" fmla="*/ 559518 h 1119036"/>
                <a:gd name="connsiteX2" fmla="*/ 559518 w 1119036"/>
                <a:gd name="connsiteY2" fmla="*/ 1119036 h 1119036"/>
                <a:gd name="connsiteX3" fmla="*/ 1119036 w 1119036"/>
                <a:gd name="connsiteY3" fmla="*/ 559518 h 1119036"/>
                <a:gd name="connsiteX4" fmla="*/ 559518 w 1119036"/>
                <a:gd name="connsiteY4" fmla="*/ 0 h 1119036"/>
                <a:gd name="connsiteX5" fmla="*/ 559518 w 1119036"/>
                <a:gd name="connsiteY5" fmla="*/ 1078480 h 1119036"/>
                <a:gd name="connsiteX6" fmla="*/ 40557 w 1119036"/>
                <a:gd name="connsiteY6" fmla="*/ 559518 h 1119036"/>
                <a:gd name="connsiteX7" fmla="*/ 559518 w 1119036"/>
                <a:gd name="connsiteY7" fmla="*/ 40557 h 1119036"/>
                <a:gd name="connsiteX8" fmla="*/ 1078480 w 1119036"/>
                <a:gd name="connsiteY8" fmla="*/ 559518 h 1119036"/>
                <a:gd name="connsiteX9" fmla="*/ 559518 w 1119036"/>
                <a:gd name="connsiteY9" fmla="*/ 1078480 h 111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9036" h="1119036">
                  <a:moveTo>
                    <a:pt x="559518" y="0"/>
                  </a:moveTo>
                  <a:cubicBezTo>
                    <a:pt x="250790" y="0"/>
                    <a:pt x="0" y="250790"/>
                    <a:pt x="0" y="559518"/>
                  </a:cubicBezTo>
                  <a:cubicBezTo>
                    <a:pt x="0" y="868247"/>
                    <a:pt x="250790" y="1119036"/>
                    <a:pt x="559518" y="1119036"/>
                  </a:cubicBezTo>
                  <a:cubicBezTo>
                    <a:pt x="868246" y="1119036"/>
                    <a:pt x="1119036" y="868247"/>
                    <a:pt x="1119036" y="559518"/>
                  </a:cubicBezTo>
                  <a:cubicBezTo>
                    <a:pt x="1119036" y="251618"/>
                    <a:pt x="868246" y="0"/>
                    <a:pt x="559518" y="0"/>
                  </a:cubicBezTo>
                  <a:close/>
                  <a:moveTo>
                    <a:pt x="559518" y="1078480"/>
                  </a:moveTo>
                  <a:cubicBezTo>
                    <a:pt x="273138" y="1078480"/>
                    <a:pt x="40557" y="845899"/>
                    <a:pt x="40557" y="559518"/>
                  </a:cubicBezTo>
                  <a:cubicBezTo>
                    <a:pt x="40557" y="273138"/>
                    <a:pt x="273138" y="40557"/>
                    <a:pt x="559518" y="40557"/>
                  </a:cubicBezTo>
                  <a:cubicBezTo>
                    <a:pt x="845899" y="40557"/>
                    <a:pt x="1078480" y="273138"/>
                    <a:pt x="1078480" y="559518"/>
                  </a:cubicBezTo>
                  <a:cubicBezTo>
                    <a:pt x="1078480" y="845899"/>
                    <a:pt x="845899" y="1078480"/>
                    <a:pt x="559518" y="1078480"/>
                  </a:cubicBezTo>
                  <a:close/>
                </a:path>
              </a:pathLst>
            </a:custGeom>
            <a:grpFill/>
            <a:ln w="8252"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BE3F40C-E7E0-405E-A941-20E0C9872F8C}"/>
                </a:ext>
              </a:extLst>
            </p:cNvPr>
            <p:cNvSpPr/>
            <p:nvPr/>
          </p:nvSpPr>
          <p:spPr>
            <a:xfrm>
              <a:off x="-504063" y="-530593"/>
              <a:ext cx="1006470" cy="1006470"/>
            </a:xfrm>
            <a:custGeom>
              <a:avLst/>
              <a:gdLst>
                <a:gd name="connsiteX0" fmla="*/ 503235 w 1006470"/>
                <a:gd name="connsiteY0" fmla="*/ 0 h 1006470"/>
                <a:gd name="connsiteX1" fmla="*/ 0 w 1006470"/>
                <a:gd name="connsiteY1" fmla="*/ 503235 h 1006470"/>
                <a:gd name="connsiteX2" fmla="*/ 503235 w 1006470"/>
                <a:gd name="connsiteY2" fmla="*/ 1006471 h 1006470"/>
                <a:gd name="connsiteX3" fmla="*/ 1006471 w 1006470"/>
                <a:gd name="connsiteY3" fmla="*/ 503235 h 1006470"/>
                <a:gd name="connsiteX4" fmla="*/ 503235 w 1006470"/>
                <a:gd name="connsiteY4" fmla="*/ 0 h 1006470"/>
                <a:gd name="connsiteX5" fmla="*/ 503235 w 1006470"/>
                <a:gd name="connsiteY5" fmla="*/ 958465 h 1006470"/>
                <a:gd name="connsiteX6" fmla="*/ 48006 w 1006470"/>
                <a:gd name="connsiteY6" fmla="*/ 503235 h 1006470"/>
                <a:gd name="connsiteX7" fmla="*/ 503235 w 1006470"/>
                <a:gd name="connsiteY7" fmla="*/ 48006 h 1006470"/>
                <a:gd name="connsiteX8" fmla="*/ 958465 w 1006470"/>
                <a:gd name="connsiteY8" fmla="*/ 503235 h 1006470"/>
                <a:gd name="connsiteX9" fmla="*/ 503235 w 1006470"/>
                <a:gd name="connsiteY9" fmla="*/ 958465 h 100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6470" h="1006470">
                  <a:moveTo>
                    <a:pt x="503235" y="0"/>
                  </a:moveTo>
                  <a:cubicBezTo>
                    <a:pt x="225959" y="0"/>
                    <a:pt x="0" y="225959"/>
                    <a:pt x="0" y="503235"/>
                  </a:cubicBezTo>
                  <a:cubicBezTo>
                    <a:pt x="0" y="780511"/>
                    <a:pt x="225959" y="1006471"/>
                    <a:pt x="503235" y="1006471"/>
                  </a:cubicBezTo>
                  <a:cubicBezTo>
                    <a:pt x="780511" y="1006471"/>
                    <a:pt x="1006471" y="780511"/>
                    <a:pt x="1006471" y="503235"/>
                  </a:cubicBezTo>
                  <a:cubicBezTo>
                    <a:pt x="1006471" y="225959"/>
                    <a:pt x="780511" y="0"/>
                    <a:pt x="503235" y="0"/>
                  </a:cubicBezTo>
                  <a:close/>
                  <a:moveTo>
                    <a:pt x="503235" y="958465"/>
                  </a:moveTo>
                  <a:cubicBezTo>
                    <a:pt x="252445" y="958465"/>
                    <a:pt x="48006" y="754025"/>
                    <a:pt x="48006" y="503235"/>
                  </a:cubicBezTo>
                  <a:cubicBezTo>
                    <a:pt x="48006" y="252445"/>
                    <a:pt x="252445" y="48006"/>
                    <a:pt x="503235" y="48006"/>
                  </a:cubicBezTo>
                  <a:cubicBezTo>
                    <a:pt x="754025" y="48006"/>
                    <a:pt x="958465" y="252445"/>
                    <a:pt x="958465" y="503235"/>
                  </a:cubicBezTo>
                  <a:cubicBezTo>
                    <a:pt x="958465" y="754025"/>
                    <a:pt x="754025" y="958465"/>
                    <a:pt x="503235" y="958465"/>
                  </a:cubicBezTo>
                  <a:close/>
                </a:path>
              </a:pathLst>
            </a:custGeom>
            <a:grpFill/>
            <a:ln w="8252"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F53F3B91-C61C-4B40-842F-018C3BCB850B}"/>
                </a:ext>
              </a:extLst>
            </p:cNvPr>
            <p:cNvSpPr/>
            <p:nvPr/>
          </p:nvSpPr>
          <p:spPr>
            <a:xfrm>
              <a:off x="-446124" y="-472655"/>
              <a:ext cx="890594" cy="890594"/>
            </a:xfrm>
            <a:custGeom>
              <a:avLst/>
              <a:gdLst>
                <a:gd name="connsiteX0" fmla="*/ 445297 w 890594"/>
                <a:gd name="connsiteY0" fmla="*/ 0 h 890594"/>
                <a:gd name="connsiteX1" fmla="*/ 0 w 890594"/>
                <a:gd name="connsiteY1" fmla="*/ 445297 h 890594"/>
                <a:gd name="connsiteX2" fmla="*/ 445297 w 890594"/>
                <a:gd name="connsiteY2" fmla="*/ 890594 h 890594"/>
                <a:gd name="connsiteX3" fmla="*/ 890594 w 890594"/>
                <a:gd name="connsiteY3" fmla="*/ 445297 h 890594"/>
                <a:gd name="connsiteX4" fmla="*/ 445297 w 890594"/>
                <a:gd name="connsiteY4" fmla="*/ 0 h 890594"/>
                <a:gd name="connsiteX5" fmla="*/ 445297 w 890594"/>
                <a:gd name="connsiteY5" fmla="*/ 838450 h 890594"/>
                <a:gd name="connsiteX6" fmla="*/ 52144 w 890594"/>
                <a:gd name="connsiteY6" fmla="*/ 445297 h 890594"/>
                <a:gd name="connsiteX7" fmla="*/ 445297 w 890594"/>
                <a:gd name="connsiteY7" fmla="*/ 52144 h 890594"/>
                <a:gd name="connsiteX8" fmla="*/ 838450 w 890594"/>
                <a:gd name="connsiteY8" fmla="*/ 445297 h 890594"/>
                <a:gd name="connsiteX9" fmla="*/ 445297 w 890594"/>
                <a:gd name="connsiteY9" fmla="*/ 838450 h 89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594" h="890594">
                  <a:moveTo>
                    <a:pt x="445297" y="0"/>
                  </a:moveTo>
                  <a:cubicBezTo>
                    <a:pt x="199473" y="0"/>
                    <a:pt x="0" y="199473"/>
                    <a:pt x="0" y="445297"/>
                  </a:cubicBezTo>
                  <a:cubicBezTo>
                    <a:pt x="0" y="691121"/>
                    <a:pt x="199473" y="890594"/>
                    <a:pt x="445297" y="890594"/>
                  </a:cubicBezTo>
                  <a:cubicBezTo>
                    <a:pt x="691121" y="890594"/>
                    <a:pt x="890594" y="691121"/>
                    <a:pt x="890594" y="445297"/>
                  </a:cubicBezTo>
                  <a:cubicBezTo>
                    <a:pt x="890594" y="200301"/>
                    <a:pt x="691121" y="0"/>
                    <a:pt x="445297" y="0"/>
                  </a:cubicBezTo>
                  <a:close/>
                  <a:moveTo>
                    <a:pt x="445297" y="838450"/>
                  </a:moveTo>
                  <a:cubicBezTo>
                    <a:pt x="228442" y="838450"/>
                    <a:pt x="52144" y="662152"/>
                    <a:pt x="52144" y="445297"/>
                  </a:cubicBezTo>
                  <a:cubicBezTo>
                    <a:pt x="52144" y="228442"/>
                    <a:pt x="228442" y="52144"/>
                    <a:pt x="445297" y="52144"/>
                  </a:cubicBezTo>
                  <a:cubicBezTo>
                    <a:pt x="662152" y="52144"/>
                    <a:pt x="838450" y="228442"/>
                    <a:pt x="838450" y="445297"/>
                  </a:cubicBezTo>
                  <a:cubicBezTo>
                    <a:pt x="838450" y="662152"/>
                    <a:pt x="662152" y="838450"/>
                    <a:pt x="445297" y="838450"/>
                  </a:cubicBezTo>
                  <a:close/>
                </a:path>
              </a:pathLst>
            </a:custGeom>
            <a:grpFill/>
            <a:ln w="8252" cap="flat">
              <a:noFill/>
              <a:prstDash val="solid"/>
              <a:miter/>
            </a:ln>
          </p:spPr>
          <p:txBody>
            <a:bodyPr rtlCol="0" anchor="ctr"/>
            <a:lstStyle/>
            <a:p>
              <a:endParaRPr lang="en-US"/>
            </a:p>
          </p:txBody>
        </p:sp>
      </p:grpSp>
      <p:sp>
        <p:nvSpPr>
          <p:cNvPr id="31" name="AutoShape 2" descr="Formaldehyde Sensirion">
            <a:extLst>
              <a:ext uri="{FF2B5EF4-FFF2-40B4-BE49-F238E27FC236}">
                <a16:creationId xmlns:a16="http://schemas.microsoft.com/office/drawing/2014/main" id="{C5AFDDF9-E43C-48BB-AA01-3329FA148B56}"/>
              </a:ext>
            </a:extLst>
          </p:cNvPr>
          <p:cNvSpPr>
            <a:spLocks noChangeAspect="1" noChangeArrowheads="1"/>
          </p:cNvSpPr>
          <p:nvPr/>
        </p:nvSpPr>
        <p:spPr bwMode="auto">
          <a:xfrm>
            <a:off x="-1710777" y="236670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nvGrpSpPr>
          <p:cNvPr id="42" name="Group 41">
            <a:extLst>
              <a:ext uri="{FF2B5EF4-FFF2-40B4-BE49-F238E27FC236}">
                <a16:creationId xmlns:a16="http://schemas.microsoft.com/office/drawing/2014/main" id="{280350FB-0BEF-4932-A562-80D6257F0A38}"/>
              </a:ext>
            </a:extLst>
          </p:cNvPr>
          <p:cNvGrpSpPr/>
          <p:nvPr/>
        </p:nvGrpSpPr>
        <p:grpSpPr>
          <a:xfrm>
            <a:off x="839769" y="6387669"/>
            <a:ext cx="5150521" cy="235359"/>
            <a:chOff x="839769" y="6387669"/>
            <a:chExt cx="5150521" cy="235359"/>
          </a:xfrm>
        </p:grpSpPr>
        <p:grpSp>
          <p:nvGrpSpPr>
            <p:cNvPr id="43" name="Gruppierung 1">
              <a:extLst>
                <a:ext uri="{FF2B5EF4-FFF2-40B4-BE49-F238E27FC236}">
                  <a16:creationId xmlns:a16="http://schemas.microsoft.com/office/drawing/2014/main" id="{8E97F148-A765-464B-92DF-9AF45ABA8AD0}"/>
                </a:ext>
              </a:extLst>
            </p:cNvPr>
            <p:cNvGrpSpPr/>
            <p:nvPr/>
          </p:nvGrpSpPr>
          <p:grpSpPr>
            <a:xfrm>
              <a:off x="839769" y="6387669"/>
              <a:ext cx="5150521" cy="235359"/>
              <a:chOff x="839769" y="6369739"/>
              <a:chExt cx="5150521" cy="235359"/>
            </a:xfrm>
          </p:grpSpPr>
          <p:sp>
            <p:nvSpPr>
              <p:cNvPr id="45" name="Fußzeilenplatzhalter 4">
                <a:extLst>
                  <a:ext uri="{FF2B5EF4-FFF2-40B4-BE49-F238E27FC236}">
                    <a16:creationId xmlns:a16="http://schemas.microsoft.com/office/drawing/2014/main" id="{F5450457-7C44-44AE-9C3A-EF423A77C8BE}"/>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46" name="Fußzeilenplatzhalter 4">
                <a:extLst>
                  <a:ext uri="{FF2B5EF4-FFF2-40B4-BE49-F238E27FC236}">
                    <a16:creationId xmlns:a16="http://schemas.microsoft.com/office/drawing/2014/main" id="{D2A8B8C6-1113-4D40-BE84-CF404CD61C19}"/>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44" name="Straight Connector 43">
              <a:extLst>
                <a:ext uri="{FF2B5EF4-FFF2-40B4-BE49-F238E27FC236}">
                  <a16:creationId xmlns:a16="http://schemas.microsoft.com/office/drawing/2014/main" id="{DFA724F7-FF78-4DAD-97F9-3FEED8B1A5A2}"/>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7" name="TextBox 46">
            <a:extLst>
              <a:ext uri="{FF2B5EF4-FFF2-40B4-BE49-F238E27FC236}">
                <a16:creationId xmlns:a16="http://schemas.microsoft.com/office/drawing/2014/main" id="{B1F75D1B-72D1-458E-A66A-7A4B5C34800C}"/>
              </a:ext>
            </a:extLst>
          </p:cNvPr>
          <p:cNvSpPr txBox="1"/>
          <p:nvPr/>
        </p:nvSpPr>
        <p:spPr>
          <a:xfrm>
            <a:off x="752798" y="743519"/>
            <a:ext cx="8198042" cy="646331"/>
          </a:xfrm>
          <a:prstGeom prst="rect">
            <a:avLst/>
          </a:prstGeom>
          <a:noFill/>
        </p:spPr>
        <p:txBody>
          <a:bodyPr wrap="square">
            <a:spAutoFit/>
          </a:bodyPr>
          <a:lstStyle/>
          <a:p>
            <a:r>
              <a:rPr lang="en-US" sz="3600" b="1" dirty="0">
                <a:solidFill>
                  <a:schemeClr val="accent1"/>
                </a:solidFill>
              </a:rPr>
              <a:t>SCD4x: a truly disruptive CO</a:t>
            </a:r>
            <a:r>
              <a:rPr lang="en-US" sz="3600" b="1" baseline="-25000" dirty="0">
                <a:solidFill>
                  <a:schemeClr val="accent1"/>
                </a:solidFill>
              </a:rPr>
              <a:t>2</a:t>
            </a:r>
            <a:r>
              <a:rPr lang="en-US" sz="3600" b="1" dirty="0">
                <a:solidFill>
                  <a:schemeClr val="accent1"/>
                </a:solidFill>
              </a:rPr>
              <a:t> sensor</a:t>
            </a:r>
          </a:p>
        </p:txBody>
      </p:sp>
      <p:sp>
        <p:nvSpPr>
          <p:cNvPr id="48" name="object 11">
            <a:extLst>
              <a:ext uri="{FF2B5EF4-FFF2-40B4-BE49-F238E27FC236}">
                <a16:creationId xmlns:a16="http://schemas.microsoft.com/office/drawing/2014/main" id="{4202EF42-14C1-C642-A41A-0A2764337F59}"/>
              </a:ext>
            </a:extLst>
          </p:cNvPr>
          <p:cNvSpPr/>
          <p:nvPr/>
        </p:nvSpPr>
        <p:spPr>
          <a:xfrm>
            <a:off x="9858579" y="6415912"/>
            <a:ext cx="1493634" cy="145006"/>
          </a:xfrm>
          <a:custGeom>
            <a:avLst/>
            <a:gdLst/>
            <a:ahLst/>
            <a:cxnLst/>
            <a:rect l="l" t="t" r="r" b="b"/>
            <a:pathLst>
              <a:path w="3917950" h="380364">
                <a:moveTo>
                  <a:pt x="438912" y="7175"/>
                </a:moveTo>
                <a:lnTo>
                  <a:pt x="170980" y="7175"/>
                </a:lnTo>
                <a:lnTo>
                  <a:pt x="108643" y="11199"/>
                </a:lnTo>
                <a:lnTo>
                  <a:pt x="60671" y="23721"/>
                </a:lnTo>
                <a:lnTo>
                  <a:pt x="26769" y="45421"/>
                </a:lnTo>
                <a:lnTo>
                  <a:pt x="6643" y="76975"/>
                </a:lnTo>
                <a:lnTo>
                  <a:pt x="0" y="119062"/>
                </a:lnTo>
                <a:lnTo>
                  <a:pt x="6182" y="158120"/>
                </a:lnTo>
                <a:lnTo>
                  <a:pt x="25034" y="187643"/>
                </a:lnTo>
                <a:lnTo>
                  <a:pt x="57011" y="208121"/>
                </a:lnTo>
                <a:lnTo>
                  <a:pt x="102570" y="220047"/>
                </a:lnTo>
                <a:lnTo>
                  <a:pt x="162166" y="223913"/>
                </a:lnTo>
                <a:lnTo>
                  <a:pt x="282905" y="223913"/>
                </a:lnTo>
                <a:lnTo>
                  <a:pt x="315141" y="225930"/>
                </a:lnTo>
                <a:lnTo>
                  <a:pt x="337769" y="232808"/>
                </a:lnTo>
                <a:lnTo>
                  <a:pt x="351110" y="245789"/>
                </a:lnTo>
                <a:lnTo>
                  <a:pt x="355485" y="266115"/>
                </a:lnTo>
                <a:lnTo>
                  <a:pt x="350716" y="285891"/>
                </a:lnTo>
                <a:lnTo>
                  <a:pt x="336151" y="298589"/>
                </a:lnTo>
                <a:lnTo>
                  <a:pt x="311406" y="305363"/>
                </a:lnTo>
                <a:lnTo>
                  <a:pt x="276098" y="307365"/>
                </a:lnTo>
                <a:lnTo>
                  <a:pt x="19685" y="307365"/>
                </a:lnTo>
                <a:lnTo>
                  <a:pt x="19685" y="372478"/>
                </a:lnTo>
                <a:lnTo>
                  <a:pt x="292392" y="372478"/>
                </a:lnTo>
                <a:lnTo>
                  <a:pt x="354386" y="368478"/>
                </a:lnTo>
                <a:lnTo>
                  <a:pt x="402148" y="356103"/>
                </a:lnTo>
                <a:lnTo>
                  <a:pt x="435941" y="334789"/>
                </a:lnTo>
                <a:lnTo>
                  <a:pt x="456024" y="303973"/>
                </a:lnTo>
                <a:lnTo>
                  <a:pt x="462661" y="263093"/>
                </a:lnTo>
                <a:lnTo>
                  <a:pt x="456924" y="223039"/>
                </a:lnTo>
                <a:lnTo>
                  <a:pt x="439237" y="193765"/>
                </a:lnTo>
                <a:lnTo>
                  <a:pt x="408886" y="174192"/>
                </a:lnTo>
                <a:lnTo>
                  <a:pt x="365154" y="163240"/>
                </a:lnTo>
                <a:lnTo>
                  <a:pt x="307327" y="159829"/>
                </a:lnTo>
                <a:lnTo>
                  <a:pt x="171653" y="159829"/>
                </a:lnTo>
                <a:lnTo>
                  <a:pt x="143558" y="157344"/>
                </a:lnTo>
                <a:lnTo>
                  <a:pt x="123405" y="149890"/>
                </a:lnTo>
                <a:lnTo>
                  <a:pt x="111263" y="137471"/>
                </a:lnTo>
                <a:lnTo>
                  <a:pt x="107200" y="120091"/>
                </a:lnTo>
                <a:lnTo>
                  <a:pt x="111961" y="98466"/>
                </a:lnTo>
                <a:lnTo>
                  <a:pt x="126452" y="83607"/>
                </a:lnTo>
                <a:lnTo>
                  <a:pt x="150990" y="75039"/>
                </a:lnTo>
                <a:lnTo>
                  <a:pt x="185889" y="72288"/>
                </a:lnTo>
                <a:lnTo>
                  <a:pt x="438912" y="72288"/>
                </a:lnTo>
                <a:lnTo>
                  <a:pt x="438912" y="7175"/>
                </a:lnTo>
                <a:close/>
              </a:path>
              <a:path w="3917950" h="380364">
                <a:moveTo>
                  <a:pt x="908342" y="7175"/>
                </a:moveTo>
                <a:lnTo>
                  <a:pt x="738060" y="7175"/>
                </a:lnTo>
                <a:lnTo>
                  <a:pt x="676022" y="10877"/>
                </a:lnTo>
                <a:lnTo>
                  <a:pt x="624082" y="22091"/>
                </a:lnTo>
                <a:lnTo>
                  <a:pt x="582038" y="40976"/>
                </a:lnTo>
                <a:lnTo>
                  <a:pt x="549688" y="67694"/>
                </a:lnTo>
                <a:lnTo>
                  <a:pt x="526831" y="102404"/>
                </a:lnTo>
                <a:lnTo>
                  <a:pt x="513264" y="145267"/>
                </a:lnTo>
                <a:lnTo>
                  <a:pt x="508787" y="196443"/>
                </a:lnTo>
                <a:lnTo>
                  <a:pt x="513385" y="242623"/>
                </a:lnTo>
                <a:lnTo>
                  <a:pt x="527267" y="281979"/>
                </a:lnTo>
                <a:lnTo>
                  <a:pt x="550562" y="314556"/>
                </a:lnTo>
                <a:lnTo>
                  <a:pt x="583399" y="340398"/>
                </a:lnTo>
                <a:lnTo>
                  <a:pt x="618874" y="357422"/>
                </a:lnTo>
                <a:lnTo>
                  <a:pt x="693386" y="371469"/>
                </a:lnTo>
                <a:lnTo>
                  <a:pt x="735355" y="372478"/>
                </a:lnTo>
                <a:lnTo>
                  <a:pt x="908342" y="372478"/>
                </a:lnTo>
                <a:lnTo>
                  <a:pt x="908342" y="308876"/>
                </a:lnTo>
                <a:lnTo>
                  <a:pt x="740117" y="308876"/>
                </a:lnTo>
                <a:lnTo>
                  <a:pt x="688027" y="304111"/>
                </a:lnTo>
                <a:lnTo>
                  <a:pt x="652094" y="288707"/>
                </a:lnTo>
                <a:lnTo>
                  <a:pt x="631172" y="261004"/>
                </a:lnTo>
                <a:lnTo>
                  <a:pt x="624116" y="219341"/>
                </a:lnTo>
                <a:lnTo>
                  <a:pt x="908342" y="219341"/>
                </a:lnTo>
                <a:lnTo>
                  <a:pt x="908342" y="155778"/>
                </a:lnTo>
                <a:lnTo>
                  <a:pt x="624789" y="155778"/>
                </a:lnTo>
                <a:lnTo>
                  <a:pt x="634126" y="118225"/>
                </a:lnTo>
                <a:lnTo>
                  <a:pt x="656250" y="91703"/>
                </a:lnTo>
                <a:lnTo>
                  <a:pt x="691476" y="75968"/>
                </a:lnTo>
                <a:lnTo>
                  <a:pt x="740117" y="70777"/>
                </a:lnTo>
                <a:lnTo>
                  <a:pt x="908342" y="70777"/>
                </a:lnTo>
                <a:lnTo>
                  <a:pt x="908342" y="7175"/>
                </a:lnTo>
                <a:close/>
              </a:path>
              <a:path w="3917950" h="380364">
                <a:moveTo>
                  <a:pt x="1127442" y="7175"/>
                </a:moveTo>
                <a:lnTo>
                  <a:pt x="997877" y="7175"/>
                </a:lnTo>
                <a:lnTo>
                  <a:pt x="997877" y="372478"/>
                </a:lnTo>
                <a:lnTo>
                  <a:pt x="1098511" y="373087"/>
                </a:lnTo>
                <a:lnTo>
                  <a:pt x="1098245" y="96189"/>
                </a:lnTo>
                <a:lnTo>
                  <a:pt x="1195059" y="96189"/>
                </a:lnTo>
                <a:lnTo>
                  <a:pt x="1127442" y="7175"/>
                </a:lnTo>
                <a:close/>
              </a:path>
              <a:path w="3917950" h="380364">
                <a:moveTo>
                  <a:pt x="1195059" y="96189"/>
                </a:moveTo>
                <a:lnTo>
                  <a:pt x="1098245" y="96189"/>
                </a:lnTo>
                <a:lnTo>
                  <a:pt x="1307884" y="372478"/>
                </a:lnTo>
                <a:lnTo>
                  <a:pt x="1426603" y="372478"/>
                </a:lnTo>
                <a:lnTo>
                  <a:pt x="1426721" y="269697"/>
                </a:lnTo>
                <a:lnTo>
                  <a:pt x="1326857" y="269697"/>
                </a:lnTo>
                <a:lnTo>
                  <a:pt x="1195059" y="96189"/>
                </a:lnTo>
                <a:close/>
              </a:path>
              <a:path w="3917950" h="380364">
                <a:moveTo>
                  <a:pt x="1427022" y="5727"/>
                </a:moveTo>
                <a:lnTo>
                  <a:pt x="1327162" y="6235"/>
                </a:lnTo>
                <a:lnTo>
                  <a:pt x="1326857" y="269697"/>
                </a:lnTo>
                <a:lnTo>
                  <a:pt x="1426721" y="269697"/>
                </a:lnTo>
                <a:lnTo>
                  <a:pt x="1427022" y="5727"/>
                </a:lnTo>
                <a:close/>
              </a:path>
              <a:path w="3917950" h="380364">
                <a:moveTo>
                  <a:pt x="1937397" y="7175"/>
                </a:moveTo>
                <a:lnTo>
                  <a:pt x="1669414" y="7175"/>
                </a:lnTo>
                <a:lnTo>
                  <a:pt x="1607102" y="11199"/>
                </a:lnTo>
                <a:lnTo>
                  <a:pt x="1559141" y="23721"/>
                </a:lnTo>
                <a:lnTo>
                  <a:pt x="1525243" y="45421"/>
                </a:lnTo>
                <a:lnTo>
                  <a:pt x="1505117" y="76975"/>
                </a:lnTo>
                <a:lnTo>
                  <a:pt x="1498473" y="119062"/>
                </a:lnTo>
                <a:lnTo>
                  <a:pt x="1504655" y="158120"/>
                </a:lnTo>
                <a:lnTo>
                  <a:pt x="1523505" y="187643"/>
                </a:lnTo>
                <a:lnTo>
                  <a:pt x="1555476" y="208121"/>
                </a:lnTo>
                <a:lnTo>
                  <a:pt x="1601023" y="220047"/>
                </a:lnTo>
                <a:lnTo>
                  <a:pt x="1660601" y="223913"/>
                </a:lnTo>
                <a:lnTo>
                  <a:pt x="1781365" y="223913"/>
                </a:lnTo>
                <a:lnTo>
                  <a:pt x="1813585" y="225930"/>
                </a:lnTo>
                <a:lnTo>
                  <a:pt x="1836215" y="232808"/>
                </a:lnTo>
                <a:lnTo>
                  <a:pt x="1849565" y="245789"/>
                </a:lnTo>
                <a:lnTo>
                  <a:pt x="1853945" y="266115"/>
                </a:lnTo>
                <a:lnTo>
                  <a:pt x="1849175" y="285891"/>
                </a:lnTo>
                <a:lnTo>
                  <a:pt x="1834610" y="298589"/>
                </a:lnTo>
                <a:lnTo>
                  <a:pt x="1809872" y="305363"/>
                </a:lnTo>
                <a:lnTo>
                  <a:pt x="1774583" y="307365"/>
                </a:lnTo>
                <a:lnTo>
                  <a:pt x="1518145" y="307365"/>
                </a:lnTo>
                <a:lnTo>
                  <a:pt x="1518145" y="372478"/>
                </a:lnTo>
                <a:lnTo>
                  <a:pt x="1790865" y="372478"/>
                </a:lnTo>
                <a:lnTo>
                  <a:pt x="1852857" y="368478"/>
                </a:lnTo>
                <a:lnTo>
                  <a:pt x="1900617" y="356103"/>
                </a:lnTo>
                <a:lnTo>
                  <a:pt x="1934405" y="334789"/>
                </a:lnTo>
                <a:lnTo>
                  <a:pt x="1954486" y="303973"/>
                </a:lnTo>
                <a:lnTo>
                  <a:pt x="1961121" y="263093"/>
                </a:lnTo>
                <a:lnTo>
                  <a:pt x="1955387" y="223039"/>
                </a:lnTo>
                <a:lnTo>
                  <a:pt x="1937705" y="193765"/>
                </a:lnTo>
                <a:lnTo>
                  <a:pt x="1907357" y="174192"/>
                </a:lnTo>
                <a:lnTo>
                  <a:pt x="1863624" y="163240"/>
                </a:lnTo>
                <a:lnTo>
                  <a:pt x="1805787" y="159829"/>
                </a:lnTo>
                <a:lnTo>
                  <a:pt x="1670100" y="159829"/>
                </a:lnTo>
                <a:lnTo>
                  <a:pt x="1642012" y="157344"/>
                </a:lnTo>
                <a:lnTo>
                  <a:pt x="1621872" y="149890"/>
                </a:lnTo>
                <a:lnTo>
                  <a:pt x="1609743" y="137471"/>
                </a:lnTo>
                <a:lnTo>
                  <a:pt x="1605686" y="120091"/>
                </a:lnTo>
                <a:lnTo>
                  <a:pt x="1610440" y="98466"/>
                </a:lnTo>
                <a:lnTo>
                  <a:pt x="1624917" y="83607"/>
                </a:lnTo>
                <a:lnTo>
                  <a:pt x="1649438" y="75039"/>
                </a:lnTo>
                <a:lnTo>
                  <a:pt x="1684324" y="72288"/>
                </a:lnTo>
                <a:lnTo>
                  <a:pt x="1937397" y="72288"/>
                </a:lnTo>
                <a:lnTo>
                  <a:pt x="1937397" y="7175"/>
                </a:lnTo>
                <a:close/>
              </a:path>
              <a:path w="3917950" h="380364">
                <a:moveTo>
                  <a:pt x="2145626" y="7175"/>
                </a:moveTo>
                <a:lnTo>
                  <a:pt x="2038477" y="7175"/>
                </a:lnTo>
                <a:lnTo>
                  <a:pt x="2038477" y="372478"/>
                </a:lnTo>
                <a:lnTo>
                  <a:pt x="2145626" y="372478"/>
                </a:lnTo>
                <a:lnTo>
                  <a:pt x="2145626" y="7175"/>
                </a:lnTo>
                <a:close/>
              </a:path>
              <a:path w="3917950" h="380364">
                <a:moveTo>
                  <a:pt x="2499055" y="7175"/>
                </a:moveTo>
                <a:lnTo>
                  <a:pt x="2246642" y="7175"/>
                </a:lnTo>
                <a:lnTo>
                  <a:pt x="2246642" y="372478"/>
                </a:lnTo>
                <a:lnTo>
                  <a:pt x="2349144" y="372478"/>
                </a:lnTo>
                <a:lnTo>
                  <a:pt x="2349144" y="229019"/>
                </a:lnTo>
                <a:lnTo>
                  <a:pt x="2578237" y="229019"/>
                </a:lnTo>
                <a:lnTo>
                  <a:pt x="2570924" y="219824"/>
                </a:lnTo>
                <a:lnTo>
                  <a:pt x="2612925" y="207406"/>
                </a:lnTo>
                <a:lnTo>
                  <a:pt x="2643787" y="185796"/>
                </a:lnTo>
                <a:lnTo>
                  <a:pt x="2657236" y="164388"/>
                </a:lnTo>
                <a:lnTo>
                  <a:pt x="2349144" y="164388"/>
                </a:lnTo>
                <a:lnTo>
                  <a:pt x="2349144" y="72288"/>
                </a:lnTo>
                <a:lnTo>
                  <a:pt x="2660169" y="72288"/>
                </a:lnTo>
                <a:lnTo>
                  <a:pt x="2642577" y="45198"/>
                </a:lnTo>
                <a:lnTo>
                  <a:pt x="2608779" y="23733"/>
                </a:lnTo>
                <a:lnTo>
                  <a:pt x="2561023" y="11229"/>
                </a:lnTo>
                <a:lnTo>
                  <a:pt x="2499055" y="7175"/>
                </a:lnTo>
                <a:close/>
              </a:path>
              <a:path w="3917950" h="380364">
                <a:moveTo>
                  <a:pt x="2578237" y="229019"/>
                </a:moveTo>
                <a:lnTo>
                  <a:pt x="2469908" y="229019"/>
                </a:lnTo>
                <a:lnTo>
                  <a:pt x="2577045" y="372478"/>
                </a:lnTo>
                <a:lnTo>
                  <a:pt x="2692336" y="372478"/>
                </a:lnTo>
                <a:lnTo>
                  <a:pt x="2578237" y="229019"/>
                </a:lnTo>
                <a:close/>
              </a:path>
              <a:path w="3917950" h="380364">
                <a:moveTo>
                  <a:pt x="2660169" y="72288"/>
                </a:moveTo>
                <a:lnTo>
                  <a:pt x="2474607" y="72288"/>
                </a:lnTo>
                <a:lnTo>
                  <a:pt x="2514574" y="74154"/>
                </a:lnTo>
                <a:lnTo>
                  <a:pt x="2542965" y="81086"/>
                </a:lnTo>
                <a:lnTo>
                  <a:pt x="2559907" y="95080"/>
                </a:lnTo>
                <a:lnTo>
                  <a:pt x="2565527" y="118135"/>
                </a:lnTo>
                <a:lnTo>
                  <a:pt x="2559907" y="140996"/>
                </a:lnTo>
                <a:lnTo>
                  <a:pt x="2542965" y="155159"/>
                </a:lnTo>
                <a:lnTo>
                  <a:pt x="2514574" y="162373"/>
                </a:lnTo>
                <a:lnTo>
                  <a:pt x="2474607" y="164388"/>
                </a:lnTo>
                <a:lnTo>
                  <a:pt x="2657236" y="164388"/>
                </a:lnTo>
                <a:lnTo>
                  <a:pt x="2662814" y="155510"/>
                </a:lnTo>
                <a:lnTo>
                  <a:pt x="2669311" y="117068"/>
                </a:lnTo>
                <a:lnTo>
                  <a:pt x="2662670" y="76139"/>
                </a:lnTo>
                <a:lnTo>
                  <a:pt x="2660169" y="72288"/>
                </a:lnTo>
                <a:close/>
              </a:path>
              <a:path w="3917950" h="380364">
                <a:moveTo>
                  <a:pt x="2863354" y="7175"/>
                </a:moveTo>
                <a:lnTo>
                  <a:pt x="2756103" y="7175"/>
                </a:lnTo>
                <a:lnTo>
                  <a:pt x="2756103" y="372478"/>
                </a:lnTo>
                <a:lnTo>
                  <a:pt x="2863354" y="372478"/>
                </a:lnTo>
                <a:lnTo>
                  <a:pt x="2863354" y="7175"/>
                </a:lnTo>
                <a:close/>
              </a:path>
              <a:path w="3917950" h="380364">
                <a:moveTo>
                  <a:pt x="3176003" y="0"/>
                </a:moveTo>
                <a:lnTo>
                  <a:pt x="3118606" y="2856"/>
                </a:lnTo>
                <a:lnTo>
                  <a:pt x="3069116" y="11432"/>
                </a:lnTo>
                <a:lnTo>
                  <a:pt x="3027357" y="25802"/>
                </a:lnTo>
                <a:lnTo>
                  <a:pt x="2993315" y="46010"/>
                </a:lnTo>
                <a:lnTo>
                  <a:pt x="2948158" y="104150"/>
                </a:lnTo>
                <a:lnTo>
                  <a:pt x="2936934" y="142187"/>
                </a:lnTo>
                <a:lnTo>
                  <a:pt x="2933204" y="186270"/>
                </a:lnTo>
                <a:lnTo>
                  <a:pt x="2936765" y="232712"/>
                </a:lnTo>
                <a:lnTo>
                  <a:pt x="2947580" y="272562"/>
                </a:lnTo>
                <a:lnTo>
                  <a:pt x="2991772" y="332981"/>
                </a:lnTo>
                <a:lnTo>
                  <a:pt x="3025549" y="353796"/>
                </a:lnTo>
                <a:lnTo>
                  <a:pt x="3067380" y="368511"/>
                </a:lnTo>
                <a:lnTo>
                  <a:pt x="3117465" y="377250"/>
                </a:lnTo>
                <a:lnTo>
                  <a:pt x="3176003" y="380136"/>
                </a:lnTo>
                <a:lnTo>
                  <a:pt x="3234011" y="377250"/>
                </a:lnTo>
                <a:lnTo>
                  <a:pt x="3283803" y="368566"/>
                </a:lnTo>
                <a:lnTo>
                  <a:pt x="3325623" y="353982"/>
                </a:lnTo>
                <a:lnTo>
                  <a:pt x="3359557" y="333424"/>
                </a:lnTo>
                <a:lnTo>
                  <a:pt x="3375693" y="317017"/>
                </a:lnTo>
                <a:lnTo>
                  <a:pt x="3176003" y="317017"/>
                </a:lnTo>
                <a:lnTo>
                  <a:pt x="3127238" y="312018"/>
                </a:lnTo>
                <a:lnTo>
                  <a:pt x="3090372" y="296811"/>
                </a:lnTo>
                <a:lnTo>
                  <a:pt x="3064795" y="271077"/>
                </a:lnTo>
                <a:lnTo>
                  <a:pt x="3049896" y="234497"/>
                </a:lnTo>
                <a:lnTo>
                  <a:pt x="3045066" y="186753"/>
                </a:lnTo>
                <a:lnTo>
                  <a:pt x="3050221" y="142009"/>
                </a:lnTo>
                <a:lnTo>
                  <a:pt x="3065768" y="107249"/>
                </a:lnTo>
                <a:lnTo>
                  <a:pt x="3091832" y="82448"/>
                </a:lnTo>
                <a:lnTo>
                  <a:pt x="3128535" y="67585"/>
                </a:lnTo>
                <a:lnTo>
                  <a:pt x="3176003" y="62636"/>
                </a:lnTo>
                <a:lnTo>
                  <a:pt x="3375529" y="62636"/>
                </a:lnTo>
                <a:lnTo>
                  <a:pt x="3359557" y="46453"/>
                </a:lnTo>
                <a:lnTo>
                  <a:pt x="3325623" y="25989"/>
                </a:lnTo>
                <a:lnTo>
                  <a:pt x="3283803" y="11488"/>
                </a:lnTo>
                <a:lnTo>
                  <a:pt x="3233971" y="2856"/>
                </a:lnTo>
                <a:lnTo>
                  <a:pt x="3176003" y="0"/>
                </a:lnTo>
                <a:close/>
              </a:path>
              <a:path w="3917950" h="380364">
                <a:moveTo>
                  <a:pt x="3375529" y="62636"/>
                </a:moveTo>
                <a:lnTo>
                  <a:pt x="3176003" y="62636"/>
                </a:lnTo>
                <a:lnTo>
                  <a:pt x="3224355" y="67610"/>
                </a:lnTo>
                <a:lnTo>
                  <a:pt x="3261327" y="82644"/>
                </a:lnTo>
                <a:lnTo>
                  <a:pt x="3287284" y="107910"/>
                </a:lnTo>
                <a:lnTo>
                  <a:pt x="3302592" y="143576"/>
                </a:lnTo>
                <a:lnTo>
                  <a:pt x="3307613" y="189814"/>
                </a:lnTo>
                <a:lnTo>
                  <a:pt x="3302592" y="236064"/>
                </a:lnTo>
                <a:lnTo>
                  <a:pt x="3287284" y="271738"/>
                </a:lnTo>
                <a:lnTo>
                  <a:pt x="3261327" y="297007"/>
                </a:lnTo>
                <a:lnTo>
                  <a:pt x="3224355" y="312043"/>
                </a:lnTo>
                <a:lnTo>
                  <a:pt x="3176003" y="317017"/>
                </a:lnTo>
                <a:lnTo>
                  <a:pt x="3375693" y="317017"/>
                </a:lnTo>
                <a:lnTo>
                  <a:pt x="3385732" y="306809"/>
                </a:lnTo>
                <a:lnTo>
                  <a:pt x="3404272" y="274057"/>
                </a:lnTo>
                <a:lnTo>
                  <a:pt x="3415304" y="235085"/>
                </a:lnTo>
                <a:lnTo>
                  <a:pt x="3418954" y="189814"/>
                </a:lnTo>
                <a:lnTo>
                  <a:pt x="3415304" y="144560"/>
                </a:lnTo>
                <a:lnTo>
                  <a:pt x="3404272" y="105645"/>
                </a:lnTo>
                <a:lnTo>
                  <a:pt x="3385732" y="72974"/>
                </a:lnTo>
                <a:lnTo>
                  <a:pt x="3375529" y="62636"/>
                </a:lnTo>
                <a:close/>
              </a:path>
              <a:path w="3917950" h="380364">
                <a:moveTo>
                  <a:pt x="3618318" y="7175"/>
                </a:moveTo>
                <a:lnTo>
                  <a:pt x="3488740" y="7175"/>
                </a:lnTo>
                <a:lnTo>
                  <a:pt x="3488740" y="372478"/>
                </a:lnTo>
                <a:lnTo>
                  <a:pt x="3589439" y="372478"/>
                </a:lnTo>
                <a:lnTo>
                  <a:pt x="3589147" y="96189"/>
                </a:lnTo>
                <a:lnTo>
                  <a:pt x="3685939" y="96189"/>
                </a:lnTo>
                <a:lnTo>
                  <a:pt x="3618318" y="7175"/>
                </a:lnTo>
                <a:close/>
              </a:path>
              <a:path w="3917950" h="380364">
                <a:moveTo>
                  <a:pt x="3685939" y="96189"/>
                </a:moveTo>
                <a:lnTo>
                  <a:pt x="3589147" y="96189"/>
                </a:lnTo>
                <a:lnTo>
                  <a:pt x="3798773" y="372478"/>
                </a:lnTo>
                <a:lnTo>
                  <a:pt x="3917480" y="372478"/>
                </a:lnTo>
                <a:lnTo>
                  <a:pt x="3917480" y="269697"/>
                </a:lnTo>
                <a:lnTo>
                  <a:pt x="3817747" y="269697"/>
                </a:lnTo>
                <a:lnTo>
                  <a:pt x="3685939" y="96189"/>
                </a:lnTo>
                <a:close/>
              </a:path>
              <a:path w="3917950" h="380364">
                <a:moveTo>
                  <a:pt x="3917480" y="7175"/>
                </a:moveTo>
                <a:lnTo>
                  <a:pt x="3817454" y="7175"/>
                </a:lnTo>
                <a:lnTo>
                  <a:pt x="3817747" y="269697"/>
                </a:lnTo>
                <a:lnTo>
                  <a:pt x="3917480" y="269697"/>
                </a:lnTo>
                <a:lnTo>
                  <a:pt x="3917480" y="7175"/>
                </a:lnTo>
                <a:close/>
              </a:path>
            </a:pathLst>
          </a:custGeom>
          <a:solidFill>
            <a:srgbClr val="66CC33"/>
          </a:solidFill>
        </p:spPr>
        <p:txBody>
          <a:bodyPr wrap="square" lIns="0" tIns="0" rIns="0" bIns="0" rtlCol="0"/>
          <a:lstStyle/>
          <a:p>
            <a:endParaRPr lang="de-CH"/>
          </a:p>
        </p:txBody>
      </p:sp>
      <p:grpSp>
        <p:nvGrpSpPr>
          <p:cNvPr id="5" name="Group 4">
            <a:extLst>
              <a:ext uri="{FF2B5EF4-FFF2-40B4-BE49-F238E27FC236}">
                <a16:creationId xmlns:a16="http://schemas.microsoft.com/office/drawing/2014/main" id="{F8D1903F-FEE0-4D93-9601-AA075DF454CB}"/>
              </a:ext>
            </a:extLst>
          </p:cNvPr>
          <p:cNvGrpSpPr/>
          <p:nvPr/>
        </p:nvGrpSpPr>
        <p:grpSpPr>
          <a:xfrm>
            <a:off x="917952" y="2004061"/>
            <a:ext cx="3933867" cy="2838068"/>
            <a:chOff x="1171532" y="2004061"/>
            <a:chExt cx="4328718" cy="2838068"/>
          </a:xfrm>
        </p:grpSpPr>
        <p:sp>
          <p:nvSpPr>
            <p:cNvPr id="27" name="Rectangle: Rounded Corners 49">
              <a:extLst>
                <a:ext uri="{FF2B5EF4-FFF2-40B4-BE49-F238E27FC236}">
                  <a16:creationId xmlns:a16="http://schemas.microsoft.com/office/drawing/2014/main" id="{F7CC4DF0-420A-4C8E-974D-5ECBAE01B8C1}"/>
                </a:ext>
              </a:extLst>
            </p:cNvPr>
            <p:cNvSpPr/>
            <p:nvPr/>
          </p:nvSpPr>
          <p:spPr>
            <a:xfrm>
              <a:off x="1171532" y="2004061"/>
              <a:ext cx="4328718" cy="2838068"/>
            </a:xfrm>
            <a:prstGeom prst="roundRect">
              <a:avLst>
                <a:gd name="adj" fmla="val 3775"/>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B082188-D16A-440B-8210-BABECD4F2527}"/>
                </a:ext>
              </a:extLst>
            </p:cNvPr>
            <p:cNvSpPr/>
            <p:nvPr/>
          </p:nvSpPr>
          <p:spPr>
            <a:xfrm>
              <a:off x="1291323" y="2222194"/>
              <a:ext cx="2795515" cy="535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fontAlgn="auto">
                <a:spcBef>
                  <a:spcPts val="900"/>
                </a:spcBef>
                <a:spcAft>
                  <a:spcPts val="0"/>
                </a:spcAft>
                <a:buSzPct val="100000"/>
                <a:defRPr/>
              </a:pPr>
              <a:r>
                <a:rPr lang="en-US" sz="2400" b="1">
                  <a:solidFill>
                    <a:srgbClr val="000000"/>
                  </a:solidFill>
                  <a:cs typeface="+mn-cs"/>
                </a:rPr>
                <a:t>SCD4x Features </a:t>
              </a:r>
              <a:endParaRPr lang="en-US" sz="2400" b="1" dirty="0">
                <a:solidFill>
                  <a:srgbClr val="000000"/>
                </a:solidFill>
                <a:cs typeface="+mn-cs"/>
              </a:endParaRPr>
            </a:p>
          </p:txBody>
        </p:sp>
        <p:cxnSp>
          <p:nvCxnSpPr>
            <p:cNvPr id="36" name="Straight Connector 35">
              <a:extLst>
                <a:ext uri="{FF2B5EF4-FFF2-40B4-BE49-F238E27FC236}">
                  <a16:creationId xmlns:a16="http://schemas.microsoft.com/office/drawing/2014/main" id="{EEDC60B2-5416-4C52-973E-4A89001EAFA7}"/>
                </a:ext>
              </a:extLst>
            </p:cNvPr>
            <p:cNvCxnSpPr>
              <a:cxnSpLocks/>
            </p:cNvCxnSpPr>
            <p:nvPr/>
          </p:nvCxnSpPr>
          <p:spPr>
            <a:xfrm>
              <a:off x="1346987" y="2757909"/>
              <a:ext cx="3987013"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2E1C432-2EC9-495A-89A0-955A35AFFF66}"/>
                </a:ext>
              </a:extLst>
            </p:cNvPr>
            <p:cNvSpPr txBox="1"/>
            <p:nvPr/>
          </p:nvSpPr>
          <p:spPr>
            <a:xfrm>
              <a:off x="1291323" y="2919162"/>
              <a:ext cx="3987012" cy="1508105"/>
            </a:xfrm>
            <a:prstGeom prst="rect">
              <a:avLst/>
            </a:prstGeom>
            <a:noFill/>
          </p:spPr>
          <p:txBody>
            <a:bodyPr wrap="square">
              <a:spAutoFit/>
            </a:bodyPr>
            <a:lstStyle/>
            <a:p>
              <a:pPr marL="342900" indent="-342900">
                <a:spcBef>
                  <a:spcPts val="400"/>
                </a:spcBef>
                <a:spcAft>
                  <a:spcPts val="400"/>
                </a:spcAft>
                <a:buFont typeface="Arial" panose="020B0604020202020204" pitchFamily="34" charset="0"/>
                <a:buChar char="•"/>
              </a:pPr>
              <a:r>
                <a:rPr lang="en-US" sz="1800" dirty="0"/>
                <a:t>Smallest CO</a:t>
              </a:r>
              <a:r>
                <a:rPr lang="en-US" sz="1800" baseline="-25000" dirty="0"/>
                <a:t>2</a:t>
              </a:r>
              <a:r>
                <a:rPr lang="en-US" sz="1800" dirty="0"/>
                <a:t> sensor</a:t>
              </a:r>
            </a:p>
            <a:p>
              <a:pPr marL="342900" indent="-342900">
                <a:spcBef>
                  <a:spcPts val="400"/>
                </a:spcBef>
                <a:spcAft>
                  <a:spcPts val="400"/>
                </a:spcAft>
                <a:buFont typeface="Arial" panose="020B0604020202020204" pitchFamily="34" charset="0"/>
                <a:buChar char="•"/>
              </a:pPr>
              <a:r>
                <a:rPr lang="en-US" sz="1800" dirty="0"/>
                <a:t>SMD soldering, tape &amp; reel package</a:t>
              </a:r>
            </a:p>
            <a:p>
              <a:pPr marL="342900" indent="-342900">
                <a:spcBef>
                  <a:spcPts val="400"/>
                </a:spcBef>
                <a:spcAft>
                  <a:spcPts val="400"/>
                </a:spcAft>
                <a:buFont typeface="Arial" panose="020B0604020202020204" pitchFamily="34" charset="0"/>
                <a:buChar char="•"/>
              </a:pPr>
              <a:r>
                <a:rPr lang="en-US" sz="1800" dirty="0"/>
                <a:t>Great sensing performance </a:t>
              </a:r>
            </a:p>
            <a:p>
              <a:pPr marL="342900" indent="-342900">
                <a:spcBef>
                  <a:spcPts val="400"/>
                </a:spcBef>
                <a:spcAft>
                  <a:spcPts val="400"/>
                </a:spcAft>
                <a:buFont typeface="Arial" panose="020B0604020202020204" pitchFamily="34" charset="0"/>
                <a:buChar char="•"/>
              </a:pPr>
              <a:r>
                <a:rPr lang="en-US" sz="1800" dirty="0"/>
                <a:t>Unmatched sensor robustness</a:t>
              </a:r>
            </a:p>
          </p:txBody>
        </p:sp>
      </p:grpSp>
      <p:grpSp>
        <p:nvGrpSpPr>
          <p:cNvPr id="2" name="Group 1">
            <a:extLst>
              <a:ext uri="{FF2B5EF4-FFF2-40B4-BE49-F238E27FC236}">
                <a16:creationId xmlns:a16="http://schemas.microsoft.com/office/drawing/2014/main" id="{A0A99D83-5F93-4806-9635-D494FB6B1D07}"/>
              </a:ext>
            </a:extLst>
          </p:cNvPr>
          <p:cNvGrpSpPr/>
          <p:nvPr/>
        </p:nvGrpSpPr>
        <p:grpSpPr>
          <a:xfrm>
            <a:off x="917952" y="4917092"/>
            <a:ext cx="3933866" cy="1078495"/>
            <a:chOff x="917952" y="4995982"/>
            <a:chExt cx="3933866" cy="1078495"/>
          </a:xfrm>
        </p:grpSpPr>
        <p:sp>
          <p:nvSpPr>
            <p:cNvPr id="67" name="Rectangle: Rounded Corners 66">
              <a:extLst>
                <a:ext uri="{FF2B5EF4-FFF2-40B4-BE49-F238E27FC236}">
                  <a16:creationId xmlns:a16="http://schemas.microsoft.com/office/drawing/2014/main" id="{9982F4B3-8B0C-451A-8DDB-45B7B7ADD4C8}"/>
                </a:ext>
              </a:extLst>
            </p:cNvPr>
            <p:cNvSpPr/>
            <p:nvPr/>
          </p:nvSpPr>
          <p:spPr>
            <a:xfrm>
              <a:off x="917952" y="4995982"/>
              <a:ext cx="3933866" cy="1078495"/>
            </a:xfrm>
            <a:prstGeom prst="roundRect">
              <a:avLst>
                <a:gd name="adj" fmla="val 2852"/>
              </a:avLst>
            </a:prstGeom>
            <a:solidFill>
              <a:schemeClr val="accent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6298C8CE-4231-4865-81F7-911A679B22D9}"/>
                </a:ext>
              </a:extLst>
            </p:cNvPr>
            <p:cNvSpPr txBox="1"/>
            <p:nvPr/>
          </p:nvSpPr>
          <p:spPr>
            <a:xfrm>
              <a:off x="2187833" y="5212064"/>
              <a:ext cx="2325389" cy="646331"/>
            </a:xfrm>
            <a:prstGeom prst="rect">
              <a:avLst/>
            </a:prstGeom>
            <a:noFill/>
          </p:spPr>
          <p:txBody>
            <a:bodyPr wrap="square">
              <a:spAutoFit/>
            </a:bodyPr>
            <a:lstStyle/>
            <a:p>
              <a:pPr>
                <a:spcBef>
                  <a:spcPts val="0"/>
                </a:spcBef>
                <a:spcAft>
                  <a:spcPts val="300"/>
                </a:spcAft>
                <a:buClr>
                  <a:schemeClr val="tx1"/>
                </a:buClr>
              </a:pPr>
              <a:r>
                <a:rPr lang="en-US" sz="1800" b="1">
                  <a:solidFill>
                    <a:schemeClr val="bg1"/>
                  </a:solidFill>
                </a:rPr>
                <a:t>Highest sensor versatility</a:t>
              </a:r>
            </a:p>
          </p:txBody>
        </p:sp>
        <p:grpSp>
          <p:nvGrpSpPr>
            <p:cNvPr id="70" name="Group 69">
              <a:extLst>
                <a:ext uri="{FF2B5EF4-FFF2-40B4-BE49-F238E27FC236}">
                  <a16:creationId xmlns:a16="http://schemas.microsoft.com/office/drawing/2014/main" id="{FF45B00A-E9C4-49CD-A544-859105CF075D}"/>
                </a:ext>
              </a:extLst>
            </p:cNvPr>
            <p:cNvGrpSpPr/>
            <p:nvPr/>
          </p:nvGrpSpPr>
          <p:grpSpPr>
            <a:xfrm>
              <a:off x="1124962" y="5173092"/>
              <a:ext cx="724275" cy="724275"/>
              <a:chOff x="6661431" y="2189755"/>
              <a:chExt cx="640080" cy="640080"/>
            </a:xfrm>
            <a:effectLst>
              <a:outerShdw blurRad="317500" sx="102000" sy="102000" algn="ctr" rotWithShape="0">
                <a:prstClr val="black">
                  <a:alpha val="10000"/>
                </a:prstClr>
              </a:outerShdw>
            </a:effectLst>
          </p:grpSpPr>
          <p:sp>
            <p:nvSpPr>
              <p:cNvPr id="71" name="Oval 70">
                <a:extLst>
                  <a:ext uri="{FF2B5EF4-FFF2-40B4-BE49-F238E27FC236}">
                    <a16:creationId xmlns:a16="http://schemas.microsoft.com/office/drawing/2014/main" id="{532B52E3-C587-476D-93FA-9BE49680EDC4}"/>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DA9CA028-4FD4-4FC3-8E0E-3A21A975F909}"/>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33" name="Graphic 32">
            <a:extLst>
              <a:ext uri="{FF2B5EF4-FFF2-40B4-BE49-F238E27FC236}">
                <a16:creationId xmlns:a16="http://schemas.microsoft.com/office/drawing/2014/main" id="{560C70BB-CA2D-4B4C-9D4C-F03E1A5DCFB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5094" y="5258198"/>
            <a:ext cx="427673" cy="427673"/>
          </a:xfrm>
          <a:prstGeom prst="rect">
            <a:avLst/>
          </a:prstGeom>
        </p:spPr>
      </p:pic>
      <p:pic>
        <p:nvPicPr>
          <p:cNvPr id="58" name="Graphic 57">
            <a:extLst>
              <a:ext uri="{FF2B5EF4-FFF2-40B4-BE49-F238E27FC236}">
                <a16:creationId xmlns:a16="http://schemas.microsoft.com/office/drawing/2014/main" id="{1DDD53CC-4024-4A82-9F68-DF2524192BB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15480" y="2283565"/>
            <a:ext cx="6797406" cy="4078444"/>
          </a:xfrm>
          <a:prstGeom prst="rect">
            <a:avLst/>
          </a:prstGeom>
        </p:spPr>
      </p:pic>
      <p:sp>
        <p:nvSpPr>
          <p:cNvPr id="59" name="TextBox 58">
            <a:extLst>
              <a:ext uri="{FF2B5EF4-FFF2-40B4-BE49-F238E27FC236}">
                <a16:creationId xmlns:a16="http://schemas.microsoft.com/office/drawing/2014/main" id="{4826CB47-47B0-435A-A311-5FDCF9219CAF}"/>
              </a:ext>
            </a:extLst>
          </p:cNvPr>
          <p:cNvSpPr txBox="1"/>
          <p:nvPr/>
        </p:nvSpPr>
        <p:spPr>
          <a:xfrm>
            <a:off x="8130907" y="4174594"/>
            <a:ext cx="3623330" cy="1528624"/>
          </a:xfrm>
          <a:prstGeom prst="rect">
            <a:avLst/>
          </a:prstGeom>
          <a:noFill/>
        </p:spPr>
        <p:txBody>
          <a:bodyPr wrap="square">
            <a:spAutoFit/>
          </a:bodyPr>
          <a:lstStyle/>
          <a:p>
            <a:pPr marL="342900" indent="-342900">
              <a:spcBef>
                <a:spcPts val="400"/>
              </a:spcBef>
              <a:spcAft>
                <a:spcPts val="400"/>
              </a:spcAft>
              <a:buFont typeface="Arial" panose="020B0604020202020204" pitchFamily="34" charset="0"/>
              <a:buChar char="•"/>
            </a:pPr>
            <a:r>
              <a:rPr lang="en-US" sz="1600" dirty="0"/>
              <a:t>Large supply voltage range:                   </a:t>
            </a:r>
            <a:r>
              <a:rPr lang="en-US" sz="1600" b="1" dirty="0"/>
              <a:t>2.4 V – 5.5 V</a:t>
            </a:r>
          </a:p>
          <a:p>
            <a:pPr marL="342900" indent="-342900">
              <a:spcBef>
                <a:spcPts val="400"/>
              </a:spcBef>
              <a:spcAft>
                <a:spcPts val="400"/>
              </a:spcAft>
              <a:buFont typeface="Arial" panose="020B0604020202020204" pitchFamily="34" charset="0"/>
              <a:buChar char="•"/>
            </a:pPr>
            <a:r>
              <a:rPr lang="en-US" sz="1600" dirty="0"/>
              <a:t>Features </a:t>
            </a:r>
            <a:r>
              <a:rPr lang="en-US" sz="1600" b="1" dirty="0"/>
              <a:t>low power </a:t>
            </a:r>
            <a:r>
              <a:rPr lang="en-US" sz="1600" dirty="0"/>
              <a:t>mode and </a:t>
            </a:r>
            <a:r>
              <a:rPr lang="en-US" sz="1600" b="1" dirty="0"/>
              <a:t>single shot </a:t>
            </a:r>
            <a:r>
              <a:rPr lang="en-US" sz="1600" dirty="0"/>
              <a:t>mode</a:t>
            </a:r>
          </a:p>
          <a:p>
            <a:pPr marL="342900" indent="-342900">
              <a:spcBef>
                <a:spcPts val="400"/>
              </a:spcBef>
              <a:spcAft>
                <a:spcPts val="400"/>
              </a:spcAft>
              <a:buFont typeface="Arial" panose="020B0604020202020204" pitchFamily="34" charset="0"/>
              <a:buChar char="•"/>
            </a:pPr>
            <a:r>
              <a:rPr lang="en-US" sz="1600" dirty="0"/>
              <a:t>Includes </a:t>
            </a:r>
            <a:r>
              <a:rPr lang="en-US" sz="1600" b="1" dirty="0"/>
              <a:t>RH and T </a:t>
            </a:r>
            <a:r>
              <a:rPr lang="en-US" sz="1600" dirty="0"/>
              <a:t>output signal</a:t>
            </a:r>
          </a:p>
        </p:txBody>
      </p:sp>
      <p:pic>
        <p:nvPicPr>
          <p:cNvPr id="78" name="Picture 77" descr="A picture containing dishware, tableware&#10;&#10;Description automatically generated">
            <a:extLst>
              <a:ext uri="{FF2B5EF4-FFF2-40B4-BE49-F238E27FC236}">
                <a16:creationId xmlns:a16="http://schemas.microsoft.com/office/drawing/2014/main" id="{033F69A4-F6F8-4C01-B91D-7557D1093ED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58827" y="3613020"/>
            <a:ext cx="3014173" cy="2237722"/>
          </a:xfrm>
          <a:prstGeom prst="rect">
            <a:avLst/>
          </a:prstGeom>
        </p:spPr>
      </p:pic>
    </p:spTree>
    <p:extLst>
      <p:ext uri="{BB962C8B-B14F-4D97-AF65-F5344CB8AC3E}">
        <p14:creationId xmlns:p14="http://schemas.microsoft.com/office/powerpoint/2010/main" val="34578199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066A59C-462D-CDE1-6EFA-037E179D8B62}"/>
              </a:ext>
            </a:extLst>
          </p:cNvPr>
          <p:cNvSpPr>
            <a:spLocks noGrp="1"/>
          </p:cNvSpPr>
          <p:nvPr>
            <p:ph type="title"/>
          </p:nvPr>
        </p:nvSpPr>
        <p:spPr/>
        <p:txBody>
          <a:bodyPr/>
          <a:lstStyle/>
          <a:p>
            <a:r>
              <a:rPr lang="en-US"/>
              <a:t>SCD4x Product Family Upgrade</a:t>
            </a:r>
          </a:p>
        </p:txBody>
      </p:sp>
      <p:pic>
        <p:nvPicPr>
          <p:cNvPr id="8" name="Picture 7" descr="A picture containing dishware, tableware&#10;&#10;Description automatically generated">
            <a:extLst>
              <a:ext uri="{FF2B5EF4-FFF2-40B4-BE49-F238E27FC236}">
                <a16:creationId xmlns:a16="http://schemas.microsoft.com/office/drawing/2014/main" id="{2950E9BF-32B1-31A4-00CD-8BAEBEB489D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5676" y="1337938"/>
            <a:ext cx="1516878" cy="1126536"/>
          </a:xfrm>
          <a:prstGeom prst="rect">
            <a:avLst/>
          </a:prstGeom>
        </p:spPr>
      </p:pic>
      <p:pic>
        <p:nvPicPr>
          <p:cNvPr id="9" name="Picture 8" descr="A picture containing dishware, tableware&#10;&#10;Description automatically generated">
            <a:extLst>
              <a:ext uri="{FF2B5EF4-FFF2-40B4-BE49-F238E27FC236}">
                <a16:creationId xmlns:a16="http://schemas.microsoft.com/office/drawing/2014/main" id="{D774120B-70FD-DF35-F6C1-890DC33CDEF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32240" y="1356224"/>
            <a:ext cx="1516878" cy="1126536"/>
          </a:xfrm>
          <a:prstGeom prst="rect">
            <a:avLst/>
          </a:prstGeom>
        </p:spPr>
      </p:pic>
      <p:pic>
        <p:nvPicPr>
          <p:cNvPr id="10" name="Picture 2" descr="RESET® Standard">
            <a:extLst>
              <a:ext uri="{FF2B5EF4-FFF2-40B4-BE49-F238E27FC236}">
                <a16:creationId xmlns:a16="http://schemas.microsoft.com/office/drawing/2014/main" id="{70CC2ECC-8304-E54D-3D54-4B3F1922AA68}"/>
              </a:ext>
            </a:extLst>
          </p:cNvPr>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6523549" y="3379403"/>
            <a:ext cx="605003" cy="60500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Title 24 Compliance - The Homeowners Cheat Sheet to Windows &amp;amp; Doors">
            <a:extLst>
              <a:ext uri="{FF2B5EF4-FFF2-40B4-BE49-F238E27FC236}">
                <a16:creationId xmlns:a16="http://schemas.microsoft.com/office/drawing/2014/main" id="{8E6EA32D-A850-70EC-1C7E-184B8DCBC54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28885" y="4258718"/>
            <a:ext cx="891491" cy="891491"/>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descr="Add with solid fill">
            <a:extLst>
              <a:ext uri="{FF2B5EF4-FFF2-40B4-BE49-F238E27FC236}">
                <a16:creationId xmlns:a16="http://schemas.microsoft.com/office/drawing/2014/main" id="{1036699F-59B6-C38C-8A64-D8E25818D7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59312" y="3855471"/>
            <a:ext cx="398355" cy="398355"/>
          </a:xfrm>
          <a:prstGeom prst="rect">
            <a:avLst/>
          </a:prstGeom>
        </p:spPr>
      </p:pic>
      <p:pic>
        <p:nvPicPr>
          <p:cNvPr id="15" name="Picture 14" descr="A picture containing dishware, tableware&#10;&#10;Description automatically generated">
            <a:extLst>
              <a:ext uri="{FF2B5EF4-FFF2-40B4-BE49-F238E27FC236}">
                <a16:creationId xmlns:a16="http://schemas.microsoft.com/office/drawing/2014/main" id="{D68107C2-AF76-B809-3DF7-44CC4629A53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32239" y="3759739"/>
            <a:ext cx="1516878" cy="1126536"/>
          </a:xfrm>
          <a:prstGeom prst="rect">
            <a:avLst/>
          </a:prstGeom>
        </p:spPr>
      </p:pic>
      <p:sp>
        <p:nvSpPr>
          <p:cNvPr id="18" name="TextBox 17">
            <a:extLst>
              <a:ext uri="{FF2B5EF4-FFF2-40B4-BE49-F238E27FC236}">
                <a16:creationId xmlns:a16="http://schemas.microsoft.com/office/drawing/2014/main" id="{DE378C84-E7E1-0122-8D58-588E7B83AD17}"/>
              </a:ext>
            </a:extLst>
          </p:cNvPr>
          <p:cNvSpPr txBox="1"/>
          <p:nvPr/>
        </p:nvSpPr>
        <p:spPr>
          <a:xfrm>
            <a:off x="1648014" y="859912"/>
            <a:ext cx="1885329" cy="584775"/>
          </a:xfrm>
          <a:prstGeom prst="rect">
            <a:avLst/>
          </a:prstGeom>
          <a:noFill/>
        </p:spPr>
        <p:txBody>
          <a:bodyPr wrap="square">
            <a:spAutoFit/>
          </a:bodyPr>
          <a:lstStyle/>
          <a:p>
            <a:pPr algn="ctr"/>
            <a:r>
              <a:rPr lang="en-US" sz="3200">
                <a:solidFill>
                  <a:srgbClr val="66CC33"/>
                </a:solidFill>
              </a:rPr>
              <a:t>SCD40</a:t>
            </a:r>
          </a:p>
        </p:txBody>
      </p:sp>
      <p:sp>
        <p:nvSpPr>
          <p:cNvPr id="19" name="TextBox 18">
            <a:extLst>
              <a:ext uri="{FF2B5EF4-FFF2-40B4-BE49-F238E27FC236}">
                <a16:creationId xmlns:a16="http://schemas.microsoft.com/office/drawing/2014/main" id="{12F7D428-6557-1094-B4CE-19CCA908002E}"/>
              </a:ext>
            </a:extLst>
          </p:cNvPr>
          <p:cNvSpPr txBox="1"/>
          <p:nvPr/>
        </p:nvSpPr>
        <p:spPr>
          <a:xfrm>
            <a:off x="4979999" y="859913"/>
            <a:ext cx="1372827" cy="584775"/>
          </a:xfrm>
          <a:prstGeom prst="rect">
            <a:avLst/>
          </a:prstGeom>
          <a:noFill/>
        </p:spPr>
        <p:txBody>
          <a:bodyPr wrap="square">
            <a:spAutoFit/>
          </a:bodyPr>
          <a:lstStyle/>
          <a:p>
            <a:pPr algn="ctr"/>
            <a:r>
              <a:rPr lang="en-US" sz="3200">
                <a:solidFill>
                  <a:srgbClr val="66CC33"/>
                </a:solidFill>
              </a:rPr>
              <a:t>SCD41</a:t>
            </a:r>
          </a:p>
        </p:txBody>
      </p:sp>
      <p:cxnSp>
        <p:nvCxnSpPr>
          <p:cNvPr id="21" name="Straight Arrow Connector 20">
            <a:extLst>
              <a:ext uri="{FF2B5EF4-FFF2-40B4-BE49-F238E27FC236}">
                <a16:creationId xmlns:a16="http://schemas.microsoft.com/office/drawing/2014/main" id="{34409F92-F194-C081-4C16-69ECA4832860}"/>
              </a:ext>
            </a:extLst>
          </p:cNvPr>
          <p:cNvCxnSpPr>
            <a:cxnSpLocks/>
          </p:cNvCxnSpPr>
          <p:nvPr/>
        </p:nvCxnSpPr>
        <p:spPr>
          <a:xfrm>
            <a:off x="2590678" y="2463481"/>
            <a:ext cx="0" cy="1275029"/>
          </a:xfrm>
          <a:prstGeom prst="straightConnector1">
            <a:avLst/>
          </a:prstGeom>
          <a:ln w="28575">
            <a:solidFill>
              <a:srgbClr val="66CC33"/>
            </a:solidFill>
            <a:tailEnd type="triangle" w="lg" len="lg"/>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13BB4BB-8DF2-73B7-9CA4-DD907B4774F8}"/>
              </a:ext>
            </a:extLst>
          </p:cNvPr>
          <p:cNvSpPr txBox="1"/>
          <p:nvPr/>
        </p:nvSpPr>
        <p:spPr>
          <a:xfrm>
            <a:off x="2770619" y="5323894"/>
            <a:ext cx="5001256" cy="1015663"/>
          </a:xfrm>
          <a:prstGeom prst="rect">
            <a:avLst/>
          </a:prstGeom>
          <a:noFill/>
        </p:spPr>
        <p:txBody>
          <a:bodyPr wrap="square">
            <a:spAutoFit/>
          </a:bodyPr>
          <a:lstStyle/>
          <a:p>
            <a:r>
              <a:rPr lang="en-US">
                <a:latin typeface="Arial Narrow"/>
                <a:sym typeface="Wingdings" panose="05000000000000000000" pitchFamily="2" charset="2"/>
              </a:rPr>
              <a:t>+ higher peak reflow soldering temperature</a:t>
            </a:r>
          </a:p>
          <a:p>
            <a:r>
              <a:rPr lang="en-US">
                <a:latin typeface="Arial Narrow"/>
                <a:sym typeface="Wingdings" panose="05000000000000000000" pitchFamily="2" charset="2"/>
              </a:rPr>
              <a:t>+ 2</a:t>
            </a:r>
            <a:r>
              <a:rPr lang="en-US" baseline="30000">
                <a:latin typeface="Arial Narrow"/>
                <a:sym typeface="Wingdings" panose="05000000000000000000" pitchFamily="2" charset="2"/>
              </a:rPr>
              <a:t>nd</a:t>
            </a:r>
            <a:r>
              <a:rPr lang="en-US">
                <a:latin typeface="Arial Narrow"/>
                <a:sym typeface="Wingdings" panose="05000000000000000000" pitchFamily="2" charset="2"/>
              </a:rPr>
              <a:t> source microphone for supply chain resilience</a:t>
            </a:r>
          </a:p>
          <a:p>
            <a:r>
              <a:rPr lang="en-US">
                <a:latin typeface="Arial Narrow"/>
                <a:sym typeface="Wingdings" panose="05000000000000000000" pitchFamily="2" charset="2"/>
              </a:rPr>
              <a:t>+ laser marking for easy identification </a:t>
            </a:r>
            <a:endParaRPr lang="en-US"/>
          </a:p>
        </p:txBody>
      </p:sp>
      <p:pic>
        <p:nvPicPr>
          <p:cNvPr id="3" name="Picture 2" descr="A picture containing dishware, tableware&#10;&#10;Description automatically generated">
            <a:extLst>
              <a:ext uri="{FF2B5EF4-FFF2-40B4-BE49-F238E27FC236}">
                <a16:creationId xmlns:a16="http://schemas.microsoft.com/office/drawing/2014/main" id="{FA3A8403-46B3-8EBA-F120-AB92A5CBD7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78990" y="1366370"/>
            <a:ext cx="1516878" cy="1126536"/>
          </a:xfrm>
          <a:prstGeom prst="rect">
            <a:avLst/>
          </a:prstGeom>
        </p:spPr>
      </p:pic>
      <p:sp>
        <p:nvSpPr>
          <p:cNvPr id="4" name="TextBox 3">
            <a:extLst>
              <a:ext uri="{FF2B5EF4-FFF2-40B4-BE49-F238E27FC236}">
                <a16:creationId xmlns:a16="http://schemas.microsoft.com/office/drawing/2014/main" id="{11614A1C-49C9-D52F-16D6-398083FA17A0}"/>
              </a:ext>
            </a:extLst>
          </p:cNvPr>
          <p:cNvSpPr txBox="1"/>
          <p:nvPr/>
        </p:nvSpPr>
        <p:spPr>
          <a:xfrm>
            <a:off x="8588718" y="890519"/>
            <a:ext cx="1372827" cy="584775"/>
          </a:xfrm>
          <a:prstGeom prst="rect">
            <a:avLst/>
          </a:prstGeom>
          <a:noFill/>
        </p:spPr>
        <p:txBody>
          <a:bodyPr wrap="square">
            <a:spAutoFit/>
          </a:bodyPr>
          <a:lstStyle/>
          <a:p>
            <a:pPr algn="ctr"/>
            <a:r>
              <a:rPr lang="en-US" sz="3200">
                <a:solidFill>
                  <a:srgbClr val="66CC33"/>
                </a:solidFill>
              </a:rPr>
              <a:t>SCD42</a:t>
            </a:r>
          </a:p>
        </p:txBody>
      </p:sp>
      <p:sp>
        <p:nvSpPr>
          <p:cNvPr id="7" name="Right Brace 6">
            <a:extLst>
              <a:ext uri="{FF2B5EF4-FFF2-40B4-BE49-F238E27FC236}">
                <a16:creationId xmlns:a16="http://schemas.microsoft.com/office/drawing/2014/main" id="{1E7FEF76-158D-1CD3-8807-6308DFA21AD3}"/>
              </a:ext>
            </a:extLst>
          </p:cNvPr>
          <p:cNvSpPr/>
          <p:nvPr/>
        </p:nvSpPr>
        <p:spPr>
          <a:xfrm rot="5400000">
            <a:off x="4742488" y="2144224"/>
            <a:ext cx="328387" cy="6148887"/>
          </a:xfrm>
          <a:prstGeom prst="rightBrace">
            <a:avLst/>
          </a:prstGeom>
          <a:ln w="28575">
            <a:solidFill>
              <a:srgbClr val="66CC3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3" name="Straight Arrow Connector 12">
            <a:extLst>
              <a:ext uri="{FF2B5EF4-FFF2-40B4-BE49-F238E27FC236}">
                <a16:creationId xmlns:a16="http://schemas.microsoft.com/office/drawing/2014/main" id="{F8BB445D-A8FB-1C87-EB06-59F850F1A143}"/>
              </a:ext>
            </a:extLst>
          </p:cNvPr>
          <p:cNvCxnSpPr>
            <a:cxnSpLocks/>
          </p:cNvCxnSpPr>
          <p:nvPr/>
        </p:nvCxnSpPr>
        <p:spPr>
          <a:xfrm>
            <a:off x="5724051" y="2463481"/>
            <a:ext cx="0" cy="1275029"/>
          </a:xfrm>
          <a:prstGeom prst="straightConnector1">
            <a:avLst/>
          </a:prstGeom>
          <a:ln w="28575">
            <a:solidFill>
              <a:srgbClr val="66CC33"/>
            </a:solidFill>
            <a:tailEnd type="triangle" w="lg" len="lg"/>
          </a:ln>
        </p:spPr>
        <p:style>
          <a:lnRef idx="1">
            <a:schemeClr val="accent1"/>
          </a:lnRef>
          <a:fillRef idx="0">
            <a:schemeClr val="accent1"/>
          </a:fillRef>
          <a:effectRef idx="0">
            <a:schemeClr val="accent1"/>
          </a:effectRef>
          <a:fontRef idx="minor">
            <a:schemeClr val="tx1"/>
          </a:fontRef>
        </p:style>
      </p:cxnSp>
      <p:pic>
        <p:nvPicPr>
          <p:cNvPr id="20" name="Graphic 19" descr="Gravestone with solid fill">
            <a:extLst>
              <a:ext uri="{FF2B5EF4-FFF2-40B4-BE49-F238E27FC236}">
                <a16:creationId xmlns:a16="http://schemas.microsoft.com/office/drawing/2014/main" id="{41BB88C6-F10B-A1E5-7770-C05867087DF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05614" y="3865807"/>
            <a:ext cx="914400" cy="914400"/>
          </a:xfrm>
          <a:prstGeom prst="rect">
            <a:avLst/>
          </a:prstGeom>
        </p:spPr>
      </p:pic>
      <p:cxnSp>
        <p:nvCxnSpPr>
          <p:cNvPr id="22" name="Straight Arrow Connector 21">
            <a:extLst>
              <a:ext uri="{FF2B5EF4-FFF2-40B4-BE49-F238E27FC236}">
                <a16:creationId xmlns:a16="http://schemas.microsoft.com/office/drawing/2014/main" id="{555F8CC9-ECA0-2E7C-69A3-85B537D47DFE}"/>
              </a:ext>
            </a:extLst>
          </p:cNvPr>
          <p:cNvCxnSpPr>
            <a:cxnSpLocks/>
          </p:cNvCxnSpPr>
          <p:nvPr/>
        </p:nvCxnSpPr>
        <p:spPr>
          <a:xfrm>
            <a:off x="9207602" y="2463481"/>
            <a:ext cx="0" cy="1275029"/>
          </a:xfrm>
          <a:prstGeom prst="straightConnector1">
            <a:avLst/>
          </a:prstGeom>
          <a:ln w="28575">
            <a:solidFill>
              <a:srgbClr val="66CC33"/>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58C823A-1D36-D483-2770-6DBB12E57B50}"/>
              </a:ext>
            </a:extLst>
          </p:cNvPr>
          <p:cNvCxnSpPr>
            <a:cxnSpLocks/>
          </p:cNvCxnSpPr>
          <p:nvPr/>
        </p:nvCxnSpPr>
        <p:spPr>
          <a:xfrm flipH="1">
            <a:off x="5878286" y="3009122"/>
            <a:ext cx="3144416" cy="0"/>
          </a:xfrm>
          <a:prstGeom prst="straightConnector1">
            <a:avLst/>
          </a:prstGeom>
          <a:ln w="28575">
            <a:solidFill>
              <a:srgbClr val="66CC33"/>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9A91747-8D20-322F-8847-9A4E0571EF8D}"/>
              </a:ext>
            </a:extLst>
          </p:cNvPr>
          <p:cNvSpPr txBox="1"/>
          <p:nvPr/>
        </p:nvSpPr>
        <p:spPr>
          <a:xfrm>
            <a:off x="6527535" y="2301236"/>
            <a:ext cx="2092650" cy="707886"/>
          </a:xfrm>
          <a:prstGeom prst="rect">
            <a:avLst/>
          </a:prstGeom>
          <a:noFill/>
          <a:ln w="28575">
            <a:solidFill>
              <a:srgbClr val="66CC33"/>
            </a:solidFill>
            <a:prstDash val="dash"/>
          </a:ln>
        </p:spPr>
        <p:txBody>
          <a:bodyPr wrap="square">
            <a:spAutoFit/>
          </a:bodyPr>
          <a:lstStyle/>
          <a:p>
            <a:pPr algn="ctr"/>
            <a:r>
              <a:rPr lang="en-US">
                <a:latin typeface="Arial Narrow"/>
                <a:sym typeface="Wingdings" panose="05000000000000000000" pitchFamily="2" charset="2"/>
              </a:rPr>
              <a:t>Drop-in replacement from 04.2023</a:t>
            </a:r>
            <a:endParaRPr lang="en-US"/>
          </a:p>
        </p:txBody>
      </p:sp>
      <p:sp>
        <p:nvSpPr>
          <p:cNvPr id="35" name="TextBox 34">
            <a:extLst>
              <a:ext uri="{FF2B5EF4-FFF2-40B4-BE49-F238E27FC236}">
                <a16:creationId xmlns:a16="http://schemas.microsoft.com/office/drawing/2014/main" id="{AC438635-643B-401A-E775-86DBA2EA42DB}"/>
              </a:ext>
            </a:extLst>
          </p:cNvPr>
          <p:cNvSpPr txBox="1"/>
          <p:nvPr/>
        </p:nvSpPr>
        <p:spPr>
          <a:xfrm>
            <a:off x="8754803" y="4786056"/>
            <a:ext cx="965211" cy="400110"/>
          </a:xfrm>
          <a:prstGeom prst="rect">
            <a:avLst/>
          </a:prstGeom>
          <a:noFill/>
          <a:ln w="28575">
            <a:solidFill>
              <a:srgbClr val="66CC33"/>
            </a:solidFill>
            <a:prstDash val="dash"/>
          </a:ln>
        </p:spPr>
        <p:txBody>
          <a:bodyPr wrap="square">
            <a:spAutoFit/>
          </a:bodyPr>
          <a:lstStyle/>
          <a:p>
            <a:pPr algn="ctr"/>
            <a:r>
              <a:rPr lang="en-US">
                <a:latin typeface="Arial Narrow"/>
                <a:sym typeface="Wingdings" panose="05000000000000000000" pitchFamily="2" charset="2"/>
              </a:rPr>
              <a:t>NRND</a:t>
            </a:r>
            <a:endParaRPr lang="en-US"/>
          </a:p>
        </p:txBody>
      </p:sp>
      <p:pic>
        <p:nvPicPr>
          <p:cNvPr id="23" name="Graphic 22" descr="Qr Code with solid fill">
            <a:extLst>
              <a:ext uri="{FF2B5EF4-FFF2-40B4-BE49-F238E27FC236}">
                <a16:creationId xmlns:a16="http://schemas.microsoft.com/office/drawing/2014/main" id="{2A10546A-1DFD-AA7D-0946-642FE80D476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0478670">
            <a:off x="2714838" y="4268461"/>
            <a:ext cx="192925" cy="192925"/>
          </a:xfrm>
          <a:prstGeom prst="rect">
            <a:avLst/>
          </a:prstGeom>
        </p:spPr>
      </p:pic>
      <p:sp>
        <p:nvSpPr>
          <p:cNvPr id="27" name="TextBox 26">
            <a:extLst>
              <a:ext uri="{FF2B5EF4-FFF2-40B4-BE49-F238E27FC236}">
                <a16:creationId xmlns:a16="http://schemas.microsoft.com/office/drawing/2014/main" id="{CC67C708-74B4-4601-6F08-6841DD861263}"/>
              </a:ext>
            </a:extLst>
          </p:cNvPr>
          <p:cNvSpPr txBox="1"/>
          <p:nvPr/>
        </p:nvSpPr>
        <p:spPr>
          <a:xfrm rot="20430636">
            <a:off x="2581706" y="4167511"/>
            <a:ext cx="390525" cy="184666"/>
          </a:xfrm>
          <a:prstGeom prst="rect">
            <a:avLst/>
          </a:prstGeom>
          <a:noFill/>
        </p:spPr>
        <p:txBody>
          <a:bodyPr wrap="square" rtlCol="0">
            <a:spAutoFit/>
          </a:bodyPr>
          <a:lstStyle/>
          <a:p>
            <a:pPr algn="ctr"/>
            <a:r>
              <a:rPr lang="en-US" sz="600" b="1"/>
              <a:t>SCD40</a:t>
            </a:r>
          </a:p>
        </p:txBody>
      </p:sp>
      <p:pic>
        <p:nvPicPr>
          <p:cNvPr id="31" name="Picture 30" descr="A picture containing dishware, tableware&#10;&#10;Description automatically generated">
            <a:extLst>
              <a:ext uri="{FF2B5EF4-FFF2-40B4-BE49-F238E27FC236}">
                <a16:creationId xmlns:a16="http://schemas.microsoft.com/office/drawing/2014/main" id="{21BE1A3C-BE32-0ED1-ADD5-D1167678770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2115" y="3759739"/>
            <a:ext cx="1516878" cy="1126536"/>
          </a:xfrm>
          <a:prstGeom prst="rect">
            <a:avLst/>
          </a:prstGeom>
        </p:spPr>
      </p:pic>
      <p:pic>
        <p:nvPicPr>
          <p:cNvPr id="32" name="Graphic 31" descr="Qr Code with solid fill">
            <a:extLst>
              <a:ext uri="{FF2B5EF4-FFF2-40B4-BE49-F238E27FC236}">
                <a16:creationId xmlns:a16="http://schemas.microsoft.com/office/drawing/2014/main" id="{1612FAD1-C79E-7C38-D70D-9B2E9204D52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0478670">
            <a:off x="5824714" y="4268461"/>
            <a:ext cx="192925" cy="192925"/>
          </a:xfrm>
          <a:prstGeom prst="rect">
            <a:avLst/>
          </a:prstGeom>
        </p:spPr>
      </p:pic>
      <p:sp>
        <p:nvSpPr>
          <p:cNvPr id="33" name="TextBox 32">
            <a:extLst>
              <a:ext uri="{FF2B5EF4-FFF2-40B4-BE49-F238E27FC236}">
                <a16:creationId xmlns:a16="http://schemas.microsoft.com/office/drawing/2014/main" id="{81F6A679-28F3-FF19-DD9B-C931017983C0}"/>
              </a:ext>
            </a:extLst>
          </p:cNvPr>
          <p:cNvSpPr txBox="1"/>
          <p:nvPr/>
        </p:nvSpPr>
        <p:spPr>
          <a:xfrm rot="20430636">
            <a:off x="5691582" y="4167511"/>
            <a:ext cx="390525" cy="184666"/>
          </a:xfrm>
          <a:prstGeom prst="rect">
            <a:avLst/>
          </a:prstGeom>
          <a:noFill/>
        </p:spPr>
        <p:txBody>
          <a:bodyPr wrap="square" rtlCol="0">
            <a:spAutoFit/>
          </a:bodyPr>
          <a:lstStyle/>
          <a:p>
            <a:pPr algn="ctr"/>
            <a:r>
              <a:rPr lang="en-US" sz="600" b="1"/>
              <a:t>SCD41</a:t>
            </a:r>
          </a:p>
        </p:txBody>
      </p:sp>
      <p:pic>
        <p:nvPicPr>
          <p:cNvPr id="11" name="Picture 10">
            <a:extLst>
              <a:ext uri="{FF2B5EF4-FFF2-40B4-BE49-F238E27FC236}">
                <a16:creationId xmlns:a16="http://schemas.microsoft.com/office/drawing/2014/main" id="{248E5DC8-616B-233E-69B9-0CBF6519361A}"/>
              </a:ext>
            </a:extLst>
          </p:cNvPr>
          <p:cNvPicPr>
            <a:picLocks noChangeAspect="1"/>
          </p:cNvPicPr>
          <p:nvPr/>
        </p:nvPicPr>
        <p:blipFill>
          <a:blip r:embed="rId11"/>
          <a:stretch>
            <a:fillRect/>
          </a:stretch>
        </p:blipFill>
        <p:spPr>
          <a:xfrm>
            <a:off x="7330282" y="3299049"/>
            <a:ext cx="1301685" cy="769933"/>
          </a:xfrm>
          <a:prstGeom prst="rect">
            <a:avLst/>
          </a:prstGeom>
        </p:spPr>
      </p:pic>
    </p:spTree>
    <p:extLst>
      <p:ext uri="{BB962C8B-B14F-4D97-AF65-F5344CB8AC3E}">
        <p14:creationId xmlns:p14="http://schemas.microsoft.com/office/powerpoint/2010/main" val="7846799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3437995" y="1097073"/>
          <a:ext cx="6494910" cy="4828957"/>
        </p:xfrm>
        <a:graphic>
          <a:graphicData uri="http://schemas.openxmlformats.org/drawingml/2006/table">
            <a:tbl>
              <a:tblPr firstRow="1" bandRow="1">
                <a:tableStyleId>{5C22544A-7EE6-4342-B048-85BDC9FD1C3A}</a:tableStyleId>
              </a:tblPr>
              <a:tblGrid>
                <a:gridCol w="1082485">
                  <a:extLst>
                    <a:ext uri="{9D8B030D-6E8A-4147-A177-3AD203B41FA5}">
                      <a16:colId xmlns:a16="http://schemas.microsoft.com/office/drawing/2014/main" val="1797219422"/>
                    </a:ext>
                  </a:extLst>
                </a:gridCol>
                <a:gridCol w="1082485">
                  <a:extLst>
                    <a:ext uri="{9D8B030D-6E8A-4147-A177-3AD203B41FA5}">
                      <a16:colId xmlns:a16="http://schemas.microsoft.com/office/drawing/2014/main" val="3351548415"/>
                    </a:ext>
                  </a:extLst>
                </a:gridCol>
                <a:gridCol w="1082485">
                  <a:extLst>
                    <a:ext uri="{9D8B030D-6E8A-4147-A177-3AD203B41FA5}">
                      <a16:colId xmlns:a16="http://schemas.microsoft.com/office/drawing/2014/main" val="2953312157"/>
                    </a:ext>
                  </a:extLst>
                </a:gridCol>
                <a:gridCol w="1082485">
                  <a:extLst>
                    <a:ext uri="{9D8B030D-6E8A-4147-A177-3AD203B41FA5}">
                      <a16:colId xmlns:a16="http://schemas.microsoft.com/office/drawing/2014/main" val="2880073338"/>
                    </a:ext>
                  </a:extLst>
                </a:gridCol>
                <a:gridCol w="1082485">
                  <a:extLst>
                    <a:ext uri="{9D8B030D-6E8A-4147-A177-3AD203B41FA5}">
                      <a16:colId xmlns:a16="http://schemas.microsoft.com/office/drawing/2014/main" val="95572456"/>
                    </a:ext>
                  </a:extLst>
                </a:gridCol>
                <a:gridCol w="1082485">
                  <a:extLst>
                    <a:ext uri="{9D8B030D-6E8A-4147-A177-3AD203B41FA5}">
                      <a16:colId xmlns:a16="http://schemas.microsoft.com/office/drawing/2014/main" val="3154283350"/>
                    </a:ext>
                  </a:extLst>
                </a:gridCol>
              </a:tblGrid>
              <a:tr h="375920">
                <a:tc>
                  <a:txBody>
                    <a:bodyPr/>
                    <a:lstStyle/>
                    <a:p>
                      <a:pPr algn="ctr"/>
                      <a:r>
                        <a:rPr lang="de-CH" sz="1300"/>
                        <a:t>2020</a:t>
                      </a:r>
                      <a:endParaRPr lang="en-US" sz="1300"/>
                    </a:p>
                  </a:txBody>
                  <a:tcPr anchor="ctr">
                    <a:lnB w="3175" cap="flat" cmpd="sng" algn="ctr">
                      <a:noFill/>
                      <a:prstDash val="dash"/>
                      <a:round/>
                      <a:headEnd type="none" w="med" len="med"/>
                      <a:tailEnd type="none" w="med" len="med"/>
                    </a:lnB>
                  </a:tcPr>
                </a:tc>
                <a:tc>
                  <a:txBody>
                    <a:bodyPr/>
                    <a:lstStyle/>
                    <a:p>
                      <a:pPr algn="ctr"/>
                      <a:r>
                        <a:rPr lang="de-CH" sz="1300"/>
                        <a:t>2021</a:t>
                      </a:r>
                      <a:endParaRPr lang="en-US" sz="1300"/>
                    </a:p>
                  </a:txBody>
                  <a:tcPr anchor="ctr">
                    <a:lnB w="3175" cap="flat" cmpd="sng" algn="ctr">
                      <a:noFill/>
                      <a:prstDash val="dash"/>
                      <a:round/>
                      <a:headEnd type="none" w="med" len="med"/>
                      <a:tailEnd type="none" w="med" len="med"/>
                    </a:lnB>
                    <a:solidFill>
                      <a:schemeClr val="accent1">
                        <a:lumMod val="75000"/>
                      </a:schemeClr>
                    </a:solidFill>
                  </a:tcPr>
                </a:tc>
                <a:tc>
                  <a:txBody>
                    <a:bodyPr/>
                    <a:lstStyle/>
                    <a:p>
                      <a:pPr algn="ctr"/>
                      <a:r>
                        <a:rPr lang="de-CH" sz="1300"/>
                        <a:t>2022</a:t>
                      </a:r>
                      <a:endParaRPr lang="en-US" sz="1300"/>
                    </a:p>
                  </a:txBody>
                  <a:tcPr anchor="ctr">
                    <a:lnB w="3175" cap="flat" cmpd="sng" algn="ctr">
                      <a:noFill/>
                      <a:prstDash val="dash"/>
                      <a:round/>
                      <a:headEnd type="none" w="med" len="med"/>
                      <a:tailEnd type="none" w="med" len="med"/>
                    </a:lnB>
                  </a:tcPr>
                </a:tc>
                <a:tc>
                  <a:txBody>
                    <a:bodyPr/>
                    <a:lstStyle/>
                    <a:p>
                      <a:pPr algn="ctr"/>
                      <a:r>
                        <a:rPr lang="de-CH" sz="1300"/>
                        <a:t>2023</a:t>
                      </a:r>
                      <a:endParaRPr lang="en-US" sz="1300"/>
                    </a:p>
                  </a:txBody>
                  <a:tcPr anchor="ctr">
                    <a:lnB w="3175" cap="flat" cmpd="sng" algn="ctr">
                      <a:noFill/>
                      <a:prstDash val="dash"/>
                      <a:round/>
                      <a:headEnd type="none" w="med" len="med"/>
                      <a:tailEnd type="none" w="med" len="med"/>
                    </a:lnB>
                    <a:solidFill>
                      <a:schemeClr val="accent1">
                        <a:lumMod val="75000"/>
                      </a:schemeClr>
                    </a:solidFill>
                  </a:tcPr>
                </a:tc>
                <a:tc>
                  <a:txBody>
                    <a:bodyPr/>
                    <a:lstStyle/>
                    <a:p>
                      <a:pPr algn="ctr"/>
                      <a:r>
                        <a:rPr lang="de-CH" sz="1300"/>
                        <a:t>2024</a:t>
                      </a:r>
                      <a:endParaRPr lang="en-US" sz="1300"/>
                    </a:p>
                  </a:txBody>
                  <a:tcPr anchor="ctr">
                    <a:lnB w="3175" cap="flat" cmpd="sng" algn="ctr">
                      <a:noFill/>
                      <a:prstDash val="dash"/>
                      <a:round/>
                      <a:headEnd type="none" w="med" len="med"/>
                      <a:tailEnd type="none" w="med" len="med"/>
                    </a:lnB>
                  </a:tcPr>
                </a:tc>
                <a:tc>
                  <a:txBody>
                    <a:bodyPr/>
                    <a:lstStyle/>
                    <a:p>
                      <a:pPr marL="0" algn="ctr" defTabSz="914400" rtl="0" eaLnBrk="1" latinLnBrk="0" hangingPunct="1"/>
                      <a:r>
                        <a:rPr lang="de-CH" sz="1300" b="1" kern="1200">
                          <a:solidFill>
                            <a:schemeClr val="lt1"/>
                          </a:solidFill>
                          <a:latin typeface="+mn-lt"/>
                          <a:ea typeface="+mn-ea"/>
                          <a:cs typeface="+mn-cs"/>
                        </a:rPr>
                        <a:t>2025</a:t>
                      </a:r>
                      <a:endParaRPr lang="en-US" sz="1300" b="1" kern="1200">
                        <a:solidFill>
                          <a:schemeClr val="lt1"/>
                        </a:solidFill>
                        <a:latin typeface="+mn-lt"/>
                        <a:ea typeface="+mn-ea"/>
                        <a:cs typeface="+mn-cs"/>
                      </a:endParaRPr>
                    </a:p>
                  </a:txBody>
                  <a:tcPr anchor="ctr">
                    <a:lnB w="3175" cap="flat" cmpd="sng" algn="ctr">
                      <a:noFill/>
                      <a:prstDash val="dash"/>
                      <a:round/>
                      <a:headEnd type="none" w="med" len="med"/>
                      <a:tailEnd type="none" w="med" len="med"/>
                    </a:lnB>
                    <a:solidFill>
                      <a:schemeClr val="accent1">
                        <a:lumMod val="75000"/>
                      </a:schemeClr>
                    </a:solidFill>
                  </a:tcPr>
                </a:tc>
                <a:extLst>
                  <a:ext uri="{0D108BD9-81ED-4DB2-BD59-A6C34878D82A}">
                    <a16:rowId xmlns:a16="http://schemas.microsoft.com/office/drawing/2014/main" val="120081495"/>
                  </a:ext>
                </a:extLst>
              </a:tr>
              <a:tr h="4453037">
                <a:tc>
                  <a:txBody>
                    <a:bodyPr/>
                    <a:lstStyle/>
                    <a:p>
                      <a:pPr algn="ctr"/>
                      <a:endParaRPr lang="en-US" sz="1300"/>
                    </a:p>
                  </a:txBody>
                  <a:tcPr anchor="ctr">
                    <a:lnL w="3175" cap="flat" cmpd="sng" algn="ctr">
                      <a:solidFill>
                        <a:schemeClr val="tx1"/>
                      </a:solidFill>
                      <a:prstDash val="dash"/>
                      <a:round/>
                      <a:headEnd type="none" w="med" len="med"/>
                      <a:tailEnd type="none" w="med" len="med"/>
                    </a:lnL>
                    <a:lnR w="3175" cap="flat" cmpd="sng" algn="ctr">
                      <a:solidFill>
                        <a:schemeClr val="tx1"/>
                      </a:solidFill>
                      <a:prstDash val="dash"/>
                      <a:round/>
                      <a:headEnd type="none" w="med" len="med"/>
                      <a:tailEnd type="none" w="med" len="med"/>
                    </a:lnR>
                    <a:lnT w="3175" cap="flat" cmpd="sng" algn="ctr">
                      <a:noFill/>
                      <a:prstDash val="dash"/>
                      <a:round/>
                      <a:headEnd type="none" w="med" len="med"/>
                      <a:tailEnd type="none" w="med" len="med"/>
                    </a:lnT>
                    <a:lnB w="3175" cap="flat" cmpd="sng" algn="ctr">
                      <a:noFill/>
                      <a:prstDash val="dash"/>
                      <a:round/>
                      <a:headEnd type="none" w="med" len="med"/>
                      <a:tailEnd type="none" w="med" len="med"/>
                    </a:lnB>
                    <a:noFill/>
                  </a:tcPr>
                </a:tc>
                <a:tc>
                  <a:txBody>
                    <a:bodyPr/>
                    <a:lstStyle/>
                    <a:p>
                      <a:pPr algn="ctr"/>
                      <a:endParaRPr lang="en-US" sz="1300"/>
                    </a:p>
                  </a:txBody>
                  <a:tcPr anchor="ctr">
                    <a:lnL w="3175" cap="flat" cmpd="sng" algn="ctr">
                      <a:solidFill>
                        <a:schemeClr val="tx1"/>
                      </a:solidFill>
                      <a:prstDash val="dash"/>
                      <a:round/>
                      <a:headEnd type="none" w="med" len="med"/>
                      <a:tailEnd type="none" w="med" len="med"/>
                    </a:lnL>
                    <a:lnR w="3175" cap="flat" cmpd="sng" algn="ctr">
                      <a:solidFill>
                        <a:schemeClr val="tx1"/>
                      </a:solidFill>
                      <a:prstDash val="dash"/>
                      <a:round/>
                      <a:headEnd type="none" w="med" len="med"/>
                      <a:tailEnd type="none" w="med" len="med"/>
                    </a:lnR>
                    <a:lnT w="3175" cap="flat" cmpd="sng" algn="ctr">
                      <a:noFill/>
                      <a:prstDash val="dash"/>
                      <a:round/>
                      <a:headEnd type="none" w="med" len="med"/>
                      <a:tailEnd type="none" w="med" len="med"/>
                    </a:lnT>
                    <a:lnB w="3175" cap="flat" cmpd="sng" algn="ctr">
                      <a:noFill/>
                      <a:prstDash val="dash"/>
                      <a:round/>
                      <a:headEnd type="none" w="med" len="med"/>
                      <a:tailEnd type="none" w="med" len="med"/>
                    </a:lnB>
                    <a:noFill/>
                  </a:tcPr>
                </a:tc>
                <a:tc>
                  <a:txBody>
                    <a:bodyPr/>
                    <a:lstStyle/>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de-CH" sz="1300" dirty="0"/>
                    </a:p>
                    <a:p>
                      <a:pPr algn="ctr"/>
                      <a:endParaRPr lang="en-US" sz="1300" dirty="0"/>
                    </a:p>
                  </a:txBody>
                  <a:tcPr anchor="ctr">
                    <a:lnL w="3175" cap="flat" cmpd="sng" algn="ctr">
                      <a:solidFill>
                        <a:schemeClr val="tx1"/>
                      </a:solidFill>
                      <a:prstDash val="dash"/>
                      <a:round/>
                      <a:headEnd type="none" w="med" len="med"/>
                      <a:tailEnd type="none" w="med" len="med"/>
                    </a:lnL>
                    <a:lnR w="3175" cap="flat" cmpd="sng" algn="ctr">
                      <a:solidFill>
                        <a:schemeClr val="tx1"/>
                      </a:solidFill>
                      <a:prstDash val="dash"/>
                      <a:round/>
                      <a:headEnd type="none" w="med" len="med"/>
                      <a:tailEnd type="none" w="med" len="med"/>
                    </a:lnR>
                    <a:lnT w="3175" cap="flat" cmpd="sng" algn="ctr">
                      <a:noFill/>
                      <a:prstDash val="dash"/>
                      <a:round/>
                      <a:headEnd type="none" w="med" len="med"/>
                      <a:tailEnd type="none" w="med" len="med"/>
                    </a:lnT>
                    <a:lnB w="3175" cap="flat" cmpd="sng" algn="ctr">
                      <a:noFill/>
                      <a:prstDash val="dash"/>
                      <a:round/>
                      <a:headEnd type="none" w="med" len="med"/>
                      <a:tailEnd type="none" w="med" len="med"/>
                    </a:lnB>
                    <a:noFill/>
                  </a:tcPr>
                </a:tc>
                <a:tc>
                  <a:txBody>
                    <a:bodyPr/>
                    <a:lstStyle/>
                    <a:p>
                      <a:pPr algn="ctr"/>
                      <a:endParaRPr lang="en-US" sz="1300" dirty="0"/>
                    </a:p>
                  </a:txBody>
                  <a:tcPr anchor="ctr">
                    <a:lnL w="3175" cap="flat" cmpd="sng" algn="ctr">
                      <a:solidFill>
                        <a:schemeClr val="tx1"/>
                      </a:solidFill>
                      <a:prstDash val="dash"/>
                      <a:round/>
                      <a:headEnd type="none" w="med" len="med"/>
                      <a:tailEnd type="none" w="med" len="med"/>
                    </a:lnL>
                    <a:lnR w="3175" cap="flat" cmpd="sng" algn="ctr">
                      <a:solidFill>
                        <a:schemeClr val="tx1"/>
                      </a:solidFill>
                      <a:prstDash val="dash"/>
                      <a:round/>
                      <a:headEnd type="none" w="med" len="med"/>
                      <a:tailEnd type="none" w="med" len="med"/>
                    </a:lnR>
                    <a:lnT w="3175" cap="flat" cmpd="sng" algn="ctr">
                      <a:noFill/>
                      <a:prstDash val="dash"/>
                      <a:round/>
                      <a:headEnd type="none" w="med" len="med"/>
                      <a:tailEnd type="none" w="med" len="med"/>
                    </a:lnT>
                    <a:lnB w="3175" cap="flat" cmpd="sng" algn="ctr">
                      <a:noFill/>
                      <a:prstDash val="dash"/>
                      <a:round/>
                      <a:headEnd type="none" w="med" len="med"/>
                      <a:tailEnd type="none" w="med" len="med"/>
                    </a:lnB>
                    <a:noFill/>
                  </a:tcPr>
                </a:tc>
                <a:tc>
                  <a:txBody>
                    <a:bodyPr/>
                    <a:lstStyle/>
                    <a:p>
                      <a:pPr algn="ctr"/>
                      <a:endParaRPr lang="en-US" sz="1300" dirty="0"/>
                    </a:p>
                  </a:txBody>
                  <a:tcPr anchor="ctr">
                    <a:lnL w="3175" cap="flat" cmpd="sng" algn="ctr">
                      <a:solidFill>
                        <a:schemeClr val="tx1"/>
                      </a:solidFill>
                      <a:prstDash val="dash"/>
                      <a:round/>
                      <a:headEnd type="none" w="med" len="med"/>
                      <a:tailEnd type="none" w="med" len="med"/>
                    </a:lnL>
                    <a:lnR w="3175" cap="flat" cmpd="sng" algn="ctr">
                      <a:solidFill>
                        <a:schemeClr val="tx1"/>
                      </a:solidFill>
                      <a:prstDash val="dash"/>
                      <a:round/>
                      <a:headEnd type="none" w="med" len="med"/>
                      <a:tailEnd type="none" w="med" len="med"/>
                    </a:lnR>
                    <a:lnT w="3175" cap="flat" cmpd="sng" algn="ctr">
                      <a:noFill/>
                      <a:prstDash val="dash"/>
                      <a:round/>
                      <a:headEnd type="none" w="med" len="med"/>
                      <a:tailEnd type="none" w="med" len="med"/>
                    </a:lnT>
                    <a:lnB w="3175" cap="flat" cmpd="sng" algn="ctr">
                      <a:noFill/>
                      <a:prstDash val="dash"/>
                      <a:round/>
                      <a:headEnd type="none" w="med" len="med"/>
                      <a:tailEnd type="none" w="med" len="med"/>
                    </a:lnB>
                    <a:noFill/>
                  </a:tcPr>
                </a:tc>
                <a:tc>
                  <a:txBody>
                    <a:bodyPr/>
                    <a:lstStyle/>
                    <a:p>
                      <a:pPr algn="ctr"/>
                      <a:endParaRPr lang="en-US" sz="1300" dirty="0"/>
                    </a:p>
                  </a:txBody>
                  <a:tcPr anchor="ctr">
                    <a:lnL w="3175" cap="flat" cmpd="sng" algn="ctr">
                      <a:solidFill>
                        <a:schemeClr val="tx1"/>
                      </a:solidFill>
                      <a:prstDash val="dash"/>
                      <a:round/>
                      <a:headEnd type="none" w="med" len="med"/>
                      <a:tailEnd type="none" w="med" len="med"/>
                    </a:lnL>
                    <a:lnR w="3175" cap="flat" cmpd="sng" algn="ctr">
                      <a:solidFill>
                        <a:schemeClr val="tx1"/>
                      </a:solidFill>
                      <a:prstDash val="dash"/>
                      <a:round/>
                      <a:headEnd type="none" w="med" len="med"/>
                      <a:tailEnd type="none" w="med" len="med"/>
                    </a:lnR>
                    <a:lnT w="3175" cap="flat" cmpd="sng" algn="ctr">
                      <a:noFill/>
                      <a:prstDash val="dash"/>
                      <a:round/>
                      <a:headEnd type="none" w="med" len="med"/>
                      <a:tailEnd type="none" w="med" len="med"/>
                    </a:lnT>
                    <a:lnB w="3175" cap="flat" cmpd="sng" algn="ctr">
                      <a:noFill/>
                      <a:prstDash val="dash"/>
                      <a:round/>
                      <a:headEnd type="none" w="med" len="med"/>
                      <a:tailEnd type="none" w="med" len="med"/>
                    </a:lnB>
                    <a:noFill/>
                  </a:tcPr>
                </a:tc>
                <a:extLst>
                  <a:ext uri="{0D108BD9-81ED-4DB2-BD59-A6C34878D82A}">
                    <a16:rowId xmlns:a16="http://schemas.microsoft.com/office/drawing/2014/main" val="4275870040"/>
                  </a:ext>
                </a:extLst>
              </a:tr>
            </a:tbl>
          </a:graphicData>
        </a:graphic>
      </p:graphicFrame>
      <p:sp>
        <p:nvSpPr>
          <p:cNvPr id="2" name="Title 1"/>
          <p:cNvSpPr>
            <a:spLocks noGrp="1"/>
          </p:cNvSpPr>
          <p:nvPr>
            <p:ph type="title"/>
          </p:nvPr>
        </p:nvSpPr>
        <p:spPr/>
        <p:txBody>
          <a:bodyPr/>
          <a:lstStyle/>
          <a:p>
            <a:r>
              <a:rPr lang="en-US" dirty="0"/>
              <a:t>Sensirion SCD30 and SCD4x Roadmap</a:t>
            </a:r>
            <a:endParaRPr lang="en-US" dirty="0">
              <a:solidFill>
                <a:srgbClr val="FF0000"/>
              </a:solidFill>
            </a:endParaRPr>
          </a:p>
        </p:txBody>
      </p:sp>
      <p:sp>
        <p:nvSpPr>
          <p:cNvPr id="58" name="Rectangle 45">
            <a:extLst>
              <a:ext uri="{FF2B5EF4-FFF2-40B4-BE49-F238E27FC236}">
                <a16:creationId xmlns:a16="http://schemas.microsoft.com/office/drawing/2014/main" id="{6CE6ADC2-3ADA-4306-9A50-CE8B089B084D}"/>
              </a:ext>
            </a:extLst>
          </p:cNvPr>
          <p:cNvSpPr>
            <a:spLocks noChangeArrowheads="1"/>
          </p:cNvSpPr>
          <p:nvPr/>
        </p:nvSpPr>
        <p:spPr bwMode="auto">
          <a:xfrm>
            <a:off x="1279579" y="1695604"/>
            <a:ext cx="1696399" cy="1075864"/>
          </a:xfrm>
          <a:prstGeom prst="roundRect">
            <a:avLst>
              <a:gd name="adj" fmla="val 8214"/>
            </a:avLst>
          </a:prstGeom>
          <a:solidFill>
            <a:srgbClr val="C2EBAD"/>
          </a:solidFill>
          <a:ln w="19050">
            <a:noFill/>
            <a:miter lim="800000"/>
            <a:headEnd/>
            <a:tailEnd/>
          </a:ln>
        </p:spPr>
        <p:txBody>
          <a:bodyPr wrap="square" anchor="ctr"/>
          <a:lstStyle/>
          <a:p>
            <a:pPr algn="ctr" defTabSz="914377" fontAlgn="auto">
              <a:spcBef>
                <a:spcPts val="0"/>
              </a:spcBef>
              <a:spcAft>
                <a:spcPts val="0"/>
              </a:spcAft>
              <a:defRPr/>
            </a:pPr>
            <a:r>
              <a:rPr lang="en-US" sz="1200" b="1" kern="0">
                <a:solidFill>
                  <a:srgbClr val="000000"/>
                </a:solidFill>
              </a:rPr>
              <a:t>NDIR Gas Sensing</a:t>
            </a:r>
          </a:p>
        </p:txBody>
      </p:sp>
      <p:sp>
        <p:nvSpPr>
          <p:cNvPr id="79" name="AutoShape 51">
            <a:extLst>
              <a:ext uri="{FF2B5EF4-FFF2-40B4-BE49-F238E27FC236}">
                <a16:creationId xmlns:a16="http://schemas.microsoft.com/office/drawing/2014/main" id="{6C41C079-8497-44DF-8F58-7E3809FAAA05}"/>
              </a:ext>
            </a:extLst>
          </p:cNvPr>
          <p:cNvSpPr>
            <a:spLocks noChangeArrowheads="1"/>
          </p:cNvSpPr>
          <p:nvPr/>
        </p:nvSpPr>
        <p:spPr bwMode="auto">
          <a:xfrm>
            <a:off x="3978852" y="2098770"/>
            <a:ext cx="5948711" cy="269532"/>
          </a:xfrm>
          <a:prstGeom prst="chevron">
            <a:avLst>
              <a:gd name="adj" fmla="val 36847"/>
            </a:avLst>
          </a:prstGeom>
          <a:solidFill>
            <a:srgbClr val="C2EBAD"/>
          </a:solidFill>
          <a:ln w="19050">
            <a:noFill/>
            <a:miter lim="800000"/>
            <a:headEnd/>
            <a:tailEnd/>
          </a:ln>
        </p:spPr>
        <p:txBody>
          <a:bodyPr wrap="none" anchor="ctr"/>
          <a:lstStyle/>
          <a:p>
            <a:pPr fontAlgn="auto">
              <a:spcBef>
                <a:spcPts val="0"/>
              </a:spcBef>
              <a:spcAft>
                <a:spcPts val="0"/>
              </a:spcAft>
              <a:defRPr/>
            </a:pPr>
            <a:r>
              <a:rPr lang="en-US" sz="1200" b="1" kern="0">
                <a:solidFill>
                  <a:srgbClr val="000000"/>
                </a:solidFill>
              </a:rPr>
              <a:t>SCD30</a:t>
            </a:r>
            <a:r>
              <a:rPr lang="en-US" sz="1200" kern="0">
                <a:solidFill>
                  <a:srgbClr val="000000"/>
                </a:solidFill>
              </a:rPr>
              <a:t> – CO</a:t>
            </a:r>
            <a:r>
              <a:rPr lang="en-US" sz="1200" kern="0" baseline="-25000">
                <a:solidFill>
                  <a:srgbClr val="000000"/>
                </a:solidFill>
              </a:rPr>
              <a:t>2</a:t>
            </a:r>
            <a:endParaRPr lang="en-US" sz="1200" b="1" kern="0" baseline="-25000">
              <a:solidFill>
                <a:srgbClr val="000000"/>
              </a:solidFill>
            </a:endParaRPr>
          </a:p>
        </p:txBody>
      </p:sp>
      <p:sp>
        <p:nvSpPr>
          <p:cNvPr id="153" name="Rectangle 45"/>
          <p:cNvSpPr>
            <a:spLocks noChangeArrowheads="1"/>
          </p:cNvSpPr>
          <p:nvPr/>
        </p:nvSpPr>
        <p:spPr bwMode="auto">
          <a:xfrm>
            <a:off x="1279577" y="3070042"/>
            <a:ext cx="1696399" cy="1988677"/>
          </a:xfrm>
          <a:prstGeom prst="roundRect">
            <a:avLst>
              <a:gd name="adj" fmla="val 8294"/>
            </a:avLst>
          </a:prstGeom>
          <a:solidFill>
            <a:srgbClr val="66CC33"/>
          </a:solidFill>
          <a:ln w="19050">
            <a:noFill/>
            <a:miter lim="800000"/>
            <a:headEnd/>
            <a:tailEnd/>
          </a:ln>
        </p:spPr>
        <p:txBody>
          <a:bodyPr wrap="square" anchor="ctr"/>
          <a:lstStyle/>
          <a:p>
            <a:pPr algn="ctr" defTabSz="914377" fontAlgn="auto">
              <a:spcBef>
                <a:spcPts val="0"/>
              </a:spcBef>
              <a:spcAft>
                <a:spcPts val="0"/>
              </a:spcAft>
              <a:defRPr/>
            </a:pPr>
            <a:r>
              <a:rPr lang="en-US" sz="1200" b="1" kern="0" dirty="0">
                <a:solidFill>
                  <a:srgbClr val="000000"/>
                </a:solidFill>
              </a:rPr>
              <a:t>Photoacoustic Gas Sensing</a:t>
            </a:r>
          </a:p>
        </p:txBody>
      </p:sp>
      <p:grpSp>
        <p:nvGrpSpPr>
          <p:cNvPr id="4" name="Group 3">
            <a:extLst>
              <a:ext uri="{FF2B5EF4-FFF2-40B4-BE49-F238E27FC236}">
                <a16:creationId xmlns:a16="http://schemas.microsoft.com/office/drawing/2014/main" id="{F6EF2158-BD97-47B1-8C4A-D24E982C54A6}"/>
              </a:ext>
            </a:extLst>
          </p:cNvPr>
          <p:cNvGrpSpPr/>
          <p:nvPr/>
        </p:nvGrpSpPr>
        <p:grpSpPr>
          <a:xfrm>
            <a:off x="3978853" y="3665377"/>
            <a:ext cx="3125835" cy="559680"/>
            <a:chOff x="3428347" y="4328832"/>
            <a:chExt cx="3125835" cy="559680"/>
          </a:xfrm>
        </p:grpSpPr>
        <p:sp>
          <p:nvSpPr>
            <p:cNvPr id="149" name="AutoShape 51"/>
            <p:cNvSpPr>
              <a:spLocks noChangeArrowheads="1"/>
            </p:cNvSpPr>
            <p:nvPr/>
          </p:nvSpPr>
          <p:spPr bwMode="auto">
            <a:xfrm>
              <a:off x="4229728" y="4445531"/>
              <a:ext cx="2324454" cy="269875"/>
            </a:xfrm>
            <a:prstGeom prst="chevron">
              <a:avLst>
                <a:gd name="adj" fmla="val 32242"/>
              </a:avLst>
            </a:prstGeom>
            <a:solidFill>
              <a:srgbClr val="66CC33"/>
            </a:solidFill>
            <a:ln w="19050">
              <a:noFill/>
              <a:miter lim="800000"/>
              <a:headEnd/>
              <a:tailEnd/>
            </a:ln>
          </p:spPr>
          <p:txBody>
            <a:bodyPr wrap="none" anchor="ctr"/>
            <a:lstStyle/>
            <a:p>
              <a:pPr fontAlgn="auto">
                <a:spcBef>
                  <a:spcPts val="0"/>
                </a:spcBef>
                <a:spcAft>
                  <a:spcPts val="0"/>
                </a:spcAft>
                <a:defRPr/>
              </a:pPr>
              <a:r>
                <a:rPr lang="en-US" sz="1200" b="1" kern="0" dirty="0">
                  <a:solidFill>
                    <a:srgbClr val="000000"/>
                  </a:solidFill>
                </a:rPr>
                <a:t>SCD41</a:t>
              </a:r>
              <a:endParaRPr lang="en-US" sz="1200" dirty="0"/>
            </a:p>
          </p:txBody>
        </p:sp>
        <p:sp>
          <p:nvSpPr>
            <p:cNvPr id="42" name="Flussdiagramm: Verzweigung 109">
              <a:extLst>
                <a:ext uri="{FF2B5EF4-FFF2-40B4-BE49-F238E27FC236}">
                  <a16:creationId xmlns:a16="http://schemas.microsoft.com/office/drawing/2014/main" id="{7899D7C5-F95F-4BF5-9F1B-AE3894509029}"/>
                </a:ext>
              </a:extLst>
            </p:cNvPr>
            <p:cNvSpPr/>
            <p:nvPr/>
          </p:nvSpPr>
          <p:spPr>
            <a:xfrm>
              <a:off x="4126240" y="4445531"/>
              <a:ext cx="183335" cy="268441"/>
            </a:xfrm>
            <a:prstGeom prst="flowChartDecision">
              <a:avLst/>
            </a:prstGeom>
            <a:solidFill>
              <a:srgbClr val="FFFF99"/>
            </a:solidFill>
            <a:ln w="25400" cap="flat" cmpd="sng" algn="ctr">
              <a:solidFill>
                <a:srgbClr val="EBE6E6">
                  <a:shade val="50000"/>
                </a:srgbClr>
              </a:solidFill>
              <a:prstDash val="solid"/>
            </a:ln>
            <a:effectLst/>
          </p:spPr>
          <p:txBody>
            <a:bodyPr anchor="ctr"/>
            <a:lstStyle/>
            <a:p>
              <a:pPr algn="ctr" fontAlgn="auto">
                <a:spcBef>
                  <a:spcPts val="0"/>
                </a:spcBef>
                <a:spcAft>
                  <a:spcPts val="0"/>
                </a:spcAft>
              </a:pPr>
              <a:endParaRPr lang="de-CH" sz="1800" kern="0">
                <a:solidFill>
                  <a:srgbClr val="FFFFFF"/>
                </a:solidFill>
              </a:endParaRPr>
            </a:p>
          </p:txBody>
        </p:sp>
        <p:pic>
          <p:nvPicPr>
            <p:cNvPr id="118" name="Picture 117" descr="A picture containing dishware, tableware&#10;&#10;Description automatically generated">
              <a:extLst>
                <a:ext uri="{FF2B5EF4-FFF2-40B4-BE49-F238E27FC236}">
                  <a16:creationId xmlns:a16="http://schemas.microsoft.com/office/drawing/2014/main" id="{55158959-8165-4551-8E08-24AD29DD66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8347" y="4328832"/>
              <a:ext cx="753608" cy="559680"/>
            </a:xfrm>
            <a:prstGeom prst="rect">
              <a:avLst/>
            </a:prstGeom>
          </p:spPr>
        </p:pic>
      </p:grpSp>
      <p:sp>
        <p:nvSpPr>
          <p:cNvPr id="95" name="Flussdiagramm: Verzweigung 106">
            <a:extLst>
              <a:ext uri="{FF2B5EF4-FFF2-40B4-BE49-F238E27FC236}">
                <a16:creationId xmlns:a16="http://schemas.microsoft.com/office/drawing/2014/main" id="{586AAB7D-C8C3-413F-B7E2-A715C0868B27}"/>
              </a:ext>
            </a:extLst>
          </p:cNvPr>
          <p:cNvSpPr/>
          <p:nvPr/>
        </p:nvSpPr>
        <p:spPr>
          <a:xfrm>
            <a:off x="2080123" y="1262283"/>
            <a:ext cx="180975" cy="260351"/>
          </a:xfrm>
          <a:prstGeom prst="flowChartDecision">
            <a:avLst/>
          </a:prstGeom>
          <a:solidFill>
            <a:srgbClr val="FFFF99"/>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endParaRPr lang="en-US" sz="1800" kern="0">
              <a:solidFill>
                <a:srgbClr val="FFFFFF"/>
              </a:solidFill>
            </a:endParaRPr>
          </a:p>
        </p:txBody>
      </p:sp>
      <p:sp>
        <p:nvSpPr>
          <p:cNvPr id="99" name="Textfeld 7">
            <a:extLst>
              <a:ext uri="{FF2B5EF4-FFF2-40B4-BE49-F238E27FC236}">
                <a16:creationId xmlns:a16="http://schemas.microsoft.com/office/drawing/2014/main" id="{AD959958-97D3-4336-A86E-58D7DB9ED8E3}"/>
              </a:ext>
            </a:extLst>
          </p:cNvPr>
          <p:cNvSpPr txBox="1">
            <a:spLocks noChangeArrowheads="1"/>
          </p:cNvSpPr>
          <p:nvPr/>
        </p:nvSpPr>
        <p:spPr bwMode="auto">
          <a:xfrm>
            <a:off x="1966614" y="1023606"/>
            <a:ext cx="40748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defTabSz="914377" eaLnBrk="1" fontAlgn="auto" hangingPunct="1">
              <a:spcBef>
                <a:spcPts val="0"/>
              </a:spcBef>
              <a:spcAft>
                <a:spcPts val="0"/>
              </a:spcAft>
              <a:defRPr/>
            </a:pPr>
            <a:r>
              <a:rPr lang="en-US" sz="1000" kern="0">
                <a:solidFill>
                  <a:srgbClr val="000000"/>
                </a:solidFill>
              </a:rPr>
              <a:t>SOP</a:t>
            </a:r>
          </a:p>
        </p:txBody>
      </p:sp>
      <p:sp>
        <p:nvSpPr>
          <p:cNvPr id="100" name="Flussdiagramm: Verzweigung 70">
            <a:extLst>
              <a:ext uri="{FF2B5EF4-FFF2-40B4-BE49-F238E27FC236}">
                <a16:creationId xmlns:a16="http://schemas.microsoft.com/office/drawing/2014/main" id="{FF3B016E-7A9F-44B4-A658-39D91D195F23}"/>
              </a:ext>
            </a:extLst>
          </p:cNvPr>
          <p:cNvSpPr>
            <a:spLocks noChangeAspect="1"/>
          </p:cNvSpPr>
          <p:nvPr/>
        </p:nvSpPr>
        <p:spPr>
          <a:xfrm>
            <a:off x="1529258" y="1294032"/>
            <a:ext cx="136525" cy="195263"/>
          </a:xfrm>
          <a:prstGeom prst="flowChartDecision">
            <a:avLst/>
          </a:prstGeom>
          <a:solidFill>
            <a:srgbClr val="FFFF99"/>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r>
              <a:rPr lang="en-US" sz="900" kern="0">
                <a:solidFill>
                  <a:srgbClr val="FFFFFF">
                    <a:lumMod val="50000"/>
                  </a:srgbClr>
                </a:solidFill>
              </a:rPr>
              <a:t>S</a:t>
            </a:r>
            <a:endParaRPr lang="en-US" sz="1200" kern="0">
              <a:solidFill>
                <a:srgbClr val="FFFFFF">
                  <a:lumMod val="50000"/>
                </a:srgbClr>
              </a:solidFill>
            </a:endParaRPr>
          </a:p>
        </p:txBody>
      </p:sp>
      <p:cxnSp>
        <p:nvCxnSpPr>
          <p:cNvPr id="101" name="Gerade Verbindung 72">
            <a:extLst>
              <a:ext uri="{FF2B5EF4-FFF2-40B4-BE49-F238E27FC236}">
                <a16:creationId xmlns:a16="http://schemas.microsoft.com/office/drawing/2014/main" id="{5E390B86-EE65-4A50-85FB-DCAC15AFAEDD}"/>
              </a:ext>
            </a:extLst>
          </p:cNvPr>
          <p:cNvCxnSpPr>
            <a:stCxn id="100" idx="3"/>
          </p:cNvCxnSpPr>
          <p:nvPr/>
        </p:nvCxnSpPr>
        <p:spPr>
          <a:xfrm>
            <a:off x="1665782" y="1392457"/>
            <a:ext cx="414339" cy="0"/>
          </a:xfrm>
          <a:prstGeom prst="line">
            <a:avLst/>
          </a:prstGeom>
          <a:solidFill>
            <a:srgbClr val="FFFF99"/>
          </a:solidFill>
          <a:ln w="25400" cap="flat" cmpd="sng" algn="ctr">
            <a:solidFill>
              <a:srgbClr val="EBE6E6">
                <a:shade val="50000"/>
              </a:srgbClr>
            </a:solidFill>
            <a:prstDash val="sysDash"/>
          </a:ln>
          <a:effectLst/>
        </p:spPr>
      </p:cxnSp>
      <p:sp>
        <p:nvSpPr>
          <p:cNvPr id="105" name="Textfeld 74">
            <a:extLst>
              <a:ext uri="{FF2B5EF4-FFF2-40B4-BE49-F238E27FC236}">
                <a16:creationId xmlns:a16="http://schemas.microsoft.com/office/drawing/2014/main" id="{EE0309F2-A541-4BA9-B6B8-821A162EFE2F}"/>
              </a:ext>
            </a:extLst>
          </p:cNvPr>
          <p:cNvSpPr txBox="1">
            <a:spLocks noChangeArrowheads="1"/>
          </p:cNvSpPr>
          <p:nvPr/>
        </p:nvSpPr>
        <p:spPr bwMode="auto">
          <a:xfrm>
            <a:off x="1250652" y="869717"/>
            <a:ext cx="69373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algn="ctr" defTabSz="914377" eaLnBrk="1" fontAlgn="auto" hangingPunct="1">
              <a:spcBef>
                <a:spcPts val="0"/>
              </a:spcBef>
              <a:spcAft>
                <a:spcPts val="0"/>
              </a:spcAft>
              <a:defRPr/>
            </a:pPr>
            <a:r>
              <a:rPr lang="en-US" sz="1000" kern="0">
                <a:solidFill>
                  <a:srgbClr val="000000"/>
                </a:solidFill>
              </a:rPr>
              <a:t>samples</a:t>
            </a:r>
          </a:p>
          <a:p>
            <a:pPr algn="ctr" defTabSz="914377" eaLnBrk="1" fontAlgn="auto" hangingPunct="1">
              <a:spcBef>
                <a:spcPts val="0"/>
              </a:spcBef>
              <a:spcAft>
                <a:spcPts val="0"/>
              </a:spcAft>
              <a:defRPr/>
            </a:pPr>
            <a:r>
              <a:rPr lang="en-US" sz="1000" kern="0">
                <a:solidFill>
                  <a:srgbClr val="000000"/>
                </a:solidFill>
              </a:rPr>
              <a:t>available</a:t>
            </a:r>
          </a:p>
        </p:txBody>
      </p:sp>
      <p:sp>
        <p:nvSpPr>
          <p:cNvPr id="107" name="Flussdiagramm: Verzweigung 106">
            <a:extLst>
              <a:ext uri="{FF2B5EF4-FFF2-40B4-BE49-F238E27FC236}">
                <a16:creationId xmlns:a16="http://schemas.microsoft.com/office/drawing/2014/main" id="{8B18C647-EDAF-4F69-B0E4-31D29376B057}"/>
              </a:ext>
            </a:extLst>
          </p:cNvPr>
          <p:cNvSpPr/>
          <p:nvPr/>
        </p:nvSpPr>
        <p:spPr>
          <a:xfrm>
            <a:off x="3062103" y="1262283"/>
            <a:ext cx="180975" cy="260351"/>
          </a:xfrm>
          <a:prstGeom prst="flowChartDecision">
            <a:avLst/>
          </a:prstGeom>
          <a:solidFill>
            <a:srgbClr val="C00000"/>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endParaRPr lang="en-US" sz="1800" kern="0">
              <a:solidFill>
                <a:srgbClr val="FFFFFF"/>
              </a:solidFill>
            </a:endParaRPr>
          </a:p>
        </p:txBody>
      </p:sp>
      <p:sp>
        <p:nvSpPr>
          <p:cNvPr id="108" name="Textfeld 7">
            <a:extLst>
              <a:ext uri="{FF2B5EF4-FFF2-40B4-BE49-F238E27FC236}">
                <a16:creationId xmlns:a16="http://schemas.microsoft.com/office/drawing/2014/main" id="{F28F4958-3A16-4E39-B460-CC565560F268}"/>
              </a:ext>
            </a:extLst>
          </p:cNvPr>
          <p:cNvSpPr txBox="1">
            <a:spLocks noChangeArrowheads="1"/>
          </p:cNvSpPr>
          <p:nvPr/>
        </p:nvSpPr>
        <p:spPr bwMode="auto">
          <a:xfrm>
            <a:off x="2322546" y="1023606"/>
            <a:ext cx="48603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defTabSz="914377" eaLnBrk="1" fontAlgn="auto" hangingPunct="1">
              <a:spcBef>
                <a:spcPts val="0"/>
              </a:spcBef>
              <a:spcAft>
                <a:spcPts val="0"/>
              </a:spcAft>
              <a:defRPr/>
            </a:pPr>
            <a:r>
              <a:rPr lang="en-US" sz="1000" kern="0">
                <a:solidFill>
                  <a:srgbClr val="000000"/>
                </a:solidFill>
              </a:rPr>
              <a:t>NRND</a:t>
            </a:r>
          </a:p>
        </p:txBody>
      </p:sp>
      <p:cxnSp>
        <p:nvCxnSpPr>
          <p:cNvPr id="109" name="Gerade Verbindung 72">
            <a:extLst>
              <a:ext uri="{FF2B5EF4-FFF2-40B4-BE49-F238E27FC236}">
                <a16:creationId xmlns:a16="http://schemas.microsoft.com/office/drawing/2014/main" id="{85976D4D-BEF0-498E-AA94-DA4D97FA53C8}"/>
              </a:ext>
            </a:extLst>
          </p:cNvPr>
          <p:cNvCxnSpPr/>
          <p:nvPr/>
        </p:nvCxnSpPr>
        <p:spPr>
          <a:xfrm>
            <a:off x="2633824" y="1395389"/>
            <a:ext cx="414339" cy="0"/>
          </a:xfrm>
          <a:prstGeom prst="line">
            <a:avLst/>
          </a:prstGeom>
          <a:solidFill>
            <a:srgbClr val="FFFF99"/>
          </a:solidFill>
          <a:ln w="25400" cap="flat" cmpd="sng" algn="ctr">
            <a:solidFill>
              <a:srgbClr val="EBE6E6">
                <a:shade val="50000"/>
              </a:srgbClr>
            </a:solidFill>
            <a:prstDash val="sysDash"/>
          </a:ln>
          <a:effectLst/>
        </p:spPr>
      </p:cxnSp>
      <p:sp>
        <p:nvSpPr>
          <p:cNvPr id="110" name="Flussdiagramm: Verzweigung 70">
            <a:extLst>
              <a:ext uri="{FF2B5EF4-FFF2-40B4-BE49-F238E27FC236}">
                <a16:creationId xmlns:a16="http://schemas.microsoft.com/office/drawing/2014/main" id="{F5DA8A72-4710-4F31-88D0-C63C4DB2AED2}"/>
              </a:ext>
            </a:extLst>
          </p:cNvPr>
          <p:cNvSpPr>
            <a:spLocks noChangeAspect="1"/>
          </p:cNvSpPr>
          <p:nvPr/>
        </p:nvSpPr>
        <p:spPr>
          <a:xfrm>
            <a:off x="2497299" y="1302586"/>
            <a:ext cx="136525" cy="195263"/>
          </a:xfrm>
          <a:prstGeom prst="flowChartDecision">
            <a:avLst/>
          </a:prstGeom>
          <a:solidFill>
            <a:srgbClr val="EB871E"/>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endParaRPr lang="en-US" sz="1200" kern="0">
              <a:solidFill>
                <a:srgbClr val="FFFFFF">
                  <a:lumMod val="50000"/>
                </a:srgbClr>
              </a:solidFill>
            </a:endParaRPr>
          </a:p>
        </p:txBody>
      </p:sp>
      <p:sp>
        <p:nvSpPr>
          <p:cNvPr id="111" name="Textfeld 7">
            <a:extLst>
              <a:ext uri="{FF2B5EF4-FFF2-40B4-BE49-F238E27FC236}">
                <a16:creationId xmlns:a16="http://schemas.microsoft.com/office/drawing/2014/main" id="{1FC90736-0D05-498F-BE0C-A5BF5F768C6F}"/>
              </a:ext>
            </a:extLst>
          </p:cNvPr>
          <p:cNvSpPr txBox="1">
            <a:spLocks noChangeArrowheads="1"/>
          </p:cNvSpPr>
          <p:nvPr/>
        </p:nvSpPr>
        <p:spPr bwMode="auto">
          <a:xfrm>
            <a:off x="2955260" y="1023606"/>
            <a:ext cx="3946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defTabSz="914377" eaLnBrk="1" fontAlgn="auto" hangingPunct="1">
              <a:spcBef>
                <a:spcPts val="0"/>
              </a:spcBef>
              <a:spcAft>
                <a:spcPts val="0"/>
              </a:spcAft>
              <a:defRPr/>
            </a:pPr>
            <a:r>
              <a:rPr lang="en-US" sz="1000" kern="0">
                <a:solidFill>
                  <a:srgbClr val="000000"/>
                </a:solidFill>
              </a:rPr>
              <a:t>EOL</a:t>
            </a:r>
          </a:p>
        </p:txBody>
      </p:sp>
      <p:pic>
        <p:nvPicPr>
          <p:cNvPr id="6" name="Picture 5" descr="A picture containing electronics&#10;&#10;Description automatically generated">
            <a:extLst>
              <a:ext uri="{FF2B5EF4-FFF2-40B4-BE49-F238E27FC236}">
                <a16:creationId xmlns:a16="http://schemas.microsoft.com/office/drawing/2014/main" id="{B56F78A8-A49D-449A-8518-20F162C9F87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943" t="28536" r="12908" b="27726"/>
          <a:stretch/>
        </p:blipFill>
        <p:spPr>
          <a:xfrm>
            <a:off x="3180627" y="1990331"/>
            <a:ext cx="802367" cy="486409"/>
          </a:xfrm>
          <a:prstGeom prst="rect">
            <a:avLst/>
          </a:prstGeom>
        </p:spPr>
      </p:pic>
      <p:grpSp>
        <p:nvGrpSpPr>
          <p:cNvPr id="22" name="Group 21">
            <a:extLst>
              <a:ext uri="{FF2B5EF4-FFF2-40B4-BE49-F238E27FC236}">
                <a16:creationId xmlns:a16="http://schemas.microsoft.com/office/drawing/2014/main" id="{F550FFB9-C11A-449D-BF3E-BF1FFFEB13B4}"/>
              </a:ext>
            </a:extLst>
          </p:cNvPr>
          <p:cNvGrpSpPr/>
          <p:nvPr/>
        </p:nvGrpSpPr>
        <p:grpSpPr>
          <a:xfrm>
            <a:off x="4645734" y="4499039"/>
            <a:ext cx="2108519" cy="559680"/>
            <a:chOff x="3318254" y="4328832"/>
            <a:chExt cx="2416553" cy="559680"/>
          </a:xfrm>
        </p:grpSpPr>
        <p:sp>
          <p:nvSpPr>
            <p:cNvPr id="23" name="AutoShape 51">
              <a:extLst>
                <a:ext uri="{FF2B5EF4-FFF2-40B4-BE49-F238E27FC236}">
                  <a16:creationId xmlns:a16="http://schemas.microsoft.com/office/drawing/2014/main" id="{38E140BC-D0AC-49A7-AA3C-CD92F99FD894}"/>
                </a:ext>
              </a:extLst>
            </p:cNvPr>
            <p:cNvSpPr>
              <a:spLocks noChangeArrowheads="1"/>
            </p:cNvSpPr>
            <p:nvPr/>
          </p:nvSpPr>
          <p:spPr bwMode="auto">
            <a:xfrm>
              <a:off x="4229727" y="4445531"/>
              <a:ext cx="1505080" cy="269875"/>
            </a:xfrm>
            <a:prstGeom prst="chevron">
              <a:avLst>
                <a:gd name="adj" fmla="val 32242"/>
              </a:avLst>
            </a:prstGeom>
            <a:solidFill>
              <a:srgbClr val="66CC33"/>
            </a:solidFill>
            <a:ln w="19050">
              <a:noFill/>
              <a:miter lim="800000"/>
              <a:headEnd/>
              <a:tailEnd/>
            </a:ln>
          </p:spPr>
          <p:txBody>
            <a:bodyPr wrap="none" anchor="ctr"/>
            <a:lstStyle/>
            <a:p>
              <a:pPr fontAlgn="auto">
                <a:spcBef>
                  <a:spcPts val="0"/>
                </a:spcBef>
                <a:spcAft>
                  <a:spcPts val="0"/>
                </a:spcAft>
                <a:defRPr/>
              </a:pPr>
              <a:r>
                <a:rPr lang="en-US" sz="1200" b="1" kern="0" dirty="0">
                  <a:solidFill>
                    <a:srgbClr val="000000"/>
                  </a:solidFill>
                </a:rPr>
                <a:t>SCD42</a:t>
              </a:r>
              <a:endParaRPr lang="en-US" sz="1200" dirty="0"/>
            </a:p>
          </p:txBody>
        </p:sp>
        <p:sp>
          <p:nvSpPr>
            <p:cNvPr id="24" name="Flussdiagramm: Verzweigung 109">
              <a:extLst>
                <a:ext uri="{FF2B5EF4-FFF2-40B4-BE49-F238E27FC236}">
                  <a16:creationId xmlns:a16="http://schemas.microsoft.com/office/drawing/2014/main" id="{D8DBDE67-2713-4F79-ACA3-3B75C6604999}"/>
                </a:ext>
              </a:extLst>
            </p:cNvPr>
            <p:cNvSpPr/>
            <p:nvPr/>
          </p:nvSpPr>
          <p:spPr>
            <a:xfrm>
              <a:off x="4126240" y="4445531"/>
              <a:ext cx="183335" cy="268441"/>
            </a:xfrm>
            <a:prstGeom prst="flowChartDecision">
              <a:avLst/>
            </a:prstGeom>
            <a:solidFill>
              <a:srgbClr val="FFFF99"/>
            </a:solidFill>
            <a:ln w="25400" cap="flat" cmpd="sng" algn="ctr">
              <a:solidFill>
                <a:srgbClr val="EBE6E6">
                  <a:shade val="50000"/>
                </a:srgbClr>
              </a:solidFill>
              <a:prstDash val="solid"/>
            </a:ln>
            <a:effectLst/>
          </p:spPr>
          <p:txBody>
            <a:bodyPr anchor="ctr"/>
            <a:lstStyle/>
            <a:p>
              <a:pPr algn="ctr" fontAlgn="auto">
                <a:spcBef>
                  <a:spcPts val="0"/>
                </a:spcBef>
                <a:spcAft>
                  <a:spcPts val="0"/>
                </a:spcAft>
              </a:pPr>
              <a:endParaRPr lang="de-CH" sz="1800" kern="0">
                <a:solidFill>
                  <a:srgbClr val="FFFFFF"/>
                </a:solidFill>
              </a:endParaRPr>
            </a:p>
          </p:txBody>
        </p:sp>
        <p:pic>
          <p:nvPicPr>
            <p:cNvPr id="25" name="Picture 24" descr="A picture containing dishware, tableware&#10;&#10;Description automatically generated">
              <a:extLst>
                <a:ext uri="{FF2B5EF4-FFF2-40B4-BE49-F238E27FC236}">
                  <a16:creationId xmlns:a16="http://schemas.microsoft.com/office/drawing/2014/main" id="{A003418C-7DF7-4757-83C3-7F3F97EA78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18254" y="4328832"/>
              <a:ext cx="863703" cy="559680"/>
            </a:xfrm>
            <a:prstGeom prst="rect">
              <a:avLst/>
            </a:prstGeom>
          </p:spPr>
        </p:pic>
      </p:grpSp>
      <p:sp>
        <p:nvSpPr>
          <p:cNvPr id="5" name="Flussdiagramm: Verzweigung 106">
            <a:extLst>
              <a:ext uri="{FF2B5EF4-FFF2-40B4-BE49-F238E27FC236}">
                <a16:creationId xmlns:a16="http://schemas.microsoft.com/office/drawing/2014/main" id="{6BA685EF-3EFB-4DB1-FCCF-43E70437E56D}"/>
              </a:ext>
            </a:extLst>
          </p:cNvPr>
          <p:cNvSpPr/>
          <p:nvPr/>
        </p:nvSpPr>
        <p:spPr>
          <a:xfrm>
            <a:off x="7255589" y="4596687"/>
            <a:ext cx="180975" cy="260351"/>
          </a:xfrm>
          <a:prstGeom prst="flowChartDecision">
            <a:avLst/>
          </a:prstGeom>
          <a:solidFill>
            <a:srgbClr val="C00000"/>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endParaRPr lang="en-US" sz="1800" kern="0">
              <a:solidFill>
                <a:srgbClr val="FFFFFF"/>
              </a:solidFill>
            </a:endParaRPr>
          </a:p>
        </p:txBody>
      </p:sp>
      <p:cxnSp>
        <p:nvCxnSpPr>
          <p:cNvPr id="7" name="Gerade Verbindung 72">
            <a:extLst>
              <a:ext uri="{FF2B5EF4-FFF2-40B4-BE49-F238E27FC236}">
                <a16:creationId xmlns:a16="http://schemas.microsoft.com/office/drawing/2014/main" id="{A380664F-4C0A-542C-BA60-DC98AD6925EB}"/>
              </a:ext>
            </a:extLst>
          </p:cNvPr>
          <p:cNvCxnSpPr>
            <a:cxnSpLocks/>
            <a:endCxn id="5" idx="1"/>
          </p:cNvCxnSpPr>
          <p:nvPr/>
        </p:nvCxnSpPr>
        <p:spPr>
          <a:xfrm flipV="1">
            <a:off x="6744924" y="4726863"/>
            <a:ext cx="510665" cy="3540"/>
          </a:xfrm>
          <a:prstGeom prst="line">
            <a:avLst/>
          </a:prstGeom>
          <a:solidFill>
            <a:srgbClr val="FFFF99"/>
          </a:solidFill>
          <a:ln w="25400" cap="flat" cmpd="sng" algn="ctr">
            <a:solidFill>
              <a:srgbClr val="EBE6E6">
                <a:shade val="50000"/>
              </a:srgbClr>
            </a:solidFill>
            <a:prstDash val="sysDash"/>
          </a:ln>
          <a:effectLst/>
        </p:spPr>
      </p:cxnSp>
      <p:sp>
        <p:nvSpPr>
          <p:cNvPr id="8" name="Flussdiagramm: Verzweigung 70">
            <a:extLst>
              <a:ext uri="{FF2B5EF4-FFF2-40B4-BE49-F238E27FC236}">
                <a16:creationId xmlns:a16="http://schemas.microsoft.com/office/drawing/2014/main" id="{D8CCCE76-C482-6D54-9A1C-94B65F1DED8D}"/>
              </a:ext>
            </a:extLst>
          </p:cNvPr>
          <p:cNvSpPr>
            <a:spLocks noChangeAspect="1"/>
          </p:cNvSpPr>
          <p:nvPr/>
        </p:nvSpPr>
        <p:spPr>
          <a:xfrm>
            <a:off x="6618551" y="4638033"/>
            <a:ext cx="136525" cy="195263"/>
          </a:xfrm>
          <a:prstGeom prst="flowChartDecision">
            <a:avLst/>
          </a:prstGeom>
          <a:solidFill>
            <a:srgbClr val="EB871E"/>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endParaRPr lang="en-US" sz="1200" kern="0">
              <a:solidFill>
                <a:srgbClr val="FFFFFF">
                  <a:lumMod val="50000"/>
                </a:srgbClr>
              </a:solidFill>
            </a:endParaRPr>
          </a:p>
        </p:txBody>
      </p:sp>
      <p:grpSp>
        <p:nvGrpSpPr>
          <p:cNvPr id="9" name="Group 8">
            <a:extLst>
              <a:ext uri="{FF2B5EF4-FFF2-40B4-BE49-F238E27FC236}">
                <a16:creationId xmlns:a16="http://schemas.microsoft.com/office/drawing/2014/main" id="{BBA38F35-C7C5-C643-90EF-583F0C77211A}"/>
              </a:ext>
            </a:extLst>
          </p:cNvPr>
          <p:cNvGrpSpPr/>
          <p:nvPr/>
        </p:nvGrpSpPr>
        <p:grpSpPr>
          <a:xfrm>
            <a:off x="3978852" y="3070042"/>
            <a:ext cx="5954055" cy="559680"/>
            <a:chOff x="3428347" y="4328832"/>
            <a:chExt cx="5954055" cy="559680"/>
          </a:xfrm>
        </p:grpSpPr>
        <p:sp>
          <p:nvSpPr>
            <p:cNvPr id="10" name="AutoShape 51">
              <a:extLst>
                <a:ext uri="{FF2B5EF4-FFF2-40B4-BE49-F238E27FC236}">
                  <a16:creationId xmlns:a16="http://schemas.microsoft.com/office/drawing/2014/main" id="{E2420C0A-8C71-9141-8C60-F47A5C4319E6}"/>
                </a:ext>
              </a:extLst>
            </p:cNvPr>
            <p:cNvSpPr>
              <a:spLocks noChangeArrowheads="1"/>
            </p:cNvSpPr>
            <p:nvPr/>
          </p:nvSpPr>
          <p:spPr bwMode="auto">
            <a:xfrm>
              <a:off x="4229727" y="4445531"/>
              <a:ext cx="5152675" cy="269875"/>
            </a:xfrm>
            <a:prstGeom prst="chevron">
              <a:avLst>
                <a:gd name="adj" fmla="val 32242"/>
              </a:avLst>
            </a:prstGeom>
            <a:solidFill>
              <a:srgbClr val="66CC33"/>
            </a:solidFill>
            <a:ln w="19050">
              <a:noFill/>
              <a:miter lim="800000"/>
              <a:headEnd/>
              <a:tailEnd/>
            </a:ln>
          </p:spPr>
          <p:txBody>
            <a:bodyPr wrap="none" anchor="ctr"/>
            <a:lstStyle/>
            <a:p>
              <a:pPr fontAlgn="auto">
                <a:spcBef>
                  <a:spcPts val="0"/>
                </a:spcBef>
                <a:spcAft>
                  <a:spcPts val="0"/>
                </a:spcAft>
                <a:defRPr/>
              </a:pPr>
              <a:r>
                <a:rPr lang="en-US" sz="1200" b="1" kern="0" dirty="0">
                  <a:solidFill>
                    <a:srgbClr val="000000"/>
                  </a:solidFill>
                </a:rPr>
                <a:t>SCD40</a:t>
              </a:r>
              <a:endParaRPr lang="en-US" sz="1200" dirty="0"/>
            </a:p>
          </p:txBody>
        </p:sp>
        <p:sp>
          <p:nvSpPr>
            <p:cNvPr id="11" name="Flussdiagramm: Verzweigung 109">
              <a:extLst>
                <a:ext uri="{FF2B5EF4-FFF2-40B4-BE49-F238E27FC236}">
                  <a16:creationId xmlns:a16="http://schemas.microsoft.com/office/drawing/2014/main" id="{EDA96859-C8D3-93F4-3935-DC1B756BC696}"/>
                </a:ext>
              </a:extLst>
            </p:cNvPr>
            <p:cNvSpPr/>
            <p:nvPr/>
          </p:nvSpPr>
          <p:spPr>
            <a:xfrm>
              <a:off x="4126240" y="4445531"/>
              <a:ext cx="183335" cy="268441"/>
            </a:xfrm>
            <a:prstGeom prst="flowChartDecision">
              <a:avLst/>
            </a:prstGeom>
            <a:solidFill>
              <a:srgbClr val="FFFF99"/>
            </a:solidFill>
            <a:ln w="25400" cap="flat" cmpd="sng" algn="ctr">
              <a:solidFill>
                <a:srgbClr val="EBE6E6">
                  <a:shade val="50000"/>
                </a:srgbClr>
              </a:solidFill>
              <a:prstDash val="solid"/>
            </a:ln>
            <a:effectLst/>
          </p:spPr>
          <p:txBody>
            <a:bodyPr anchor="ctr"/>
            <a:lstStyle/>
            <a:p>
              <a:pPr algn="ctr" fontAlgn="auto">
                <a:spcBef>
                  <a:spcPts val="0"/>
                </a:spcBef>
                <a:spcAft>
                  <a:spcPts val="0"/>
                </a:spcAft>
              </a:pPr>
              <a:endParaRPr lang="de-CH" sz="1800" kern="0">
                <a:solidFill>
                  <a:srgbClr val="FFFFFF"/>
                </a:solidFill>
              </a:endParaRPr>
            </a:p>
          </p:txBody>
        </p:sp>
        <p:pic>
          <p:nvPicPr>
            <p:cNvPr id="12" name="Picture 11" descr="A picture containing dishware, tableware&#10;&#10;Description automatically generated">
              <a:extLst>
                <a:ext uri="{FF2B5EF4-FFF2-40B4-BE49-F238E27FC236}">
                  <a16:creationId xmlns:a16="http://schemas.microsoft.com/office/drawing/2014/main" id="{5B519FF9-8637-CB7F-2EB4-26A94B80B5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8347" y="4328832"/>
              <a:ext cx="753608" cy="559680"/>
            </a:xfrm>
            <a:prstGeom prst="rect">
              <a:avLst/>
            </a:prstGeom>
          </p:spPr>
        </p:pic>
      </p:grpSp>
      <p:sp>
        <p:nvSpPr>
          <p:cNvPr id="15" name="Textfeld 7">
            <a:extLst>
              <a:ext uri="{FF2B5EF4-FFF2-40B4-BE49-F238E27FC236}">
                <a16:creationId xmlns:a16="http://schemas.microsoft.com/office/drawing/2014/main" id="{C3594C51-EF19-0537-B315-D442A40EFF64}"/>
              </a:ext>
            </a:extLst>
          </p:cNvPr>
          <p:cNvSpPr txBox="1">
            <a:spLocks noChangeArrowheads="1"/>
          </p:cNvSpPr>
          <p:nvPr/>
        </p:nvSpPr>
        <p:spPr bwMode="auto">
          <a:xfrm>
            <a:off x="6893868" y="4038265"/>
            <a:ext cx="81144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defTabSz="914377" eaLnBrk="1" fontAlgn="auto" hangingPunct="1">
              <a:spcBef>
                <a:spcPts val="0"/>
              </a:spcBef>
              <a:spcAft>
                <a:spcPts val="0"/>
              </a:spcAft>
              <a:defRPr/>
            </a:pPr>
            <a:r>
              <a:rPr lang="en-US" sz="1000" kern="0" dirty="0">
                <a:solidFill>
                  <a:srgbClr val="000000"/>
                </a:solidFill>
              </a:rPr>
              <a:t>SOP 04.2023</a:t>
            </a:r>
          </a:p>
        </p:txBody>
      </p:sp>
      <p:sp>
        <p:nvSpPr>
          <p:cNvPr id="18" name="Textfeld 74">
            <a:extLst>
              <a:ext uri="{FF2B5EF4-FFF2-40B4-BE49-F238E27FC236}">
                <a16:creationId xmlns:a16="http://schemas.microsoft.com/office/drawing/2014/main" id="{9B69F663-B57A-327B-DD17-4136CB346377}"/>
              </a:ext>
            </a:extLst>
          </p:cNvPr>
          <p:cNvSpPr txBox="1">
            <a:spLocks noChangeArrowheads="1"/>
          </p:cNvSpPr>
          <p:nvPr/>
        </p:nvSpPr>
        <p:spPr bwMode="auto">
          <a:xfrm>
            <a:off x="6568989" y="4248749"/>
            <a:ext cx="90044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algn="ctr" defTabSz="914377" eaLnBrk="1" fontAlgn="auto" hangingPunct="1">
              <a:spcBef>
                <a:spcPts val="0"/>
              </a:spcBef>
              <a:spcAft>
                <a:spcPts val="0"/>
              </a:spcAft>
              <a:defRPr/>
            </a:pPr>
            <a:r>
              <a:rPr lang="en-US" sz="1000" kern="0" dirty="0">
                <a:solidFill>
                  <a:srgbClr val="000000"/>
                </a:solidFill>
              </a:rPr>
              <a:t>Last time buy</a:t>
            </a:r>
          </a:p>
          <a:p>
            <a:pPr algn="ctr" defTabSz="914377" eaLnBrk="1" fontAlgn="auto" hangingPunct="1">
              <a:spcBef>
                <a:spcPts val="0"/>
              </a:spcBef>
              <a:spcAft>
                <a:spcPts val="0"/>
              </a:spcAft>
              <a:defRPr/>
            </a:pPr>
            <a:r>
              <a:rPr lang="en-US" sz="1000" kern="0" dirty="0">
                <a:solidFill>
                  <a:srgbClr val="000000"/>
                </a:solidFill>
              </a:rPr>
              <a:t>30.06.2023</a:t>
            </a:r>
          </a:p>
        </p:txBody>
      </p:sp>
      <p:cxnSp>
        <p:nvCxnSpPr>
          <p:cNvPr id="30" name="Gerade Verbindung 72">
            <a:extLst>
              <a:ext uri="{FF2B5EF4-FFF2-40B4-BE49-F238E27FC236}">
                <a16:creationId xmlns:a16="http://schemas.microsoft.com/office/drawing/2014/main" id="{1C1C9A03-B744-D9CA-6663-526258728329}"/>
              </a:ext>
            </a:extLst>
          </p:cNvPr>
          <p:cNvCxnSpPr/>
          <p:nvPr/>
        </p:nvCxnSpPr>
        <p:spPr>
          <a:xfrm>
            <a:off x="6760543" y="3906771"/>
            <a:ext cx="182880" cy="0"/>
          </a:xfrm>
          <a:prstGeom prst="line">
            <a:avLst/>
          </a:prstGeom>
          <a:solidFill>
            <a:srgbClr val="FFFF99"/>
          </a:solidFill>
          <a:ln w="25400" cap="flat" cmpd="sng" algn="ctr">
            <a:solidFill>
              <a:srgbClr val="EBE6E6">
                <a:shade val="50000"/>
              </a:srgbClr>
            </a:solidFill>
            <a:prstDash val="sysDash"/>
          </a:ln>
          <a:effectLst/>
        </p:spPr>
      </p:cxnSp>
      <p:sp>
        <p:nvSpPr>
          <p:cNvPr id="31" name="AutoShape 51">
            <a:extLst>
              <a:ext uri="{FF2B5EF4-FFF2-40B4-BE49-F238E27FC236}">
                <a16:creationId xmlns:a16="http://schemas.microsoft.com/office/drawing/2014/main" id="{C04B8E47-B65B-3566-FF14-3726A4F3E68D}"/>
              </a:ext>
            </a:extLst>
          </p:cNvPr>
          <p:cNvSpPr>
            <a:spLocks noChangeArrowheads="1"/>
          </p:cNvSpPr>
          <p:nvPr/>
        </p:nvSpPr>
        <p:spPr bwMode="auto">
          <a:xfrm>
            <a:off x="7005333" y="3782263"/>
            <a:ext cx="2927573" cy="269875"/>
          </a:xfrm>
          <a:prstGeom prst="chevron">
            <a:avLst>
              <a:gd name="adj" fmla="val 32242"/>
            </a:avLst>
          </a:prstGeom>
          <a:solidFill>
            <a:srgbClr val="66CC33"/>
          </a:solidFill>
          <a:ln w="19050">
            <a:noFill/>
            <a:miter lim="800000"/>
            <a:headEnd/>
            <a:tailEnd/>
          </a:ln>
        </p:spPr>
        <p:txBody>
          <a:bodyPr wrap="none" anchor="ctr"/>
          <a:lstStyle/>
          <a:p>
            <a:pPr fontAlgn="auto">
              <a:spcBef>
                <a:spcPts val="0"/>
              </a:spcBef>
              <a:spcAft>
                <a:spcPts val="0"/>
              </a:spcAft>
              <a:defRPr/>
            </a:pPr>
            <a:r>
              <a:rPr lang="en-US" sz="1200" b="1" kern="0" dirty="0">
                <a:solidFill>
                  <a:srgbClr val="000000"/>
                </a:solidFill>
              </a:rPr>
              <a:t>New SCD41 compliant with relevant norms </a:t>
            </a:r>
            <a:endParaRPr lang="en-US" sz="1200" dirty="0"/>
          </a:p>
        </p:txBody>
      </p:sp>
      <p:sp>
        <p:nvSpPr>
          <p:cNvPr id="16" name="Flussdiagramm: Verzweigung 70">
            <a:extLst>
              <a:ext uri="{FF2B5EF4-FFF2-40B4-BE49-F238E27FC236}">
                <a16:creationId xmlns:a16="http://schemas.microsoft.com/office/drawing/2014/main" id="{97930407-5DC3-BD03-CB93-E82376085736}"/>
              </a:ext>
            </a:extLst>
          </p:cNvPr>
          <p:cNvSpPr>
            <a:spLocks noChangeAspect="1"/>
          </p:cNvSpPr>
          <p:nvPr/>
        </p:nvSpPr>
        <p:spPr>
          <a:xfrm>
            <a:off x="6698633" y="3812912"/>
            <a:ext cx="136525" cy="195263"/>
          </a:xfrm>
          <a:prstGeom prst="flowChartDecision">
            <a:avLst/>
          </a:prstGeom>
          <a:solidFill>
            <a:srgbClr val="FFFF99"/>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r>
              <a:rPr lang="en-US" sz="900" kern="0" dirty="0">
                <a:solidFill>
                  <a:srgbClr val="FFFFFF">
                    <a:lumMod val="50000"/>
                  </a:srgbClr>
                </a:solidFill>
              </a:rPr>
              <a:t>S</a:t>
            </a:r>
            <a:endParaRPr lang="en-US" sz="1200" kern="0" dirty="0">
              <a:solidFill>
                <a:srgbClr val="FFFFFF">
                  <a:lumMod val="50000"/>
                </a:srgbClr>
              </a:solidFill>
            </a:endParaRPr>
          </a:p>
        </p:txBody>
      </p:sp>
      <p:sp>
        <p:nvSpPr>
          <p:cNvPr id="14" name="Flussdiagramm: Verzweigung 106">
            <a:extLst>
              <a:ext uri="{FF2B5EF4-FFF2-40B4-BE49-F238E27FC236}">
                <a16:creationId xmlns:a16="http://schemas.microsoft.com/office/drawing/2014/main" id="{989C0DE7-5280-5E9F-8B7B-E74E3AD3FA0C}"/>
              </a:ext>
            </a:extLst>
          </p:cNvPr>
          <p:cNvSpPr/>
          <p:nvPr/>
        </p:nvSpPr>
        <p:spPr>
          <a:xfrm>
            <a:off x="6923712" y="3776596"/>
            <a:ext cx="180975" cy="260351"/>
          </a:xfrm>
          <a:prstGeom prst="flowChartDecision">
            <a:avLst/>
          </a:prstGeom>
          <a:solidFill>
            <a:srgbClr val="FFFF99"/>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endParaRPr lang="en-US" sz="1800" kern="0">
              <a:solidFill>
                <a:srgbClr val="FFFFFF"/>
              </a:solidFill>
            </a:endParaRPr>
          </a:p>
        </p:txBody>
      </p:sp>
      <p:sp>
        <p:nvSpPr>
          <p:cNvPr id="13" name="Flussdiagramm: Verzweigung 70">
            <a:extLst>
              <a:ext uri="{FF2B5EF4-FFF2-40B4-BE49-F238E27FC236}">
                <a16:creationId xmlns:a16="http://schemas.microsoft.com/office/drawing/2014/main" id="{93219F83-793E-9C0C-E014-1CB6D98F8B66}"/>
              </a:ext>
            </a:extLst>
          </p:cNvPr>
          <p:cNvSpPr>
            <a:spLocks noChangeAspect="1"/>
          </p:cNvSpPr>
          <p:nvPr/>
        </p:nvSpPr>
        <p:spPr>
          <a:xfrm>
            <a:off x="6937070" y="4632771"/>
            <a:ext cx="136525" cy="195263"/>
          </a:xfrm>
          <a:prstGeom prst="flowChartDecision">
            <a:avLst/>
          </a:prstGeom>
          <a:solidFill>
            <a:schemeClr val="bg1"/>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endParaRPr lang="en-US" sz="1200" kern="0">
              <a:solidFill>
                <a:srgbClr val="FFFFFF">
                  <a:lumMod val="50000"/>
                </a:srgbClr>
              </a:solidFill>
            </a:endParaRPr>
          </a:p>
        </p:txBody>
      </p:sp>
      <p:sp>
        <p:nvSpPr>
          <p:cNvPr id="19" name="Flussdiagramm: Verzweigung 106">
            <a:extLst>
              <a:ext uri="{FF2B5EF4-FFF2-40B4-BE49-F238E27FC236}">
                <a16:creationId xmlns:a16="http://schemas.microsoft.com/office/drawing/2014/main" id="{FBEC52E5-3EBC-3510-EEF6-2A8C65F33012}"/>
              </a:ext>
            </a:extLst>
          </p:cNvPr>
          <p:cNvSpPr/>
          <p:nvPr/>
        </p:nvSpPr>
        <p:spPr>
          <a:xfrm>
            <a:off x="6925449" y="3192329"/>
            <a:ext cx="180975" cy="260351"/>
          </a:xfrm>
          <a:prstGeom prst="flowChartDecision">
            <a:avLst/>
          </a:prstGeom>
          <a:solidFill>
            <a:srgbClr val="FFFF99"/>
          </a:solidFill>
          <a:ln w="25400" cap="flat" cmpd="sng" algn="ctr">
            <a:solidFill>
              <a:srgbClr val="EBE6E6">
                <a:shade val="50000"/>
              </a:srgbClr>
            </a:solidFill>
            <a:prstDash val="solid"/>
          </a:ln>
          <a:effectLst/>
        </p:spPr>
        <p:txBody>
          <a:bodyPr anchor="ctr"/>
          <a:lstStyle/>
          <a:p>
            <a:pPr algn="ctr" defTabSz="914377" fontAlgn="auto">
              <a:spcBef>
                <a:spcPts val="0"/>
              </a:spcBef>
              <a:spcAft>
                <a:spcPts val="0"/>
              </a:spcAft>
              <a:defRPr/>
            </a:pPr>
            <a:endParaRPr lang="en-US" sz="1800" kern="0">
              <a:solidFill>
                <a:srgbClr val="FFFFFF"/>
              </a:solidFill>
            </a:endParaRPr>
          </a:p>
        </p:txBody>
      </p:sp>
      <p:sp>
        <p:nvSpPr>
          <p:cNvPr id="20" name="Textfeld 7">
            <a:extLst>
              <a:ext uri="{FF2B5EF4-FFF2-40B4-BE49-F238E27FC236}">
                <a16:creationId xmlns:a16="http://schemas.microsoft.com/office/drawing/2014/main" id="{3B20F62C-3C93-F299-1909-D374DC9C829E}"/>
              </a:ext>
            </a:extLst>
          </p:cNvPr>
          <p:cNvSpPr txBox="1">
            <a:spLocks noChangeArrowheads="1"/>
          </p:cNvSpPr>
          <p:nvPr/>
        </p:nvSpPr>
        <p:spPr bwMode="auto">
          <a:xfrm>
            <a:off x="6291835" y="2921853"/>
            <a:ext cx="142699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defTabSz="914377" eaLnBrk="1" fontAlgn="auto" hangingPunct="1">
              <a:spcBef>
                <a:spcPts val="0"/>
              </a:spcBef>
              <a:spcAft>
                <a:spcPts val="0"/>
              </a:spcAft>
              <a:defRPr/>
            </a:pPr>
            <a:r>
              <a:rPr lang="en-US" sz="1000" kern="0" dirty="0">
                <a:solidFill>
                  <a:srgbClr val="000000"/>
                </a:solidFill>
              </a:rPr>
              <a:t>New features implemented</a:t>
            </a:r>
          </a:p>
        </p:txBody>
      </p:sp>
      <p:sp>
        <p:nvSpPr>
          <p:cNvPr id="21" name="Textfeld 7">
            <a:extLst>
              <a:ext uri="{FF2B5EF4-FFF2-40B4-BE49-F238E27FC236}">
                <a16:creationId xmlns:a16="http://schemas.microsoft.com/office/drawing/2014/main" id="{F57C8ADB-5D06-BE1E-B035-782A54DA2E19}"/>
              </a:ext>
            </a:extLst>
          </p:cNvPr>
          <p:cNvSpPr txBox="1">
            <a:spLocks noChangeArrowheads="1"/>
          </p:cNvSpPr>
          <p:nvPr/>
        </p:nvSpPr>
        <p:spPr bwMode="auto">
          <a:xfrm>
            <a:off x="6645671" y="3514957"/>
            <a:ext cx="99738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defTabSz="914377" eaLnBrk="1" fontAlgn="auto" hangingPunct="1">
              <a:spcBef>
                <a:spcPts val="0"/>
              </a:spcBef>
              <a:spcAft>
                <a:spcPts val="0"/>
              </a:spcAft>
              <a:defRPr/>
            </a:pPr>
            <a:r>
              <a:rPr lang="en-US" sz="1000" kern="0" dirty="0">
                <a:solidFill>
                  <a:srgbClr val="000000"/>
                </a:solidFill>
              </a:rPr>
              <a:t>Samples 02.2023</a:t>
            </a:r>
          </a:p>
        </p:txBody>
      </p:sp>
      <p:sp>
        <p:nvSpPr>
          <p:cNvPr id="26" name="Textfeld 74">
            <a:extLst>
              <a:ext uri="{FF2B5EF4-FFF2-40B4-BE49-F238E27FC236}">
                <a16:creationId xmlns:a16="http://schemas.microsoft.com/office/drawing/2014/main" id="{5FD87356-9FBC-BC01-C6F0-EFAC87729BDF}"/>
              </a:ext>
            </a:extLst>
          </p:cNvPr>
          <p:cNvSpPr txBox="1">
            <a:spLocks noChangeArrowheads="1"/>
          </p:cNvSpPr>
          <p:nvPr/>
        </p:nvSpPr>
        <p:spPr bwMode="auto">
          <a:xfrm>
            <a:off x="6839360" y="4860523"/>
            <a:ext cx="10669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algn="ctr" defTabSz="914377" eaLnBrk="1" fontAlgn="auto" hangingPunct="1">
              <a:spcBef>
                <a:spcPts val="0"/>
              </a:spcBef>
              <a:spcAft>
                <a:spcPts val="0"/>
              </a:spcAft>
              <a:defRPr/>
            </a:pPr>
            <a:r>
              <a:rPr lang="en-US" sz="1000" kern="0" dirty="0">
                <a:solidFill>
                  <a:srgbClr val="000000"/>
                </a:solidFill>
              </a:rPr>
              <a:t>Last shipment 30.09.2023</a:t>
            </a:r>
          </a:p>
        </p:txBody>
      </p:sp>
    </p:spTree>
    <p:extLst>
      <p:ext uri="{BB962C8B-B14F-4D97-AF65-F5344CB8AC3E}">
        <p14:creationId xmlns:p14="http://schemas.microsoft.com/office/powerpoint/2010/main" val="12704601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CD4x CO</a:t>
            </a:r>
            <a:r>
              <a:rPr lang="en-US" baseline="-25000" dirty="0"/>
              <a:t>2</a:t>
            </a:r>
            <a:r>
              <a:rPr lang="en-US" dirty="0"/>
              <a:t> Accuracy Specifications</a:t>
            </a:r>
          </a:p>
        </p:txBody>
      </p:sp>
      <p:graphicFrame>
        <p:nvGraphicFramePr>
          <p:cNvPr id="4" name="Table 3">
            <a:extLst>
              <a:ext uri="{FF2B5EF4-FFF2-40B4-BE49-F238E27FC236}">
                <a16:creationId xmlns:a16="http://schemas.microsoft.com/office/drawing/2014/main" id="{8C4B4C5C-63E5-135D-3BF1-E2B6DE868EA7}"/>
              </a:ext>
            </a:extLst>
          </p:cNvPr>
          <p:cNvGraphicFramePr>
            <a:graphicFrameLocks noGrp="1"/>
          </p:cNvGraphicFramePr>
          <p:nvPr/>
        </p:nvGraphicFramePr>
        <p:xfrm>
          <a:off x="923731" y="1627594"/>
          <a:ext cx="10428057" cy="3602812"/>
        </p:xfrm>
        <a:graphic>
          <a:graphicData uri="http://schemas.openxmlformats.org/drawingml/2006/table">
            <a:tbl>
              <a:tblPr firstRow="1" firstCol="1" bandRow="1">
                <a:tableStyleId>{5C22544A-7EE6-4342-B048-85BDC9FD1C3A}</a:tableStyleId>
              </a:tblPr>
              <a:tblGrid>
                <a:gridCol w="2342193">
                  <a:extLst>
                    <a:ext uri="{9D8B030D-6E8A-4147-A177-3AD203B41FA5}">
                      <a16:colId xmlns:a16="http://schemas.microsoft.com/office/drawing/2014/main" val="214464504"/>
                    </a:ext>
                  </a:extLst>
                </a:gridCol>
                <a:gridCol w="2606052">
                  <a:extLst>
                    <a:ext uri="{9D8B030D-6E8A-4147-A177-3AD203B41FA5}">
                      <a16:colId xmlns:a16="http://schemas.microsoft.com/office/drawing/2014/main" val="3648565811"/>
                    </a:ext>
                  </a:extLst>
                </a:gridCol>
                <a:gridCol w="2606052">
                  <a:extLst>
                    <a:ext uri="{9D8B030D-6E8A-4147-A177-3AD203B41FA5}">
                      <a16:colId xmlns:a16="http://schemas.microsoft.com/office/drawing/2014/main" val="3667846361"/>
                    </a:ext>
                  </a:extLst>
                </a:gridCol>
                <a:gridCol w="2873760">
                  <a:extLst>
                    <a:ext uri="{9D8B030D-6E8A-4147-A177-3AD203B41FA5}">
                      <a16:colId xmlns:a16="http://schemas.microsoft.com/office/drawing/2014/main" val="1055748807"/>
                    </a:ext>
                  </a:extLst>
                </a:gridCol>
              </a:tblGrid>
              <a:tr h="707036">
                <a:tc>
                  <a:txBody>
                    <a:bodyPr/>
                    <a:lstStyle/>
                    <a:p>
                      <a:pPr marL="0" marR="0" algn="ctr">
                        <a:spcBef>
                          <a:spcPts val="0"/>
                        </a:spcBef>
                        <a:spcAft>
                          <a:spcPts val="0"/>
                        </a:spcAft>
                      </a:pPr>
                      <a:r>
                        <a:rPr lang="en-GB" sz="2000" dirty="0">
                          <a:effectLst/>
                        </a:rPr>
                        <a:t>CO</a:t>
                      </a:r>
                      <a:r>
                        <a:rPr lang="en-GB" sz="2000" baseline="-25000" dirty="0">
                          <a:effectLst/>
                        </a:rPr>
                        <a:t>2</a:t>
                      </a:r>
                      <a:r>
                        <a:rPr lang="en-GB" sz="2000" dirty="0">
                          <a:effectLst/>
                        </a:rPr>
                        <a:t> Concentration Range:</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GB" sz="2000">
                          <a:effectLst/>
                        </a:rPr>
                        <a:t>400 -1000 ppm</a:t>
                      </a:r>
                      <a:endParaRPr lang="en-US" sz="200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GB" sz="2000" dirty="0">
                          <a:effectLst/>
                        </a:rPr>
                        <a:t>1001 – 2000 ppm</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GB" sz="2000" dirty="0">
                          <a:effectLst/>
                        </a:rPr>
                        <a:t>2001 – 5000 ppm</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490193158"/>
                  </a:ext>
                </a:extLst>
              </a:tr>
              <a:tr h="723944">
                <a:tc>
                  <a:txBody>
                    <a:bodyPr/>
                    <a:lstStyle/>
                    <a:p>
                      <a:pPr marL="0" marR="0" algn="ctr">
                        <a:spcBef>
                          <a:spcPts val="0"/>
                        </a:spcBef>
                        <a:spcAft>
                          <a:spcPts val="0"/>
                        </a:spcAft>
                      </a:pPr>
                      <a:r>
                        <a:rPr lang="en-US" sz="2000" dirty="0">
                          <a:effectLst/>
                          <a:latin typeface="Arial Narrow" panose="020B0606020202030204" pitchFamily="34" charset="0"/>
                          <a:ea typeface="Times New Roman" panose="02020603050405020304" pitchFamily="18" charset="0"/>
                          <a:cs typeface="Times New Roman" panose="02020603050405020304" pitchFamily="18" charset="0"/>
                        </a:rPr>
                        <a:t>SCD40 (no change)</a:t>
                      </a:r>
                    </a:p>
                  </a:txBody>
                  <a:tcPr marL="68580" marR="68580" marT="0" marB="0" anchor="ctr"/>
                </a:tc>
                <a:tc gridSpan="2">
                  <a:txBody>
                    <a:bodyPr/>
                    <a:lstStyle/>
                    <a:p>
                      <a:pPr marL="0" marR="0" algn="ctr">
                        <a:spcBef>
                          <a:spcPts val="0"/>
                        </a:spcBef>
                        <a:spcAft>
                          <a:spcPts val="0"/>
                        </a:spcAft>
                      </a:pPr>
                      <a:r>
                        <a:rPr lang="en-GB" sz="2000" dirty="0">
                          <a:effectLst/>
                        </a:rPr>
                        <a:t>±(50 ppm + 5% of reading)</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pPr marL="0" marR="0" algn="ctr">
                        <a:spcBef>
                          <a:spcPts val="0"/>
                        </a:spcBef>
                        <a:spcAft>
                          <a:spcPts val="0"/>
                        </a:spcAft>
                      </a:pP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2000" dirty="0">
                          <a:effectLst/>
                          <a:latin typeface="Arial Narrow" panose="020B0606020202030204" pitchFamily="34" charset="0"/>
                          <a:ea typeface="Times New Roman" panose="02020603050405020304" pitchFamily="18" charset="0"/>
                          <a:cs typeface="Times New Roman" panose="02020603050405020304" pitchFamily="18" charset="0"/>
                        </a:rPr>
                        <a:t>Not specified</a:t>
                      </a:r>
                    </a:p>
                  </a:txBody>
                  <a:tcPr marL="68580" marR="68580" marT="0" marB="0" anchor="ctr"/>
                </a:tc>
                <a:extLst>
                  <a:ext uri="{0D108BD9-81ED-4DB2-BD59-A6C34878D82A}">
                    <a16:rowId xmlns:a16="http://schemas.microsoft.com/office/drawing/2014/main" val="1063630948"/>
                  </a:ext>
                </a:extLst>
              </a:tr>
              <a:tr h="723944">
                <a:tc>
                  <a:txBody>
                    <a:bodyPr/>
                    <a:lstStyle/>
                    <a:p>
                      <a:pPr marL="0" marR="0" algn="ctr">
                        <a:spcBef>
                          <a:spcPts val="0"/>
                        </a:spcBef>
                        <a:spcAft>
                          <a:spcPts val="0"/>
                        </a:spcAft>
                      </a:pPr>
                      <a:r>
                        <a:rPr lang="en-GB" sz="2000" dirty="0">
                          <a:effectLst/>
                        </a:rPr>
                        <a:t>SCD41 today</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gridSpan="3">
                  <a:txBody>
                    <a:bodyPr/>
                    <a:lstStyle/>
                    <a:p>
                      <a:pPr marL="0" marR="0" algn="ctr">
                        <a:spcBef>
                          <a:spcPts val="0"/>
                        </a:spcBef>
                        <a:spcAft>
                          <a:spcPts val="0"/>
                        </a:spcAft>
                      </a:pPr>
                      <a:r>
                        <a:rPr lang="en-GB" sz="2000" dirty="0">
                          <a:effectLst/>
                        </a:rPr>
                        <a:t>±(40 ppm + 5% of reading)</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55217546"/>
                  </a:ext>
                </a:extLst>
              </a:tr>
              <a:tr h="723944">
                <a:tc>
                  <a:txBody>
                    <a:bodyPr/>
                    <a:lstStyle/>
                    <a:p>
                      <a:pPr marL="0" marR="0" algn="ctr">
                        <a:spcBef>
                          <a:spcPts val="0"/>
                        </a:spcBef>
                        <a:spcAft>
                          <a:spcPts val="0"/>
                        </a:spcAft>
                      </a:pPr>
                      <a:r>
                        <a:rPr lang="en-GB" sz="2000">
                          <a:effectLst/>
                        </a:rPr>
                        <a:t>SCD42 today</a:t>
                      </a:r>
                      <a:endParaRPr lang="en-US" sz="200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GB" sz="2000">
                          <a:effectLst/>
                        </a:rPr>
                        <a:t>±75 ppm</a:t>
                      </a:r>
                      <a:endParaRPr lang="en-US" sz="200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GB" sz="2000" dirty="0">
                          <a:effectLst/>
                        </a:rPr>
                        <a:t>±(40 ppm + 5% of </a:t>
                      </a:r>
                      <a:r>
                        <a:rPr lang="en-GB" sz="2000" dirty="0" err="1">
                          <a:effectLst/>
                        </a:rPr>
                        <a:t>rdg</a:t>
                      </a:r>
                      <a:r>
                        <a:rPr lang="en-GB" sz="2000" dirty="0">
                          <a:effectLst/>
                        </a:rPr>
                        <a:t>.)</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GB" sz="2000" dirty="0">
                          <a:effectLst/>
                        </a:rPr>
                        <a:t>Not specified</a:t>
                      </a:r>
                      <a:endParaRPr lang="en-US" sz="2000" dirty="0">
                        <a:effectLst/>
                        <a:latin typeface="Arial Narrow" panose="020B0606020202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31938923"/>
                  </a:ext>
                </a:extLst>
              </a:tr>
              <a:tr h="723944">
                <a:tc>
                  <a:txBody>
                    <a:bodyPr/>
                    <a:lstStyle/>
                    <a:p>
                      <a:pPr marL="0" marR="0" algn="ctr">
                        <a:spcBef>
                          <a:spcPts val="0"/>
                        </a:spcBef>
                        <a:spcAft>
                          <a:spcPts val="0"/>
                        </a:spcAft>
                      </a:pPr>
                      <a:r>
                        <a:rPr lang="en-US" sz="2000" dirty="0">
                          <a:effectLst/>
                          <a:latin typeface="Arial Narrow" panose="020B0606020202030204" pitchFamily="34" charset="0"/>
                          <a:ea typeface="Times New Roman" panose="02020603050405020304" pitchFamily="18" charset="0"/>
                          <a:cs typeface="Times New Roman" panose="02020603050405020304" pitchFamily="18" charset="0"/>
                        </a:rPr>
                        <a:t>New SCD41 (April ‘2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dirty="0">
                          <a:effectLst/>
                        </a:rPr>
                        <a:t>±(50 ppm + 2.5% of </a:t>
                      </a:r>
                      <a:r>
                        <a:rPr lang="en-GB" sz="2000" dirty="0" err="1">
                          <a:effectLst/>
                        </a:rPr>
                        <a:t>rdg</a:t>
                      </a:r>
                      <a:r>
                        <a:rPr lang="en-GB" sz="2000" dirty="0">
                          <a:effectLst/>
                        </a:rPr>
                        <a:t>.)</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dirty="0">
                          <a:effectLst/>
                        </a:rPr>
                        <a:t>±(50 ppm + 3% of </a:t>
                      </a:r>
                      <a:r>
                        <a:rPr lang="en-GB" sz="2000" dirty="0" err="1">
                          <a:effectLst/>
                        </a:rPr>
                        <a:t>rdg</a:t>
                      </a:r>
                      <a:r>
                        <a:rPr lang="en-GB" sz="2000" dirty="0">
                          <a:effectLst/>
                        </a:rPr>
                        <a:t>.)</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dirty="0">
                          <a:effectLst/>
                        </a:rPr>
                        <a:t>±(40 ppm + 5% of </a:t>
                      </a:r>
                      <a:r>
                        <a:rPr lang="en-GB" sz="2000" dirty="0" err="1">
                          <a:effectLst/>
                        </a:rPr>
                        <a:t>rdg</a:t>
                      </a:r>
                      <a:r>
                        <a:rPr lang="en-GB" sz="2000" dirty="0">
                          <a:effectLst/>
                        </a:rPr>
                        <a:t>.)</a:t>
                      </a:r>
                      <a:endParaRPr lang="en-US" sz="2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342100906"/>
                  </a:ext>
                </a:extLst>
              </a:tr>
            </a:tbl>
          </a:graphicData>
        </a:graphic>
      </p:graphicFrame>
    </p:spTree>
    <p:extLst>
      <p:ext uri="{BB962C8B-B14F-4D97-AF65-F5344CB8AC3E}">
        <p14:creationId xmlns:p14="http://schemas.microsoft.com/office/powerpoint/2010/main" val="39913630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E443A06-B4A2-4E23-8364-E6EA78A326CD}"/>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66</a:t>
            </a:fld>
            <a:endParaRPr lang="de-CH"/>
          </a:p>
        </p:txBody>
      </p:sp>
      <p:pic>
        <p:nvPicPr>
          <p:cNvPr id="1026" name="Picture 2" descr="What is Title 24 Compliance? – Energy &amp;amp; Water Conservation Blog">
            <a:extLst>
              <a:ext uri="{FF2B5EF4-FFF2-40B4-BE49-F238E27FC236}">
                <a16:creationId xmlns:a16="http://schemas.microsoft.com/office/drawing/2014/main" id="{D83A6715-366A-4513-BC25-063B8C6468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64219" y="855970"/>
            <a:ext cx="1762778" cy="176277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One Option for Meeting the California Energy Code (Title 24, Part 6) -  Efficiency First Solutions">
            <a:extLst>
              <a:ext uri="{FF2B5EF4-FFF2-40B4-BE49-F238E27FC236}">
                <a16:creationId xmlns:a16="http://schemas.microsoft.com/office/drawing/2014/main" id="{E20B3F08-DFF9-41D9-85C9-288661678FB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76907" y="2973333"/>
            <a:ext cx="2718216" cy="2702204"/>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8" name="Rectangle: Rounded Corners 49">
            <a:extLst>
              <a:ext uri="{FF2B5EF4-FFF2-40B4-BE49-F238E27FC236}">
                <a16:creationId xmlns:a16="http://schemas.microsoft.com/office/drawing/2014/main" id="{4D051B38-5026-4DE2-90E4-7E1F5444F8EA}"/>
              </a:ext>
            </a:extLst>
          </p:cNvPr>
          <p:cNvSpPr/>
          <p:nvPr/>
        </p:nvSpPr>
        <p:spPr>
          <a:xfrm>
            <a:off x="839786" y="1610614"/>
            <a:ext cx="7237414" cy="4749546"/>
          </a:xfrm>
          <a:prstGeom prst="roundRect">
            <a:avLst>
              <a:gd name="adj" fmla="val 2882"/>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366ED39-8644-45B1-B9ED-B1E8C9C53956}"/>
              </a:ext>
            </a:extLst>
          </p:cNvPr>
          <p:cNvSpPr>
            <a:spLocks noGrp="1"/>
          </p:cNvSpPr>
          <p:nvPr>
            <p:ph idx="1"/>
          </p:nvPr>
        </p:nvSpPr>
        <p:spPr>
          <a:xfrm>
            <a:off x="969863" y="1737359"/>
            <a:ext cx="7003733" cy="4667493"/>
          </a:xfrm>
        </p:spPr>
        <p:txBody>
          <a:bodyPr/>
          <a:lstStyle/>
          <a:p>
            <a:r>
              <a:rPr lang="en-US" b="1"/>
              <a:t>“California Title 24” facts and relevance</a:t>
            </a:r>
          </a:p>
          <a:p>
            <a:pPr marL="342900" indent="-342900">
              <a:buFont typeface="Wingdings" panose="05000000000000000000" pitchFamily="2" charset="2"/>
              <a:buChar char="§"/>
            </a:pPr>
            <a:r>
              <a:rPr lang="en-US"/>
              <a:t>Building Energy Efficiency Standards for Residential and Nonresidential Buildings</a:t>
            </a:r>
          </a:p>
          <a:p>
            <a:pPr marL="342900" indent="-342900">
              <a:buFont typeface="Wingdings" panose="05000000000000000000" pitchFamily="2" charset="2"/>
              <a:buChar char="§"/>
            </a:pPr>
            <a:endParaRPr lang="en-US" sz="500"/>
          </a:p>
          <a:p>
            <a:pPr marL="342900" indent="-342900">
              <a:buFont typeface="Wingdings" panose="05000000000000000000" pitchFamily="2" charset="2"/>
              <a:buChar char="§"/>
            </a:pPr>
            <a:r>
              <a:rPr lang="en-US"/>
              <a:t>“[…]The Standards contain energy and water </a:t>
            </a:r>
            <a:r>
              <a:rPr lang="en-US" b="1">
                <a:solidFill>
                  <a:schemeClr val="accent1"/>
                </a:solidFill>
              </a:rPr>
              <a:t>efficiency requirements </a:t>
            </a:r>
            <a:r>
              <a:rPr lang="en-US"/>
              <a:t>(and indoor air quality requirements) for newly constructed </a:t>
            </a:r>
            <a:r>
              <a:rPr lang="en-US" b="1">
                <a:solidFill>
                  <a:schemeClr val="accent1"/>
                </a:solidFill>
              </a:rPr>
              <a:t>buildings</a:t>
            </a:r>
            <a:r>
              <a:rPr lang="en-US"/>
              <a:t>, additions to existing buildings, and alterations to existing buildings […]”</a:t>
            </a:r>
          </a:p>
          <a:p>
            <a:pPr marL="342900" indent="-342900">
              <a:buFont typeface="Wingdings" panose="05000000000000000000" pitchFamily="2" charset="2"/>
              <a:buChar char="§"/>
            </a:pPr>
            <a:endParaRPr lang="en-US" sz="500"/>
          </a:p>
          <a:p>
            <a:pPr marL="342900" indent="-342900">
              <a:buFont typeface="Wingdings" panose="05000000000000000000" pitchFamily="2" charset="2"/>
              <a:buChar char="§"/>
            </a:pPr>
            <a:r>
              <a:rPr lang="en-US" b="1"/>
              <a:t> </a:t>
            </a:r>
            <a:r>
              <a:rPr lang="en-US" b="1">
                <a:solidFill>
                  <a:schemeClr val="accent1"/>
                </a:solidFill>
              </a:rPr>
              <a:t>Other US states </a:t>
            </a:r>
            <a:r>
              <a:rPr lang="en-US"/>
              <a:t>adapted (parts) of the Californian Title 24 </a:t>
            </a:r>
          </a:p>
          <a:p>
            <a:endParaRPr lang="en-US"/>
          </a:p>
          <a:p>
            <a:r>
              <a:rPr lang="en-US" b="1"/>
              <a:t>Requirement on CO</a:t>
            </a:r>
            <a:r>
              <a:rPr lang="en-US" b="1" baseline="-25000"/>
              <a:t>2</a:t>
            </a:r>
            <a:r>
              <a:rPr lang="en-US" b="1"/>
              <a:t> sensor: Section 120.1 – 4 F</a:t>
            </a:r>
            <a:endParaRPr lang="en-US" sz="500" b="1"/>
          </a:p>
          <a:p>
            <a:pPr marL="342900" indent="-342900">
              <a:buFont typeface="Wingdings" panose="05000000000000000000" pitchFamily="2" charset="2"/>
              <a:buChar char="§"/>
            </a:pPr>
            <a:r>
              <a:rPr lang="en-US"/>
              <a:t>“CO2 sensors […] accurate within </a:t>
            </a:r>
            <a:r>
              <a:rPr lang="en-US" b="1">
                <a:solidFill>
                  <a:schemeClr val="accent1"/>
                </a:solidFill>
              </a:rPr>
              <a:t>plus or minus 75 ppm at a 600 and 1000 ppm </a:t>
            </a:r>
            <a:r>
              <a:rPr lang="en-US"/>
              <a:t>concentration […] to require calibration no more frequently than once every 5 years [...]”</a:t>
            </a:r>
          </a:p>
        </p:txBody>
      </p:sp>
      <p:sp>
        <p:nvSpPr>
          <p:cNvPr id="9" name="TextBox 8">
            <a:extLst>
              <a:ext uri="{FF2B5EF4-FFF2-40B4-BE49-F238E27FC236}">
                <a16:creationId xmlns:a16="http://schemas.microsoft.com/office/drawing/2014/main" id="{5E27A7D3-427B-4732-A0CB-337560FCC097}"/>
              </a:ext>
            </a:extLst>
          </p:cNvPr>
          <p:cNvSpPr txBox="1"/>
          <p:nvPr/>
        </p:nvSpPr>
        <p:spPr>
          <a:xfrm>
            <a:off x="752798" y="743519"/>
            <a:ext cx="8198042" cy="646331"/>
          </a:xfrm>
          <a:prstGeom prst="rect">
            <a:avLst/>
          </a:prstGeom>
          <a:noFill/>
        </p:spPr>
        <p:txBody>
          <a:bodyPr wrap="square">
            <a:spAutoFit/>
          </a:bodyPr>
          <a:lstStyle/>
          <a:p>
            <a:r>
              <a:rPr lang="en-US" sz="3600" b="1" dirty="0">
                <a:solidFill>
                  <a:schemeClr val="accent1"/>
                </a:solidFill>
              </a:rPr>
              <a:t>Why SCD41? ‘California Title 24’ Compliance </a:t>
            </a:r>
          </a:p>
        </p:txBody>
      </p:sp>
      <p:sp>
        <p:nvSpPr>
          <p:cNvPr id="10" name="Fußzeilenplatzhalter 4">
            <a:extLst>
              <a:ext uri="{FF2B5EF4-FFF2-40B4-BE49-F238E27FC236}">
                <a16:creationId xmlns:a16="http://schemas.microsoft.com/office/drawing/2014/main" id="{EF304BEE-6938-444D-B2D7-383E4C7FAB86}"/>
              </a:ext>
            </a:extLst>
          </p:cNvPr>
          <p:cNvSpPr txBox="1">
            <a:spLocks/>
          </p:cNvSpPr>
          <p:nvPr/>
        </p:nvSpPr>
        <p:spPr bwMode="auto">
          <a:xfrm>
            <a:off x="839769" y="638766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bg1">
                    <a:lumMod val="75000"/>
                  </a:schemeClr>
                </a:solidFill>
              </a:rPr>
              <a:t>© Copyright Sensirion AG, </a:t>
            </a:r>
            <a:r>
              <a:rPr lang="en-US" sz="1100" noProof="0">
                <a:solidFill>
                  <a:schemeClr val="bg1">
                    <a:lumMod val="75000"/>
                  </a:schemeClr>
                </a:solidFill>
              </a:rPr>
              <a:t>Switzerland</a:t>
            </a:r>
          </a:p>
        </p:txBody>
      </p:sp>
    </p:spTree>
    <p:extLst>
      <p:ext uri="{BB962C8B-B14F-4D97-AF65-F5344CB8AC3E}">
        <p14:creationId xmlns:p14="http://schemas.microsoft.com/office/powerpoint/2010/main" val="38285165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C63AC2-159F-158F-070E-AAA0B7D3A66C}"/>
              </a:ext>
            </a:extLst>
          </p:cNvPr>
          <p:cNvSpPr>
            <a:spLocks noGrp="1"/>
          </p:cNvSpPr>
          <p:nvPr>
            <p:ph type="title"/>
          </p:nvPr>
        </p:nvSpPr>
        <p:spPr/>
        <p:txBody>
          <a:bodyPr/>
          <a:lstStyle/>
          <a:p>
            <a:r>
              <a:rPr lang="en-US" dirty="0"/>
              <a:t>New SCD4x CO</a:t>
            </a:r>
            <a:r>
              <a:rPr lang="en-US" baseline="-25000" dirty="0"/>
              <a:t>2</a:t>
            </a:r>
            <a:r>
              <a:rPr lang="en-US" dirty="0"/>
              <a:t> Accuracy Specifications</a:t>
            </a:r>
          </a:p>
        </p:txBody>
      </p:sp>
      <p:graphicFrame>
        <p:nvGraphicFramePr>
          <p:cNvPr id="2" name="Chart 1">
            <a:extLst>
              <a:ext uri="{FF2B5EF4-FFF2-40B4-BE49-F238E27FC236}">
                <a16:creationId xmlns:a16="http://schemas.microsoft.com/office/drawing/2014/main" id="{A89B9DB7-4E8A-F5E5-CB8A-F3B2F3C19A42}"/>
              </a:ext>
            </a:extLst>
          </p:cNvPr>
          <p:cNvGraphicFramePr>
            <a:graphicFrameLocks/>
          </p:cNvGraphicFramePr>
          <p:nvPr/>
        </p:nvGraphicFramePr>
        <p:xfrm>
          <a:off x="5209800" y="2154621"/>
          <a:ext cx="6541674" cy="4132723"/>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a:extLst>
              <a:ext uri="{FF2B5EF4-FFF2-40B4-BE49-F238E27FC236}">
                <a16:creationId xmlns:a16="http://schemas.microsoft.com/office/drawing/2014/main" id="{645D33DC-56BE-565D-8620-FA30BE271E1C}"/>
              </a:ext>
            </a:extLst>
          </p:cNvPr>
          <p:cNvSpPr/>
          <p:nvPr/>
        </p:nvSpPr>
        <p:spPr>
          <a:xfrm>
            <a:off x="5790813" y="4047893"/>
            <a:ext cx="2297151" cy="1304692"/>
          </a:xfrm>
          <a:prstGeom prst="rect">
            <a:avLst/>
          </a:prstGeom>
          <a:noFill/>
          <a:ln w="19050">
            <a:solidFill>
              <a:srgbClr val="EB87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171CDD73-B977-3598-C2C8-B4A77229819B}"/>
              </a:ext>
            </a:extLst>
          </p:cNvPr>
          <p:cNvCxnSpPr>
            <a:cxnSpLocks/>
          </p:cNvCxnSpPr>
          <p:nvPr/>
        </p:nvCxnSpPr>
        <p:spPr>
          <a:xfrm flipH="1" flipV="1">
            <a:off x="5067295" y="2705388"/>
            <a:ext cx="723518" cy="1342505"/>
          </a:xfrm>
          <a:prstGeom prst="line">
            <a:avLst/>
          </a:prstGeom>
          <a:ln w="15875">
            <a:solidFill>
              <a:srgbClr val="EB871E"/>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59C487-679E-62AA-63A2-C28D8284C06A}"/>
              </a:ext>
            </a:extLst>
          </p:cNvPr>
          <p:cNvCxnSpPr>
            <a:cxnSpLocks/>
          </p:cNvCxnSpPr>
          <p:nvPr/>
        </p:nvCxnSpPr>
        <p:spPr>
          <a:xfrm flipH="1">
            <a:off x="5067295" y="5352585"/>
            <a:ext cx="723518" cy="410865"/>
          </a:xfrm>
          <a:prstGeom prst="line">
            <a:avLst/>
          </a:prstGeom>
          <a:ln w="15875">
            <a:solidFill>
              <a:srgbClr val="EB871E"/>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6BDE9581-B925-2C0F-A4E4-424C084CA40B}"/>
              </a:ext>
            </a:extLst>
          </p:cNvPr>
          <p:cNvGraphicFramePr>
            <a:graphicFrameLocks/>
          </p:cNvGraphicFramePr>
          <p:nvPr/>
        </p:nvGraphicFramePr>
        <p:xfrm>
          <a:off x="700052" y="2705388"/>
          <a:ext cx="4367243" cy="305806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1422230E-601A-8625-5217-EA8EC7BA5541}"/>
              </a:ext>
            </a:extLst>
          </p:cNvPr>
          <p:cNvSpPr txBox="1"/>
          <p:nvPr/>
        </p:nvSpPr>
        <p:spPr>
          <a:xfrm>
            <a:off x="1453107" y="1071902"/>
            <a:ext cx="3511812" cy="800219"/>
          </a:xfrm>
          <a:prstGeom prst="rect">
            <a:avLst/>
          </a:prstGeom>
          <a:noFill/>
        </p:spPr>
        <p:txBody>
          <a:bodyPr wrap="square">
            <a:spAutoFit/>
          </a:bodyPr>
          <a:lstStyle/>
          <a:p>
            <a:pPr algn="ctr"/>
            <a:r>
              <a:rPr lang="de-CH" sz="2800" b="1" dirty="0">
                <a:solidFill>
                  <a:schemeClr val="bg1">
                    <a:lumMod val="50000"/>
                  </a:schemeClr>
                </a:solidFill>
              </a:rPr>
              <a:t>California Title 24 </a:t>
            </a:r>
          </a:p>
          <a:p>
            <a:pPr algn="ctr"/>
            <a:r>
              <a:rPr lang="de-CH" sz="1800" dirty="0"/>
              <a:t>±75 ppm </a:t>
            </a:r>
            <a:r>
              <a:rPr lang="de-CH" sz="1800" dirty="0" err="1"/>
              <a:t>between</a:t>
            </a:r>
            <a:r>
              <a:rPr lang="de-CH" sz="1800" dirty="0"/>
              <a:t> 400 - 1000 ppm CO</a:t>
            </a:r>
            <a:r>
              <a:rPr lang="de-CH" sz="1800" baseline="-25000" dirty="0"/>
              <a:t>2</a:t>
            </a:r>
          </a:p>
        </p:txBody>
      </p:sp>
      <p:sp>
        <p:nvSpPr>
          <p:cNvPr id="17" name="TextBox 16">
            <a:extLst>
              <a:ext uri="{FF2B5EF4-FFF2-40B4-BE49-F238E27FC236}">
                <a16:creationId xmlns:a16="http://schemas.microsoft.com/office/drawing/2014/main" id="{16804C13-2403-68A5-8360-795334AC8A9B}"/>
              </a:ext>
            </a:extLst>
          </p:cNvPr>
          <p:cNvSpPr txBox="1"/>
          <p:nvPr/>
        </p:nvSpPr>
        <p:spPr>
          <a:xfrm>
            <a:off x="6036408" y="892737"/>
            <a:ext cx="4702485" cy="1261884"/>
          </a:xfrm>
          <a:prstGeom prst="rect">
            <a:avLst/>
          </a:prstGeom>
          <a:noFill/>
        </p:spPr>
        <p:txBody>
          <a:bodyPr wrap="square">
            <a:spAutoFit/>
          </a:bodyPr>
          <a:lstStyle/>
          <a:p>
            <a:pPr algn="ctr"/>
            <a:r>
              <a:rPr lang="de-CH" sz="2800" b="1" dirty="0">
                <a:solidFill>
                  <a:schemeClr val="bg1">
                    <a:lumMod val="50000"/>
                  </a:schemeClr>
                </a:solidFill>
              </a:rPr>
              <a:t>RESET Standard</a:t>
            </a:r>
          </a:p>
          <a:p>
            <a:pPr algn="ctr"/>
            <a:r>
              <a:rPr lang="de-CH" sz="1800" dirty="0"/>
              <a:t>±(50 ppm + 3% </a:t>
            </a:r>
            <a:r>
              <a:rPr lang="de-CH" sz="1800" dirty="0" err="1"/>
              <a:t>rdg</a:t>
            </a:r>
            <a:r>
              <a:rPr lang="de-CH" sz="1800" dirty="0"/>
              <a:t>) </a:t>
            </a:r>
            <a:r>
              <a:rPr lang="de-CH" sz="1800" dirty="0" err="1"/>
              <a:t>between</a:t>
            </a:r>
            <a:r>
              <a:rPr lang="de-CH" sz="1800" dirty="0"/>
              <a:t> 400 - 2000 ppm CO</a:t>
            </a:r>
            <a:r>
              <a:rPr lang="de-CH" sz="1800" baseline="-25000" dirty="0"/>
              <a:t>2</a:t>
            </a:r>
          </a:p>
          <a:p>
            <a:pPr algn="ctr"/>
            <a:r>
              <a:rPr lang="de-CH" sz="1800" dirty="0"/>
              <a:t>±(50 ppm + 5% </a:t>
            </a:r>
            <a:r>
              <a:rPr lang="de-CH" sz="1800" dirty="0" err="1"/>
              <a:t>rdg</a:t>
            </a:r>
            <a:r>
              <a:rPr lang="de-CH" sz="1800" dirty="0"/>
              <a:t>) </a:t>
            </a:r>
            <a:r>
              <a:rPr lang="de-CH" sz="1800" dirty="0" err="1"/>
              <a:t>between</a:t>
            </a:r>
            <a:r>
              <a:rPr lang="de-CH" sz="1800" dirty="0"/>
              <a:t> 2001 - 5000 ppm CO</a:t>
            </a:r>
            <a:r>
              <a:rPr lang="de-CH" sz="1800" baseline="-25000" dirty="0"/>
              <a:t>2</a:t>
            </a:r>
          </a:p>
          <a:p>
            <a:pPr algn="ctr"/>
            <a:endParaRPr lang="de-CH" sz="1800" baseline="-25000" dirty="0"/>
          </a:p>
        </p:txBody>
      </p:sp>
    </p:spTree>
    <p:extLst>
      <p:ext uri="{BB962C8B-B14F-4D97-AF65-F5344CB8AC3E}">
        <p14:creationId xmlns:p14="http://schemas.microsoft.com/office/powerpoint/2010/main" val="7151460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B00C85-49F1-E5F5-7F22-F10CF10B3BD0}"/>
              </a:ext>
            </a:extLst>
          </p:cNvPr>
          <p:cNvSpPr>
            <a:spLocks noGrp="1"/>
          </p:cNvSpPr>
          <p:nvPr>
            <p:ph type="title"/>
          </p:nvPr>
        </p:nvSpPr>
        <p:spPr/>
        <p:txBody>
          <a:bodyPr/>
          <a:lstStyle/>
          <a:p>
            <a:r>
              <a:rPr lang="en-US" dirty="0"/>
              <a:t>Existing SCD40 Customer Points</a:t>
            </a:r>
          </a:p>
        </p:txBody>
      </p:sp>
      <p:sp>
        <p:nvSpPr>
          <p:cNvPr id="4" name="Slide Number Placeholder 3">
            <a:extLst>
              <a:ext uri="{FF2B5EF4-FFF2-40B4-BE49-F238E27FC236}">
                <a16:creationId xmlns:a16="http://schemas.microsoft.com/office/drawing/2014/main" id="{47D13F9A-8C31-58C7-1293-725C8246DF22}"/>
              </a:ext>
            </a:extLst>
          </p:cNvPr>
          <p:cNvSpPr>
            <a:spLocks noGrp="1"/>
          </p:cNvSpPr>
          <p:nvPr>
            <p:ph type="sldNum" sz="quarter" idx="12"/>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68</a:t>
            </a:fld>
            <a:endParaRPr lang="de-CH" dirty="0"/>
          </a:p>
        </p:txBody>
      </p:sp>
      <p:sp>
        <p:nvSpPr>
          <p:cNvPr id="8" name="Text Placeholder 6">
            <a:extLst>
              <a:ext uri="{FF2B5EF4-FFF2-40B4-BE49-F238E27FC236}">
                <a16:creationId xmlns:a16="http://schemas.microsoft.com/office/drawing/2014/main" id="{788A268A-B587-FAC1-EDCE-879893757F9B}"/>
              </a:ext>
            </a:extLst>
          </p:cNvPr>
          <p:cNvSpPr txBox="1">
            <a:spLocks/>
          </p:cNvSpPr>
          <p:nvPr/>
        </p:nvSpPr>
        <p:spPr>
          <a:xfrm>
            <a:off x="953709" y="917882"/>
            <a:ext cx="5148000"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lvl="1" indent="-215900">
              <a:spcBef>
                <a:spcPts val="0"/>
              </a:spcBef>
            </a:pPr>
            <a:r>
              <a:rPr lang="en-US" dirty="0">
                <a:latin typeface="Arial Narrow"/>
                <a:sym typeface="Wingdings" panose="05000000000000000000" pitchFamily="2" charset="2"/>
              </a:rPr>
              <a:t>Increase of peak reflow soldering temperature from 235°C to 245°C</a:t>
            </a:r>
          </a:p>
          <a:p>
            <a:pPr marL="215900" lvl="1" indent="-215900">
              <a:spcBef>
                <a:spcPts val="0"/>
              </a:spcBef>
            </a:pPr>
            <a:r>
              <a:rPr lang="en-US" dirty="0">
                <a:latin typeface="Arial Narrow"/>
                <a:sym typeface="Wingdings" panose="05000000000000000000" pitchFamily="2" charset="2"/>
              </a:rPr>
              <a:t>2</a:t>
            </a:r>
            <a:r>
              <a:rPr lang="en-US" baseline="30000" dirty="0">
                <a:latin typeface="Arial Narrow"/>
                <a:sym typeface="Wingdings" panose="05000000000000000000" pitchFamily="2" charset="2"/>
              </a:rPr>
              <a:t>nd</a:t>
            </a:r>
            <a:r>
              <a:rPr lang="en-US" dirty="0">
                <a:latin typeface="Arial Narrow"/>
                <a:sym typeface="Wingdings" panose="05000000000000000000" pitchFamily="2" charset="2"/>
              </a:rPr>
              <a:t> source microphone for supply chain resilience</a:t>
            </a:r>
          </a:p>
          <a:p>
            <a:pPr marL="215900" lvl="1" indent="-215900">
              <a:spcBef>
                <a:spcPts val="0"/>
              </a:spcBef>
            </a:pPr>
            <a:r>
              <a:rPr lang="en-US" dirty="0">
                <a:latin typeface="Arial Narrow"/>
                <a:sym typeface="Wingdings" panose="05000000000000000000" pitchFamily="2" charset="2"/>
              </a:rPr>
              <a:t>Laser marking on cap for product identification</a:t>
            </a:r>
          </a:p>
          <a:p>
            <a:pPr marL="215900" lvl="1" indent="-215900">
              <a:spcBef>
                <a:spcPts val="0"/>
              </a:spcBef>
            </a:pPr>
            <a:r>
              <a:rPr lang="en-US" dirty="0">
                <a:latin typeface="Arial Narrow"/>
                <a:sym typeface="Wingdings" panose="05000000000000000000" pitchFamily="2" charset="2"/>
              </a:rPr>
              <a:t>No material number change: current customers receive all the benefits without any hassle</a:t>
            </a:r>
          </a:p>
          <a:p>
            <a:pPr marL="215900" lvl="1" indent="-215900">
              <a:spcBef>
                <a:spcPts val="0"/>
              </a:spcBef>
            </a:pPr>
            <a:r>
              <a:rPr lang="en-US" dirty="0">
                <a:latin typeface="Arial Narrow"/>
                <a:sym typeface="Wingdings" panose="05000000000000000000" pitchFamily="2" charset="2"/>
              </a:rPr>
              <a:t>Only new visual appearance (laser marking) for current customers from April 2023*</a:t>
            </a:r>
          </a:p>
          <a:p>
            <a:pPr marL="215900" lvl="1" indent="-215900">
              <a:spcBef>
                <a:spcPts val="0"/>
              </a:spcBef>
            </a:pPr>
            <a:r>
              <a:rPr lang="en-US" dirty="0">
                <a:latin typeface="Arial Narrow"/>
                <a:sym typeface="Wingdings" panose="05000000000000000000" pitchFamily="2" charset="2"/>
              </a:rPr>
              <a:t>No price change</a:t>
            </a:r>
          </a:p>
          <a:p>
            <a:pPr marL="215900" lvl="1" indent="-215900">
              <a:spcBef>
                <a:spcPts val="0"/>
              </a:spcBef>
            </a:pPr>
            <a:endParaRPr lang="en-US" dirty="0">
              <a:latin typeface="Arial Narrow"/>
              <a:sym typeface="Wingdings" panose="05000000000000000000" pitchFamily="2" charset="2"/>
            </a:endParaRPr>
          </a:p>
          <a:p>
            <a:pPr marL="215900" lvl="1" indent="-215900">
              <a:spcBef>
                <a:spcPts val="0"/>
              </a:spcBef>
            </a:pPr>
            <a:r>
              <a:rPr lang="en-US" b="1" dirty="0">
                <a:solidFill>
                  <a:schemeClr val="accent1"/>
                </a:solidFill>
                <a:latin typeface="Arial Narrow"/>
                <a:sym typeface="Wingdings" panose="05000000000000000000" pitchFamily="2" charset="2"/>
              </a:rPr>
              <a:t>Customers don’t need to change anything!</a:t>
            </a:r>
          </a:p>
          <a:p>
            <a:endParaRPr lang="en-US" dirty="0"/>
          </a:p>
        </p:txBody>
      </p:sp>
      <p:sp>
        <p:nvSpPr>
          <p:cNvPr id="9" name="TextBox 8">
            <a:extLst>
              <a:ext uri="{FF2B5EF4-FFF2-40B4-BE49-F238E27FC236}">
                <a16:creationId xmlns:a16="http://schemas.microsoft.com/office/drawing/2014/main" id="{7F0324F3-C6E3-D315-6937-9E6775D7FFE4}"/>
              </a:ext>
            </a:extLst>
          </p:cNvPr>
          <p:cNvSpPr txBox="1"/>
          <p:nvPr/>
        </p:nvSpPr>
        <p:spPr>
          <a:xfrm>
            <a:off x="6217775" y="826339"/>
            <a:ext cx="5265843" cy="2554545"/>
          </a:xfrm>
          <a:prstGeom prst="rect">
            <a:avLst/>
          </a:prstGeom>
          <a:noFill/>
        </p:spPr>
        <p:txBody>
          <a:bodyPr wrap="square">
            <a:spAutoFit/>
          </a:bodyPr>
          <a:lstStyle/>
          <a:p>
            <a:pPr marL="215900" lvl="1" indent="-215900">
              <a:spcBef>
                <a:spcPts val="0"/>
              </a:spcBef>
            </a:pPr>
            <a:r>
              <a:rPr lang="en-US" b="1" dirty="0">
                <a:latin typeface="Arial Narrow"/>
                <a:sym typeface="Wingdings" panose="05000000000000000000" pitchFamily="2" charset="2"/>
              </a:rPr>
              <a:t>Timeline</a:t>
            </a:r>
          </a:p>
          <a:p>
            <a:pPr marL="719900" lvl="2" indent="-215900">
              <a:spcBef>
                <a:spcPts val="0"/>
              </a:spcBef>
            </a:pPr>
            <a:r>
              <a:rPr lang="en-US" dirty="0">
                <a:latin typeface="Arial Narrow"/>
                <a:sym typeface="Wingdings" panose="05000000000000000000" pitchFamily="2" charset="2"/>
              </a:rPr>
              <a:t>12.2022: Distribute Infonote to customers</a:t>
            </a:r>
          </a:p>
          <a:p>
            <a:pPr marL="719900" lvl="2" indent="-215900">
              <a:spcBef>
                <a:spcPts val="0"/>
              </a:spcBef>
            </a:pPr>
            <a:r>
              <a:rPr lang="en-US" dirty="0">
                <a:latin typeface="Arial Narrow"/>
                <a:sym typeface="Wingdings" panose="05000000000000000000" pitchFamily="2" charset="2"/>
              </a:rPr>
              <a:t>04.2023*: SCD40 shipments with changes</a:t>
            </a:r>
          </a:p>
          <a:p>
            <a:pPr marL="719900" lvl="2" indent="-215900">
              <a:spcBef>
                <a:spcPts val="0"/>
              </a:spcBef>
            </a:pPr>
            <a:endParaRPr lang="en-US" dirty="0">
              <a:latin typeface="Arial Narrow"/>
              <a:sym typeface="Wingdings" panose="05000000000000000000" pitchFamily="2" charset="2"/>
            </a:endParaRPr>
          </a:p>
          <a:p>
            <a:pPr marL="719900" lvl="2" indent="-215900">
              <a:spcBef>
                <a:spcPts val="0"/>
              </a:spcBef>
            </a:pPr>
            <a:endParaRPr lang="en-US" dirty="0">
              <a:latin typeface="Arial Narrow"/>
              <a:sym typeface="Wingdings" panose="05000000000000000000" pitchFamily="2" charset="2"/>
            </a:endParaRPr>
          </a:p>
          <a:p>
            <a:pPr marL="719900" lvl="2" indent="-215900">
              <a:spcBef>
                <a:spcPts val="0"/>
              </a:spcBef>
            </a:pPr>
            <a:endParaRPr lang="en-US" dirty="0">
              <a:latin typeface="Arial Narrow"/>
              <a:sym typeface="Wingdings" panose="05000000000000000000" pitchFamily="2" charset="2"/>
            </a:endParaRPr>
          </a:p>
          <a:p>
            <a:pPr marL="719900" lvl="2" indent="-215900">
              <a:spcBef>
                <a:spcPts val="0"/>
              </a:spcBef>
            </a:pPr>
            <a:r>
              <a:rPr lang="en-US" dirty="0">
                <a:latin typeface="Arial Narrow"/>
                <a:sym typeface="Wingdings" panose="05000000000000000000" pitchFamily="2" charset="2"/>
              </a:rPr>
              <a:t>* Exact date of implementation will depend on supply/demand situation.</a:t>
            </a:r>
          </a:p>
        </p:txBody>
      </p:sp>
    </p:spTree>
    <p:extLst>
      <p:ext uri="{BB962C8B-B14F-4D97-AF65-F5344CB8AC3E}">
        <p14:creationId xmlns:p14="http://schemas.microsoft.com/office/powerpoint/2010/main" val="39528782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B00C85-49F1-E5F5-7F22-F10CF10B3BD0}"/>
              </a:ext>
            </a:extLst>
          </p:cNvPr>
          <p:cNvSpPr>
            <a:spLocks noGrp="1"/>
          </p:cNvSpPr>
          <p:nvPr>
            <p:ph type="title"/>
          </p:nvPr>
        </p:nvSpPr>
        <p:spPr/>
        <p:txBody>
          <a:bodyPr/>
          <a:lstStyle/>
          <a:p>
            <a:r>
              <a:rPr lang="en-US" dirty="0"/>
              <a:t>Existing SCD41 Customer Points</a:t>
            </a:r>
          </a:p>
        </p:txBody>
      </p:sp>
      <p:sp>
        <p:nvSpPr>
          <p:cNvPr id="4" name="Slide Number Placeholder 3">
            <a:extLst>
              <a:ext uri="{FF2B5EF4-FFF2-40B4-BE49-F238E27FC236}">
                <a16:creationId xmlns:a16="http://schemas.microsoft.com/office/drawing/2014/main" id="{47D13F9A-8C31-58C7-1293-725C8246DF22}"/>
              </a:ext>
            </a:extLst>
          </p:cNvPr>
          <p:cNvSpPr>
            <a:spLocks noGrp="1"/>
          </p:cNvSpPr>
          <p:nvPr>
            <p:ph type="sldNum" sz="quarter" idx="12"/>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69</a:t>
            </a:fld>
            <a:endParaRPr lang="de-CH" dirty="0"/>
          </a:p>
        </p:txBody>
      </p:sp>
      <p:sp>
        <p:nvSpPr>
          <p:cNvPr id="8" name="Text Placeholder 6">
            <a:extLst>
              <a:ext uri="{FF2B5EF4-FFF2-40B4-BE49-F238E27FC236}">
                <a16:creationId xmlns:a16="http://schemas.microsoft.com/office/drawing/2014/main" id="{788A268A-B587-FAC1-EDCE-879893757F9B}"/>
              </a:ext>
            </a:extLst>
          </p:cNvPr>
          <p:cNvSpPr txBox="1">
            <a:spLocks/>
          </p:cNvSpPr>
          <p:nvPr/>
        </p:nvSpPr>
        <p:spPr>
          <a:xfrm>
            <a:off x="953709" y="917882"/>
            <a:ext cx="5148000"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lvl="1" indent="-215900">
              <a:spcBef>
                <a:spcPts val="0"/>
              </a:spcBef>
            </a:pPr>
            <a:r>
              <a:rPr lang="en-US" dirty="0">
                <a:latin typeface="Arial Narrow"/>
                <a:sym typeface="Wingdings" panose="05000000000000000000" pitchFamily="2" charset="2"/>
              </a:rPr>
              <a:t>Increase of peak reflow soldering temperature from 235°C to 245°C</a:t>
            </a:r>
          </a:p>
          <a:p>
            <a:pPr marL="215900" lvl="1" indent="-215900">
              <a:spcBef>
                <a:spcPts val="0"/>
              </a:spcBef>
            </a:pPr>
            <a:r>
              <a:rPr lang="en-US" dirty="0">
                <a:latin typeface="Arial Narrow"/>
                <a:sym typeface="Wingdings" panose="05000000000000000000" pitchFamily="2" charset="2"/>
              </a:rPr>
              <a:t>2</a:t>
            </a:r>
            <a:r>
              <a:rPr lang="en-US" baseline="30000" dirty="0">
                <a:latin typeface="Arial Narrow"/>
                <a:sym typeface="Wingdings" panose="05000000000000000000" pitchFamily="2" charset="2"/>
              </a:rPr>
              <a:t>nd</a:t>
            </a:r>
            <a:r>
              <a:rPr lang="en-US" dirty="0">
                <a:latin typeface="Arial Narrow"/>
                <a:sym typeface="Wingdings" panose="05000000000000000000" pitchFamily="2" charset="2"/>
              </a:rPr>
              <a:t> source microphone for supply chain resilience</a:t>
            </a:r>
          </a:p>
          <a:p>
            <a:pPr marL="215900" lvl="1" indent="-215900">
              <a:spcBef>
                <a:spcPts val="0"/>
              </a:spcBef>
            </a:pPr>
            <a:r>
              <a:rPr lang="en-US" dirty="0">
                <a:latin typeface="Arial Narrow"/>
                <a:sym typeface="Wingdings" panose="05000000000000000000" pitchFamily="2" charset="2"/>
              </a:rPr>
              <a:t>Laser marking on cap for product identification</a:t>
            </a:r>
          </a:p>
          <a:p>
            <a:pPr marL="215900" lvl="1" indent="-215900">
              <a:spcBef>
                <a:spcPts val="0"/>
              </a:spcBef>
            </a:pPr>
            <a:r>
              <a:rPr lang="en-US" dirty="0">
                <a:latin typeface="Arial Narrow"/>
                <a:sym typeface="Wingdings" panose="05000000000000000000" pitchFamily="2" charset="2"/>
              </a:rPr>
              <a:t>Improved specifications below 2000 ppm to meet California Title 24 and RESET Standard</a:t>
            </a:r>
          </a:p>
          <a:p>
            <a:pPr marL="215900" lvl="1" indent="-215900">
              <a:spcBef>
                <a:spcPts val="0"/>
              </a:spcBef>
            </a:pPr>
            <a:r>
              <a:rPr lang="en-US" dirty="0">
                <a:latin typeface="Arial Narrow"/>
                <a:sym typeface="Wingdings" panose="05000000000000000000" pitchFamily="2" charset="2"/>
              </a:rPr>
              <a:t>No material number change: current customers receive all the benefits without any hassle</a:t>
            </a:r>
          </a:p>
          <a:p>
            <a:pPr marL="215900" lvl="1" indent="-215900">
              <a:spcBef>
                <a:spcPts val="0"/>
              </a:spcBef>
            </a:pPr>
            <a:r>
              <a:rPr lang="en-US" dirty="0">
                <a:latin typeface="Arial Narrow"/>
                <a:sym typeface="Wingdings" panose="05000000000000000000" pitchFamily="2" charset="2"/>
              </a:rPr>
              <a:t>New visual appearance (laser marking) and improved specifications for current customers from April 2023</a:t>
            </a:r>
          </a:p>
          <a:p>
            <a:pPr marL="215900" lvl="1" indent="-215900">
              <a:spcBef>
                <a:spcPts val="0"/>
              </a:spcBef>
            </a:pPr>
            <a:r>
              <a:rPr lang="en-US" dirty="0">
                <a:latin typeface="Arial Narrow"/>
                <a:sym typeface="Wingdings" panose="05000000000000000000" pitchFamily="2" charset="2"/>
              </a:rPr>
              <a:t>No price change</a:t>
            </a:r>
          </a:p>
          <a:p>
            <a:pPr marL="215900" lvl="1" indent="-215900">
              <a:spcBef>
                <a:spcPts val="0"/>
              </a:spcBef>
            </a:pPr>
            <a:endParaRPr lang="en-US" dirty="0">
              <a:latin typeface="Arial Narrow"/>
              <a:sym typeface="Wingdings" panose="05000000000000000000" pitchFamily="2" charset="2"/>
            </a:endParaRPr>
          </a:p>
          <a:p>
            <a:pPr marL="215900" lvl="1" indent="-215900">
              <a:spcBef>
                <a:spcPts val="0"/>
              </a:spcBef>
            </a:pPr>
            <a:r>
              <a:rPr lang="en-US" b="1" dirty="0">
                <a:solidFill>
                  <a:schemeClr val="accent1"/>
                </a:solidFill>
                <a:latin typeface="Arial Narrow"/>
                <a:sym typeface="Wingdings" panose="05000000000000000000" pitchFamily="2" charset="2"/>
              </a:rPr>
              <a:t>Customers don’t need to change anything!</a:t>
            </a:r>
          </a:p>
          <a:p>
            <a:pPr marL="0" lvl="1" indent="0">
              <a:spcBef>
                <a:spcPts val="0"/>
              </a:spcBef>
              <a:buNone/>
            </a:pPr>
            <a:endParaRPr lang="en-US" dirty="0">
              <a:latin typeface="Arial Narrow"/>
              <a:sym typeface="Wingdings" panose="05000000000000000000" pitchFamily="2" charset="2"/>
            </a:endParaRPr>
          </a:p>
          <a:p>
            <a:endParaRPr lang="en-US" dirty="0"/>
          </a:p>
        </p:txBody>
      </p:sp>
      <p:sp>
        <p:nvSpPr>
          <p:cNvPr id="9" name="TextBox 8">
            <a:extLst>
              <a:ext uri="{FF2B5EF4-FFF2-40B4-BE49-F238E27FC236}">
                <a16:creationId xmlns:a16="http://schemas.microsoft.com/office/drawing/2014/main" id="{7F0324F3-C6E3-D315-6937-9E6775D7FFE4}"/>
              </a:ext>
            </a:extLst>
          </p:cNvPr>
          <p:cNvSpPr txBox="1"/>
          <p:nvPr/>
        </p:nvSpPr>
        <p:spPr>
          <a:xfrm>
            <a:off x="6217775" y="826339"/>
            <a:ext cx="5265843" cy="1938992"/>
          </a:xfrm>
          <a:prstGeom prst="rect">
            <a:avLst/>
          </a:prstGeom>
          <a:noFill/>
        </p:spPr>
        <p:txBody>
          <a:bodyPr wrap="square">
            <a:spAutoFit/>
          </a:bodyPr>
          <a:lstStyle/>
          <a:p>
            <a:pPr marL="215900" lvl="1" indent="-215900">
              <a:spcBef>
                <a:spcPts val="0"/>
              </a:spcBef>
            </a:pPr>
            <a:r>
              <a:rPr lang="en-US" b="1" dirty="0">
                <a:latin typeface="Arial Narrow"/>
                <a:sym typeface="Wingdings" panose="05000000000000000000" pitchFamily="2" charset="2"/>
              </a:rPr>
              <a:t>Timeline</a:t>
            </a:r>
          </a:p>
          <a:p>
            <a:pPr marL="719900" lvl="2" indent="-215900">
              <a:spcBef>
                <a:spcPts val="0"/>
              </a:spcBef>
            </a:pPr>
            <a:r>
              <a:rPr lang="en-US" dirty="0">
                <a:latin typeface="Arial Narrow"/>
                <a:sym typeface="Wingdings" panose="05000000000000000000" pitchFamily="2" charset="2"/>
              </a:rPr>
              <a:t>12.2022: Distribute Infonote to customers</a:t>
            </a:r>
          </a:p>
          <a:p>
            <a:pPr marL="719900" lvl="2" indent="-215900">
              <a:spcBef>
                <a:spcPts val="0"/>
              </a:spcBef>
            </a:pPr>
            <a:r>
              <a:rPr lang="en-US" dirty="0">
                <a:latin typeface="Arial Narrow"/>
                <a:sym typeface="Wingdings" panose="05000000000000000000" pitchFamily="2" charset="2"/>
              </a:rPr>
              <a:t>02.2023: Updated datasheet and samples available</a:t>
            </a:r>
          </a:p>
          <a:p>
            <a:pPr marL="719900" lvl="2" indent="-215900">
              <a:spcBef>
                <a:spcPts val="0"/>
              </a:spcBef>
            </a:pPr>
            <a:r>
              <a:rPr lang="en-US" dirty="0">
                <a:latin typeface="Arial Narrow"/>
                <a:sym typeface="Wingdings" panose="05000000000000000000" pitchFamily="2" charset="2"/>
              </a:rPr>
              <a:t>04.2023: SCD41 parts shipped will meet new datasheet specifications.</a:t>
            </a:r>
          </a:p>
        </p:txBody>
      </p:sp>
    </p:spTree>
    <p:extLst>
      <p:ext uri="{BB962C8B-B14F-4D97-AF65-F5344CB8AC3E}">
        <p14:creationId xmlns:p14="http://schemas.microsoft.com/office/powerpoint/2010/main" val="1191507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0584" y="1006222"/>
            <a:ext cx="3003337" cy="1800000"/>
          </a:xfrm>
          <a:prstGeom prst="rect">
            <a:avLst/>
          </a:prstGeom>
        </p:spPr>
      </p:pic>
      <p:cxnSp>
        <p:nvCxnSpPr>
          <p:cNvPr id="54" name="Straight Connector 53"/>
          <p:cNvCxnSpPr/>
          <p:nvPr/>
        </p:nvCxnSpPr>
        <p:spPr>
          <a:xfrm>
            <a:off x="7849308" y="5206904"/>
            <a:ext cx="16674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itle 1"/>
          <p:cNvSpPr txBox="1">
            <a:spLocks/>
          </p:cNvSpPr>
          <p:nvPr/>
        </p:nvSpPr>
        <p:spPr bwMode="auto">
          <a:xfrm>
            <a:off x="820937" y="327180"/>
            <a:ext cx="9122053"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lvl1pPr algn="l" defTabSz="914400" rtl="0" eaLnBrk="1" latinLnBrk="0" hangingPunct="1">
              <a:lnSpc>
                <a:spcPct val="90000"/>
              </a:lnSpc>
              <a:spcBef>
                <a:spcPct val="0"/>
              </a:spcBef>
              <a:buNone/>
              <a:defRPr sz="3100" b="1" kern="1200">
                <a:solidFill>
                  <a:srgbClr val="66CC33"/>
                </a:solidFill>
                <a:latin typeface="Arial Narrow" panose="020B0606020202030204" pitchFamily="34" charset="0"/>
                <a:ea typeface="+mj-ea"/>
                <a:cs typeface="+mj-cs"/>
              </a:defRPr>
            </a:lvl1pPr>
          </a:lstStyle>
          <a:p>
            <a:pPr fontAlgn="auto">
              <a:spcAft>
                <a:spcPts val="0"/>
              </a:spcAft>
            </a:pPr>
            <a:r>
              <a:rPr lang="en-US"/>
              <a:t>Solving complex problems everywhere today </a:t>
            </a:r>
          </a:p>
        </p:txBody>
      </p:sp>
      <p:sp>
        <p:nvSpPr>
          <p:cNvPr id="47" name="Rechteck 75"/>
          <p:cNvSpPr/>
          <p:nvPr/>
        </p:nvSpPr>
        <p:spPr>
          <a:xfrm>
            <a:off x="4641977" y="1661847"/>
            <a:ext cx="1318314" cy="252283"/>
          </a:xfrm>
          <a:prstGeom prst="rect">
            <a:avLst/>
          </a:prstGeom>
          <a:noFill/>
        </p:spPr>
        <p:txBody>
          <a:bodyPr wrap="square" lIns="27000" tIns="0" rIns="67500" bIns="67500" rtlCol="0" anchor="t">
            <a:noAutofit/>
          </a:bodyPr>
          <a:lstStyle/>
          <a:p>
            <a:pPr algn="ctr">
              <a:spcBef>
                <a:spcPct val="50000"/>
              </a:spcBef>
              <a:buClr>
                <a:prstClr val="white"/>
              </a:buClr>
            </a:pPr>
            <a:r>
              <a:rPr lang="en-US" sz="1600" b="1">
                <a:solidFill>
                  <a:prstClr val="black"/>
                </a:solidFill>
              </a:rPr>
              <a:t>Anti-fogging</a:t>
            </a:r>
            <a:endParaRPr lang="en-US" sz="1800" b="1">
              <a:solidFill>
                <a:prstClr val="black"/>
              </a:solidFill>
            </a:endParaRPr>
          </a:p>
        </p:txBody>
      </p:sp>
      <p:sp>
        <p:nvSpPr>
          <p:cNvPr id="62" name="Rectangle 61"/>
          <p:cNvSpPr/>
          <p:nvPr/>
        </p:nvSpPr>
        <p:spPr>
          <a:xfrm>
            <a:off x="820937" y="2809704"/>
            <a:ext cx="5246838" cy="994197"/>
          </a:xfrm>
          <a:prstGeom prst="rect">
            <a:avLst/>
          </a:prstGeom>
          <a:noFill/>
          <a:ln w="9525" cap="flat" cmpd="sng" algn="ctr">
            <a:noFill/>
            <a:prstDash val="solid"/>
          </a:ln>
          <a:effectLst/>
        </p:spPr>
        <p:txBody>
          <a:bodyPr lIns="252000" tIns="36576" rIns="252000" bIns="36576" rtlCol="0" anchor="ctr"/>
          <a:lstStyle/>
          <a:p>
            <a:pPr fontAlgn="auto">
              <a:spcBef>
                <a:spcPts val="0"/>
              </a:spcBef>
              <a:spcAft>
                <a:spcPts val="0"/>
              </a:spcAft>
              <a:defRPr/>
            </a:pPr>
            <a:r>
              <a:rPr lang="en-GB" sz="1800" b="1" kern="0">
                <a:latin typeface="+mj-lt"/>
                <a:ea typeface="LF_Kai"/>
              </a:rPr>
              <a:t>P</a:t>
            </a:r>
            <a:r>
              <a:rPr lang="en-GB" sz="1800" b="1" kern="0">
                <a:solidFill>
                  <a:prstClr val="black"/>
                </a:solidFill>
                <a:latin typeface="+mj-lt"/>
                <a:ea typeface="LF_Kai"/>
              </a:rPr>
              <a:t>roviding antifogging, engine and climate control to approximately </a:t>
            </a:r>
            <a:r>
              <a:rPr lang="en-GB" sz="1800" b="1" kern="0">
                <a:solidFill>
                  <a:srgbClr val="66CC33"/>
                </a:solidFill>
                <a:latin typeface="+mj-lt"/>
                <a:ea typeface="LF_Kai"/>
              </a:rPr>
              <a:t>one in three cars </a:t>
            </a:r>
            <a:r>
              <a:rPr lang="en-GB" sz="1800" b="1" kern="0">
                <a:latin typeface="+mj-lt"/>
                <a:ea typeface="LF_Kai"/>
              </a:rPr>
              <a:t>manufactured worldwide.</a:t>
            </a:r>
          </a:p>
        </p:txBody>
      </p:sp>
      <p:sp>
        <p:nvSpPr>
          <p:cNvPr id="64" name="Rectangle 63"/>
          <p:cNvSpPr/>
          <p:nvPr/>
        </p:nvSpPr>
        <p:spPr>
          <a:xfrm>
            <a:off x="6103711" y="2831636"/>
            <a:ext cx="5292725" cy="682749"/>
          </a:xfrm>
          <a:prstGeom prst="rect">
            <a:avLst/>
          </a:prstGeom>
          <a:noFill/>
          <a:ln w="9525" cap="flat" cmpd="sng" algn="ctr">
            <a:noFill/>
            <a:prstDash val="solid"/>
          </a:ln>
          <a:effectLst/>
        </p:spPr>
        <p:txBody>
          <a:bodyPr lIns="252000" tIns="36576" rIns="252000" bIns="36576" rtlCol="0" anchor="ctr"/>
          <a:lstStyle/>
          <a:p>
            <a:pPr fontAlgn="auto">
              <a:spcBef>
                <a:spcPts val="0"/>
              </a:spcBef>
              <a:spcAft>
                <a:spcPts val="0"/>
              </a:spcAft>
              <a:defRPr/>
            </a:pPr>
            <a:r>
              <a:rPr lang="en-GB" sz="1800" b="1" kern="0">
                <a:solidFill>
                  <a:prstClr val="black"/>
                </a:solidFill>
                <a:latin typeface="+mj-lt"/>
                <a:ea typeface="LF_Kai"/>
              </a:rPr>
              <a:t>Reliable real-time monitoring of gas consumption for </a:t>
            </a:r>
            <a:r>
              <a:rPr lang="en-GB" sz="1800" b="1" kern="0">
                <a:solidFill>
                  <a:srgbClr val="66CC33"/>
                </a:solidFill>
                <a:latin typeface="+mj-lt"/>
                <a:ea typeface="LF_Kai"/>
              </a:rPr>
              <a:t>more than 5 million </a:t>
            </a:r>
            <a:r>
              <a:rPr lang="en-GB" sz="1800" b="1" kern="0">
                <a:latin typeface="+mj-lt"/>
                <a:ea typeface="LF_Kai"/>
              </a:rPr>
              <a:t>households.</a:t>
            </a:r>
            <a:endParaRPr lang="en-GB" sz="1800" b="1" kern="0">
              <a:solidFill>
                <a:prstClr val="black"/>
              </a:solidFill>
              <a:latin typeface="+mj-lt"/>
              <a:ea typeface="LF_Kai"/>
            </a:endParaRPr>
          </a:p>
        </p:txBody>
      </p:sp>
      <p:sp>
        <p:nvSpPr>
          <p:cNvPr id="67" name="Rechteck 75"/>
          <p:cNvSpPr/>
          <p:nvPr/>
        </p:nvSpPr>
        <p:spPr>
          <a:xfrm>
            <a:off x="6399596" y="1974517"/>
            <a:ext cx="1262769" cy="241713"/>
          </a:xfrm>
          <a:prstGeom prst="rect">
            <a:avLst/>
          </a:prstGeom>
          <a:noFill/>
        </p:spPr>
        <p:txBody>
          <a:bodyPr wrap="square" lIns="27000" tIns="0" rIns="67500" bIns="67500" rtlCol="0" anchor="t">
            <a:noAutofit/>
          </a:bodyPr>
          <a:lstStyle/>
          <a:p>
            <a:pPr algn="ctr">
              <a:spcBef>
                <a:spcPct val="50000"/>
              </a:spcBef>
              <a:buClr>
                <a:prstClr val="white"/>
              </a:buClr>
            </a:pPr>
            <a:r>
              <a:rPr lang="en-US" sz="1600" b="1">
                <a:solidFill>
                  <a:prstClr val="black"/>
                </a:solidFill>
              </a:rPr>
              <a:t>Natural gas</a:t>
            </a:r>
            <a:endParaRPr lang="en-US" sz="1600" b="1" baseline="30000">
              <a:solidFill>
                <a:prstClr val="black"/>
              </a:solidFill>
            </a:endParaRPr>
          </a:p>
        </p:txBody>
      </p:sp>
      <p:sp>
        <p:nvSpPr>
          <p:cNvPr id="32" name="Rectangle 31"/>
          <p:cNvSpPr/>
          <p:nvPr/>
        </p:nvSpPr>
        <p:spPr>
          <a:xfrm>
            <a:off x="839788" y="5516672"/>
            <a:ext cx="5256211" cy="682749"/>
          </a:xfrm>
          <a:prstGeom prst="rect">
            <a:avLst/>
          </a:prstGeom>
          <a:noFill/>
          <a:ln w="9525" cap="flat" cmpd="sng" algn="ctr">
            <a:noFill/>
            <a:prstDash val="solid"/>
          </a:ln>
          <a:effectLst/>
        </p:spPr>
        <p:txBody>
          <a:bodyPr lIns="252000" tIns="36576" rIns="216000" bIns="36576" rtlCol="0" anchor="ctr"/>
          <a:lstStyle/>
          <a:p>
            <a:pPr fontAlgn="auto">
              <a:spcBef>
                <a:spcPts val="0"/>
              </a:spcBef>
              <a:spcAft>
                <a:spcPts val="0"/>
              </a:spcAft>
              <a:defRPr/>
            </a:pPr>
            <a:r>
              <a:rPr lang="en-GB" sz="1800" b="1" kern="0">
                <a:latin typeface="+mj-lt"/>
                <a:ea typeface="LF_Kai"/>
              </a:rPr>
              <a:t>Monitoring the breathing of</a:t>
            </a:r>
            <a:r>
              <a:rPr lang="en-GB" sz="1800" b="1" kern="0">
                <a:solidFill>
                  <a:srgbClr val="66CC33"/>
                </a:solidFill>
                <a:latin typeface="+mj-lt"/>
                <a:ea typeface="LF_Kai"/>
              </a:rPr>
              <a:t> more than 15 million </a:t>
            </a:r>
            <a:r>
              <a:rPr lang="en-GB" sz="1800" b="1" kern="0">
                <a:solidFill>
                  <a:prstClr val="black"/>
                </a:solidFill>
                <a:latin typeface="+mj-lt"/>
                <a:ea typeface="LF_Kai"/>
              </a:rPr>
              <a:t>patients in hospitals and at home.</a:t>
            </a:r>
          </a:p>
        </p:txBody>
      </p:sp>
      <p:sp>
        <p:nvSpPr>
          <p:cNvPr id="59" name="Rectangle 58"/>
          <p:cNvSpPr/>
          <p:nvPr/>
        </p:nvSpPr>
        <p:spPr>
          <a:xfrm>
            <a:off x="6111424" y="5635953"/>
            <a:ext cx="5277301" cy="453296"/>
          </a:xfrm>
          <a:prstGeom prst="rect">
            <a:avLst/>
          </a:prstGeom>
          <a:noFill/>
          <a:ln w="9525" cap="flat" cmpd="sng" algn="ctr">
            <a:noFill/>
            <a:prstDash val="solid"/>
          </a:ln>
          <a:effectLst/>
        </p:spPr>
        <p:txBody>
          <a:bodyPr lIns="252000" tIns="36576" rIns="216000" bIns="36576" rtlCol="0" anchor="ctr"/>
          <a:lstStyle/>
          <a:p>
            <a:pPr fontAlgn="auto">
              <a:spcBef>
                <a:spcPts val="0"/>
              </a:spcBef>
              <a:spcAft>
                <a:spcPts val="0"/>
              </a:spcAft>
              <a:defRPr/>
            </a:pPr>
            <a:r>
              <a:rPr lang="en-GB" sz="1800" b="1" kern="0">
                <a:latin typeface="+mj-lt"/>
                <a:ea typeface="LF_Kai"/>
              </a:rPr>
              <a:t>High precision monitoring of temperature and air quality for </a:t>
            </a:r>
            <a:r>
              <a:rPr lang="en-GB" sz="1800" b="1" kern="0">
                <a:solidFill>
                  <a:srgbClr val="66CC33"/>
                </a:solidFill>
                <a:latin typeface="+mj-lt"/>
                <a:ea typeface="LF_Kai"/>
              </a:rPr>
              <a:t>millions</a:t>
            </a:r>
            <a:r>
              <a:rPr lang="en-GB" sz="1800" b="1" kern="0">
                <a:latin typeface="+mj-lt"/>
                <a:ea typeface="LF_Kai"/>
              </a:rPr>
              <a:t> of households.</a:t>
            </a:r>
            <a:endParaRPr lang="en-GB" sz="1800" b="1" kern="0">
              <a:solidFill>
                <a:prstClr val="black"/>
              </a:solidFill>
              <a:latin typeface="+mj-lt"/>
              <a:ea typeface="LF_Kai"/>
            </a:endParaRPr>
          </a:p>
        </p:txBody>
      </p:sp>
      <p:sp>
        <p:nvSpPr>
          <p:cNvPr id="76" name="Rechteck 66"/>
          <p:cNvSpPr/>
          <p:nvPr/>
        </p:nvSpPr>
        <p:spPr>
          <a:xfrm>
            <a:off x="8413778" y="4412441"/>
            <a:ext cx="2196566" cy="229763"/>
          </a:xfrm>
          <a:prstGeom prst="rect">
            <a:avLst/>
          </a:prstGeom>
          <a:noFill/>
        </p:spPr>
        <p:txBody>
          <a:bodyPr wrap="square" lIns="27000" tIns="0" rIns="67500" bIns="67500" rtlCol="0" anchor="t">
            <a:noAutofit/>
          </a:bodyPr>
          <a:lstStyle/>
          <a:p>
            <a:pPr algn="ctr">
              <a:spcBef>
                <a:spcPct val="50000"/>
              </a:spcBef>
              <a:buClr>
                <a:prstClr val="white"/>
              </a:buClr>
            </a:pPr>
            <a:r>
              <a:rPr lang="en-US" sz="1600" b="1">
                <a:solidFill>
                  <a:prstClr val="black"/>
                </a:solidFill>
              </a:rPr>
              <a:t>Humidity &amp; temperature</a:t>
            </a:r>
            <a:endParaRPr lang="en-US" sz="1600" b="1" baseline="30000">
              <a:solidFill>
                <a:prstClr val="black"/>
              </a:solidFill>
            </a:endParaRPr>
          </a:p>
        </p:txBody>
      </p:sp>
      <p:pic>
        <p:nvPicPr>
          <p:cNvPr id="85" name="Picture 84" descr="Z:\PPS-PPS Only\ADVANCED GRAPHICS\2017\4. Other\2503029-001\button-01-0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28124" y="4009457"/>
            <a:ext cx="1157449" cy="146875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06546" y="1254157"/>
            <a:ext cx="1048867" cy="720222"/>
          </a:xfrm>
          <a:prstGeom prst="rect">
            <a:avLst/>
          </a:prstGeom>
        </p:spPr>
      </p:pic>
      <p:grpSp>
        <p:nvGrpSpPr>
          <p:cNvPr id="10" name="Group 9"/>
          <p:cNvGrpSpPr/>
          <p:nvPr/>
        </p:nvGrpSpPr>
        <p:grpSpPr>
          <a:xfrm>
            <a:off x="4100896" y="3674119"/>
            <a:ext cx="1459336" cy="934062"/>
            <a:chOff x="738311" y="3345011"/>
            <a:chExt cx="1459336" cy="934062"/>
          </a:xfrm>
        </p:grpSpPr>
        <p:sp>
          <p:nvSpPr>
            <p:cNvPr id="63" name="Rechteck 77"/>
            <p:cNvSpPr/>
            <p:nvPr/>
          </p:nvSpPr>
          <p:spPr>
            <a:xfrm>
              <a:off x="996327" y="4124504"/>
              <a:ext cx="943303" cy="154569"/>
            </a:xfrm>
            <a:prstGeom prst="rect">
              <a:avLst/>
            </a:prstGeom>
            <a:noFill/>
          </p:spPr>
          <p:txBody>
            <a:bodyPr wrap="square" lIns="27000" tIns="0" rIns="67500" bIns="67500" rtlCol="0" anchor="t">
              <a:noAutofit/>
            </a:bodyPr>
            <a:lstStyle/>
            <a:p>
              <a:pPr algn="ctr">
                <a:spcBef>
                  <a:spcPct val="50000"/>
                </a:spcBef>
                <a:buClr>
                  <a:prstClr val="white"/>
                </a:buClr>
              </a:pPr>
              <a:r>
                <a:rPr lang="en-US" sz="1600" b="1">
                  <a:solidFill>
                    <a:prstClr val="black"/>
                  </a:solidFill>
                </a:rPr>
                <a:t>Mass flow</a:t>
              </a: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311" y="3345011"/>
              <a:ext cx="1459336" cy="892627"/>
            </a:xfrm>
            <a:prstGeom prst="rect">
              <a:avLst/>
            </a:prstGeom>
          </p:spPr>
        </p:pic>
      </p:gr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72061" y="3528181"/>
            <a:ext cx="1080000" cy="1080000"/>
          </a:xfrm>
          <a:prstGeom prst="rect">
            <a:avLst/>
          </a:prstGeom>
        </p:spPr>
      </p:pic>
      <p:pic>
        <p:nvPicPr>
          <p:cNvPr id="16" name="Pictur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41119" y="826880"/>
            <a:ext cx="1277036" cy="1021629"/>
          </a:xfrm>
          <a:prstGeom prst="rect">
            <a:avLst/>
          </a:prstGeom>
        </p:spPr>
      </p:pic>
      <p:cxnSp>
        <p:nvCxnSpPr>
          <p:cNvPr id="20" name="Straight Connector 19"/>
          <p:cNvCxnSpPr/>
          <p:nvPr/>
        </p:nvCxnSpPr>
        <p:spPr>
          <a:xfrm>
            <a:off x="2476621" y="4136636"/>
            <a:ext cx="16674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75456" y="861455"/>
            <a:ext cx="1232504" cy="986003"/>
          </a:xfrm>
          <a:prstGeom prst="rect">
            <a:avLst/>
          </a:prstGeom>
        </p:spPr>
      </p:pic>
      <p:cxnSp>
        <p:nvCxnSpPr>
          <p:cNvPr id="49" name="Straight Connector 48"/>
          <p:cNvCxnSpPr/>
          <p:nvPr/>
        </p:nvCxnSpPr>
        <p:spPr>
          <a:xfrm>
            <a:off x="2476621" y="1436277"/>
            <a:ext cx="1948684" cy="7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030981" y="2747995"/>
            <a:ext cx="2133160" cy="298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7035009" y="2280669"/>
            <a:ext cx="0" cy="4703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9512061" y="4743559"/>
            <a:ext cx="0" cy="4703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8486" y="3643834"/>
            <a:ext cx="2628065" cy="1983958"/>
          </a:xfrm>
          <a:prstGeom prst="rect">
            <a:avLst/>
          </a:prstGeom>
        </p:spPr>
      </p:pic>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44825" y="1006222"/>
            <a:ext cx="2829125" cy="1685992"/>
          </a:xfrm>
          <a:prstGeom prst="rect">
            <a:avLst/>
          </a:prstGeom>
        </p:spPr>
      </p:pic>
      <p:sp>
        <p:nvSpPr>
          <p:cNvPr id="11" name="Slide Number Placeholder 10"/>
          <p:cNvSpPr>
            <a:spLocks noGrp="1"/>
          </p:cNvSpPr>
          <p:nvPr>
            <p:ph type="sldNum" sz="quarter" idx="4"/>
          </p:nvPr>
        </p:nvSpPr>
        <p:spPr/>
        <p:txBody>
          <a:bodyPr/>
          <a:lstStyle/>
          <a:p>
            <a:fld id="{553BBF28-59B0-4969-8EAE-E099AE92A1EC}"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7085756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8232D8-8FD4-65EF-5BB8-FBF92A745D0E}"/>
              </a:ext>
            </a:extLst>
          </p:cNvPr>
          <p:cNvSpPr>
            <a:spLocks noGrp="1"/>
          </p:cNvSpPr>
          <p:nvPr>
            <p:ph type="body" sz="quarter" idx="11"/>
          </p:nvPr>
        </p:nvSpPr>
        <p:spPr/>
        <p:txBody>
          <a:bodyPr/>
          <a:lstStyle/>
          <a:p>
            <a:r>
              <a:rPr lang="en-US" b="1" dirty="0"/>
              <a:t>Timeline</a:t>
            </a:r>
          </a:p>
          <a:p>
            <a:pPr marL="342900" indent="-342900">
              <a:buFont typeface="Wingdings" panose="05000000000000000000" pitchFamily="2" charset="2"/>
              <a:buChar char="§"/>
            </a:pPr>
            <a:r>
              <a:rPr lang="en-US" dirty="0">
                <a:latin typeface="Arial Narrow"/>
                <a:sym typeface="Wingdings" panose="05000000000000000000" pitchFamily="2" charset="2"/>
              </a:rPr>
              <a:t>12.2022: not recommended for new designs (NRND), distribute Infonote to customers</a:t>
            </a:r>
            <a:endParaRPr lang="en-US" dirty="0"/>
          </a:p>
          <a:p>
            <a:pPr marL="342900" indent="-342900">
              <a:buFont typeface="Wingdings" panose="05000000000000000000" pitchFamily="2" charset="2"/>
              <a:buChar char="§"/>
            </a:pPr>
            <a:r>
              <a:rPr lang="en-US" dirty="0"/>
              <a:t>30.06.2023: last time buy (LTB)</a:t>
            </a:r>
          </a:p>
          <a:p>
            <a:pPr marL="342900" indent="-342900">
              <a:buFont typeface="Wingdings" panose="05000000000000000000" pitchFamily="2" charset="2"/>
              <a:buChar char="§"/>
            </a:pPr>
            <a:r>
              <a:rPr lang="en-US" dirty="0"/>
              <a:t>30.09.2023: last time ship (LTS)</a:t>
            </a:r>
          </a:p>
        </p:txBody>
      </p:sp>
      <p:sp>
        <p:nvSpPr>
          <p:cNvPr id="5" name="Title 4">
            <a:extLst>
              <a:ext uri="{FF2B5EF4-FFF2-40B4-BE49-F238E27FC236}">
                <a16:creationId xmlns:a16="http://schemas.microsoft.com/office/drawing/2014/main" id="{00B00C85-49F1-E5F5-7F22-F10CF10B3BD0}"/>
              </a:ext>
            </a:extLst>
          </p:cNvPr>
          <p:cNvSpPr>
            <a:spLocks noGrp="1"/>
          </p:cNvSpPr>
          <p:nvPr>
            <p:ph type="title"/>
          </p:nvPr>
        </p:nvSpPr>
        <p:spPr/>
        <p:txBody>
          <a:bodyPr/>
          <a:lstStyle/>
          <a:p>
            <a:r>
              <a:rPr lang="en-US" dirty="0"/>
              <a:t>SCD42 Customer Points</a:t>
            </a:r>
          </a:p>
        </p:txBody>
      </p:sp>
      <p:sp>
        <p:nvSpPr>
          <p:cNvPr id="4" name="Slide Number Placeholder 3">
            <a:extLst>
              <a:ext uri="{FF2B5EF4-FFF2-40B4-BE49-F238E27FC236}">
                <a16:creationId xmlns:a16="http://schemas.microsoft.com/office/drawing/2014/main" id="{47D13F9A-8C31-58C7-1293-725C8246DF22}"/>
              </a:ext>
            </a:extLst>
          </p:cNvPr>
          <p:cNvSpPr>
            <a:spLocks noGrp="1"/>
          </p:cNvSpPr>
          <p:nvPr>
            <p:ph type="sldNum" sz="quarter" idx="12"/>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70</a:t>
            </a:fld>
            <a:endParaRPr lang="de-CH" dirty="0"/>
          </a:p>
        </p:txBody>
      </p:sp>
      <p:sp>
        <p:nvSpPr>
          <p:cNvPr id="8" name="Text Placeholder 6">
            <a:extLst>
              <a:ext uri="{FF2B5EF4-FFF2-40B4-BE49-F238E27FC236}">
                <a16:creationId xmlns:a16="http://schemas.microsoft.com/office/drawing/2014/main" id="{788A268A-B587-FAC1-EDCE-879893757F9B}"/>
              </a:ext>
            </a:extLst>
          </p:cNvPr>
          <p:cNvSpPr txBox="1">
            <a:spLocks/>
          </p:cNvSpPr>
          <p:nvPr/>
        </p:nvSpPr>
        <p:spPr>
          <a:xfrm>
            <a:off x="953709" y="917882"/>
            <a:ext cx="5148000" cy="5328000"/>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lvl="1" indent="-215900">
              <a:spcBef>
                <a:spcPts val="0"/>
              </a:spcBef>
            </a:pPr>
            <a:r>
              <a:rPr lang="en-US" dirty="0">
                <a:latin typeface="Arial Narrow"/>
                <a:sym typeface="Wingdings" panose="05000000000000000000" pitchFamily="2" charset="2"/>
              </a:rPr>
              <a:t>Obsolesce due to improved SCD41 specifications</a:t>
            </a:r>
          </a:p>
          <a:p>
            <a:pPr marL="215900" lvl="1" indent="-215900">
              <a:spcBef>
                <a:spcPts val="0"/>
              </a:spcBef>
            </a:pPr>
            <a:r>
              <a:rPr lang="en-US" dirty="0"/>
              <a:t>Datasheet and SCD41 samples with improved specifications available February 2023</a:t>
            </a:r>
          </a:p>
          <a:p>
            <a:pPr marL="215900" lvl="1" indent="-215900">
              <a:spcBef>
                <a:spcPts val="0"/>
              </a:spcBef>
            </a:pPr>
            <a:r>
              <a:rPr lang="en-US" dirty="0"/>
              <a:t>SCD41 available as a drop-in replacement from April 2023</a:t>
            </a:r>
          </a:p>
          <a:p>
            <a:pPr marL="215900" lvl="1" indent="-215900">
              <a:spcBef>
                <a:spcPts val="0"/>
              </a:spcBef>
            </a:pPr>
            <a:r>
              <a:rPr lang="en-US" dirty="0"/>
              <a:t>SCD42 customers get more with improved SCD41 (wider accuracy range, RESET-compliance)</a:t>
            </a:r>
          </a:p>
          <a:p>
            <a:pPr marL="215900" lvl="1" indent="-215900">
              <a:spcBef>
                <a:spcPts val="0"/>
              </a:spcBef>
            </a:pPr>
            <a:r>
              <a:rPr lang="en-US" dirty="0"/>
              <a:t>Open PO’s can be shifted to SCD41</a:t>
            </a:r>
          </a:p>
          <a:p>
            <a:pPr marL="215900" lvl="1" indent="-215900">
              <a:spcBef>
                <a:spcPts val="0"/>
              </a:spcBef>
            </a:pPr>
            <a:endParaRPr lang="en-US" dirty="0">
              <a:latin typeface="Arial Narrow"/>
              <a:sym typeface="Wingdings" panose="05000000000000000000" pitchFamily="2" charset="2"/>
            </a:endParaRPr>
          </a:p>
          <a:p>
            <a:pPr marL="215900" lvl="1" indent="-215900">
              <a:spcBef>
                <a:spcPts val="0"/>
              </a:spcBef>
            </a:pPr>
            <a:r>
              <a:rPr lang="en-US" b="1" dirty="0">
                <a:solidFill>
                  <a:schemeClr val="accent1"/>
                </a:solidFill>
                <a:latin typeface="Arial Narrow"/>
                <a:sym typeface="Wingdings" panose="05000000000000000000" pitchFamily="2" charset="2"/>
              </a:rPr>
              <a:t>Customers must update their systems to order the SCD41 instead of the SCD42 starting from April 2023.</a:t>
            </a:r>
          </a:p>
          <a:p>
            <a:endParaRPr lang="en-US" dirty="0"/>
          </a:p>
        </p:txBody>
      </p:sp>
    </p:spTree>
    <p:extLst>
      <p:ext uri="{BB962C8B-B14F-4D97-AF65-F5344CB8AC3E}">
        <p14:creationId xmlns:p14="http://schemas.microsoft.com/office/powerpoint/2010/main" val="20832436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C86B0DA-13BC-DFBD-3CF5-209A703EFA34}"/>
              </a:ext>
            </a:extLst>
          </p:cNvPr>
          <p:cNvSpPr>
            <a:spLocks noGrp="1"/>
          </p:cNvSpPr>
          <p:nvPr>
            <p:ph type="title"/>
          </p:nvPr>
        </p:nvSpPr>
        <p:spPr/>
        <p:txBody>
          <a:bodyPr/>
          <a:lstStyle/>
          <a:p>
            <a:r>
              <a:rPr lang="en-US" dirty="0"/>
              <a:t>Distribution Points</a:t>
            </a:r>
          </a:p>
        </p:txBody>
      </p:sp>
      <p:sp>
        <p:nvSpPr>
          <p:cNvPr id="7" name="Content Placeholder 6">
            <a:extLst>
              <a:ext uri="{FF2B5EF4-FFF2-40B4-BE49-F238E27FC236}">
                <a16:creationId xmlns:a16="http://schemas.microsoft.com/office/drawing/2014/main" id="{10B23CA4-96EB-33C5-144B-80CA3A0762BC}"/>
              </a:ext>
            </a:extLst>
          </p:cNvPr>
          <p:cNvSpPr>
            <a:spLocks noGrp="1"/>
          </p:cNvSpPr>
          <p:nvPr>
            <p:ph idx="1"/>
          </p:nvPr>
        </p:nvSpPr>
        <p:spPr/>
        <p:txBody>
          <a:bodyPr/>
          <a:lstStyle/>
          <a:p>
            <a:pPr marL="342900" indent="-342900">
              <a:buFont typeface="Wingdings" panose="05000000000000000000" pitchFamily="2" charset="2"/>
              <a:buChar char="§"/>
            </a:pPr>
            <a:r>
              <a:rPr lang="en-US" dirty="0"/>
              <a:t>Only positive enhancements to SCD4x portfolio</a:t>
            </a:r>
          </a:p>
          <a:p>
            <a:pPr marL="342900" indent="-342900">
              <a:buFont typeface="Wingdings" panose="05000000000000000000" pitchFamily="2" charset="2"/>
              <a:buChar char="§"/>
            </a:pPr>
            <a:r>
              <a:rPr lang="en-US" dirty="0"/>
              <a:t>Specification improvements to SCD41 lead to obsolesce of SCD42</a:t>
            </a:r>
          </a:p>
          <a:p>
            <a:pPr marL="342900" indent="-342900">
              <a:buFont typeface="Wingdings" panose="05000000000000000000" pitchFamily="2" charset="2"/>
              <a:buChar char="§"/>
            </a:pPr>
            <a:r>
              <a:rPr lang="en-US" dirty="0"/>
              <a:t>Inventory advice: </a:t>
            </a:r>
          </a:p>
          <a:p>
            <a:pPr marL="558900" lvl="1" indent="-342900"/>
            <a:r>
              <a:rPr lang="en-US" dirty="0"/>
              <a:t>Run out stock on current SCD41, SCD42 and SEK-SCD41</a:t>
            </a:r>
          </a:p>
          <a:p>
            <a:pPr marL="558900" lvl="1" indent="-342900"/>
            <a:r>
              <a:rPr lang="en-US" dirty="0"/>
              <a:t>Current stock does not need to be scrapped</a:t>
            </a:r>
          </a:p>
          <a:p>
            <a:pPr marL="558900" lvl="1" indent="-342900"/>
            <a:r>
              <a:rPr lang="en-US" dirty="0"/>
              <a:t>Any open SCD42 PO’s outside frozen window can be adapted to SCD41 </a:t>
            </a:r>
          </a:p>
          <a:p>
            <a:pPr marL="558900" lvl="1" indent="-342900"/>
            <a:r>
              <a:rPr lang="en-US" dirty="0"/>
              <a:t>No material number change: announcement of first new SCD41 shipments possible</a:t>
            </a:r>
          </a:p>
        </p:txBody>
      </p:sp>
      <p:sp>
        <p:nvSpPr>
          <p:cNvPr id="5" name="Slide Number Placeholder 4">
            <a:extLst>
              <a:ext uri="{FF2B5EF4-FFF2-40B4-BE49-F238E27FC236}">
                <a16:creationId xmlns:a16="http://schemas.microsoft.com/office/drawing/2014/main" id="{7307E19C-4D23-B96C-A874-63599D7A6E32}"/>
              </a:ext>
            </a:extLst>
          </p:cNvPr>
          <p:cNvSpPr>
            <a:spLocks noGrp="1"/>
          </p:cNvSpPr>
          <p:nvPr>
            <p:ph type="sldNum" sz="quarter" idx="10"/>
          </p:nvPr>
        </p:nvSpPr>
        <p:spPr>
          <a:xfrm>
            <a:off x="11599863" y="6623293"/>
            <a:ext cx="466725" cy="234000"/>
          </a:xfrm>
          <a:prstGeom prst="rect">
            <a:avLst/>
          </a:prstGeom>
        </p:spPr>
        <p:txBody>
          <a:bodyPr vert="horz" lIns="0" tIns="0" rIns="0" bIns="0" rtlCol="0" anchor="t" anchorCtr="0"/>
          <a:lstStyle>
            <a:defPPr>
              <a:defRPr lang="de-DE"/>
            </a:defPPr>
            <a:lvl1pPr algn="r" rtl="0" fontAlgn="base">
              <a:spcBef>
                <a:spcPct val="0"/>
              </a:spcBef>
              <a:spcAft>
                <a:spcPct val="0"/>
              </a:spcAft>
              <a:defRPr sz="11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fld id="{B82950B1-C7CF-425D-9A48-9AE722F4F236}" type="slidenum">
              <a:rPr lang="de-CH" smtClean="0"/>
              <a:pPr/>
              <a:t>71</a:t>
            </a:fld>
            <a:endParaRPr lang="de-CH" dirty="0"/>
          </a:p>
        </p:txBody>
      </p:sp>
    </p:spTree>
    <p:extLst>
      <p:ext uri="{BB962C8B-B14F-4D97-AF65-F5344CB8AC3E}">
        <p14:creationId xmlns:p14="http://schemas.microsoft.com/office/powerpoint/2010/main" val="39137290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CF44BB-B529-824B-A238-43810E7BE854}"/>
              </a:ext>
            </a:extLst>
          </p:cNvPr>
          <p:cNvSpPr/>
          <p:nvPr/>
        </p:nvSpPr>
        <p:spPr>
          <a:xfrm>
            <a:off x="4278266" y="2937485"/>
            <a:ext cx="2772531" cy="1097280"/>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cxnSp>
        <p:nvCxnSpPr>
          <p:cNvPr id="34" name="Straight Connector 33">
            <a:extLst>
              <a:ext uri="{FF2B5EF4-FFF2-40B4-BE49-F238E27FC236}">
                <a16:creationId xmlns:a16="http://schemas.microsoft.com/office/drawing/2014/main" id="{8AAC7477-CBAF-D822-9149-84706DC6214B}"/>
              </a:ext>
            </a:extLst>
          </p:cNvPr>
          <p:cNvCxnSpPr>
            <a:cxnSpLocks/>
          </p:cNvCxnSpPr>
          <p:nvPr/>
        </p:nvCxnSpPr>
        <p:spPr>
          <a:xfrm flipH="1">
            <a:off x="6379372" y="2689361"/>
            <a:ext cx="7772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91B3D8-41F3-B621-A919-D08ADC82F8D2}"/>
              </a:ext>
            </a:extLst>
          </p:cNvPr>
          <p:cNvCxnSpPr>
            <a:cxnSpLocks/>
          </p:cNvCxnSpPr>
          <p:nvPr/>
        </p:nvCxnSpPr>
        <p:spPr>
          <a:xfrm flipH="1">
            <a:off x="7148657" y="3776920"/>
            <a:ext cx="393581" cy="0"/>
          </a:xfrm>
          <a:prstGeom prst="line">
            <a:avLst/>
          </a:prstGeom>
          <a:ln w="19050">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1851BC19-6D78-5396-8083-06013CD01E86}"/>
              </a:ext>
            </a:extLst>
          </p:cNvPr>
          <p:cNvSpPr>
            <a:spLocks noGrp="1"/>
          </p:cNvSpPr>
          <p:nvPr>
            <p:ph type="title"/>
          </p:nvPr>
        </p:nvSpPr>
        <p:spPr/>
        <p:txBody>
          <a:bodyPr/>
          <a:lstStyle/>
          <a:p>
            <a:r>
              <a:rPr lang="en-US" dirty="0"/>
              <a:t>SCD4x CO</a:t>
            </a:r>
            <a:r>
              <a:rPr lang="en-US" baseline="-25000" dirty="0"/>
              <a:t>2</a:t>
            </a:r>
            <a:r>
              <a:rPr lang="en-US" dirty="0"/>
              <a:t> Sensor Strategy</a:t>
            </a:r>
          </a:p>
        </p:txBody>
      </p:sp>
      <p:sp>
        <p:nvSpPr>
          <p:cNvPr id="4" name="Diamond 3">
            <a:extLst>
              <a:ext uri="{FF2B5EF4-FFF2-40B4-BE49-F238E27FC236}">
                <a16:creationId xmlns:a16="http://schemas.microsoft.com/office/drawing/2014/main" id="{A5238E1B-F0D9-2534-4F26-78E75CA75610}"/>
              </a:ext>
            </a:extLst>
          </p:cNvPr>
          <p:cNvSpPr/>
          <p:nvPr/>
        </p:nvSpPr>
        <p:spPr>
          <a:xfrm>
            <a:off x="900649" y="1748205"/>
            <a:ext cx="2880000" cy="864000"/>
          </a:xfrm>
          <a:prstGeom prst="diamond">
            <a:avLst/>
          </a:prstGeom>
          <a:solidFill>
            <a:schemeClr val="bg1"/>
          </a:solidFill>
          <a:ln w="28575">
            <a:solidFill>
              <a:schemeClr val="accent1"/>
            </a:solidFill>
          </a:ln>
          <a:effectLst>
            <a:outerShdw blurRad="190500" dir="2700000" algn="ctr" rotWithShape="0">
              <a:schemeClr val="accent1">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UART or  PWM?</a:t>
            </a:r>
          </a:p>
        </p:txBody>
      </p:sp>
      <p:sp>
        <p:nvSpPr>
          <p:cNvPr id="5" name="Diamond 4">
            <a:extLst>
              <a:ext uri="{FF2B5EF4-FFF2-40B4-BE49-F238E27FC236}">
                <a16:creationId xmlns:a16="http://schemas.microsoft.com/office/drawing/2014/main" id="{3FFFBF45-A06E-73A4-8CBC-74FE144B283E}"/>
              </a:ext>
            </a:extLst>
          </p:cNvPr>
          <p:cNvSpPr/>
          <p:nvPr/>
        </p:nvSpPr>
        <p:spPr>
          <a:xfrm>
            <a:off x="900649" y="4907962"/>
            <a:ext cx="2880000" cy="864000"/>
          </a:xfrm>
          <a:prstGeom prst="diamond">
            <a:avLst/>
          </a:prstGeom>
          <a:solidFill>
            <a:schemeClr val="bg1"/>
          </a:solidFill>
          <a:ln w="28575">
            <a:solidFill>
              <a:schemeClr val="accent1"/>
            </a:solidFill>
          </a:ln>
          <a:effectLst>
            <a:outerShdw blurRad="190500" dir="2700000" algn="ctr" rotWithShape="0">
              <a:schemeClr val="accent1">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Extended Spec. Range?</a:t>
            </a:r>
          </a:p>
        </p:txBody>
      </p:sp>
      <p:sp>
        <p:nvSpPr>
          <p:cNvPr id="6" name="Diamond 5">
            <a:extLst>
              <a:ext uri="{FF2B5EF4-FFF2-40B4-BE49-F238E27FC236}">
                <a16:creationId xmlns:a16="http://schemas.microsoft.com/office/drawing/2014/main" id="{C7C3E7E3-5681-C70D-59AA-C9A4171B7AB0}"/>
              </a:ext>
            </a:extLst>
          </p:cNvPr>
          <p:cNvSpPr/>
          <p:nvPr/>
        </p:nvSpPr>
        <p:spPr>
          <a:xfrm>
            <a:off x="900649" y="3854709"/>
            <a:ext cx="2880000" cy="864000"/>
          </a:xfrm>
          <a:prstGeom prst="diamond">
            <a:avLst/>
          </a:prstGeom>
          <a:solidFill>
            <a:schemeClr val="bg1"/>
          </a:solidFill>
          <a:ln w="28575">
            <a:solidFill>
              <a:schemeClr val="accent1"/>
            </a:solidFill>
          </a:ln>
          <a:effectLst>
            <a:outerShdw blurRad="190500" dir="2700000" algn="ctr" rotWithShape="0">
              <a:schemeClr val="accent1">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Low Power?</a:t>
            </a:r>
          </a:p>
        </p:txBody>
      </p:sp>
      <p:sp>
        <p:nvSpPr>
          <p:cNvPr id="7" name="Diamond 6">
            <a:extLst>
              <a:ext uri="{FF2B5EF4-FFF2-40B4-BE49-F238E27FC236}">
                <a16:creationId xmlns:a16="http://schemas.microsoft.com/office/drawing/2014/main" id="{0220EC97-03D3-A633-0A17-E7663902B894}"/>
              </a:ext>
            </a:extLst>
          </p:cNvPr>
          <p:cNvSpPr/>
          <p:nvPr/>
        </p:nvSpPr>
        <p:spPr>
          <a:xfrm>
            <a:off x="900649" y="2801457"/>
            <a:ext cx="2880000" cy="864000"/>
          </a:xfrm>
          <a:prstGeom prst="diamond">
            <a:avLst/>
          </a:prstGeom>
          <a:solidFill>
            <a:schemeClr val="bg1"/>
          </a:solidFill>
          <a:ln w="28575">
            <a:solidFill>
              <a:schemeClr val="accent1"/>
            </a:solidFill>
          </a:ln>
          <a:effectLst>
            <a:outerShdw blurRad="190500" dir="2700000" algn="ctr" rotWithShape="0">
              <a:schemeClr val="accent1">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Relevant Standard?</a:t>
            </a:r>
          </a:p>
        </p:txBody>
      </p:sp>
      <p:sp>
        <p:nvSpPr>
          <p:cNvPr id="8" name="Rectangle 7">
            <a:extLst>
              <a:ext uri="{FF2B5EF4-FFF2-40B4-BE49-F238E27FC236}">
                <a16:creationId xmlns:a16="http://schemas.microsoft.com/office/drawing/2014/main" id="{FAFA3701-6948-CEDB-DC87-2478E5517D2D}"/>
              </a:ext>
            </a:extLst>
          </p:cNvPr>
          <p:cNvSpPr/>
          <p:nvPr/>
        </p:nvSpPr>
        <p:spPr>
          <a:xfrm>
            <a:off x="900650" y="1129082"/>
            <a:ext cx="2880000" cy="505574"/>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ustomer Requirements </a:t>
            </a:r>
          </a:p>
        </p:txBody>
      </p:sp>
      <p:sp>
        <p:nvSpPr>
          <p:cNvPr id="9" name="Rectangle 8">
            <a:extLst>
              <a:ext uri="{FF2B5EF4-FFF2-40B4-BE49-F238E27FC236}">
                <a16:creationId xmlns:a16="http://schemas.microsoft.com/office/drawing/2014/main" id="{DEFEED1D-2601-4948-132B-2BE0AD8E55CE}"/>
              </a:ext>
            </a:extLst>
          </p:cNvPr>
          <p:cNvSpPr/>
          <p:nvPr/>
        </p:nvSpPr>
        <p:spPr>
          <a:xfrm>
            <a:off x="5015157" y="2498780"/>
            <a:ext cx="1368359" cy="36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BS EN 50543</a:t>
            </a:r>
          </a:p>
        </p:txBody>
      </p:sp>
      <p:sp>
        <p:nvSpPr>
          <p:cNvPr id="10" name="Rectangle 9">
            <a:extLst>
              <a:ext uri="{FF2B5EF4-FFF2-40B4-BE49-F238E27FC236}">
                <a16:creationId xmlns:a16="http://schemas.microsoft.com/office/drawing/2014/main" id="{C30093C9-2264-F2DD-8B96-84CB609D2132}"/>
              </a:ext>
            </a:extLst>
          </p:cNvPr>
          <p:cNvSpPr/>
          <p:nvPr/>
        </p:nvSpPr>
        <p:spPr>
          <a:xfrm>
            <a:off x="5140776" y="3596920"/>
            <a:ext cx="1118471" cy="36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RESET</a:t>
            </a:r>
          </a:p>
        </p:txBody>
      </p:sp>
      <p:sp>
        <p:nvSpPr>
          <p:cNvPr id="11" name="Rectangle 10">
            <a:extLst>
              <a:ext uri="{FF2B5EF4-FFF2-40B4-BE49-F238E27FC236}">
                <a16:creationId xmlns:a16="http://schemas.microsoft.com/office/drawing/2014/main" id="{00881BD6-FC3D-C688-5F15-D3DA302FF6CE}"/>
              </a:ext>
            </a:extLst>
          </p:cNvPr>
          <p:cNvSpPr/>
          <p:nvPr/>
        </p:nvSpPr>
        <p:spPr>
          <a:xfrm>
            <a:off x="4347609" y="3049756"/>
            <a:ext cx="1368360" cy="36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CA Title 24</a:t>
            </a:r>
          </a:p>
        </p:txBody>
      </p:sp>
      <p:sp>
        <p:nvSpPr>
          <p:cNvPr id="12" name="Rectangle 11">
            <a:extLst>
              <a:ext uri="{FF2B5EF4-FFF2-40B4-BE49-F238E27FC236}">
                <a16:creationId xmlns:a16="http://schemas.microsoft.com/office/drawing/2014/main" id="{32765195-9A15-4A2B-19E3-567D36628C0A}"/>
              </a:ext>
            </a:extLst>
          </p:cNvPr>
          <p:cNvSpPr/>
          <p:nvPr/>
        </p:nvSpPr>
        <p:spPr>
          <a:xfrm>
            <a:off x="5821680" y="3049756"/>
            <a:ext cx="1118471" cy="36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WELL</a:t>
            </a:r>
          </a:p>
        </p:txBody>
      </p:sp>
      <p:cxnSp>
        <p:nvCxnSpPr>
          <p:cNvPr id="14" name="Straight Arrow Connector 13">
            <a:extLst>
              <a:ext uri="{FF2B5EF4-FFF2-40B4-BE49-F238E27FC236}">
                <a16:creationId xmlns:a16="http://schemas.microsoft.com/office/drawing/2014/main" id="{73A98F2F-A3F9-1A28-F9B7-53DD801B5C39}"/>
              </a:ext>
            </a:extLst>
          </p:cNvPr>
          <p:cNvCxnSpPr>
            <a:cxnSpLocks/>
          </p:cNvCxnSpPr>
          <p:nvPr/>
        </p:nvCxnSpPr>
        <p:spPr>
          <a:xfrm>
            <a:off x="3811528" y="2181945"/>
            <a:ext cx="3734581"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53247259-0083-68C5-93C8-8C972ECD6AEA}"/>
              </a:ext>
            </a:extLst>
          </p:cNvPr>
          <p:cNvCxnSpPr>
            <a:cxnSpLocks/>
          </p:cNvCxnSpPr>
          <p:nvPr/>
        </p:nvCxnSpPr>
        <p:spPr>
          <a:xfrm>
            <a:off x="7050797" y="3537023"/>
            <a:ext cx="105722" cy="0"/>
          </a:xfrm>
          <a:prstGeom prst="straightConnector1">
            <a:avLst/>
          </a:prstGeom>
          <a:ln w="1905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E2B1847-3ED4-EE68-208A-BC3C8868CC64}"/>
              </a:ext>
            </a:extLst>
          </p:cNvPr>
          <p:cNvCxnSpPr>
            <a:cxnSpLocks/>
          </p:cNvCxnSpPr>
          <p:nvPr/>
        </p:nvCxnSpPr>
        <p:spPr>
          <a:xfrm>
            <a:off x="3773655" y="4286709"/>
            <a:ext cx="3383280" cy="0"/>
          </a:xfrm>
          <a:prstGeom prst="straightConnector1">
            <a:avLst/>
          </a:prstGeom>
          <a:ln w="1905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BE738C4-7309-B5EA-3D35-C72C13396BE3}"/>
              </a:ext>
            </a:extLst>
          </p:cNvPr>
          <p:cNvCxnSpPr>
            <a:cxnSpLocks/>
          </p:cNvCxnSpPr>
          <p:nvPr/>
        </p:nvCxnSpPr>
        <p:spPr>
          <a:xfrm>
            <a:off x="5203106" y="5425773"/>
            <a:ext cx="2311832"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66274CDA-6902-4E71-E18B-D6D947BB934B}"/>
              </a:ext>
            </a:extLst>
          </p:cNvPr>
          <p:cNvCxnSpPr>
            <a:cxnSpLocks/>
            <a:endCxn id="7" idx="0"/>
          </p:cNvCxnSpPr>
          <p:nvPr/>
        </p:nvCxnSpPr>
        <p:spPr>
          <a:xfrm>
            <a:off x="2334453" y="2612205"/>
            <a:ext cx="6196" cy="189252"/>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5BD644E-56E0-E0CD-0130-1BA397A308AA}"/>
              </a:ext>
            </a:extLst>
          </p:cNvPr>
          <p:cNvCxnSpPr>
            <a:cxnSpLocks/>
          </p:cNvCxnSpPr>
          <p:nvPr/>
        </p:nvCxnSpPr>
        <p:spPr>
          <a:xfrm>
            <a:off x="2343497" y="3665456"/>
            <a:ext cx="6196" cy="189252"/>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F0D6F13-9DBD-3852-A574-3612262B70BA}"/>
              </a:ext>
            </a:extLst>
          </p:cNvPr>
          <p:cNvCxnSpPr>
            <a:cxnSpLocks/>
          </p:cNvCxnSpPr>
          <p:nvPr/>
        </p:nvCxnSpPr>
        <p:spPr>
          <a:xfrm>
            <a:off x="2328257" y="4709243"/>
            <a:ext cx="6196" cy="189252"/>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4B54D2-1364-5B9A-B357-72D403F99578}"/>
              </a:ext>
            </a:extLst>
          </p:cNvPr>
          <p:cNvCxnSpPr>
            <a:cxnSpLocks/>
            <a:stCxn id="5" idx="2"/>
          </p:cNvCxnSpPr>
          <p:nvPr/>
        </p:nvCxnSpPr>
        <p:spPr>
          <a:xfrm>
            <a:off x="2340649" y="5771962"/>
            <a:ext cx="0" cy="22289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FDD8DCA-B9EC-0BC7-2017-A579CAA88A91}"/>
              </a:ext>
            </a:extLst>
          </p:cNvPr>
          <p:cNvCxnSpPr>
            <a:cxnSpLocks/>
          </p:cNvCxnSpPr>
          <p:nvPr/>
        </p:nvCxnSpPr>
        <p:spPr>
          <a:xfrm>
            <a:off x="4128772" y="2679960"/>
            <a:ext cx="0" cy="907776"/>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7FDB22B-B72B-4EC6-47C6-B8414A5922E4}"/>
              </a:ext>
            </a:extLst>
          </p:cNvPr>
          <p:cNvCxnSpPr>
            <a:cxnSpLocks/>
          </p:cNvCxnSpPr>
          <p:nvPr/>
        </p:nvCxnSpPr>
        <p:spPr>
          <a:xfrm>
            <a:off x="4128772" y="2687789"/>
            <a:ext cx="868680"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DB0529B-F43D-1D7D-4C18-06C55AD40D18}"/>
              </a:ext>
            </a:extLst>
          </p:cNvPr>
          <p:cNvCxnSpPr>
            <a:cxnSpLocks/>
            <a:stCxn id="7" idx="3"/>
            <a:endCxn id="41" idx="2"/>
          </p:cNvCxnSpPr>
          <p:nvPr/>
        </p:nvCxnSpPr>
        <p:spPr>
          <a:xfrm flipV="1">
            <a:off x="3780649" y="3227169"/>
            <a:ext cx="293317" cy="6288"/>
          </a:xfrm>
          <a:prstGeom prst="straightConnector1">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D38DD9C-E0C1-C36B-AD9A-4EB2F5F40606}"/>
              </a:ext>
            </a:extLst>
          </p:cNvPr>
          <p:cNvCxnSpPr>
            <a:cxnSpLocks/>
          </p:cNvCxnSpPr>
          <p:nvPr/>
        </p:nvCxnSpPr>
        <p:spPr>
          <a:xfrm>
            <a:off x="4121150" y="3577445"/>
            <a:ext cx="157116"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1CC79C9-939D-24B7-9591-47ECC777B55E}"/>
              </a:ext>
            </a:extLst>
          </p:cNvPr>
          <p:cNvSpPr txBox="1"/>
          <p:nvPr/>
        </p:nvSpPr>
        <p:spPr>
          <a:xfrm>
            <a:off x="2324570" y="2535473"/>
            <a:ext cx="364202" cy="307777"/>
          </a:xfrm>
          <a:prstGeom prst="rect">
            <a:avLst/>
          </a:prstGeom>
          <a:noFill/>
        </p:spPr>
        <p:txBody>
          <a:bodyPr wrap="none" rtlCol="0">
            <a:spAutoFit/>
          </a:bodyPr>
          <a:lstStyle/>
          <a:p>
            <a:r>
              <a:rPr lang="en-US" sz="1400" b="1" dirty="0"/>
              <a:t>no</a:t>
            </a:r>
          </a:p>
        </p:txBody>
      </p:sp>
      <p:sp>
        <p:nvSpPr>
          <p:cNvPr id="27" name="TextBox 26">
            <a:extLst>
              <a:ext uri="{FF2B5EF4-FFF2-40B4-BE49-F238E27FC236}">
                <a16:creationId xmlns:a16="http://schemas.microsoft.com/office/drawing/2014/main" id="{AB04BB6C-D4E4-9418-4466-7FD1DB093660}"/>
              </a:ext>
            </a:extLst>
          </p:cNvPr>
          <p:cNvSpPr txBox="1"/>
          <p:nvPr/>
        </p:nvSpPr>
        <p:spPr>
          <a:xfrm>
            <a:off x="2351310" y="4647320"/>
            <a:ext cx="364202" cy="307777"/>
          </a:xfrm>
          <a:prstGeom prst="rect">
            <a:avLst/>
          </a:prstGeom>
          <a:noFill/>
        </p:spPr>
        <p:txBody>
          <a:bodyPr wrap="none" rtlCol="0">
            <a:spAutoFit/>
          </a:bodyPr>
          <a:lstStyle/>
          <a:p>
            <a:r>
              <a:rPr lang="en-US" sz="1400" b="1" dirty="0"/>
              <a:t>no</a:t>
            </a:r>
          </a:p>
        </p:txBody>
      </p:sp>
      <p:sp>
        <p:nvSpPr>
          <p:cNvPr id="28" name="TextBox 27">
            <a:extLst>
              <a:ext uri="{FF2B5EF4-FFF2-40B4-BE49-F238E27FC236}">
                <a16:creationId xmlns:a16="http://schemas.microsoft.com/office/drawing/2014/main" id="{DA139D56-AEB2-D79A-633C-A5CFE5F8764A}"/>
              </a:ext>
            </a:extLst>
          </p:cNvPr>
          <p:cNvSpPr txBox="1"/>
          <p:nvPr/>
        </p:nvSpPr>
        <p:spPr>
          <a:xfrm>
            <a:off x="2346595" y="3590500"/>
            <a:ext cx="364202" cy="307777"/>
          </a:xfrm>
          <a:prstGeom prst="rect">
            <a:avLst/>
          </a:prstGeom>
          <a:noFill/>
        </p:spPr>
        <p:txBody>
          <a:bodyPr wrap="none" rtlCol="0">
            <a:spAutoFit/>
          </a:bodyPr>
          <a:lstStyle/>
          <a:p>
            <a:r>
              <a:rPr lang="en-US" sz="1400" b="1" dirty="0"/>
              <a:t>no</a:t>
            </a:r>
          </a:p>
        </p:txBody>
      </p:sp>
      <p:sp>
        <p:nvSpPr>
          <p:cNvPr id="29" name="TextBox 28">
            <a:extLst>
              <a:ext uri="{FF2B5EF4-FFF2-40B4-BE49-F238E27FC236}">
                <a16:creationId xmlns:a16="http://schemas.microsoft.com/office/drawing/2014/main" id="{4842B052-07C1-E89F-B06F-7001475223DB}"/>
              </a:ext>
            </a:extLst>
          </p:cNvPr>
          <p:cNvSpPr txBox="1"/>
          <p:nvPr/>
        </p:nvSpPr>
        <p:spPr>
          <a:xfrm>
            <a:off x="2324570" y="5701291"/>
            <a:ext cx="364202" cy="307777"/>
          </a:xfrm>
          <a:prstGeom prst="rect">
            <a:avLst/>
          </a:prstGeom>
          <a:noFill/>
        </p:spPr>
        <p:txBody>
          <a:bodyPr wrap="none" rtlCol="0">
            <a:spAutoFit/>
          </a:bodyPr>
          <a:lstStyle/>
          <a:p>
            <a:r>
              <a:rPr lang="en-US" sz="1400" b="1" dirty="0"/>
              <a:t>no</a:t>
            </a:r>
          </a:p>
        </p:txBody>
      </p:sp>
      <p:cxnSp>
        <p:nvCxnSpPr>
          <p:cNvPr id="31" name="Straight Connector 30">
            <a:extLst>
              <a:ext uri="{FF2B5EF4-FFF2-40B4-BE49-F238E27FC236}">
                <a16:creationId xmlns:a16="http://schemas.microsoft.com/office/drawing/2014/main" id="{35EED39D-59B6-7248-5357-F8002399D3D0}"/>
              </a:ext>
            </a:extLst>
          </p:cNvPr>
          <p:cNvCxnSpPr>
            <a:cxnSpLocks/>
          </p:cNvCxnSpPr>
          <p:nvPr/>
        </p:nvCxnSpPr>
        <p:spPr>
          <a:xfrm>
            <a:off x="7148657" y="2181945"/>
            <a:ext cx="0" cy="514682"/>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65C2BE1-F4F9-4B1D-35CA-5521992970DF}"/>
              </a:ext>
            </a:extLst>
          </p:cNvPr>
          <p:cNvCxnSpPr>
            <a:cxnSpLocks/>
          </p:cNvCxnSpPr>
          <p:nvPr/>
        </p:nvCxnSpPr>
        <p:spPr>
          <a:xfrm flipH="1">
            <a:off x="3780474" y="5339962"/>
            <a:ext cx="34829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02A060-1818-3979-3E8C-4FE1B7A6F130}"/>
              </a:ext>
            </a:extLst>
          </p:cNvPr>
          <p:cNvCxnSpPr>
            <a:cxnSpLocks/>
          </p:cNvCxnSpPr>
          <p:nvPr/>
        </p:nvCxnSpPr>
        <p:spPr>
          <a:xfrm>
            <a:off x="4131323" y="4286709"/>
            <a:ext cx="0" cy="1053253"/>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FA96310-6BB4-36A9-33EB-DB2CCE87FDB5}"/>
              </a:ext>
            </a:extLst>
          </p:cNvPr>
          <p:cNvCxnSpPr>
            <a:cxnSpLocks/>
          </p:cNvCxnSpPr>
          <p:nvPr/>
        </p:nvCxnSpPr>
        <p:spPr>
          <a:xfrm>
            <a:off x="2344774" y="1511099"/>
            <a:ext cx="0" cy="225213"/>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B19C357-4595-3502-5D33-6A2FF3241D8D}"/>
              </a:ext>
            </a:extLst>
          </p:cNvPr>
          <p:cNvSpPr txBox="1"/>
          <p:nvPr/>
        </p:nvSpPr>
        <p:spPr>
          <a:xfrm>
            <a:off x="3752473" y="1874975"/>
            <a:ext cx="429926" cy="307777"/>
          </a:xfrm>
          <a:prstGeom prst="rect">
            <a:avLst/>
          </a:prstGeom>
          <a:noFill/>
        </p:spPr>
        <p:txBody>
          <a:bodyPr wrap="none" rtlCol="0">
            <a:spAutoFit/>
          </a:bodyPr>
          <a:lstStyle/>
          <a:p>
            <a:r>
              <a:rPr lang="en-US" sz="1400" b="1" dirty="0"/>
              <a:t>yes</a:t>
            </a:r>
          </a:p>
        </p:txBody>
      </p:sp>
      <p:sp>
        <p:nvSpPr>
          <p:cNvPr id="38" name="TextBox 37">
            <a:extLst>
              <a:ext uri="{FF2B5EF4-FFF2-40B4-BE49-F238E27FC236}">
                <a16:creationId xmlns:a16="http://schemas.microsoft.com/office/drawing/2014/main" id="{70F544AE-7A4B-5FA6-05E1-0B7E37D7F971}"/>
              </a:ext>
            </a:extLst>
          </p:cNvPr>
          <p:cNvSpPr txBox="1"/>
          <p:nvPr/>
        </p:nvSpPr>
        <p:spPr>
          <a:xfrm>
            <a:off x="3752473" y="3976929"/>
            <a:ext cx="429926" cy="307777"/>
          </a:xfrm>
          <a:prstGeom prst="rect">
            <a:avLst/>
          </a:prstGeom>
          <a:noFill/>
        </p:spPr>
        <p:txBody>
          <a:bodyPr wrap="none" rtlCol="0">
            <a:spAutoFit/>
          </a:bodyPr>
          <a:lstStyle/>
          <a:p>
            <a:r>
              <a:rPr lang="en-US" sz="1400" b="1" dirty="0"/>
              <a:t>yes</a:t>
            </a:r>
          </a:p>
        </p:txBody>
      </p:sp>
      <p:sp>
        <p:nvSpPr>
          <p:cNvPr id="39" name="TextBox 38">
            <a:extLst>
              <a:ext uri="{FF2B5EF4-FFF2-40B4-BE49-F238E27FC236}">
                <a16:creationId xmlns:a16="http://schemas.microsoft.com/office/drawing/2014/main" id="{D15BCA8E-BB70-4203-D21E-E864F9E62AA1}"/>
              </a:ext>
            </a:extLst>
          </p:cNvPr>
          <p:cNvSpPr txBox="1"/>
          <p:nvPr/>
        </p:nvSpPr>
        <p:spPr>
          <a:xfrm>
            <a:off x="3743440" y="2939968"/>
            <a:ext cx="429926" cy="307777"/>
          </a:xfrm>
          <a:prstGeom prst="rect">
            <a:avLst/>
          </a:prstGeom>
          <a:noFill/>
        </p:spPr>
        <p:txBody>
          <a:bodyPr wrap="none" rtlCol="0">
            <a:spAutoFit/>
          </a:bodyPr>
          <a:lstStyle/>
          <a:p>
            <a:r>
              <a:rPr lang="en-US" sz="1400" b="1" dirty="0"/>
              <a:t>yes</a:t>
            </a:r>
          </a:p>
        </p:txBody>
      </p:sp>
      <p:sp>
        <p:nvSpPr>
          <p:cNvPr id="40" name="TextBox 39">
            <a:extLst>
              <a:ext uri="{FF2B5EF4-FFF2-40B4-BE49-F238E27FC236}">
                <a16:creationId xmlns:a16="http://schemas.microsoft.com/office/drawing/2014/main" id="{85DC0C80-B119-7AF7-C863-4FA765BA4386}"/>
              </a:ext>
            </a:extLst>
          </p:cNvPr>
          <p:cNvSpPr txBox="1"/>
          <p:nvPr/>
        </p:nvSpPr>
        <p:spPr>
          <a:xfrm>
            <a:off x="3743440" y="5039292"/>
            <a:ext cx="429926" cy="307777"/>
          </a:xfrm>
          <a:prstGeom prst="rect">
            <a:avLst/>
          </a:prstGeom>
          <a:noFill/>
        </p:spPr>
        <p:txBody>
          <a:bodyPr wrap="none" rtlCol="0">
            <a:spAutoFit/>
          </a:bodyPr>
          <a:lstStyle/>
          <a:p>
            <a:r>
              <a:rPr lang="en-US" sz="1400" b="1" dirty="0"/>
              <a:t>yes</a:t>
            </a:r>
          </a:p>
        </p:txBody>
      </p:sp>
      <p:sp>
        <p:nvSpPr>
          <p:cNvPr id="41" name="Oval 40">
            <a:extLst>
              <a:ext uri="{FF2B5EF4-FFF2-40B4-BE49-F238E27FC236}">
                <a16:creationId xmlns:a16="http://schemas.microsoft.com/office/drawing/2014/main" id="{33143A48-4E07-5B76-6D3A-4DD6326C7C9E}"/>
              </a:ext>
            </a:extLst>
          </p:cNvPr>
          <p:cNvSpPr/>
          <p:nvPr/>
        </p:nvSpPr>
        <p:spPr>
          <a:xfrm>
            <a:off x="4073966" y="3174365"/>
            <a:ext cx="105608" cy="1056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 name="Group 41">
            <a:extLst>
              <a:ext uri="{FF2B5EF4-FFF2-40B4-BE49-F238E27FC236}">
                <a16:creationId xmlns:a16="http://schemas.microsoft.com/office/drawing/2014/main" id="{B13E258D-1F72-EAC2-2B15-9332E64CFE06}"/>
              </a:ext>
            </a:extLst>
          </p:cNvPr>
          <p:cNvGrpSpPr/>
          <p:nvPr/>
        </p:nvGrpSpPr>
        <p:grpSpPr>
          <a:xfrm>
            <a:off x="7553044" y="1675445"/>
            <a:ext cx="3860013" cy="974467"/>
            <a:chOff x="7553044" y="1675444"/>
            <a:chExt cx="3860013" cy="974467"/>
          </a:xfrm>
        </p:grpSpPr>
        <p:sp>
          <p:nvSpPr>
            <p:cNvPr id="43" name="Rectangle: Rounded Corners 49">
              <a:extLst>
                <a:ext uri="{FF2B5EF4-FFF2-40B4-BE49-F238E27FC236}">
                  <a16:creationId xmlns:a16="http://schemas.microsoft.com/office/drawing/2014/main" id="{5DF3F58A-7B9F-5EA1-CB0C-1B8904039212}"/>
                </a:ext>
              </a:extLst>
            </p:cNvPr>
            <p:cNvSpPr/>
            <p:nvPr/>
          </p:nvSpPr>
          <p:spPr>
            <a:xfrm>
              <a:off x="7553046" y="1675444"/>
              <a:ext cx="3860011" cy="97200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Picture 43">
              <a:extLst>
                <a:ext uri="{FF2B5EF4-FFF2-40B4-BE49-F238E27FC236}">
                  <a16:creationId xmlns:a16="http://schemas.microsoft.com/office/drawing/2014/main" id="{CA70186B-4984-EFF7-B974-2CEB801829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60713" y="1958008"/>
              <a:ext cx="801890" cy="691903"/>
            </a:xfrm>
            <a:prstGeom prst="rect">
              <a:avLst/>
            </a:prstGeom>
          </p:spPr>
        </p:pic>
        <p:sp>
          <p:nvSpPr>
            <p:cNvPr id="45" name="TextBox 44">
              <a:extLst>
                <a:ext uri="{FF2B5EF4-FFF2-40B4-BE49-F238E27FC236}">
                  <a16:creationId xmlns:a16="http://schemas.microsoft.com/office/drawing/2014/main" id="{A564D584-2CCC-2AFB-750F-E41422FF3C24}"/>
                </a:ext>
              </a:extLst>
            </p:cNvPr>
            <p:cNvSpPr txBox="1"/>
            <p:nvPr/>
          </p:nvSpPr>
          <p:spPr>
            <a:xfrm>
              <a:off x="7553044" y="1676334"/>
              <a:ext cx="3749306" cy="307777"/>
            </a:xfrm>
            <a:prstGeom prst="rect">
              <a:avLst/>
            </a:prstGeom>
            <a:noFill/>
          </p:spPr>
          <p:txBody>
            <a:bodyPr wrap="square" rtlCol="0">
              <a:spAutoFit/>
            </a:bodyPr>
            <a:lstStyle/>
            <a:p>
              <a:r>
                <a:rPr lang="en-US" sz="1400" b="1" dirty="0"/>
                <a:t>SCD30  -  </a:t>
              </a:r>
              <a:r>
                <a:rPr lang="en-US" sz="1400" b="0" i="0" dirty="0">
                  <a:solidFill>
                    <a:schemeClr val="tx1"/>
                  </a:solidFill>
                </a:rPr>
                <a:t>Highest accuracy, long-term stable variant</a:t>
              </a:r>
            </a:p>
          </p:txBody>
        </p:sp>
        <p:sp>
          <p:nvSpPr>
            <p:cNvPr id="46" name="TextBox 45">
              <a:extLst>
                <a:ext uri="{FF2B5EF4-FFF2-40B4-BE49-F238E27FC236}">
                  <a16:creationId xmlns:a16="http://schemas.microsoft.com/office/drawing/2014/main" id="{7D3D0B84-0D76-E363-2DE9-1DC7795EF4B5}"/>
                </a:ext>
              </a:extLst>
            </p:cNvPr>
            <p:cNvSpPr txBox="1"/>
            <p:nvPr/>
          </p:nvSpPr>
          <p:spPr>
            <a:xfrm>
              <a:off x="8308455" y="1940802"/>
              <a:ext cx="3001561" cy="615553"/>
            </a:xfrm>
            <a:prstGeom prst="rect">
              <a:avLst/>
            </a:prstGeom>
            <a:noFill/>
          </p:spPr>
          <p:txBody>
            <a:bodyPr wrap="square" rtlCol="0">
              <a:spAutoFit/>
            </a:bodyPr>
            <a:lstStyle/>
            <a:p>
              <a:r>
                <a:rPr lang="en-US" sz="1400" b="1" dirty="0"/>
                <a:t>Markets:  </a:t>
              </a:r>
              <a:r>
                <a:rPr lang="en-US" sz="1400" dirty="0"/>
                <a:t>HVAC, High-end monitors</a:t>
              </a:r>
            </a:p>
            <a:p>
              <a:endParaRPr lang="en-US" sz="600" b="1" dirty="0"/>
            </a:p>
            <a:p>
              <a:r>
                <a:rPr lang="en-US" sz="1400" b="1" dirty="0"/>
                <a:t>Regions:  </a:t>
              </a:r>
              <a:r>
                <a:rPr lang="en-US" sz="1400" dirty="0"/>
                <a:t>global</a:t>
              </a:r>
              <a:endParaRPr lang="en-US" sz="1400" b="1" dirty="0"/>
            </a:p>
          </p:txBody>
        </p:sp>
        <p:pic>
          <p:nvPicPr>
            <p:cNvPr id="47" name="Picture 46">
              <a:extLst>
                <a:ext uri="{FF2B5EF4-FFF2-40B4-BE49-F238E27FC236}">
                  <a16:creationId xmlns:a16="http://schemas.microsoft.com/office/drawing/2014/main" id="{209A057F-1ED8-8574-D11D-E25E49791758}"/>
                </a:ext>
              </a:extLst>
            </p:cNvPr>
            <p:cNvPicPr>
              <a:picLocks noChangeAspect="1"/>
            </p:cNvPicPr>
            <p:nvPr/>
          </p:nvPicPr>
          <p:blipFill>
            <a:blip r:embed="rId3"/>
            <a:stretch>
              <a:fillRect/>
            </a:stretch>
          </p:blipFill>
          <p:spPr>
            <a:xfrm>
              <a:off x="10752065" y="2360175"/>
              <a:ext cx="168989" cy="225554"/>
            </a:xfrm>
            <a:prstGeom prst="rect">
              <a:avLst/>
            </a:prstGeom>
          </p:spPr>
        </p:pic>
        <p:pic>
          <p:nvPicPr>
            <p:cNvPr id="48" name="Picture 47">
              <a:extLst>
                <a:ext uri="{FF2B5EF4-FFF2-40B4-BE49-F238E27FC236}">
                  <a16:creationId xmlns:a16="http://schemas.microsoft.com/office/drawing/2014/main" id="{9680F4F3-5E06-1E87-85DC-6DDDCF5BA3C4}"/>
                </a:ext>
              </a:extLst>
            </p:cNvPr>
            <p:cNvPicPr>
              <a:picLocks noChangeAspect="1"/>
            </p:cNvPicPr>
            <p:nvPr/>
          </p:nvPicPr>
          <p:blipFill>
            <a:blip r:embed="rId3"/>
            <a:stretch>
              <a:fillRect/>
            </a:stretch>
          </p:blipFill>
          <p:spPr>
            <a:xfrm>
              <a:off x="10967644" y="2360175"/>
              <a:ext cx="168989" cy="225554"/>
            </a:xfrm>
            <a:prstGeom prst="rect">
              <a:avLst/>
            </a:prstGeom>
          </p:spPr>
        </p:pic>
        <p:pic>
          <p:nvPicPr>
            <p:cNvPr id="49" name="Picture 48">
              <a:extLst>
                <a:ext uri="{FF2B5EF4-FFF2-40B4-BE49-F238E27FC236}">
                  <a16:creationId xmlns:a16="http://schemas.microsoft.com/office/drawing/2014/main" id="{D565A0AD-0DAE-A389-458A-266872064AB0}"/>
                </a:ext>
              </a:extLst>
            </p:cNvPr>
            <p:cNvPicPr>
              <a:picLocks noChangeAspect="1"/>
            </p:cNvPicPr>
            <p:nvPr/>
          </p:nvPicPr>
          <p:blipFill>
            <a:blip r:embed="rId3"/>
            <a:stretch>
              <a:fillRect/>
            </a:stretch>
          </p:blipFill>
          <p:spPr>
            <a:xfrm>
              <a:off x="11180924" y="2357576"/>
              <a:ext cx="168989" cy="225554"/>
            </a:xfrm>
            <a:prstGeom prst="rect">
              <a:avLst/>
            </a:prstGeom>
          </p:spPr>
        </p:pic>
      </p:grpSp>
      <p:grpSp>
        <p:nvGrpSpPr>
          <p:cNvPr id="50" name="Group 49">
            <a:extLst>
              <a:ext uri="{FF2B5EF4-FFF2-40B4-BE49-F238E27FC236}">
                <a16:creationId xmlns:a16="http://schemas.microsoft.com/office/drawing/2014/main" id="{C9544988-77DC-F709-ADE5-BCC84438F2A6}"/>
              </a:ext>
            </a:extLst>
          </p:cNvPr>
          <p:cNvGrpSpPr/>
          <p:nvPr/>
        </p:nvGrpSpPr>
        <p:grpSpPr>
          <a:xfrm>
            <a:off x="7514938" y="3312937"/>
            <a:ext cx="3898118" cy="972000"/>
            <a:chOff x="7514938" y="2893971"/>
            <a:chExt cx="3898118" cy="972000"/>
          </a:xfrm>
        </p:grpSpPr>
        <p:sp>
          <p:nvSpPr>
            <p:cNvPr id="51" name="Rectangle: Rounded Corners 49">
              <a:extLst>
                <a:ext uri="{FF2B5EF4-FFF2-40B4-BE49-F238E27FC236}">
                  <a16:creationId xmlns:a16="http://schemas.microsoft.com/office/drawing/2014/main" id="{04731C1A-9E24-EFD8-4236-7E4F17057277}"/>
                </a:ext>
              </a:extLst>
            </p:cNvPr>
            <p:cNvSpPr/>
            <p:nvPr/>
          </p:nvSpPr>
          <p:spPr>
            <a:xfrm>
              <a:off x="7553045" y="2893971"/>
              <a:ext cx="3860011" cy="97200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2" name="Picture 51" descr="A picture containing dishware, tableware&#10;&#10;Description automatically generated">
              <a:extLst>
                <a:ext uri="{FF2B5EF4-FFF2-40B4-BE49-F238E27FC236}">
                  <a16:creationId xmlns:a16="http://schemas.microsoft.com/office/drawing/2014/main" id="{99468547-4CC5-9489-F87D-24B567ABE71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4938" y="3204047"/>
              <a:ext cx="751956" cy="558252"/>
            </a:xfrm>
            <a:prstGeom prst="rect">
              <a:avLst/>
            </a:prstGeom>
          </p:spPr>
        </p:pic>
        <p:sp>
          <p:nvSpPr>
            <p:cNvPr id="53" name="TextBox 52">
              <a:extLst>
                <a:ext uri="{FF2B5EF4-FFF2-40B4-BE49-F238E27FC236}">
                  <a16:creationId xmlns:a16="http://schemas.microsoft.com/office/drawing/2014/main" id="{E68D4A32-6E43-69B5-6F53-03E7D04535F2}"/>
                </a:ext>
              </a:extLst>
            </p:cNvPr>
            <p:cNvSpPr txBox="1"/>
            <p:nvPr/>
          </p:nvSpPr>
          <p:spPr>
            <a:xfrm>
              <a:off x="7542238" y="2903080"/>
              <a:ext cx="3749306" cy="523220"/>
            </a:xfrm>
            <a:prstGeom prst="rect">
              <a:avLst/>
            </a:prstGeom>
            <a:noFill/>
          </p:spPr>
          <p:txBody>
            <a:bodyPr wrap="square" rtlCol="0">
              <a:spAutoFit/>
            </a:bodyPr>
            <a:lstStyle/>
            <a:p>
              <a:r>
                <a:rPr lang="en-US" sz="1400" b="1" dirty="0"/>
                <a:t>SCD41  -  </a:t>
              </a:r>
              <a:r>
                <a:rPr lang="en-US" sz="1400" dirty="0"/>
                <a:t>Low power, air quality standard variant</a:t>
              </a:r>
            </a:p>
            <a:p>
              <a:endParaRPr lang="en-US" sz="1400" b="0" i="0" dirty="0">
                <a:solidFill>
                  <a:schemeClr val="tx1"/>
                </a:solidFill>
              </a:endParaRPr>
            </a:p>
          </p:txBody>
        </p:sp>
        <p:sp>
          <p:nvSpPr>
            <p:cNvPr id="54" name="TextBox 53">
              <a:extLst>
                <a:ext uri="{FF2B5EF4-FFF2-40B4-BE49-F238E27FC236}">
                  <a16:creationId xmlns:a16="http://schemas.microsoft.com/office/drawing/2014/main" id="{D921B698-9EE7-E8C7-6573-4478386B45BA}"/>
                </a:ext>
              </a:extLst>
            </p:cNvPr>
            <p:cNvSpPr txBox="1"/>
            <p:nvPr/>
          </p:nvSpPr>
          <p:spPr>
            <a:xfrm>
              <a:off x="8308456" y="3168770"/>
              <a:ext cx="3001560" cy="523220"/>
            </a:xfrm>
            <a:prstGeom prst="rect">
              <a:avLst/>
            </a:prstGeom>
            <a:noFill/>
          </p:spPr>
          <p:txBody>
            <a:bodyPr wrap="square" rtlCol="0">
              <a:spAutoFit/>
            </a:bodyPr>
            <a:lstStyle/>
            <a:p>
              <a:r>
                <a:rPr lang="en-US" sz="1400" b="1" dirty="0"/>
                <a:t>Markets: </a:t>
              </a:r>
              <a:r>
                <a:rPr lang="en-US" sz="1400" dirty="0"/>
                <a:t>HVAC</a:t>
              </a:r>
              <a:r>
                <a:rPr lang="en-US" sz="1400"/>
                <a:t>, IAQ-Monitors</a:t>
              </a:r>
              <a:endParaRPr lang="en-US" sz="600" b="1" dirty="0"/>
            </a:p>
            <a:p>
              <a:r>
                <a:rPr lang="en-US" sz="1400" b="1" dirty="0"/>
                <a:t>Regions:</a:t>
              </a:r>
            </a:p>
          </p:txBody>
        </p:sp>
        <p:pic>
          <p:nvPicPr>
            <p:cNvPr id="55" name="Picture 2" descr="Amazon.com : Fyon United States Flag US Flag 49 Stars 1959 Banner ...">
              <a:extLst>
                <a:ext uri="{FF2B5EF4-FFF2-40B4-BE49-F238E27FC236}">
                  <a16:creationId xmlns:a16="http://schemas.microsoft.com/office/drawing/2014/main" id="{CCE923DC-B679-35F0-BFA3-523119A84BA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20514" y="3496593"/>
              <a:ext cx="455703" cy="2952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2DE0948A-AEF4-31B2-AC13-B6A4C7B55551}"/>
                </a:ext>
              </a:extLst>
            </p:cNvPr>
            <p:cNvPicPr>
              <a:picLocks noChangeAspect="1"/>
            </p:cNvPicPr>
            <p:nvPr/>
          </p:nvPicPr>
          <p:blipFill>
            <a:blip r:embed="rId3"/>
            <a:stretch>
              <a:fillRect/>
            </a:stretch>
          </p:blipFill>
          <p:spPr>
            <a:xfrm>
              <a:off x="10964111" y="3576444"/>
              <a:ext cx="168989" cy="225554"/>
            </a:xfrm>
            <a:prstGeom prst="rect">
              <a:avLst/>
            </a:prstGeom>
          </p:spPr>
        </p:pic>
        <p:pic>
          <p:nvPicPr>
            <p:cNvPr id="57" name="Picture 56">
              <a:extLst>
                <a:ext uri="{FF2B5EF4-FFF2-40B4-BE49-F238E27FC236}">
                  <a16:creationId xmlns:a16="http://schemas.microsoft.com/office/drawing/2014/main" id="{2825A3DE-B296-7ACE-48C2-642A0AAB0C43}"/>
                </a:ext>
              </a:extLst>
            </p:cNvPr>
            <p:cNvPicPr>
              <a:picLocks noChangeAspect="1"/>
            </p:cNvPicPr>
            <p:nvPr/>
          </p:nvPicPr>
          <p:blipFill>
            <a:blip r:embed="rId3"/>
            <a:stretch>
              <a:fillRect/>
            </a:stretch>
          </p:blipFill>
          <p:spPr>
            <a:xfrm>
              <a:off x="11177391" y="3573845"/>
              <a:ext cx="168989" cy="225554"/>
            </a:xfrm>
            <a:prstGeom prst="rect">
              <a:avLst/>
            </a:prstGeom>
          </p:spPr>
        </p:pic>
      </p:grpSp>
      <p:grpSp>
        <p:nvGrpSpPr>
          <p:cNvPr id="66" name="Group 65">
            <a:extLst>
              <a:ext uri="{FF2B5EF4-FFF2-40B4-BE49-F238E27FC236}">
                <a16:creationId xmlns:a16="http://schemas.microsoft.com/office/drawing/2014/main" id="{32E99FA0-C903-9B82-E92C-893A05FAC08A}"/>
              </a:ext>
            </a:extLst>
          </p:cNvPr>
          <p:cNvGrpSpPr/>
          <p:nvPr/>
        </p:nvGrpSpPr>
        <p:grpSpPr>
          <a:xfrm>
            <a:off x="7514938" y="4928472"/>
            <a:ext cx="3887313" cy="985313"/>
            <a:chOff x="7514938" y="5317713"/>
            <a:chExt cx="3887313" cy="985313"/>
          </a:xfrm>
        </p:grpSpPr>
        <p:sp>
          <p:nvSpPr>
            <p:cNvPr id="67" name="Rectangle: Rounded Corners 49">
              <a:extLst>
                <a:ext uri="{FF2B5EF4-FFF2-40B4-BE49-F238E27FC236}">
                  <a16:creationId xmlns:a16="http://schemas.microsoft.com/office/drawing/2014/main" id="{D29BBAE4-55A0-AD78-82C1-FB5C374F8FEA}"/>
                </a:ext>
              </a:extLst>
            </p:cNvPr>
            <p:cNvSpPr/>
            <p:nvPr/>
          </p:nvSpPr>
          <p:spPr>
            <a:xfrm>
              <a:off x="7542240" y="5331026"/>
              <a:ext cx="3860011" cy="97200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67DB8C55-213E-3C32-A037-C8D0C66F99F0}"/>
                </a:ext>
              </a:extLst>
            </p:cNvPr>
            <p:cNvSpPr txBox="1"/>
            <p:nvPr/>
          </p:nvSpPr>
          <p:spPr>
            <a:xfrm>
              <a:off x="7553044" y="5317713"/>
              <a:ext cx="3749306" cy="307777"/>
            </a:xfrm>
            <a:prstGeom prst="rect">
              <a:avLst/>
            </a:prstGeom>
            <a:noFill/>
          </p:spPr>
          <p:txBody>
            <a:bodyPr wrap="square" rtlCol="0">
              <a:spAutoFit/>
            </a:bodyPr>
            <a:lstStyle/>
            <a:p>
              <a:r>
                <a:rPr lang="en-US" sz="1400" b="1" dirty="0"/>
                <a:t>SCD40  -  </a:t>
              </a:r>
              <a:r>
                <a:rPr lang="en-US" sz="1400" b="0" i="0" dirty="0">
                  <a:solidFill>
                    <a:schemeClr val="tx1"/>
                  </a:solidFill>
                </a:rPr>
                <a:t>Product variant for cost sensitive markets</a:t>
              </a:r>
            </a:p>
          </p:txBody>
        </p:sp>
        <p:pic>
          <p:nvPicPr>
            <p:cNvPr id="69" name="Picture 68" descr="A picture containing dishware, tableware&#10;&#10;Description automatically generated">
              <a:extLst>
                <a:ext uri="{FF2B5EF4-FFF2-40B4-BE49-F238E27FC236}">
                  <a16:creationId xmlns:a16="http://schemas.microsoft.com/office/drawing/2014/main" id="{DD5213BE-641C-4C9B-766F-7B5A42511D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4938" y="5626117"/>
              <a:ext cx="751956" cy="558252"/>
            </a:xfrm>
            <a:prstGeom prst="rect">
              <a:avLst/>
            </a:prstGeom>
          </p:spPr>
        </p:pic>
        <p:sp>
          <p:nvSpPr>
            <p:cNvPr id="70" name="TextBox 69">
              <a:extLst>
                <a:ext uri="{FF2B5EF4-FFF2-40B4-BE49-F238E27FC236}">
                  <a16:creationId xmlns:a16="http://schemas.microsoft.com/office/drawing/2014/main" id="{503EC8E8-D121-1B5F-3637-957793AB950F}"/>
                </a:ext>
              </a:extLst>
            </p:cNvPr>
            <p:cNvSpPr txBox="1"/>
            <p:nvPr/>
          </p:nvSpPr>
          <p:spPr>
            <a:xfrm>
              <a:off x="8308456" y="5565236"/>
              <a:ext cx="2843528" cy="615553"/>
            </a:xfrm>
            <a:prstGeom prst="rect">
              <a:avLst/>
            </a:prstGeom>
            <a:noFill/>
          </p:spPr>
          <p:txBody>
            <a:bodyPr wrap="square" rtlCol="0">
              <a:spAutoFit/>
            </a:bodyPr>
            <a:lstStyle/>
            <a:p>
              <a:r>
                <a:rPr lang="en-US" sz="1400" b="1" dirty="0"/>
                <a:t>Markets: </a:t>
              </a:r>
              <a:r>
                <a:rPr lang="en-US" sz="1400" dirty="0"/>
                <a:t>Consumer, Appliances</a:t>
              </a:r>
            </a:p>
            <a:p>
              <a:endParaRPr lang="en-US" sz="600" b="1" dirty="0"/>
            </a:p>
            <a:p>
              <a:r>
                <a:rPr lang="en-US" sz="1400" b="1" dirty="0"/>
                <a:t>Regions: </a:t>
              </a:r>
              <a:r>
                <a:rPr lang="en-US" sz="1400" dirty="0"/>
                <a:t>global</a:t>
              </a:r>
              <a:endParaRPr lang="en-US" sz="1400" b="1" dirty="0"/>
            </a:p>
          </p:txBody>
        </p:sp>
        <p:pic>
          <p:nvPicPr>
            <p:cNvPr id="71" name="Picture 70">
              <a:extLst>
                <a:ext uri="{FF2B5EF4-FFF2-40B4-BE49-F238E27FC236}">
                  <a16:creationId xmlns:a16="http://schemas.microsoft.com/office/drawing/2014/main" id="{71E1B837-A63D-7F5E-A542-188B3BCAA926}"/>
                </a:ext>
              </a:extLst>
            </p:cNvPr>
            <p:cNvPicPr>
              <a:picLocks noChangeAspect="1"/>
            </p:cNvPicPr>
            <p:nvPr/>
          </p:nvPicPr>
          <p:blipFill>
            <a:blip r:embed="rId3"/>
            <a:stretch>
              <a:fillRect/>
            </a:stretch>
          </p:blipFill>
          <p:spPr>
            <a:xfrm>
              <a:off x="11172015" y="6023185"/>
              <a:ext cx="168989" cy="225554"/>
            </a:xfrm>
            <a:prstGeom prst="rect">
              <a:avLst/>
            </a:prstGeom>
          </p:spPr>
        </p:pic>
      </p:grpSp>
      <p:pic>
        <p:nvPicPr>
          <p:cNvPr id="72" name="Picture 6" descr="FlagSuperstore European Union EU Flag - 5 x 3 FT - New 100 ...">
            <a:extLst>
              <a:ext uri="{FF2B5EF4-FFF2-40B4-BE49-F238E27FC236}">
                <a16:creationId xmlns:a16="http://schemas.microsoft.com/office/drawing/2014/main" id="{DE66A7EF-EBC7-7BA7-BA0F-DDAAC03057D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02327" y="3902621"/>
            <a:ext cx="540000" cy="324000"/>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Straight Connector 77">
            <a:extLst>
              <a:ext uri="{FF2B5EF4-FFF2-40B4-BE49-F238E27FC236}">
                <a16:creationId xmlns:a16="http://schemas.microsoft.com/office/drawing/2014/main" id="{BB8137EA-161C-37FB-C2C9-F5CF61909F75}"/>
              </a:ext>
            </a:extLst>
          </p:cNvPr>
          <p:cNvCxnSpPr>
            <a:cxnSpLocks/>
          </p:cNvCxnSpPr>
          <p:nvPr/>
        </p:nvCxnSpPr>
        <p:spPr>
          <a:xfrm>
            <a:off x="7148657" y="3537023"/>
            <a:ext cx="0" cy="24793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D1AA3FF-C0A9-CF1E-08FC-C628861E06FD}"/>
              </a:ext>
            </a:extLst>
          </p:cNvPr>
          <p:cNvCxnSpPr>
            <a:cxnSpLocks/>
          </p:cNvCxnSpPr>
          <p:nvPr/>
        </p:nvCxnSpPr>
        <p:spPr>
          <a:xfrm>
            <a:off x="7148657" y="3763583"/>
            <a:ext cx="0" cy="521123"/>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96FCB542-618C-74DD-DD07-46A9C02E6691}"/>
              </a:ext>
            </a:extLst>
          </p:cNvPr>
          <p:cNvCxnSpPr/>
          <p:nvPr/>
        </p:nvCxnSpPr>
        <p:spPr>
          <a:xfrm flipV="1">
            <a:off x="2331355" y="5425773"/>
            <a:ext cx="2871751" cy="569079"/>
          </a:xfrm>
          <a:prstGeom prst="bentConnector3">
            <a:avLst>
              <a:gd name="adj1" fmla="val 86977"/>
            </a:avLst>
          </a:prstGeom>
          <a:ln w="1905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808602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SCD40?</a:t>
            </a:r>
          </a:p>
        </p:txBody>
      </p:sp>
      <p:grpSp>
        <p:nvGrpSpPr>
          <p:cNvPr id="1048" name="Group 1047"/>
          <p:cNvGrpSpPr/>
          <p:nvPr/>
        </p:nvGrpSpPr>
        <p:grpSpPr>
          <a:xfrm>
            <a:off x="6217266" y="4170595"/>
            <a:ext cx="3090641" cy="2603337"/>
            <a:chOff x="6334286" y="4131932"/>
            <a:chExt cx="3090641" cy="2603337"/>
          </a:xfrm>
        </p:grpSpPr>
        <p:sp>
          <p:nvSpPr>
            <p:cNvPr id="60" name="Oval 59"/>
            <p:cNvSpPr/>
            <p:nvPr/>
          </p:nvSpPr>
          <p:spPr>
            <a:xfrm>
              <a:off x="7309538" y="4619880"/>
              <a:ext cx="2115389" cy="211538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ight Arrow 38"/>
            <p:cNvSpPr/>
            <p:nvPr/>
          </p:nvSpPr>
          <p:spPr>
            <a:xfrm rot="2291889">
              <a:off x="6334286" y="4131932"/>
              <a:ext cx="1011131" cy="1083524"/>
            </a:xfrm>
            <a:prstGeom prst="rightArrow">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364092">
              <a:off x="6458537" y="4406346"/>
              <a:ext cx="699163" cy="454456"/>
            </a:xfrm>
            <a:prstGeom prst="rect">
              <a:avLst/>
            </a:prstGeom>
          </p:spPr>
        </p:pic>
        <p:pic>
          <p:nvPicPr>
            <p:cNvPr id="1040" name="Picture 14" descr="Image result for thermostat senseai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503" t="3568" r="21885" b="4491"/>
            <a:stretch/>
          </p:blipFill>
          <p:spPr bwMode="auto">
            <a:xfrm>
              <a:off x="7752206" y="5494507"/>
              <a:ext cx="615026" cy="878608"/>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6" descr="https://encrypted-tbn0.gstatic.com/images?q=tbn%3AANd9GcR63XDl_aXQI37lOi9xiSEiqcV3hm0sFOZdm7bsI6pafMSdyENNsBvgWLY_pF4m9dSDAh3W-Bg&amp;usqp=CAc"/>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0617" b="11203"/>
            <a:stretch/>
          </p:blipFill>
          <p:spPr bwMode="auto">
            <a:xfrm>
              <a:off x="8300396" y="5075591"/>
              <a:ext cx="736301" cy="5756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5" name="Group 1044"/>
          <p:cNvGrpSpPr/>
          <p:nvPr/>
        </p:nvGrpSpPr>
        <p:grpSpPr>
          <a:xfrm>
            <a:off x="426140" y="905301"/>
            <a:ext cx="1839412" cy="3439534"/>
            <a:chOff x="426140" y="905301"/>
            <a:chExt cx="1839412" cy="3439534"/>
          </a:xfrm>
        </p:grpSpPr>
        <p:sp>
          <p:nvSpPr>
            <p:cNvPr id="1036" name="Oval 1035"/>
            <p:cNvSpPr/>
            <p:nvPr/>
          </p:nvSpPr>
          <p:spPr>
            <a:xfrm>
              <a:off x="522211" y="2637616"/>
              <a:ext cx="1707219" cy="1707219"/>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6" descr="Image result for commercial building comic"/>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0393" y="3135970"/>
              <a:ext cx="1243899" cy="83549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6"/>
            <a:stretch>
              <a:fillRect/>
            </a:stretch>
          </p:blipFill>
          <p:spPr>
            <a:xfrm>
              <a:off x="1628443" y="3020072"/>
              <a:ext cx="465409" cy="356348"/>
            </a:xfrm>
            <a:prstGeom prst="rect">
              <a:avLst/>
            </a:prstGeom>
          </p:spPr>
        </p:pic>
        <p:pic>
          <p:nvPicPr>
            <p:cNvPr id="12" name="Picture 11"/>
            <p:cNvPicPr>
              <a:picLocks noChangeAspect="1"/>
            </p:cNvPicPr>
            <p:nvPr/>
          </p:nvPicPr>
          <p:blipFill>
            <a:blip r:embed="rId7"/>
            <a:stretch>
              <a:fillRect/>
            </a:stretch>
          </p:blipFill>
          <p:spPr>
            <a:xfrm>
              <a:off x="629216" y="3054281"/>
              <a:ext cx="342353" cy="356494"/>
            </a:xfrm>
            <a:prstGeom prst="rect">
              <a:avLst/>
            </a:prstGeom>
          </p:spPr>
        </p:pic>
        <p:pic>
          <p:nvPicPr>
            <p:cNvPr id="1032" name="Picture 8" descr="Image result for wegweise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l="21718" t="6121" r="24597" b="70693"/>
            <a:stretch/>
          </p:blipFill>
          <p:spPr bwMode="auto">
            <a:xfrm>
              <a:off x="426140" y="905301"/>
              <a:ext cx="1839412" cy="849423"/>
            </a:xfrm>
            <a:prstGeom prst="rect">
              <a:avLst/>
            </a:prstGeom>
            <a:noFill/>
            <a:extLst>
              <a:ext uri="{909E8E84-426E-40DD-AFC4-6F175D3DCCD1}">
                <a14:hiddenFill xmlns:a14="http://schemas.microsoft.com/office/drawing/2010/main">
                  <a:solidFill>
                    <a:srgbClr val="FFFFFF"/>
                  </a:solidFill>
                </a14:hiddenFill>
              </a:ext>
            </a:extLst>
          </p:spPr>
        </p:pic>
        <p:sp>
          <p:nvSpPr>
            <p:cNvPr id="1043" name="TextBox 1042"/>
            <p:cNvSpPr txBox="1"/>
            <p:nvPr/>
          </p:nvSpPr>
          <p:spPr>
            <a:xfrm>
              <a:off x="695647" y="1187695"/>
              <a:ext cx="1167307" cy="400110"/>
            </a:xfrm>
            <a:prstGeom prst="rect">
              <a:avLst/>
            </a:prstGeom>
            <a:noFill/>
          </p:spPr>
          <p:txBody>
            <a:bodyPr wrap="none" rtlCol="0">
              <a:spAutoFit/>
            </a:bodyPr>
            <a:lstStyle/>
            <a:p>
              <a:r>
                <a:rPr lang="en-US" b="1" dirty="0"/>
                <a:t>yesterday</a:t>
              </a:r>
            </a:p>
          </p:txBody>
        </p:sp>
      </p:grpSp>
      <p:grpSp>
        <p:nvGrpSpPr>
          <p:cNvPr id="2" name="Group 1"/>
          <p:cNvGrpSpPr/>
          <p:nvPr/>
        </p:nvGrpSpPr>
        <p:grpSpPr>
          <a:xfrm>
            <a:off x="2485078" y="905301"/>
            <a:ext cx="3770403" cy="3806034"/>
            <a:chOff x="2485078" y="905301"/>
            <a:chExt cx="3770403" cy="3806034"/>
          </a:xfrm>
        </p:grpSpPr>
        <p:sp>
          <p:nvSpPr>
            <p:cNvPr id="58" name="Oval 57"/>
            <p:cNvSpPr/>
            <p:nvPr/>
          </p:nvSpPr>
          <p:spPr>
            <a:xfrm>
              <a:off x="3709529" y="2165383"/>
              <a:ext cx="2545952" cy="2545952"/>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8" descr="https://dev.sjcreativeworks.com/exozen/wp-content/uploads/2019/07/Residential.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3325"/>
            <a:stretch/>
          </p:blipFill>
          <p:spPr bwMode="auto">
            <a:xfrm>
              <a:off x="4040565" y="2518008"/>
              <a:ext cx="1041197" cy="86687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ildergebnis für co2 monito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223038" y="2852657"/>
              <a:ext cx="848410" cy="659215"/>
            </a:xfrm>
            <a:prstGeom prst="roundRect">
              <a:avLst/>
            </a:prstGeom>
            <a:noFill/>
            <a:ln w="38100">
              <a:noFill/>
            </a:ln>
            <a:extLst>
              <a:ext uri="{909E8E84-426E-40DD-AFC4-6F175D3DCCD1}">
                <a14:hiddenFill xmlns:a14="http://schemas.microsoft.com/office/drawing/2010/main">
                  <a:solidFill>
                    <a:srgbClr val="FFFFFF"/>
                  </a:solidFill>
                </a14:hiddenFill>
              </a:ext>
            </a:extLst>
          </p:spPr>
        </p:pic>
        <p:pic>
          <p:nvPicPr>
            <p:cNvPr id="30" name="Picture 6" descr="Image result for commercial building comic"/>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32148" y="3574425"/>
              <a:ext cx="1059538" cy="71166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Image result for wegweise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l="21718" t="6121" r="24597" b="70693"/>
            <a:stretch/>
          </p:blipFill>
          <p:spPr bwMode="auto">
            <a:xfrm>
              <a:off x="3918702" y="905301"/>
              <a:ext cx="1839412" cy="849423"/>
            </a:xfrm>
            <a:prstGeom prst="rect">
              <a:avLst/>
            </a:prstGeom>
            <a:noFill/>
            <a:extLst>
              <a:ext uri="{909E8E84-426E-40DD-AFC4-6F175D3DCCD1}">
                <a14:hiddenFill xmlns:a14="http://schemas.microsoft.com/office/drawing/2010/main">
                  <a:solidFill>
                    <a:srgbClr val="FFFFFF"/>
                  </a:solidFill>
                </a14:hiddenFill>
              </a:ext>
            </a:extLst>
          </p:spPr>
        </p:pic>
        <p:grpSp>
          <p:nvGrpSpPr>
            <p:cNvPr id="1037" name="Group 1036"/>
            <p:cNvGrpSpPr/>
            <p:nvPr/>
          </p:nvGrpSpPr>
          <p:grpSpPr>
            <a:xfrm>
              <a:off x="2485078" y="2881817"/>
              <a:ext cx="1059187" cy="1083524"/>
              <a:chOff x="3553272" y="2897853"/>
              <a:chExt cx="1059187" cy="1083524"/>
            </a:xfrm>
          </p:grpSpPr>
          <p:sp>
            <p:nvSpPr>
              <p:cNvPr id="52" name="Right Arrow 51"/>
              <p:cNvSpPr/>
              <p:nvPr/>
            </p:nvSpPr>
            <p:spPr>
              <a:xfrm>
                <a:off x="3553272" y="2897853"/>
                <a:ext cx="1059187" cy="1083524"/>
              </a:xfrm>
              <a:prstGeom prst="rightArrow">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dirty="0">
                  <a:solidFill>
                    <a:schemeClr val="tx1"/>
                  </a:solidFill>
                </a:endParaRPr>
              </a:p>
            </p:txBody>
          </p:sp>
          <p:pic>
            <p:nvPicPr>
              <p:cNvPr id="53" name="Picture 10" descr="Image result for sollar icon"/>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615710" y="3208626"/>
                <a:ext cx="461978" cy="46197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Image result for sollar icon"/>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89360" y="3205464"/>
                <a:ext cx="461978" cy="461978"/>
              </a:xfrm>
              <a:prstGeom prst="rect">
                <a:avLst/>
              </a:prstGeom>
              <a:noFill/>
              <a:extLst>
                <a:ext uri="{909E8E84-426E-40DD-AFC4-6F175D3DCCD1}">
                  <a14:hiddenFill xmlns:a14="http://schemas.microsoft.com/office/drawing/2010/main">
                    <a:solidFill>
                      <a:srgbClr val="FFFFFF"/>
                    </a:solidFill>
                  </a14:hiddenFill>
                </a:ext>
              </a:extLst>
            </p:spPr>
          </p:pic>
        </p:grpSp>
        <p:sp>
          <p:nvSpPr>
            <p:cNvPr id="73" name="TextBox 72"/>
            <p:cNvSpPr txBox="1"/>
            <p:nvPr/>
          </p:nvSpPr>
          <p:spPr>
            <a:xfrm>
              <a:off x="4415027" y="1203026"/>
              <a:ext cx="745717" cy="400110"/>
            </a:xfrm>
            <a:prstGeom prst="rect">
              <a:avLst/>
            </a:prstGeom>
            <a:noFill/>
          </p:spPr>
          <p:txBody>
            <a:bodyPr wrap="none" rtlCol="0">
              <a:spAutoFit/>
            </a:bodyPr>
            <a:lstStyle/>
            <a:p>
              <a:r>
                <a:rPr lang="en-US" b="1" dirty="0"/>
                <a:t>today</a:t>
              </a:r>
            </a:p>
          </p:txBody>
        </p:sp>
      </p:grpSp>
      <p:sp>
        <p:nvSpPr>
          <p:cNvPr id="59" name="Oval 58"/>
          <p:cNvSpPr/>
          <p:nvPr/>
        </p:nvSpPr>
        <p:spPr>
          <a:xfrm>
            <a:off x="7894913" y="1644718"/>
            <a:ext cx="3330074" cy="333007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8537985" y="425549"/>
            <a:ext cx="1839412" cy="849423"/>
            <a:chOff x="8537985" y="425549"/>
            <a:chExt cx="1839412" cy="849423"/>
          </a:xfrm>
        </p:grpSpPr>
        <p:pic>
          <p:nvPicPr>
            <p:cNvPr id="43" name="Picture 8" descr="Image result for wegweise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l="21718" t="6121" r="24597" b="70693"/>
            <a:stretch/>
          </p:blipFill>
          <p:spPr bwMode="auto">
            <a:xfrm>
              <a:off x="8537985" y="425549"/>
              <a:ext cx="1839412" cy="849423"/>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p:cNvSpPr txBox="1"/>
            <p:nvPr/>
          </p:nvSpPr>
          <p:spPr>
            <a:xfrm>
              <a:off x="8903700" y="754880"/>
              <a:ext cx="1154483" cy="400110"/>
            </a:xfrm>
            <a:prstGeom prst="rect">
              <a:avLst/>
            </a:prstGeom>
            <a:noFill/>
          </p:spPr>
          <p:txBody>
            <a:bodyPr wrap="none" rtlCol="0">
              <a:spAutoFit/>
            </a:bodyPr>
            <a:lstStyle/>
            <a:p>
              <a:r>
                <a:rPr lang="en-US" b="1" dirty="0"/>
                <a:t>tomorrow</a:t>
              </a:r>
            </a:p>
          </p:txBody>
        </p:sp>
      </p:grpSp>
      <p:grpSp>
        <p:nvGrpSpPr>
          <p:cNvPr id="1050" name="Group 1049"/>
          <p:cNvGrpSpPr/>
          <p:nvPr/>
        </p:nvGrpSpPr>
        <p:grpSpPr>
          <a:xfrm>
            <a:off x="6966661" y="811838"/>
            <a:ext cx="4273343" cy="4168652"/>
            <a:chOff x="7240477" y="827609"/>
            <a:chExt cx="4273343" cy="4168652"/>
          </a:xfrm>
        </p:grpSpPr>
        <p:sp>
          <p:nvSpPr>
            <p:cNvPr id="1049" name="Oval 1048"/>
            <p:cNvSpPr/>
            <p:nvPr/>
          </p:nvSpPr>
          <p:spPr>
            <a:xfrm>
              <a:off x="8159166" y="1641607"/>
              <a:ext cx="3354654" cy="3354654"/>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5" name="Picture 84"/>
            <p:cNvPicPr>
              <a:picLocks noChangeAspect="1"/>
            </p:cNvPicPr>
            <p:nvPr/>
          </p:nvPicPr>
          <p:blipFill rotWithShape="1">
            <a:blip r:embed="rId13" cstate="print">
              <a:extLst>
                <a:ext uri="{28A0092B-C50C-407E-A947-70E740481C1C}">
                  <a14:useLocalDpi xmlns:a14="http://schemas.microsoft.com/office/drawing/2010/main" val="0"/>
                </a:ext>
              </a:extLst>
            </a:blip>
            <a:srcRect l="29693" t="29319" r="29276" b="33554"/>
            <a:stretch/>
          </p:blipFill>
          <p:spPr>
            <a:xfrm>
              <a:off x="7240477" y="827609"/>
              <a:ext cx="2260619" cy="2045515"/>
            </a:xfrm>
            <a:prstGeom prst="rect">
              <a:avLst/>
            </a:prstGeom>
          </p:spPr>
        </p:pic>
      </p:grpSp>
      <p:grpSp>
        <p:nvGrpSpPr>
          <p:cNvPr id="27" name="Group 26"/>
          <p:cNvGrpSpPr/>
          <p:nvPr/>
        </p:nvGrpSpPr>
        <p:grpSpPr>
          <a:xfrm>
            <a:off x="6537940" y="1975793"/>
            <a:ext cx="5393352" cy="4852758"/>
            <a:chOff x="6540822" y="1957617"/>
            <a:chExt cx="5393352" cy="4852758"/>
          </a:xfrm>
        </p:grpSpPr>
        <p:pic>
          <p:nvPicPr>
            <p:cNvPr id="6" name="Picture 5">
              <a:hlinkClick r:id="" action="ppaction://noaction"/>
            </p:cNvPr>
            <p:cNvPicPr>
              <a:picLocks noChangeAspect="1"/>
            </p:cNvPicPr>
            <p:nvPr/>
          </p:nvPicPr>
          <p:blipFill rotWithShape="1">
            <a:blip r:embed="rId14" cstate="print">
              <a:extLst>
                <a:ext uri="{28A0092B-C50C-407E-A947-70E740481C1C}">
                  <a14:useLocalDpi xmlns:a14="http://schemas.microsoft.com/office/drawing/2010/main" val="0"/>
                </a:ext>
              </a:extLst>
            </a:blip>
            <a:srcRect l="2111" t="15645" r="51346" b="31035"/>
            <a:stretch/>
          </p:blipFill>
          <p:spPr>
            <a:xfrm>
              <a:off x="8347361" y="3424707"/>
              <a:ext cx="786626" cy="611822"/>
            </a:xfrm>
            <a:prstGeom prst="roundRect">
              <a:avLst/>
            </a:prstGeom>
            <a:ln w="38100">
              <a:noFill/>
            </a:ln>
          </p:spPr>
        </p:pic>
        <p:pic>
          <p:nvPicPr>
            <p:cNvPr id="7" name="Picture 6"/>
            <p:cNvPicPr>
              <a:picLocks noChangeAspect="1"/>
            </p:cNvPicPr>
            <p:nvPr/>
          </p:nvPicPr>
          <p:blipFill>
            <a:blip r:embed="rId15"/>
            <a:stretch>
              <a:fillRect/>
            </a:stretch>
          </p:blipFill>
          <p:spPr>
            <a:xfrm>
              <a:off x="9777926" y="3169256"/>
              <a:ext cx="1141436" cy="852846"/>
            </a:xfrm>
            <a:prstGeom prst="roundRect">
              <a:avLst/>
            </a:prstGeom>
            <a:ln w="38100">
              <a:noFill/>
            </a:ln>
          </p:spPr>
        </p:pic>
        <p:pic>
          <p:nvPicPr>
            <p:cNvPr id="1028" name="Picture 4" descr="Image result for smart speake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8789" r="16436"/>
            <a:stretch/>
          </p:blipFill>
          <p:spPr bwMode="auto">
            <a:xfrm>
              <a:off x="9821847" y="1957617"/>
              <a:ext cx="525781" cy="749943"/>
            </a:xfrm>
            <a:prstGeom prst="rect">
              <a:avLst/>
            </a:prstGeom>
            <a:noFill/>
            <a:extLst>
              <a:ext uri="{909E8E84-426E-40DD-AFC4-6F175D3DCCD1}">
                <a14:hiddenFill xmlns:a14="http://schemas.microsoft.com/office/drawing/2010/main">
                  <a:solidFill>
                    <a:srgbClr val="FFFFFF"/>
                  </a:solidFill>
                </a14:hiddenFill>
              </a:ext>
            </a:extLst>
          </p:spPr>
        </p:pic>
        <p:sp>
          <p:nvSpPr>
            <p:cNvPr id="38" name="Right Arrow 37"/>
            <p:cNvSpPr/>
            <p:nvPr/>
          </p:nvSpPr>
          <p:spPr>
            <a:xfrm>
              <a:off x="6540822" y="2007435"/>
              <a:ext cx="1059187" cy="1083524"/>
            </a:xfrm>
            <a:prstGeom prst="rightArrow">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dirty="0">
                <a:solidFill>
                  <a:schemeClr val="tx1"/>
                </a:solidFill>
              </a:endParaRPr>
            </a:p>
          </p:txBody>
        </p:sp>
        <p:pic>
          <p:nvPicPr>
            <p:cNvPr id="1034" name="Picture 10" descr="Image result for sollar icon"/>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914551" y="2318208"/>
              <a:ext cx="461978" cy="461978"/>
            </a:xfrm>
            <a:prstGeom prst="rect">
              <a:avLst/>
            </a:prstGeom>
            <a:noFill/>
            <a:extLst>
              <a:ext uri="{909E8E84-426E-40DD-AFC4-6F175D3DCCD1}">
                <a14:hiddenFill xmlns:a14="http://schemas.microsoft.com/office/drawing/2010/main">
                  <a:solidFill>
                    <a:srgbClr val="FFFFFF"/>
                  </a:solidFill>
                </a14:hiddenFill>
              </a:ext>
            </a:extLst>
          </p:spPr>
        </p:pic>
        <p:sp>
          <p:nvSpPr>
            <p:cNvPr id="40" name="Right Arrow 39"/>
            <p:cNvSpPr/>
            <p:nvPr/>
          </p:nvSpPr>
          <p:spPr>
            <a:xfrm>
              <a:off x="6542037" y="3141096"/>
              <a:ext cx="1059187" cy="1083524"/>
            </a:xfrm>
            <a:prstGeom prst="rightArrow">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Picture 5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645420" y="3405397"/>
              <a:ext cx="767191" cy="498674"/>
            </a:xfrm>
            <a:prstGeom prst="rect">
              <a:avLst/>
            </a:prstGeom>
          </p:spPr>
        </p:pic>
        <p:pic>
          <p:nvPicPr>
            <p:cNvPr id="75" name="Picture 4" descr="Bildergebnis für co2 monito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21443" y="2665734"/>
              <a:ext cx="848410" cy="659215"/>
            </a:xfrm>
            <a:prstGeom prst="roundRect">
              <a:avLst/>
            </a:prstGeom>
            <a:noFill/>
            <a:ln w="38100">
              <a:noFill/>
            </a:ln>
            <a:extLst>
              <a:ext uri="{909E8E84-426E-40DD-AFC4-6F175D3DCCD1}">
                <a14:hiddenFill xmlns:a14="http://schemas.microsoft.com/office/drawing/2010/main">
                  <a:solidFill>
                    <a:srgbClr val="FFFFFF"/>
                  </a:solidFill>
                </a14:hiddenFill>
              </a:ext>
            </a:extLst>
          </p:spPr>
        </p:pic>
        <p:pic>
          <p:nvPicPr>
            <p:cNvPr id="76" name="Picture 8" descr="https://dev.sjcreativeworks.com/exozen/wp-content/uploads/2019/07/Residential.png"/>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r="-3325"/>
            <a:stretch/>
          </p:blipFill>
          <p:spPr bwMode="auto">
            <a:xfrm>
              <a:off x="9111241" y="3363849"/>
              <a:ext cx="688676" cy="573377"/>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6" descr="Image result for commercial building comic"/>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92970" y="3949570"/>
              <a:ext cx="1059538" cy="711662"/>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p:cNvGrpSpPr/>
            <p:nvPr/>
          </p:nvGrpSpPr>
          <p:grpSpPr>
            <a:xfrm>
              <a:off x="9502140" y="5050918"/>
              <a:ext cx="2432034" cy="1759457"/>
              <a:chOff x="9502140" y="5050918"/>
              <a:chExt cx="2432034" cy="1759457"/>
            </a:xfrm>
          </p:grpSpPr>
          <p:pic>
            <p:nvPicPr>
              <p:cNvPr id="67" name="Picture 6" descr="Image result for sensirion"/>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502140" y="5050918"/>
                <a:ext cx="2432034" cy="48932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9747250" y="6311900"/>
                <a:ext cx="1838325" cy="498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 name="Picture 2" descr="Image result for air purifier at home"/>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6189" r="10556"/>
            <a:stretch/>
          </p:blipFill>
          <p:spPr bwMode="auto">
            <a:xfrm>
              <a:off x="9048392" y="2619752"/>
              <a:ext cx="912932" cy="731022"/>
            </a:xfrm>
            <a:prstGeom prst="roundRect">
              <a:avLst/>
            </a:prstGeom>
            <a:noFill/>
            <a:ln w="38100">
              <a:noFill/>
            </a:ln>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21"/>
            <a:stretch>
              <a:fillRect/>
            </a:stretch>
          </p:blipFill>
          <p:spPr>
            <a:xfrm>
              <a:off x="10229282" y="2562424"/>
              <a:ext cx="701559" cy="600596"/>
            </a:xfrm>
            <a:prstGeom prst="rect">
              <a:avLst/>
            </a:prstGeom>
          </p:spPr>
        </p:pic>
      </p:grpSp>
      <p:sp>
        <p:nvSpPr>
          <p:cNvPr id="23" name="Right Arrow 22"/>
          <p:cNvSpPr/>
          <p:nvPr/>
        </p:nvSpPr>
        <p:spPr>
          <a:xfrm>
            <a:off x="6539607" y="3090959"/>
            <a:ext cx="1060402" cy="1183797"/>
          </a:xfrm>
          <a:prstGeom prst="rightArrow">
            <a:avLst>
              <a:gd name="adj1" fmla="val 50000"/>
              <a:gd name="adj2" fmla="val 51768"/>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ight Arrow 68"/>
          <p:cNvSpPr/>
          <p:nvPr/>
        </p:nvSpPr>
        <p:spPr>
          <a:xfrm>
            <a:off x="6537940" y="1960271"/>
            <a:ext cx="1060402" cy="1183797"/>
          </a:xfrm>
          <a:prstGeom prst="rightArrow">
            <a:avLst>
              <a:gd name="adj1" fmla="val 50000"/>
              <a:gd name="adj2" fmla="val 51768"/>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3356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048"/>
                                        </p:tgtEl>
                                        <p:attrNameLst>
                                          <p:attrName>style.visibility</p:attrName>
                                        </p:attrNameLst>
                                      </p:cBhvr>
                                      <p:to>
                                        <p:strVal val="visible"/>
                                      </p:to>
                                    </p:set>
                                    <p:animEffect transition="in" filter="fade">
                                      <p:cBhvr>
                                        <p:cTn id="23" dur="500"/>
                                        <p:tgtEl>
                                          <p:spTgt spid="104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050"/>
                                        </p:tgtEl>
                                        <p:attrNameLst>
                                          <p:attrName>style.visibility</p:attrName>
                                        </p:attrNameLst>
                                      </p:cBhvr>
                                      <p:to>
                                        <p:strVal val="visible"/>
                                      </p:to>
                                    </p:set>
                                    <p:animEffect transition="in" filter="fade">
                                      <p:cBhvr>
                                        <p:cTn id="28" dur="500"/>
                                        <p:tgtEl>
                                          <p:spTgt spid="105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animEffect transition="in" filter="fade">
                                      <p:cBhvr>
                                        <p:cTn id="31" dur="500"/>
                                        <p:tgtEl>
                                          <p:spTgt spid="6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23" grpId="0" animBg="1"/>
      <p:bldP spid="69"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Rounded Corners 49">
            <a:extLst>
              <a:ext uri="{FF2B5EF4-FFF2-40B4-BE49-F238E27FC236}">
                <a16:creationId xmlns:a16="http://schemas.microsoft.com/office/drawing/2014/main" id="{097CE360-80AE-43FE-9DF9-9DB527C4130D}"/>
              </a:ext>
            </a:extLst>
          </p:cNvPr>
          <p:cNvSpPr/>
          <p:nvPr/>
        </p:nvSpPr>
        <p:spPr>
          <a:xfrm>
            <a:off x="4087793" y="4139501"/>
            <a:ext cx="7264419" cy="2097787"/>
          </a:xfrm>
          <a:prstGeom prst="roundRect">
            <a:avLst>
              <a:gd name="adj" fmla="val 4203"/>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62AA60A3-9F2B-A54E-82C4-14D25920029F}"/>
              </a:ext>
            </a:extLst>
          </p:cNvPr>
          <p:cNvSpPr txBox="1"/>
          <p:nvPr/>
        </p:nvSpPr>
        <p:spPr>
          <a:xfrm>
            <a:off x="752798" y="743519"/>
            <a:ext cx="10349890" cy="646331"/>
          </a:xfrm>
          <a:prstGeom prst="rect">
            <a:avLst/>
          </a:prstGeom>
          <a:noFill/>
        </p:spPr>
        <p:txBody>
          <a:bodyPr wrap="square">
            <a:spAutoFit/>
          </a:bodyPr>
          <a:lstStyle/>
          <a:p>
            <a:r>
              <a:rPr lang="en-US" sz="3600" b="1" dirty="0">
                <a:solidFill>
                  <a:schemeClr val="accent1"/>
                </a:solidFill>
              </a:rPr>
              <a:t>Resources: </a:t>
            </a:r>
            <a:r>
              <a:rPr lang="en-US" sz="3600" b="1" dirty="0" err="1">
                <a:solidFill>
                  <a:schemeClr val="accent1"/>
                </a:solidFill>
                <a:hlinkClick r:id="rId2">
                  <a:extLst>
                    <a:ext uri="{A12FA001-AC4F-418D-AE19-62706E023703}">
                      <ahyp:hlinkClr xmlns:ahyp="http://schemas.microsoft.com/office/drawing/2018/hyperlinkcolor" val="tx"/>
                    </a:ext>
                  </a:extLst>
                </a:hlinkClick>
              </a:rPr>
              <a:t>www.sensirion.com</a:t>
            </a:r>
            <a:r>
              <a:rPr lang="en-US" sz="3600" b="1" dirty="0">
                <a:solidFill>
                  <a:schemeClr val="accent1"/>
                </a:solidFill>
                <a:hlinkClick r:id="rId2">
                  <a:extLst>
                    <a:ext uri="{A12FA001-AC4F-418D-AE19-62706E023703}">
                      <ahyp:hlinkClr xmlns:ahyp="http://schemas.microsoft.com/office/drawing/2018/hyperlinkcolor" val="tx"/>
                    </a:ext>
                  </a:extLst>
                </a:hlinkClick>
              </a:rPr>
              <a:t>/my-</a:t>
            </a:r>
            <a:r>
              <a:rPr lang="en-US" sz="3600" b="1" dirty="0" err="1">
                <a:solidFill>
                  <a:schemeClr val="accent1"/>
                </a:solidFill>
                <a:hlinkClick r:id="rId2">
                  <a:extLst>
                    <a:ext uri="{A12FA001-AC4F-418D-AE19-62706E023703}">
                      <ahyp:hlinkClr xmlns:ahyp="http://schemas.microsoft.com/office/drawing/2018/hyperlinkcolor" val="tx"/>
                    </a:ext>
                  </a:extLst>
                </a:hlinkClick>
              </a:rPr>
              <a:t>scd</a:t>
            </a:r>
            <a:r>
              <a:rPr lang="en-US" sz="3600" b="1" dirty="0">
                <a:solidFill>
                  <a:schemeClr val="accent1"/>
                </a:solidFill>
                <a:hlinkClick r:id="rId2">
                  <a:extLst>
                    <a:ext uri="{A12FA001-AC4F-418D-AE19-62706E023703}">
                      <ahyp:hlinkClr xmlns:ahyp="http://schemas.microsoft.com/office/drawing/2018/hyperlinkcolor" val="tx"/>
                    </a:ext>
                  </a:extLst>
                </a:hlinkClick>
              </a:rPr>
              <a:t>-</a:t>
            </a:r>
            <a:r>
              <a:rPr lang="en-US" sz="3600" b="1" dirty="0" err="1">
                <a:solidFill>
                  <a:schemeClr val="accent1"/>
                </a:solidFill>
                <a:hlinkClick r:id="rId2">
                  <a:extLst>
                    <a:ext uri="{A12FA001-AC4F-418D-AE19-62706E023703}">
                      <ahyp:hlinkClr xmlns:ahyp="http://schemas.microsoft.com/office/drawing/2018/hyperlinkcolor" val="tx"/>
                    </a:ext>
                  </a:extLst>
                </a:hlinkClick>
              </a:rPr>
              <a:t>ek</a:t>
            </a:r>
            <a:r>
              <a:rPr lang="en-US" sz="3600" b="1" dirty="0">
                <a:solidFill>
                  <a:schemeClr val="accent1"/>
                </a:solidFill>
                <a:hlinkClick r:id="rId2">
                  <a:extLst>
                    <a:ext uri="{A12FA001-AC4F-418D-AE19-62706E023703}">
                      <ahyp:hlinkClr xmlns:ahyp="http://schemas.microsoft.com/office/drawing/2018/hyperlinkcolor" val="tx"/>
                    </a:ext>
                  </a:extLst>
                </a:hlinkClick>
              </a:rPr>
              <a:t> </a:t>
            </a:r>
            <a:endParaRPr lang="en-US" sz="3600" b="1" dirty="0">
              <a:solidFill>
                <a:schemeClr val="accent1"/>
              </a:solidFill>
            </a:endParaRPr>
          </a:p>
        </p:txBody>
      </p:sp>
      <p:sp>
        <p:nvSpPr>
          <p:cNvPr id="12" name="Rectangle: Rounded Corners 49">
            <a:extLst>
              <a:ext uri="{FF2B5EF4-FFF2-40B4-BE49-F238E27FC236}">
                <a16:creationId xmlns:a16="http://schemas.microsoft.com/office/drawing/2014/main" id="{064DECB1-0405-D048-A9CB-89EBE93841B5}"/>
              </a:ext>
            </a:extLst>
          </p:cNvPr>
          <p:cNvSpPr/>
          <p:nvPr/>
        </p:nvSpPr>
        <p:spPr>
          <a:xfrm>
            <a:off x="4087793" y="1465499"/>
            <a:ext cx="7264419" cy="1154111"/>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49">
            <a:extLst>
              <a:ext uri="{FF2B5EF4-FFF2-40B4-BE49-F238E27FC236}">
                <a16:creationId xmlns:a16="http://schemas.microsoft.com/office/drawing/2014/main" id="{3DFCB52E-5DAE-0B49-B275-AC16BD45EF94}"/>
              </a:ext>
            </a:extLst>
          </p:cNvPr>
          <p:cNvSpPr/>
          <p:nvPr/>
        </p:nvSpPr>
        <p:spPr>
          <a:xfrm>
            <a:off x="1159828" y="1465499"/>
            <a:ext cx="2775936" cy="1154111"/>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B108302-49A0-EE4A-90BF-5FD56066CEAB}"/>
              </a:ext>
            </a:extLst>
          </p:cNvPr>
          <p:cNvSpPr/>
          <p:nvPr/>
        </p:nvSpPr>
        <p:spPr>
          <a:xfrm>
            <a:off x="4378714" y="1581973"/>
            <a:ext cx="4585428" cy="338554"/>
          </a:xfrm>
          <a:prstGeom prst="rect">
            <a:avLst/>
          </a:prstGeom>
        </p:spPr>
        <p:txBody>
          <a:bodyPr wrap="square">
            <a:spAutoFit/>
          </a:bodyPr>
          <a:lstStyle/>
          <a:p>
            <a:pPr lvl="0"/>
            <a:r>
              <a:rPr lang="en-US" sz="1600" b="1" dirty="0"/>
              <a:t>Important Documents Evaluation Kit SEK-SCD41</a:t>
            </a:r>
          </a:p>
        </p:txBody>
      </p:sp>
      <p:grpSp>
        <p:nvGrpSpPr>
          <p:cNvPr id="15" name="Group 14">
            <a:extLst>
              <a:ext uri="{FF2B5EF4-FFF2-40B4-BE49-F238E27FC236}">
                <a16:creationId xmlns:a16="http://schemas.microsoft.com/office/drawing/2014/main" id="{3AD08DCB-36AB-E149-A8C1-72D436FF1D40}"/>
              </a:ext>
            </a:extLst>
          </p:cNvPr>
          <p:cNvGrpSpPr/>
          <p:nvPr/>
        </p:nvGrpSpPr>
        <p:grpSpPr>
          <a:xfrm>
            <a:off x="839788" y="1706332"/>
            <a:ext cx="640080" cy="640080"/>
            <a:chOff x="839788" y="1436818"/>
            <a:chExt cx="640080" cy="640080"/>
          </a:xfrm>
        </p:grpSpPr>
        <p:grpSp>
          <p:nvGrpSpPr>
            <p:cNvPr id="17" name="Group 16">
              <a:extLst>
                <a:ext uri="{FF2B5EF4-FFF2-40B4-BE49-F238E27FC236}">
                  <a16:creationId xmlns:a16="http://schemas.microsoft.com/office/drawing/2014/main" id="{E114ECB0-8BB9-0745-B248-5BFE744942BD}"/>
                </a:ext>
              </a:extLst>
            </p:cNvPr>
            <p:cNvGrpSpPr/>
            <p:nvPr/>
          </p:nvGrpSpPr>
          <p:grpSpPr>
            <a:xfrm>
              <a:off x="839788" y="1436818"/>
              <a:ext cx="640080" cy="640080"/>
              <a:chOff x="6661431" y="2189755"/>
              <a:chExt cx="640080" cy="640080"/>
            </a:xfrm>
          </p:grpSpPr>
          <p:sp>
            <p:nvSpPr>
              <p:cNvPr id="19" name="Oval 18">
                <a:extLst>
                  <a:ext uri="{FF2B5EF4-FFF2-40B4-BE49-F238E27FC236}">
                    <a16:creationId xmlns:a16="http://schemas.microsoft.com/office/drawing/2014/main" id="{EEF7100E-F83B-5847-A4AA-7C2BDA329655}"/>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9D7B29A4-6FB5-C444-B075-25DEF34BC7CD}"/>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8" name="Graphic 17">
              <a:extLst>
                <a:ext uri="{FF2B5EF4-FFF2-40B4-BE49-F238E27FC236}">
                  <a16:creationId xmlns:a16="http://schemas.microsoft.com/office/drawing/2014/main" id="{072CAD77-EF51-F14A-ADD1-A23523468C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07798" y="1604828"/>
              <a:ext cx="304061" cy="304061"/>
            </a:xfrm>
            <a:prstGeom prst="rect">
              <a:avLst/>
            </a:prstGeom>
          </p:spPr>
        </p:pic>
      </p:grpSp>
      <p:sp>
        <p:nvSpPr>
          <p:cNvPr id="16" name="Rectangle 15">
            <a:extLst>
              <a:ext uri="{FF2B5EF4-FFF2-40B4-BE49-F238E27FC236}">
                <a16:creationId xmlns:a16="http://schemas.microsoft.com/office/drawing/2014/main" id="{D3ECE06C-1283-BD4A-A7C6-88394BCA8A6D}"/>
              </a:ext>
            </a:extLst>
          </p:cNvPr>
          <p:cNvSpPr/>
          <p:nvPr/>
        </p:nvSpPr>
        <p:spPr>
          <a:xfrm>
            <a:off x="1720250" y="1672428"/>
            <a:ext cx="2034888" cy="707886"/>
          </a:xfrm>
          <a:prstGeom prst="rect">
            <a:avLst/>
          </a:prstGeom>
        </p:spPr>
        <p:txBody>
          <a:bodyPr wrap="square">
            <a:spAutoFit/>
          </a:bodyPr>
          <a:lstStyle/>
          <a:p>
            <a:pPr lvl="0"/>
            <a:r>
              <a:rPr lang="en-US" b="1" dirty="0">
                <a:solidFill>
                  <a:srgbClr val="7F7F7F"/>
                </a:solidFill>
                <a:cs typeface="Arial Narrow" panose="020B0604020202020204" pitchFamily="34" charset="0"/>
              </a:rPr>
              <a:t>Quick Start Guide Evaluation Kit</a:t>
            </a:r>
          </a:p>
        </p:txBody>
      </p:sp>
      <p:sp>
        <p:nvSpPr>
          <p:cNvPr id="22" name="Rectangle 21">
            <a:extLst>
              <a:ext uri="{FF2B5EF4-FFF2-40B4-BE49-F238E27FC236}">
                <a16:creationId xmlns:a16="http://schemas.microsoft.com/office/drawing/2014/main" id="{B15ADC10-D2C5-E14C-B4B1-4CDAB5463846}"/>
              </a:ext>
            </a:extLst>
          </p:cNvPr>
          <p:cNvSpPr/>
          <p:nvPr/>
        </p:nvSpPr>
        <p:spPr>
          <a:xfrm>
            <a:off x="4378886" y="1913299"/>
            <a:ext cx="2136214" cy="584775"/>
          </a:xfrm>
          <a:prstGeom prst="rect">
            <a:avLst/>
          </a:prstGeom>
        </p:spPr>
        <p:txBody>
          <a:bodyPr wrap="square">
            <a:spAutoFit/>
          </a:bodyPr>
          <a:lstStyle/>
          <a:p>
            <a:pPr marL="285750" lvl="0" indent="-285750">
              <a:buFont typeface="Arial" panose="020B0604020202020204" pitchFamily="34" charset="0"/>
              <a:buChar char="•"/>
            </a:pPr>
            <a:r>
              <a:rPr lang="en-US" sz="1600" dirty="0">
                <a:solidFill>
                  <a:srgbClr val="000000"/>
                </a:solidFill>
              </a:rPr>
              <a:t>SEK-SCD41 Technical Description</a:t>
            </a:r>
          </a:p>
        </p:txBody>
      </p:sp>
      <p:sp>
        <p:nvSpPr>
          <p:cNvPr id="23" name="Rectangle 22">
            <a:extLst>
              <a:ext uri="{FF2B5EF4-FFF2-40B4-BE49-F238E27FC236}">
                <a16:creationId xmlns:a16="http://schemas.microsoft.com/office/drawing/2014/main" id="{C08EFCCA-2030-F74F-85B1-13AE2D943D9B}"/>
              </a:ext>
            </a:extLst>
          </p:cNvPr>
          <p:cNvSpPr/>
          <p:nvPr/>
        </p:nvSpPr>
        <p:spPr>
          <a:xfrm>
            <a:off x="6747528" y="1913299"/>
            <a:ext cx="1571326" cy="584775"/>
          </a:xfrm>
          <a:prstGeom prst="rect">
            <a:avLst/>
          </a:prstGeom>
        </p:spPr>
        <p:txBody>
          <a:bodyPr wrap="square">
            <a:spAutoFit/>
          </a:bodyPr>
          <a:lstStyle/>
          <a:p>
            <a:pPr marL="285750" lvl="0" indent="-285750">
              <a:buFont typeface="Arial" panose="020B0604020202020204" pitchFamily="34" charset="0"/>
              <a:buChar char="•"/>
            </a:pPr>
            <a:r>
              <a:rPr lang="en-US" sz="1600" dirty="0">
                <a:solidFill>
                  <a:srgbClr val="000000"/>
                </a:solidFill>
              </a:rPr>
              <a:t>SEK-SCD41 STEP File</a:t>
            </a:r>
          </a:p>
        </p:txBody>
      </p:sp>
      <p:sp>
        <p:nvSpPr>
          <p:cNvPr id="24" name="Rectangle: Rounded Corners 49">
            <a:extLst>
              <a:ext uri="{FF2B5EF4-FFF2-40B4-BE49-F238E27FC236}">
                <a16:creationId xmlns:a16="http://schemas.microsoft.com/office/drawing/2014/main" id="{5A78F435-790D-D248-95BA-A6486FF670EC}"/>
              </a:ext>
            </a:extLst>
          </p:cNvPr>
          <p:cNvSpPr/>
          <p:nvPr/>
        </p:nvSpPr>
        <p:spPr>
          <a:xfrm>
            <a:off x="4087793" y="2779949"/>
            <a:ext cx="7264419" cy="1154111"/>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49">
            <a:extLst>
              <a:ext uri="{FF2B5EF4-FFF2-40B4-BE49-F238E27FC236}">
                <a16:creationId xmlns:a16="http://schemas.microsoft.com/office/drawing/2014/main" id="{0A72B9A5-F892-DC46-8CCD-44FCC0297560}"/>
              </a:ext>
            </a:extLst>
          </p:cNvPr>
          <p:cNvSpPr/>
          <p:nvPr/>
        </p:nvSpPr>
        <p:spPr>
          <a:xfrm>
            <a:off x="1159828" y="2779949"/>
            <a:ext cx="2775936" cy="1154111"/>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045F98F-CFA2-3844-B3B9-94C1A5026EB7}"/>
              </a:ext>
            </a:extLst>
          </p:cNvPr>
          <p:cNvSpPr/>
          <p:nvPr/>
        </p:nvSpPr>
        <p:spPr>
          <a:xfrm>
            <a:off x="4378714" y="2896423"/>
            <a:ext cx="4585428" cy="338554"/>
          </a:xfrm>
          <a:prstGeom prst="rect">
            <a:avLst/>
          </a:prstGeom>
        </p:spPr>
        <p:txBody>
          <a:bodyPr wrap="square">
            <a:spAutoFit/>
          </a:bodyPr>
          <a:lstStyle/>
          <a:p>
            <a:pPr lvl="0"/>
            <a:r>
              <a:rPr lang="en-US" sz="1600" b="1" dirty="0"/>
              <a:t>Important Documents SCD40 and SCD 41</a:t>
            </a:r>
          </a:p>
        </p:txBody>
      </p:sp>
      <p:grpSp>
        <p:nvGrpSpPr>
          <p:cNvPr id="27" name="Group 26">
            <a:extLst>
              <a:ext uri="{FF2B5EF4-FFF2-40B4-BE49-F238E27FC236}">
                <a16:creationId xmlns:a16="http://schemas.microsoft.com/office/drawing/2014/main" id="{792D073A-BFF2-E245-8A48-4241A0462B10}"/>
              </a:ext>
            </a:extLst>
          </p:cNvPr>
          <p:cNvGrpSpPr/>
          <p:nvPr/>
        </p:nvGrpSpPr>
        <p:grpSpPr>
          <a:xfrm>
            <a:off x="839788" y="3020782"/>
            <a:ext cx="640080" cy="640080"/>
            <a:chOff x="839788" y="1436818"/>
            <a:chExt cx="640080" cy="640080"/>
          </a:xfrm>
        </p:grpSpPr>
        <p:grpSp>
          <p:nvGrpSpPr>
            <p:cNvPr id="28" name="Group 27">
              <a:extLst>
                <a:ext uri="{FF2B5EF4-FFF2-40B4-BE49-F238E27FC236}">
                  <a16:creationId xmlns:a16="http://schemas.microsoft.com/office/drawing/2014/main" id="{82DCACE5-7005-C04D-8CB7-C1C88579FFBF}"/>
                </a:ext>
              </a:extLst>
            </p:cNvPr>
            <p:cNvGrpSpPr/>
            <p:nvPr/>
          </p:nvGrpSpPr>
          <p:grpSpPr>
            <a:xfrm>
              <a:off x="839788" y="1436818"/>
              <a:ext cx="640080" cy="640080"/>
              <a:chOff x="6661431" y="2189755"/>
              <a:chExt cx="640080" cy="640080"/>
            </a:xfrm>
          </p:grpSpPr>
          <p:sp>
            <p:nvSpPr>
              <p:cNvPr id="30" name="Oval 29">
                <a:extLst>
                  <a:ext uri="{FF2B5EF4-FFF2-40B4-BE49-F238E27FC236}">
                    <a16:creationId xmlns:a16="http://schemas.microsoft.com/office/drawing/2014/main" id="{9F4C1197-AD2A-6646-AC47-1E36433924BD}"/>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F85CA017-1D43-584E-AFF7-011D0758DD92}"/>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9" name="Graphic 28">
              <a:extLst>
                <a:ext uri="{FF2B5EF4-FFF2-40B4-BE49-F238E27FC236}">
                  <a16:creationId xmlns:a16="http://schemas.microsoft.com/office/drawing/2014/main" id="{69665CCD-E0FA-2947-A158-82341C3226D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07798" y="1604828"/>
              <a:ext cx="304061" cy="304061"/>
            </a:xfrm>
            <a:prstGeom prst="rect">
              <a:avLst/>
            </a:prstGeom>
          </p:spPr>
        </p:pic>
      </p:grpSp>
      <p:sp>
        <p:nvSpPr>
          <p:cNvPr id="32" name="Rectangle 31">
            <a:extLst>
              <a:ext uri="{FF2B5EF4-FFF2-40B4-BE49-F238E27FC236}">
                <a16:creationId xmlns:a16="http://schemas.microsoft.com/office/drawing/2014/main" id="{90622EC1-7853-944C-AB3B-12A5FFADD1DB}"/>
              </a:ext>
            </a:extLst>
          </p:cNvPr>
          <p:cNvSpPr/>
          <p:nvPr/>
        </p:nvSpPr>
        <p:spPr>
          <a:xfrm>
            <a:off x="1720250" y="3140765"/>
            <a:ext cx="2034888" cy="400110"/>
          </a:xfrm>
          <a:prstGeom prst="rect">
            <a:avLst/>
          </a:prstGeom>
        </p:spPr>
        <p:txBody>
          <a:bodyPr wrap="square" anchor="ctr">
            <a:spAutoFit/>
          </a:bodyPr>
          <a:lstStyle/>
          <a:p>
            <a:pPr lvl="0"/>
            <a:r>
              <a:rPr lang="en-US" b="1" dirty="0">
                <a:solidFill>
                  <a:srgbClr val="66CC33"/>
                </a:solidFill>
                <a:cs typeface="Arial Narrow" panose="020B0604020202020204" pitchFamily="34" charset="0"/>
              </a:rPr>
              <a:t>Documentation</a:t>
            </a:r>
          </a:p>
        </p:txBody>
      </p:sp>
      <p:sp>
        <p:nvSpPr>
          <p:cNvPr id="33" name="Rectangle 32">
            <a:extLst>
              <a:ext uri="{FF2B5EF4-FFF2-40B4-BE49-F238E27FC236}">
                <a16:creationId xmlns:a16="http://schemas.microsoft.com/office/drawing/2014/main" id="{7EDA74B9-C6D9-D346-9D3A-1B0C80753300}"/>
              </a:ext>
            </a:extLst>
          </p:cNvPr>
          <p:cNvSpPr/>
          <p:nvPr/>
        </p:nvSpPr>
        <p:spPr>
          <a:xfrm>
            <a:off x="4378886" y="3227749"/>
            <a:ext cx="2292542" cy="584775"/>
          </a:xfrm>
          <a:prstGeom prst="rect">
            <a:avLst/>
          </a:prstGeom>
        </p:spPr>
        <p:txBody>
          <a:bodyPr wrap="square">
            <a:spAutoFit/>
          </a:bodyPr>
          <a:lstStyle/>
          <a:p>
            <a:pPr marL="285750" lvl="0" indent="-285750">
              <a:buFont typeface="Arial" panose="020B0604020202020204" pitchFamily="34" charset="0"/>
              <a:buChar char="•"/>
            </a:pPr>
            <a:r>
              <a:rPr lang="en-US" sz="1600" dirty="0">
                <a:solidFill>
                  <a:srgbClr val="000000"/>
                </a:solidFill>
              </a:rPr>
              <a:t>Datasheet SCD4x</a:t>
            </a:r>
          </a:p>
          <a:p>
            <a:pPr marL="285750" lvl="0" indent="-285750">
              <a:buFont typeface="Arial" panose="020B0604020202020204" pitchFamily="34" charset="0"/>
              <a:buChar char="•"/>
            </a:pPr>
            <a:r>
              <a:rPr lang="en-US" sz="1600" dirty="0">
                <a:solidFill>
                  <a:srgbClr val="000000"/>
                </a:solidFill>
              </a:rPr>
              <a:t>SCD4x STEP file</a:t>
            </a:r>
          </a:p>
        </p:txBody>
      </p:sp>
      <p:sp>
        <p:nvSpPr>
          <p:cNvPr id="34" name="Rectangle 33">
            <a:extLst>
              <a:ext uri="{FF2B5EF4-FFF2-40B4-BE49-F238E27FC236}">
                <a16:creationId xmlns:a16="http://schemas.microsoft.com/office/drawing/2014/main" id="{829D512A-CCD3-E042-AF68-C328B1FF17A8}"/>
              </a:ext>
            </a:extLst>
          </p:cNvPr>
          <p:cNvSpPr/>
          <p:nvPr/>
        </p:nvSpPr>
        <p:spPr>
          <a:xfrm>
            <a:off x="6747528" y="3227749"/>
            <a:ext cx="2292542" cy="584775"/>
          </a:xfrm>
          <a:prstGeom prst="rect">
            <a:avLst/>
          </a:prstGeom>
        </p:spPr>
        <p:txBody>
          <a:bodyPr wrap="square">
            <a:spAutoFit/>
          </a:bodyPr>
          <a:lstStyle/>
          <a:p>
            <a:pPr marL="285750" lvl="0" indent="-285750">
              <a:buFont typeface="Arial" panose="020B0604020202020204" pitchFamily="34" charset="0"/>
              <a:buChar char="•"/>
            </a:pPr>
            <a:r>
              <a:rPr lang="en-US" sz="1600" dirty="0">
                <a:solidFill>
                  <a:srgbClr val="000000"/>
                </a:solidFill>
              </a:rPr>
              <a:t>SCD4x Altium Footprint</a:t>
            </a:r>
          </a:p>
          <a:p>
            <a:pPr marL="285750" lvl="0" indent="-285750">
              <a:buFont typeface="Arial" panose="020B0604020202020204" pitchFamily="34" charset="0"/>
              <a:buChar char="•"/>
            </a:pPr>
            <a:r>
              <a:rPr lang="en-US" sz="1600" dirty="0">
                <a:solidFill>
                  <a:srgbClr val="000000"/>
                </a:solidFill>
              </a:rPr>
              <a:t>Handling Instructions</a:t>
            </a:r>
          </a:p>
        </p:txBody>
      </p:sp>
      <p:sp>
        <p:nvSpPr>
          <p:cNvPr id="35" name="Rectangle 34">
            <a:extLst>
              <a:ext uri="{FF2B5EF4-FFF2-40B4-BE49-F238E27FC236}">
                <a16:creationId xmlns:a16="http://schemas.microsoft.com/office/drawing/2014/main" id="{EC5B6E01-F67B-D042-A75E-A07C591526A9}"/>
              </a:ext>
            </a:extLst>
          </p:cNvPr>
          <p:cNvSpPr/>
          <p:nvPr/>
        </p:nvSpPr>
        <p:spPr>
          <a:xfrm>
            <a:off x="9116171" y="3227749"/>
            <a:ext cx="1989307" cy="584775"/>
          </a:xfrm>
          <a:prstGeom prst="rect">
            <a:avLst/>
          </a:prstGeom>
        </p:spPr>
        <p:txBody>
          <a:bodyPr wrap="square">
            <a:spAutoFit/>
          </a:bodyPr>
          <a:lstStyle/>
          <a:p>
            <a:pPr marL="285750" lvl="0" indent="-285750">
              <a:buFont typeface="Arial" panose="020B0604020202020204" pitchFamily="34" charset="0"/>
              <a:buChar char="•"/>
            </a:pPr>
            <a:r>
              <a:rPr lang="en-US" sz="1600" dirty="0">
                <a:solidFill>
                  <a:srgbClr val="000000"/>
                </a:solidFill>
              </a:rPr>
              <a:t>Design-In Guideline</a:t>
            </a:r>
          </a:p>
          <a:p>
            <a:pPr marL="285750" lvl="0" indent="-285750">
              <a:buFont typeface="Arial" panose="020B0604020202020204" pitchFamily="34" charset="0"/>
              <a:buChar char="•"/>
            </a:pPr>
            <a:r>
              <a:rPr lang="en-US" sz="1600" dirty="0">
                <a:solidFill>
                  <a:srgbClr val="000000"/>
                </a:solidFill>
              </a:rPr>
              <a:t>Testing Guideline</a:t>
            </a:r>
          </a:p>
        </p:txBody>
      </p:sp>
      <p:sp>
        <p:nvSpPr>
          <p:cNvPr id="37" name="Rectangle 36">
            <a:extLst>
              <a:ext uri="{FF2B5EF4-FFF2-40B4-BE49-F238E27FC236}">
                <a16:creationId xmlns:a16="http://schemas.microsoft.com/office/drawing/2014/main" id="{F21D903E-346F-1443-9046-830F9A07E51E}"/>
              </a:ext>
            </a:extLst>
          </p:cNvPr>
          <p:cNvSpPr/>
          <p:nvPr/>
        </p:nvSpPr>
        <p:spPr>
          <a:xfrm>
            <a:off x="4378714" y="4251030"/>
            <a:ext cx="5139936" cy="338554"/>
          </a:xfrm>
          <a:prstGeom prst="rect">
            <a:avLst/>
          </a:prstGeom>
        </p:spPr>
        <p:txBody>
          <a:bodyPr wrap="square">
            <a:spAutoFit/>
          </a:bodyPr>
          <a:lstStyle/>
          <a:p>
            <a:pPr lvl="0"/>
            <a:r>
              <a:rPr lang="en-US" sz="1600" b="1" dirty="0"/>
              <a:t>Overview: The most important Design-in Recommendations</a:t>
            </a:r>
          </a:p>
        </p:txBody>
      </p:sp>
      <p:grpSp>
        <p:nvGrpSpPr>
          <p:cNvPr id="60" name="Group 59">
            <a:extLst>
              <a:ext uri="{FF2B5EF4-FFF2-40B4-BE49-F238E27FC236}">
                <a16:creationId xmlns:a16="http://schemas.microsoft.com/office/drawing/2014/main" id="{A55124E7-7E92-D34E-9915-C5278AEC04AA}"/>
              </a:ext>
            </a:extLst>
          </p:cNvPr>
          <p:cNvGrpSpPr/>
          <p:nvPr/>
        </p:nvGrpSpPr>
        <p:grpSpPr>
          <a:xfrm>
            <a:off x="4279146" y="4724253"/>
            <a:ext cx="2290271" cy="1336991"/>
            <a:chOff x="1159828" y="4370604"/>
            <a:chExt cx="3233612" cy="1887688"/>
          </a:xfrm>
        </p:grpSpPr>
        <p:pic>
          <p:nvPicPr>
            <p:cNvPr id="36" name="Picture 35">
              <a:extLst>
                <a:ext uri="{FF2B5EF4-FFF2-40B4-BE49-F238E27FC236}">
                  <a16:creationId xmlns:a16="http://schemas.microsoft.com/office/drawing/2014/main" id="{B0110A36-8DDE-D144-8909-1F5E6E03F72C}"/>
                </a:ext>
              </a:extLst>
            </p:cNvPr>
            <p:cNvPicPr>
              <a:picLocks noChangeAspect="1"/>
            </p:cNvPicPr>
            <p:nvPr/>
          </p:nvPicPr>
          <p:blipFill rotWithShape="1">
            <a:blip r:embed="rId7"/>
            <a:srcRect l="2268" t="15908" r="55467" b="63648"/>
            <a:stretch/>
          </p:blipFill>
          <p:spPr>
            <a:xfrm>
              <a:off x="1159828" y="4390793"/>
              <a:ext cx="2040572" cy="870733"/>
            </a:xfrm>
            <a:prstGeom prst="roundRect">
              <a:avLst>
                <a:gd name="adj" fmla="val 9232"/>
              </a:avLst>
            </a:prstGeom>
            <a:ln>
              <a:solidFill>
                <a:schemeClr val="bg1">
                  <a:lumMod val="85000"/>
                </a:schemeClr>
              </a:solidFill>
            </a:ln>
          </p:spPr>
        </p:pic>
        <p:sp>
          <p:nvSpPr>
            <p:cNvPr id="38" name="Rectangle 37">
              <a:extLst>
                <a:ext uri="{FF2B5EF4-FFF2-40B4-BE49-F238E27FC236}">
                  <a16:creationId xmlns:a16="http://schemas.microsoft.com/office/drawing/2014/main" id="{9F475BE2-9AC6-2040-BFEE-A8CD0FDFA480}"/>
                </a:ext>
              </a:extLst>
            </p:cNvPr>
            <p:cNvSpPr/>
            <p:nvPr/>
          </p:nvSpPr>
          <p:spPr>
            <a:xfrm>
              <a:off x="3360614" y="4370604"/>
              <a:ext cx="1032826" cy="912550"/>
            </a:xfrm>
            <a:prstGeom prst="rect">
              <a:avLst/>
            </a:prstGeom>
          </p:spPr>
          <p:txBody>
            <a:bodyPr wrap="square" anchor="ctr">
              <a:spAutoFit/>
            </a:bodyPr>
            <a:lstStyle/>
            <a:p>
              <a:pPr lvl="0"/>
              <a:r>
                <a:rPr lang="en-US" sz="900" dirty="0">
                  <a:solidFill>
                    <a:srgbClr val="000000"/>
                  </a:solidFill>
                </a:rPr>
                <a:t>Good coupling to ambient</a:t>
              </a:r>
            </a:p>
          </p:txBody>
        </p:sp>
        <p:pic>
          <p:nvPicPr>
            <p:cNvPr id="40" name="Picture 39">
              <a:extLst>
                <a:ext uri="{FF2B5EF4-FFF2-40B4-BE49-F238E27FC236}">
                  <a16:creationId xmlns:a16="http://schemas.microsoft.com/office/drawing/2014/main" id="{CF22716A-DC77-F843-B10E-88F600B4B5F1}"/>
                </a:ext>
              </a:extLst>
            </p:cNvPr>
            <p:cNvPicPr>
              <a:picLocks noChangeAspect="1"/>
            </p:cNvPicPr>
            <p:nvPr/>
          </p:nvPicPr>
          <p:blipFill rotWithShape="1">
            <a:blip r:embed="rId7"/>
            <a:srcRect l="102" t="46445" r="53460" b="31092"/>
            <a:stretch/>
          </p:blipFill>
          <p:spPr>
            <a:xfrm>
              <a:off x="1159828" y="5366652"/>
              <a:ext cx="2040572" cy="870733"/>
            </a:xfrm>
            <a:prstGeom prst="roundRect">
              <a:avLst>
                <a:gd name="adj" fmla="val 9232"/>
              </a:avLst>
            </a:prstGeom>
            <a:ln>
              <a:solidFill>
                <a:schemeClr val="bg1">
                  <a:lumMod val="85000"/>
                </a:schemeClr>
              </a:solidFill>
            </a:ln>
          </p:spPr>
        </p:pic>
        <p:sp>
          <p:nvSpPr>
            <p:cNvPr id="42" name="Rectangle 41">
              <a:extLst>
                <a:ext uri="{FF2B5EF4-FFF2-40B4-BE49-F238E27FC236}">
                  <a16:creationId xmlns:a16="http://schemas.microsoft.com/office/drawing/2014/main" id="{4FF47758-B2FF-9941-BB78-740ED7B8E2F5}"/>
                </a:ext>
              </a:extLst>
            </p:cNvPr>
            <p:cNvSpPr/>
            <p:nvPr/>
          </p:nvSpPr>
          <p:spPr>
            <a:xfrm>
              <a:off x="3360614" y="5345742"/>
              <a:ext cx="1032826" cy="912550"/>
            </a:xfrm>
            <a:prstGeom prst="rect">
              <a:avLst/>
            </a:prstGeom>
          </p:spPr>
          <p:txBody>
            <a:bodyPr wrap="square" anchor="ctr">
              <a:spAutoFit/>
            </a:bodyPr>
            <a:lstStyle/>
            <a:p>
              <a:pPr lvl="0"/>
              <a:r>
                <a:rPr lang="en-US" sz="900" dirty="0">
                  <a:solidFill>
                    <a:srgbClr val="000000"/>
                  </a:solidFill>
                </a:rPr>
                <a:t>Isolation from air turbulences</a:t>
              </a:r>
            </a:p>
          </p:txBody>
        </p:sp>
        <p:sp>
          <p:nvSpPr>
            <p:cNvPr id="41" name="Oval 40">
              <a:extLst>
                <a:ext uri="{FF2B5EF4-FFF2-40B4-BE49-F238E27FC236}">
                  <a16:creationId xmlns:a16="http://schemas.microsoft.com/office/drawing/2014/main" id="{6FD77703-674B-7D4D-B5E0-01F2655E247E}"/>
                </a:ext>
              </a:extLst>
            </p:cNvPr>
            <p:cNvSpPr/>
            <p:nvPr/>
          </p:nvSpPr>
          <p:spPr>
            <a:xfrm>
              <a:off x="3040185" y="4665944"/>
              <a:ext cx="320430" cy="320430"/>
            </a:xfrm>
            <a:prstGeom prst="ellipse">
              <a:avLst/>
            </a:prstGeom>
            <a:solidFill>
              <a:srgbClr val="66CC3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46800" rtlCol="0" anchor="ctr"/>
            <a:lstStyle/>
            <a:p>
              <a:pPr algn="ctr"/>
              <a:r>
                <a:rPr lang="en-VN" sz="1000" b="1" dirty="0"/>
                <a:t>a</a:t>
              </a:r>
            </a:p>
          </p:txBody>
        </p:sp>
        <p:sp>
          <p:nvSpPr>
            <p:cNvPr id="43" name="Oval 42">
              <a:extLst>
                <a:ext uri="{FF2B5EF4-FFF2-40B4-BE49-F238E27FC236}">
                  <a16:creationId xmlns:a16="http://schemas.microsoft.com/office/drawing/2014/main" id="{ABEE904F-957B-2446-AD8B-ED41E9656E67}"/>
                </a:ext>
              </a:extLst>
            </p:cNvPr>
            <p:cNvSpPr/>
            <p:nvPr/>
          </p:nvSpPr>
          <p:spPr>
            <a:xfrm>
              <a:off x="3040185" y="5641803"/>
              <a:ext cx="320430" cy="320430"/>
            </a:xfrm>
            <a:prstGeom prst="ellipse">
              <a:avLst/>
            </a:prstGeom>
            <a:solidFill>
              <a:srgbClr val="66CC3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46800" rtlCol="0" anchor="ctr"/>
            <a:lstStyle/>
            <a:p>
              <a:pPr algn="ctr"/>
              <a:r>
                <a:rPr lang="en-VN" sz="1000" b="1" dirty="0"/>
                <a:t>b</a:t>
              </a:r>
            </a:p>
          </p:txBody>
        </p:sp>
      </p:grpSp>
      <p:grpSp>
        <p:nvGrpSpPr>
          <p:cNvPr id="59" name="Group 58">
            <a:extLst>
              <a:ext uri="{FF2B5EF4-FFF2-40B4-BE49-F238E27FC236}">
                <a16:creationId xmlns:a16="http://schemas.microsoft.com/office/drawing/2014/main" id="{2236F61B-C1DF-3F4D-9E47-6E03B90D013F}"/>
              </a:ext>
            </a:extLst>
          </p:cNvPr>
          <p:cNvGrpSpPr/>
          <p:nvPr/>
        </p:nvGrpSpPr>
        <p:grpSpPr>
          <a:xfrm>
            <a:off x="6639792" y="4724262"/>
            <a:ext cx="2291910" cy="1322184"/>
            <a:chOff x="4410768" y="4370606"/>
            <a:chExt cx="3235926" cy="1866779"/>
          </a:xfrm>
        </p:grpSpPr>
        <p:pic>
          <p:nvPicPr>
            <p:cNvPr id="45" name="Picture 44">
              <a:extLst>
                <a:ext uri="{FF2B5EF4-FFF2-40B4-BE49-F238E27FC236}">
                  <a16:creationId xmlns:a16="http://schemas.microsoft.com/office/drawing/2014/main" id="{B45F319D-81B8-1343-B9DE-F9052CAC2683}"/>
                </a:ext>
              </a:extLst>
            </p:cNvPr>
            <p:cNvPicPr>
              <a:picLocks noChangeAspect="1"/>
            </p:cNvPicPr>
            <p:nvPr/>
          </p:nvPicPr>
          <p:blipFill rotWithShape="1">
            <a:blip r:embed="rId7"/>
            <a:srcRect l="2268" t="76621" r="55467" b="2935"/>
            <a:stretch/>
          </p:blipFill>
          <p:spPr>
            <a:xfrm>
              <a:off x="4410768" y="4390793"/>
              <a:ext cx="2040572" cy="870733"/>
            </a:xfrm>
            <a:prstGeom prst="roundRect">
              <a:avLst>
                <a:gd name="adj" fmla="val 9232"/>
              </a:avLst>
            </a:prstGeom>
            <a:ln>
              <a:solidFill>
                <a:schemeClr val="bg1">
                  <a:lumMod val="85000"/>
                </a:schemeClr>
              </a:solidFill>
            </a:ln>
          </p:spPr>
        </p:pic>
        <p:sp>
          <p:nvSpPr>
            <p:cNvPr id="46" name="Rectangle 45">
              <a:extLst>
                <a:ext uri="{FF2B5EF4-FFF2-40B4-BE49-F238E27FC236}">
                  <a16:creationId xmlns:a16="http://schemas.microsoft.com/office/drawing/2014/main" id="{F6E38A39-D73A-EB49-B0F1-B2A2F46CCBEA}"/>
                </a:ext>
              </a:extLst>
            </p:cNvPr>
            <p:cNvSpPr/>
            <p:nvPr/>
          </p:nvSpPr>
          <p:spPr>
            <a:xfrm>
              <a:off x="6611557" y="4370606"/>
              <a:ext cx="1035137" cy="912549"/>
            </a:xfrm>
            <a:prstGeom prst="rect">
              <a:avLst/>
            </a:prstGeom>
          </p:spPr>
          <p:txBody>
            <a:bodyPr wrap="square" anchor="ctr">
              <a:spAutoFit/>
            </a:bodyPr>
            <a:lstStyle/>
            <a:p>
              <a:pPr lvl="0"/>
              <a:r>
                <a:rPr lang="en-US" sz="900" dirty="0">
                  <a:solidFill>
                    <a:srgbClr val="000000"/>
                  </a:solidFill>
                </a:rPr>
                <a:t>Decoupling from vibration sources</a:t>
              </a:r>
            </a:p>
          </p:txBody>
        </p:sp>
        <p:pic>
          <p:nvPicPr>
            <p:cNvPr id="47" name="Picture 46">
              <a:extLst>
                <a:ext uri="{FF2B5EF4-FFF2-40B4-BE49-F238E27FC236}">
                  <a16:creationId xmlns:a16="http://schemas.microsoft.com/office/drawing/2014/main" id="{C4DF9AC4-71A6-8D49-BA5A-1F5F59B9BAA9}"/>
                </a:ext>
              </a:extLst>
            </p:cNvPr>
            <p:cNvPicPr>
              <a:picLocks noChangeAspect="1"/>
            </p:cNvPicPr>
            <p:nvPr/>
          </p:nvPicPr>
          <p:blipFill rotWithShape="1">
            <a:blip r:embed="rId7"/>
            <a:srcRect l="54890" t="15615" r="3607" b="64309"/>
            <a:stretch/>
          </p:blipFill>
          <p:spPr>
            <a:xfrm>
              <a:off x="4410768" y="5366652"/>
              <a:ext cx="2040572" cy="870733"/>
            </a:xfrm>
            <a:prstGeom prst="roundRect">
              <a:avLst>
                <a:gd name="adj" fmla="val 9232"/>
              </a:avLst>
            </a:prstGeom>
            <a:ln>
              <a:solidFill>
                <a:schemeClr val="bg1">
                  <a:lumMod val="85000"/>
                </a:schemeClr>
              </a:solidFill>
            </a:ln>
          </p:spPr>
        </p:pic>
        <p:sp>
          <p:nvSpPr>
            <p:cNvPr id="49" name="Rectangle 48">
              <a:extLst>
                <a:ext uri="{FF2B5EF4-FFF2-40B4-BE49-F238E27FC236}">
                  <a16:creationId xmlns:a16="http://schemas.microsoft.com/office/drawing/2014/main" id="{4A3292C0-E119-3646-A6C0-C406BDAC32BB}"/>
                </a:ext>
              </a:extLst>
            </p:cNvPr>
            <p:cNvSpPr/>
            <p:nvPr/>
          </p:nvSpPr>
          <p:spPr>
            <a:xfrm>
              <a:off x="6611557" y="5443517"/>
              <a:ext cx="1035137" cy="717002"/>
            </a:xfrm>
            <a:prstGeom prst="rect">
              <a:avLst/>
            </a:prstGeom>
          </p:spPr>
          <p:txBody>
            <a:bodyPr wrap="square" anchor="ctr">
              <a:spAutoFit/>
            </a:bodyPr>
            <a:lstStyle/>
            <a:p>
              <a:pPr lvl="0"/>
              <a:r>
                <a:rPr lang="en-US" sz="900" dirty="0">
                  <a:solidFill>
                    <a:srgbClr val="000000"/>
                  </a:solidFill>
                </a:rPr>
                <a:t>Decoupling from external heat sources</a:t>
              </a:r>
            </a:p>
          </p:txBody>
        </p:sp>
        <p:sp>
          <p:nvSpPr>
            <p:cNvPr id="48" name="Oval 47">
              <a:extLst>
                <a:ext uri="{FF2B5EF4-FFF2-40B4-BE49-F238E27FC236}">
                  <a16:creationId xmlns:a16="http://schemas.microsoft.com/office/drawing/2014/main" id="{5DA380CE-29F2-1345-A6B3-C0C0127DBAD1}"/>
                </a:ext>
              </a:extLst>
            </p:cNvPr>
            <p:cNvSpPr/>
            <p:nvPr/>
          </p:nvSpPr>
          <p:spPr>
            <a:xfrm>
              <a:off x="6291125" y="4665944"/>
              <a:ext cx="320430" cy="320430"/>
            </a:xfrm>
            <a:prstGeom prst="ellipse">
              <a:avLst/>
            </a:prstGeom>
            <a:solidFill>
              <a:srgbClr val="66CC3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46800" rtlCol="0" anchor="ctr"/>
            <a:lstStyle/>
            <a:p>
              <a:pPr algn="ctr"/>
              <a:r>
                <a:rPr lang="en-VN" sz="1000" b="1" dirty="0"/>
                <a:t>c</a:t>
              </a:r>
            </a:p>
          </p:txBody>
        </p:sp>
        <p:sp>
          <p:nvSpPr>
            <p:cNvPr id="50" name="Oval 49">
              <a:extLst>
                <a:ext uri="{FF2B5EF4-FFF2-40B4-BE49-F238E27FC236}">
                  <a16:creationId xmlns:a16="http://schemas.microsoft.com/office/drawing/2014/main" id="{8EC019D2-99CB-3F4A-9B71-B3E9CBA20EB1}"/>
                </a:ext>
              </a:extLst>
            </p:cNvPr>
            <p:cNvSpPr/>
            <p:nvPr/>
          </p:nvSpPr>
          <p:spPr>
            <a:xfrm>
              <a:off x="6291125" y="5641803"/>
              <a:ext cx="320430" cy="320430"/>
            </a:xfrm>
            <a:prstGeom prst="ellipse">
              <a:avLst/>
            </a:prstGeom>
            <a:solidFill>
              <a:srgbClr val="66CC3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46800" rtlCol="0" anchor="ctr"/>
            <a:lstStyle/>
            <a:p>
              <a:pPr algn="ctr"/>
              <a:r>
                <a:rPr lang="en-VN" sz="1000" b="1" dirty="0"/>
                <a:t>d</a:t>
              </a:r>
            </a:p>
          </p:txBody>
        </p:sp>
      </p:grpSp>
      <p:grpSp>
        <p:nvGrpSpPr>
          <p:cNvPr id="61" name="Group 60">
            <a:extLst>
              <a:ext uri="{FF2B5EF4-FFF2-40B4-BE49-F238E27FC236}">
                <a16:creationId xmlns:a16="http://schemas.microsoft.com/office/drawing/2014/main" id="{BE0673E2-9FE2-1242-BF7E-4AEA3D2D615E}"/>
              </a:ext>
            </a:extLst>
          </p:cNvPr>
          <p:cNvGrpSpPr/>
          <p:nvPr/>
        </p:nvGrpSpPr>
        <p:grpSpPr>
          <a:xfrm>
            <a:off x="9029000" y="4738555"/>
            <a:ext cx="2216461" cy="1322696"/>
            <a:chOff x="8081396" y="4390792"/>
            <a:chExt cx="3129400" cy="1867503"/>
          </a:xfrm>
        </p:grpSpPr>
        <p:sp>
          <p:nvSpPr>
            <p:cNvPr id="52" name="Rectangle 51">
              <a:extLst>
                <a:ext uri="{FF2B5EF4-FFF2-40B4-BE49-F238E27FC236}">
                  <a16:creationId xmlns:a16="http://schemas.microsoft.com/office/drawing/2014/main" id="{7D37AD23-9F05-B949-99DA-1D3C3CE7735C}"/>
                </a:ext>
              </a:extLst>
            </p:cNvPr>
            <p:cNvSpPr/>
            <p:nvPr/>
          </p:nvSpPr>
          <p:spPr>
            <a:xfrm>
              <a:off x="10282184" y="4468378"/>
              <a:ext cx="928612" cy="717002"/>
            </a:xfrm>
            <a:prstGeom prst="rect">
              <a:avLst/>
            </a:prstGeom>
          </p:spPr>
          <p:txBody>
            <a:bodyPr wrap="square" anchor="ctr">
              <a:spAutoFit/>
            </a:bodyPr>
            <a:lstStyle/>
            <a:p>
              <a:pPr lvl="0"/>
              <a:r>
                <a:rPr lang="en-US" sz="900" dirty="0">
                  <a:solidFill>
                    <a:srgbClr val="000000"/>
                  </a:solidFill>
                </a:rPr>
                <a:t>Shielding from direct sunlight</a:t>
              </a:r>
            </a:p>
          </p:txBody>
        </p:sp>
        <p:pic>
          <p:nvPicPr>
            <p:cNvPr id="53" name="Picture 52">
              <a:extLst>
                <a:ext uri="{FF2B5EF4-FFF2-40B4-BE49-F238E27FC236}">
                  <a16:creationId xmlns:a16="http://schemas.microsoft.com/office/drawing/2014/main" id="{2AE5850C-FFE4-2A4A-9174-2F7D724A8777}"/>
                </a:ext>
              </a:extLst>
            </p:cNvPr>
            <p:cNvPicPr>
              <a:picLocks noChangeAspect="1"/>
            </p:cNvPicPr>
            <p:nvPr/>
          </p:nvPicPr>
          <p:blipFill rotWithShape="1">
            <a:blip r:embed="rId7"/>
            <a:srcRect l="51708" t="77258" r="5557" b="2070"/>
            <a:stretch/>
          </p:blipFill>
          <p:spPr>
            <a:xfrm>
              <a:off x="8081396" y="5366652"/>
              <a:ext cx="2040572" cy="870733"/>
            </a:xfrm>
            <a:prstGeom prst="roundRect">
              <a:avLst>
                <a:gd name="adj" fmla="val 9232"/>
              </a:avLst>
            </a:prstGeom>
            <a:ln>
              <a:solidFill>
                <a:schemeClr val="bg1">
                  <a:lumMod val="85000"/>
                </a:schemeClr>
              </a:solidFill>
            </a:ln>
          </p:spPr>
        </p:pic>
        <p:sp>
          <p:nvSpPr>
            <p:cNvPr id="55" name="Rectangle 54">
              <a:extLst>
                <a:ext uri="{FF2B5EF4-FFF2-40B4-BE49-F238E27FC236}">
                  <a16:creationId xmlns:a16="http://schemas.microsoft.com/office/drawing/2014/main" id="{EFB99B3C-5B2F-4244-A734-F644A509D4D3}"/>
                </a:ext>
              </a:extLst>
            </p:cNvPr>
            <p:cNvSpPr/>
            <p:nvPr/>
          </p:nvSpPr>
          <p:spPr>
            <a:xfrm>
              <a:off x="10282183" y="5345746"/>
              <a:ext cx="928613" cy="912549"/>
            </a:xfrm>
            <a:prstGeom prst="rect">
              <a:avLst/>
            </a:prstGeom>
          </p:spPr>
          <p:txBody>
            <a:bodyPr wrap="square" anchor="ctr">
              <a:spAutoFit/>
            </a:bodyPr>
            <a:lstStyle/>
            <a:p>
              <a:pPr lvl="0"/>
              <a:r>
                <a:rPr lang="en-US" sz="900" dirty="0">
                  <a:solidFill>
                    <a:srgbClr val="000000"/>
                  </a:solidFill>
                </a:rPr>
                <a:t>Ensure stable supply voltage</a:t>
              </a:r>
            </a:p>
          </p:txBody>
        </p:sp>
        <p:grpSp>
          <p:nvGrpSpPr>
            <p:cNvPr id="58" name="Group 57">
              <a:extLst>
                <a:ext uri="{FF2B5EF4-FFF2-40B4-BE49-F238E27FC236}">
                  <a16:creationId xmlns:a16="http://schemas.microsoft.com/office/drawing/2014/main" id="{B72CB754-655F-5446-93DF-5A2AC653A719}"/>
                </a:ext>
              </a:extLst>
            </p:cNvPr>
            <p:cNvGrpSpPr/>
            <p:nvPr/>
          </p:nvGrpSpPr>
          <p:grpSpPr>
            <a:xfrm>
              <a:off x="8081396" y="4390792"/>
              <a:ext cx="2040572" cy="870734"/>
              <a:chOff x="8081396" y="4390792"/>
              <a:chExt cx="2040572" cy="870734"/>
            </a:xfrm>
          </p:grpSpPr>
          <p:pic>
            <p:nvPicPr>
              <p:cNvPr id="51" name="Picture 50">
                <a:extLst>
                  <a:ext uri="{FF2B5EF4-FFF2-40B4-BE49-F238E27FC236}">
                    <a16:creationId xmlns:a16="http://schemas.microsoft.com/office/drawing/2014/main" id="{7600B15F-F6DA-E048-A9FC-F031927EC905}"/>
                  </a:ext>
                </a:extLst>
              </p:cNvPr>
              <p:cNvPicPr>
                <a:picLocks noChangeAspect="1"/>
              </p:cNvPicPr>
              <p:nvPr/>
            </p:nvPicPr>
            <p:blipFill rotWithShape="1">
              <a:blip r:embed="rId7"/>
              <a:srcRect l="52959" t="41620" r="-9498" b="31031"/>
              <a:stretch/>
            </p:blipFill>
            <p:spPr>
              <a:xfrm>
                <a:off x="8081396" y="4390793"/>
                <a:ext cx="2040572" cy="870733"/>
              </a:xfrm>
              <a:prstGeom prst="roundRect">
                <a:avLst>
                  <a:gd name="adj" fmla="val 9232"/>
                </a:avLst>
              </a:prstGeom>
              <a:ln>
                <a:solidFill>
                  <a:schemeClr val="bg1">
                    <a:lumMod val="85000"/>
                  </a:schemeClr>
                </a:solidFill>
              </a:ln>
            </p:spPr>
          </p:pic>
          <p:sp>
            <p:nvSpPr>
              <p:cNvPr id="57" name="Rectangle 56">
                <a:extLst>
                  <a:ext uri="{FF2B5EF4-FFF2-40B4-BE49-F238E27FC236}">
                    <a16:creationId xmlns:a16="http://schemas.microsoft.com/office/drawing/2014/main" id="{E1FAA4AD-A9F6-FA41-9CD6-C08E420C5164}"/>
                  </a:ext>
                </a:extLst>
              </p:cNvPr>
              <p:cNvSpPr/>
              <p:nvPr/>
            </p:nvSpPr>
            <p:spPr>
              <a:xfrm>
                <a:off x="8876963" y="4390792"/>
                <a:ext cx="857756" cy="189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sz="1200"/>
              </a:p>
            </p:txBody>
          </p:sp>
        </p:grpSp>
        <p:sp>
          <p:nvSpPr>
            <p:cNvPr id="54" name="Oval 53">
              <a:extLst>
                <a:ext uri="{FF2B5EF4-FFF2-40B4-BE49-F238E27FC236}">
                  <a16:creationId xmlns:a16="http://schemas.microsoft.com/office/drawing/2014/main" id="{47F34691-F27D-DD48-BA83-165AF534CE32}"/>
                </a:ext>
              </a:extLst>
            </p:cNvPr>
            <p:cNvSpPr/>
            <p:nvPr/>
          </p:nvSpPr>
          <p:spPr>
            <a:xfrm>
              <a:off x="9961753" y="4665944"/>
              <a:ext cx="320430" cy="320430"/>
            </a:xfrm>
            <a:prstGeom prst="ellipse">
              <a:avLst/>
            </a:prstGeom>
            <a:solidFill>
              <a:srgbClr val="66CC3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46800" rtlCol="0" anchor="ctr"/>
            <a:lstStyle/>
            <a:p>
              <a:pPr algn="ctr"/>
              <a:r>
                <a:rPr lang="en-VN" sz="1000" b="1" dirty="0"/>
                <a:t>e</a:t>
              </a:r>
            </a:p>
          </p:txBody>
        </p:sp>
        <p:sp>
          <p:nvSpPr>
            <p:cNvPr id="56" name="Oval 55">
              <a:extLst>
                <a:ext uri="{FF2B5EF4-FFF2-40B4-BE49-F238E27FC236}">
                  <a16:creationId xmlns:a16="http://schemas.microsoft.com/office/drawing/2014/main" id="{BE3065EE-5966-2C4B-A7D3-B247DD5265DC}"/>
                </a:ext>
              </a:extLst>
            </p:cNvPr>
            <p:cNvSpPr/>
            <p:nvPr/>
          </p:nvSpPr>
          <p:spPr>
            <a:xfrm>
              <a:off x="9961753" y="5641803"/>
              <a:ext cx="320430" cy="320430"/>
            </a:xfrm>
            <a:prstGeom prst="ellipse">
              <a:avLst/>
            </a:prstGeom>
            <a:solidFill>
              <a:srgbClr val="66CC3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46800" rtlCol="0" anchor="ctr"/>
            <a:lstStyle/>
            <a:p>
              <a:pPr algn="ctr"/>
              <a:r>
                <a:rPr lang="en-VN" sz="1000" b="1" dirty="0"/>
                <a:t>f</a:t>
              </a:r>
            </a:p>
          </p:txBody>
        </p:sp>
      </p:grpSp>
      <p:grpSp>
        <p:nvGrpSpPr>
          <p:cNvPr id="63" name="Group 62">
            <a:extLst>
              <a:ext uri="{FF2B5EF4-FFF2-40B4-BE49-F238E27FC236}">
                <a16:creationId xmlns:a16="http://schemas.microsoft.com/office/drawing/2014/main" id="{071CA427-A919-4937-A755-0A95AF0F9E92}"/>
              </a:ext>
            </a:extLst>
          </p:cNvPr>
          <p:cNvGrpSpPr/>
          <p:nvPr/>
        </p:nvGrpSpPr>
        <p:grpSpPr>
          <a:xfrm>
            <a:off x="839769" y="6387669"/>
            <a:ext cx="5150521" cy="235359"/>
            <a:chOff x="839769" y="6387669"/>
            <a:chExt cx="5150521" cy="235359"/>
          </a:xfrm>
        </p:grpSpPr>
        <p:grpSp>
          <p:nvGrpSpPr>
            <p:cNvPr id="64" name="Gruppierung 1">
              <a:extLst>
                <a:ext uri="{FF2B5EF4-FFF2-40B4-BE49-F238E27FC236}">
                  <a16:creationId xmlns:a16="http://schemas.microsoft.com/office/drawing/2014/main" id="{C45F9E03-02EC-464F-A097-C72794B898FE}"/>
                </a:ext>
              </a:extLst>
            </p:cNvPr>
            <p:cNvGrpSpPr/>
            <p:nvPr/>
          </p:nvGrpSpPr>
          <p:grpSpPr>
            <a:xfrm>
              <a:off x="839769" y="6387669"/>
              <a:ext cx="5150521" cy="235359"/>
              <a:chOff x="839769" y="6369739"/>
              <a:chExt cx="5150521" cy="235359"/>
            </a:xfrm>
          </p:grpSpPr>
          <p:sp>
            <p:nvSpPr>
              <p:cNvPr id="66" name="Fußzeilenplatzhalter 4">
                <a:extLst>
                  <a:ext uri="{FF2B5EF4-FFF2-40B4-BE49-F238E27FC236}">
                    <a16:creationId xmlns:a16="http://schemas.microsoft.com/office/drawing/2014/main" id="{F0675317-C9B0-4F22-83BA-86DAEE89A8DE}"/>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67" name="Fußzeilenplatzhalter 4">
                <a:extLst>
                  <a:ext uri="{FF2B5EF4-FFF2-40B4-BE49-F238E27FC236}">
                    <a16:creationId xmlns:a16="http://schemas.microsoft.com/office/drawing/2014/main" id="{3B33A402-5813-4DD1-BD43-06BBDAAECE47}"/>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65" name="Straight Connector 64">
              <a:extLst>
                <a:ext uri="{FF2B5EF4-FFF2-40B4-BE49-F238E27FC236}">
                  <a16:creationId xmlns:a16="http://schemas.microsoft.com/office/drawing/2014/main" id="{7586F485-DC29-47A0-B2C1-0BD8C9879B56}"/>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204171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Rounded Corners 49">
            <a:extLst>
              <a:ext uri="{FF2B5EF4-FFF2-40B4-BE49-F238E27FC236}">
                <a16:creationId xmlns:a16="http://schemas.microsoft.com/office/drawing/2014/main" id="{63CEA330-BFA5-6B13-80CD-5494351CB7D5}"/>
              </a:ext>
            </a:extLst>
          </p:cNvPr>
          <p:cNvSpPr/>
          <p:nvPr/>
        </p:nvSpPr>
        <p:spPr>
          <a:xfrm>
            <a:off x="843921" y="3123691"/>
            <a:ext cx="5580494" cy="3191867"/>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ttps://www.youtube.com/watch?v=ZWgm5ve_lsY</a:t>
            </a:r>
          </a:p>
        </p:txBody>
      </p:sp>
      <p:sp>
        <p:nvSpPr>
          <p:cNvPr id="73" name="Rectangle: Rounded Corners 49">
            <a:extLst>
              <a:ext uri="{FF2B5EF4-FFF2-40B4-BE49-F238E27FC236}">
                <a16:creationId xmlns:a16="http://schemas.microsoft.com/office/drawing/2014/main" id="{BE64514B-8FBD-FF39-CC7F-19AADB24616C}"/>
              </a:ext>
            </a:extLst>
          </p:cNvPr>
          <p:cNvSpPr/>
          <p:nvPr/>
        </p:nvSpPr>
        <p:spPr>
          <a:xfrm>
            <a:off x="928351" y="723643"/>
            <a:ext cx="5580494" cy="200865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80EC6FE9-91E5-C9FB-AE43-FDD87EB2F0DC}"/>
              </a:ext>
            </a:extLst>
          </p:cNvPr>
          <p:cNvSpPr txBox="1"/>
          <p:nvPr/>
        </p:nvSpPr>
        <p:spPr>
          <a:xfrm>
            <a:off x="8101944" y="1143917"/>
            <a:ext cx="395093" cy="246221"/>
          </a:xfrm>
          <a:prstGeom prst="rect">
            <a:avLst/>
          </a:prstGeom>
          <a:noFill/>
        </p:spPr>
        <p:txBody>
          <a:bodyPr wrap="square" rtlCol="0">
            <a:spAutoFit/>
          </a:bodyPr>
          <a:lstStyle/>
          <a:p>
            <a:r>
              <a:rPr lang="en-US" sz="1000" b="1"/>
              <a:t>yes</a:t>
            </a:r>
          </a:p>
        </p:txBody>
      </p:sp>
      <p:sp>
        <p:nvSpPr>
          <p:cNvPr id="2" name="Title 1">
            <a:extLst>
              <a:ext uri="{FF2B5EF4-FFF2-40B4-BE49-F238E27FC236}">
                <a16:creationId xmlns:a16="http://schemas.microsoft.com/office/drawing/2014/main" id="{78FE974C-CC84-9412-9840-21168DAAD584}"/>
              </a:ext>
            </a:extLst>
          </p:cNvPr>
          <p:cNvSpPr>
            <a:spLocks noGrp="1"/>
          </p:cNvSpPr>
          <p:nvPr>
            <p:ph type="title"/>
          </p:nvPr>
        </p:nvSpPr>
        <p:spPr/>
        <p:txBody>
          <a:bodyPr/>
          <a:lstStyle/>
          <a:p>
            <a:r>
              <a:rPr lang="en-US" err="1"/>
              <a:t>SCDxx</a:t>
            </a:r>
            <a:r>
              <a:rPr lang="en-US"/>
              <a:t> – Optical Carbon Dioxide Sensors </a:t>
            </a:r>
          </a:p>
        </p:txBody>
      </p:sp>
      <p:cxnSp>
        <p:nvCxnSpPr>
          <p:cNvPr id="35" name="Straight Arrow Connector 34">
            <a:extLst>
              <a:ext uri="{FF2B5EF4-FFF2-40B4-BE49-F238E27FC236}">
                <a16:creationId xmlns:a16="http://schemas.microsoft.com/office/drawing/2014/main" id="{E464327C-0E59-A2ED-EFBD-EA38AB251C2F}"/>
              </a:ext>
            </a:extLst>
          </p:cNvPr>
          <p:cNvCxnSpPr>
            <a:cxnSpLocks/>
          </p:cNvCxnSpPr>
          <p:nvPr/>
        </p:nvCxnSpPr>
        <p:spPr>
          <a:xfrm>
            <a:off x="8168175" y="1376342"/>
            <a:ext cx="468824"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AFFA4D82-7CB2-A170-0E4E-4268F0F0C504}"/>
              </a:ext>
            </a:extLst>
          </p:cNvPr>
          <p:cNvCxnSpPr>
            <a:cxnSpLocks/>
          </p:cNvCxnSpPr>
          <p:nvPr/>
        </p:nvCxnSpPr>
        <p:spPr>
          <a:xfrm>
            <a:off x="7448292" y="1624720"/>
            <a:ext cx="0" cy="236122"/>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3FC5BE8-92C6-E216-0AD0-1F5F2C38B3E6}"/>
              </a:ext>
            </a:extLst>
          </p:cNvPr>
          <p:cNvCxnSpPr>
            <a:cxnSpLocks/>
            <a:stCxn id="3" idx="2"/>
            <a:endCxn id="4" idx="0"/>
          </p:cNvCxnSpPr>
          <p:nvPr/>
        </p:nvCxnSpPr>
        <p:spPr>
          <a:xfrm>
            <a:off x="7448175" y="2495513"/>
            <a:ext cx="0" cy="1730553"/>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5A61F65-23B9-271D-D9EE-A05E862E4DD9}"/>
              </a:ext>
            </a:extLst>
          </p:cNvPr>
          <p:cNvCxnSpPr>
            <a:cxnSpLocks/>
          </p:cNvCxnSpPr>
          <p:nvPr/>
        </p:nvCxnSpPr>
        <p:spPr>
          <a:xfrm>
            <a:off x="7448292" y="868398"/>
            <a:ext cx="0" cy="26283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C69340B9-4888-FA08-6AE5-D6DA232E8C3B}"/>
              </a:ext>
            </a:extLst>
          </p:cNvPr>
          <p:cNvCxnSpPr>
            <a:cxnSpLocks/>
          </p:cNvCxnSpPr>
          <p:nvPr/>
        </p:nvCxnSpPr>
        <p:spPr>
          <a:xfrm flipV="1">
            <a:off x="8158767" y="2184972"/>
            <a:ext cx="273618" cy="2621"/>
          </a:xfrm>
          <a:prstGeom prst="straightConnector1">
            <a:avLst/>
          </a:prstGeom>
          <a:ln w="12700">
            <a:solidFill>
              <a:schemeClr val="bg1">
                <a:lumMod val="6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E853DD27-42BA-0490-194B-CD561706D449}"/>
              </a:ext>
            </a:extLst>
          </p:cNvPr>
          <p:cNvSpPr txBox="1"/>
          <p:nvPr/>
        </p:nvSpPr>
        <p:spPr>
          <a:xfrm>
            <a:off x="7410943" y="1614621"/>
            <a:ext cx="395093" cy="246221"/>
          </a:xfrm>
          <a:prstGeom prst="rect">
            <a:avLst/>
          </a:prstGeom>
          <a:noFill/>
        </p:spPr>
        <p:txBody>
          <a:bodyPr wrap="square" rtlCol="0">
            <a:spAutoFit/>
          </a:bodyPr>
          <a:lstStyle/>
          <a:p>
            <a:r>
              <a:rPr lang="en-US" sz="1000" b="1"/>
              <a:t>no</a:t>
            </a:r>
          </a:p>
        </p:txBody>
      </p:sp>
      <p:sp>
        <p:nvSpPr>
          <p:cNvPr id="65" name="TextBox 64">
            <a:extLst>
              <a:ext uri="{FF2B5EF4-FFF2-40B4-BE49-F238E27FC236}">
                <a16:creationId xmlns:a16="http://schemas.microsoft.com/office/drawing/2014/main" id="{BDA6A1CF-493E-EE38-8934-8B5DDFFAE53A}"/>
              </a:ext>
            </a:extLst>
          </p:cNvPr>
          <p:cNvSpPr txBox="1"/>
          <p:nvPr/>
        </p:nvSpPr>
        <p:spPr>
          <a:xfrm>
            <a:off x="7429408" y="2690561"/>
            <a:ext cx="395093" cy="246221"/>
          </a:xfrm>
          <a:prstGeom prst="rect">
            <a:avLst/>
          </a:prstGeom>
          <a:noFill/>
        </p:spPr>
        <p:txBody>
          <a:bodyPr wrap="square" rtlCol="0">
            <a:spAutoFit/>
          </a:bodyPr>
          <a:lstStyle/>
          <a:p>
            <a:r>
              <a:rPr lang="en-US" sz="1000" b="1"/>
              <a:t>no</a:t>
            </a:r>
          </a:p>
        </p:txBody>
      </p:sp>
      <p:sp>
        <p:nvSpPr>
          <p:cNvPr id="68" name="TextBox 67">
            <a:extLst>
              <a:ext uri="{FF2B5EF4-FFF2-40B4-BE49-F238E27FC236}">
                <a16:creationId xmlns:a16="http://schemas.microsoft.com/office/drawing/2014/main" id="{EEA007FB-7E53-3B1D-D83B-8E648C277915}"/>
              </a:ext>
            </a:extLst>
          </p:cNvPr>
          <p:cNvSpPr txBox="1"/>
          <p:nvPr/>
        </p:nvSpPr>
        <p:spPr>
          <a:xfrm>
            <a:off x="8101944" y="1938754"/>
            <a:ext cx="395093" cy="246221"/>
          </a:xfrm>
          <a:prstGeom prst="rect">
            <a:avLst/>
          </a:prstGeom>
          <a:noFill/>
        </p:spPr>
        <p:txBody>
          <a:bodyPr wrap="square" rtlCol="0">
            <a:spAutoFit/>
          </a:bodyPr>
          <a:lstStyle/>
          <a:p>
            <a:r>
              <a:rPr lang="en-US" sz="1000" b="1"/>
              <a:t>yes</a:t>
            </a:r>
          </a:p>
        </p:txBody>
      </p:sp>
      <p:sp>
        <p:nvSpPr>
          <p:cNvPr id="120" name="TextBox 119">
            <a:extLst>
              <a:ext uri="{FF2B5EF4-FFF2-40B4-BE49-F238E27FC236}">
                <a16:creationId xmlns:a16="http://schemas.microsoft.com/office/drawing/2014/main" id="{39362DD2-34F5-5AB3-EA8C-775418827D9E}"/>
              </a:ext>
            </a:extLst>
          </p:cNvPr>
          <p:cNvSpPr txBox="1"/>
          <p:nvPr/>
        </p:nvSpPr>
        <p:spPr>
          <a:xfrm>
            <a:off x="847428" y="3196106"/>
            <a:ext cx="5405596" cy="2092881"/>
          </a:xfrm>
          <a:prstGeom prst="rect">
            <a:avLst/>
          </a:prstGeom>
          <a:noFill/>
        </p:spPr>
        <p:txBody>
          <a:bodyPr wrap="square" rtlCol="0">
            <a:spAutoFit/>
          </a:bodyPr>
          <a:lstStyle/>
          <a:p>
            <a:pPr algn="ctr"/>
            <a:r>
              <a:rPr lang="en-US" b="1">
                <a:solidFill>
                  <a:srgbClr val="66CC33"/>
                </a:solidFill>
              </a:rPr>
              <a:t>How to Evaluate</a:t>
            </a:r>
          </a:p>
          <a:p>
            <a:pPr algn="ctr"/>
            <a:endParaRPr lang="en-US" b="1">
              <a:solidFill>
                <a:srgbClr val="66CC33"/>
              </a:solidFill>
            </a:endParaRPr>
          </a:p>
          <a:p>
            <a:pPr algn="ctr"/>
            <a:endParaRPr lang="en-US" b="1">
              <a:solidFill>
                <a:srgbClr val="66CC33"/>
              </a:solidFill>
            </a:endParaRPr>
          </a:p>
          <a:p>
            <a:pPr algn="ctr"/>
            <a:endParaRPr lang="en-US" b="1">
              <a:solidFill>
                <a:srgbClr val="66CC33"/>
              </a:solidFill>
            </a:endParaRPr>
          </a:p>
          <a:p>
            <a:pPr algn="ctr"/>
            <a:endParaRPr lang="en-US" sz="1000" b="1">
              <a:solidFill>
                <a:srgbClr val="66CC33"/>
              </a:solidFill>
            </a:endParaRPr>
          </a:p>
          <a:p>
            <a:pPr algn="ctr"/>
            <a:r>
              <a:rPr lang="en-US" b="1">
                <a:solidFill>
                  <a:srgbClr val="66CC33"/>
                </a:solidFill>
              </a:rPr>
              <a:t>Useful Links</a:t>
            </a:r>
          </a:p>
          <a:p>
            <a:pPr algn="ctr"/>
            <a:endParaRPr lang="en-US" b="1">
              <a:solidFill>
                <a:srgbClr val="66CC33"/>
              </a:solidFill>
            </a:endParaRPr>
          </a:p>
        </p:txBody>
      </p:sp>
      <p:sp>
        <p:nvSpPr>
          <p:cNvPr id="124" name="TextBox 123">
            <a:extLst>
              <a:ext uri="{FF2B5EF4-FFF2-40B4-BE49-F238E27FC236}">
                <a16:creationId xmlns:a16="http://schemas.microsoft.com/office/drawing/2014/main" id="{23EA3926-47DB-571E-6F94-F87B1915E32B}"/>
              </a:ext>
            </a:extLst>
          </p:cNvPr>
          <p:cNvSpPr txBox="1"/>
          <p:nvPr/>
        </p:nvSpPr>
        <p:spPr>
          <a:xfrm>
            <a:off x="1114901" y="4650246"/>
            <a:ext cx="2943762" cy="1815882"/>
          </a:xfrm>
          <a:prstGeom prst="rect">
            <a:avLst/>
          </a:prstGeom>
          <a:noFill/>
        </p:spPr>
        <p:txBody>
          <a:bodyPr wrap="square" numCol="1"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Narrow"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Narrow" pitchFamily="34" charset="0"/>
                <a:ea typeface="+mn-ea"/>
                <a:cs typeface="Arial" charset="0"/>
              </a:rPr>
              <a:t>Basic Documents</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2"/>
              </a:rPr>
              <a:t>SCD40 &amp; SCD41 Datasheet</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3"/>
              </a:rPr>
              <a:t>SCD42 Datasheet</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4"/>
              </a:rPr>
              <a:t>SCD4x Design-In Guide</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5"/>
              </a:rPr>
              <a:t>SCD4x Handling Guide</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6"/>
              </a:rPr>
              <a:t>SCD30 Datasheet</a:t>
            </a:r>
            <a:r>
              <a:rPr lang="en-US" sz="1400">
                <a:solidFill>
                  <a:srgbClr val="000000"/>
                </a:solidFill>
              </a:rPr>
              <a:t> &amp; </a:t>
            </a:r>
            <a:r>
              <a:rPr lang="en-US" sz="1400">
                <a:solidFill>
                  <a:srgbClr val="000000"/>
                </a:solidFill>
                <a:hlinkClick r:id="rId7"/>
              </a:rPr>
              <a:t>Interface</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400">
              <a:solidFill>
                <a:srgbClr val="000000"/>
              </a:solidFill>
            </a:endParaRPr>
          </a:p>
        </p:txBody>
      </p:sp>
      <p:sp>
        <p:nvSpPr>
          <p:cNvPr id="74" name="TextBox 73">
            <a:extLst>
              <a:ext uri="{FF2B5EF4-FFF2-40B4-BE49-F238E27FC236}">
                <a16:creationId xmlns:a16="http://schemas.microsoft.com/office/drawing/2014/main" id="{A6DD742A-B5D9-FFC5-4C7A-6FBF34BFC4A8}"/>
              </a:ext>
            </a:extLst>
          </p:cNvPr>
          <p:cNvSpPr txBox="1"/>
          <p:nvPr/>
        </p:nvSpPr>
        <p:spPr>
          <a:xfrm>
            <a:off x="4003273" y="4857441"/>
            <a:ext cx="2526464" cy="1384995"/>
          </a:xfrm>
          <a:prstGeom prst="rect">
            <a:avLst/>
          </a:prstGeom>
          <a:noFill/>
        </p:spPr>
        <p:txBody>
          <a:bodyPr wrap="square">
            <a:spAutoFit/>
          </a:bodyPr>
          <a:lstStyle/>
          <a:p>
            <a:pPr marR="0" lvl="0" algn="l" defTabSz="914400" rtl="0" eaLnBrk="1" fontAlgn="base" latinLnBrk="0" hangingPunct="1">
              <a:lnSpc>
                <a:spcPct val="100000"/>
              </a:lnSpc>
              <a:spcBef>
                <a:spcPct val="0"/>
              </a:spcBef>
              <a:spcAft>
                <a:spcPct val="0"/>
              </a:spcAft>
              <a:buClrTx/>
              <a:buSzTx/>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rPr>
              <a:t>Drivers &amp; Tool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8"/>
              </a:rPr>
              <a:t>SCD4x Arduino Driver</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9"/>
              </a:rPr>
              <a:t>SCD4x Embedded Driver</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10"/>
              </a:rPr>
              <a:t>SCD4x Raspberry Pi Driver</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11"/>
              </a:rPr>
              <a:t>SCD30 Sample Code</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17" name="Rectangle 16">
            <a:extLst>
              <a:ext uri="{FF2B5EF4-FFF2-40B4-BE49-F238E27FC236}">
                <a16:creationId xmlns:a16="http://schemas.microsoft.com/office/drawing/2014/main" id="{5484D7DA-D9E9-5882-0901-258DFDB5372D}"/>
              </a:ext>
            </a:extLst>
          </p:cNvPr>
          <p:cNvSpPr/>
          <p:nvPr/>
        </p:nvSpPr>
        <p:spPr>
          <a:xfrm>
            <a:off x="9016475" y="1750751"/>
            <a:ext cx="1008670" cy="239626"/>
          </a:xfrm>
          <a:prstGeom prst="rect">
            <a:avLst/>
          </a:prstGeom>
          <a:solidFill>
            <a:schemeClr val="bg1"/>
          </a:solid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BS EN 50543</a:t>
            </a:r>
          </a:p>
        </p:txBody>
      </p:sp>
      <p:sp>
        <p:nvSpPr>
          <p:cNvPr id="19" name="Flowchart: Decision 18">
            <a:extLst>
              <a:ext uri="{FF2B5EF4-FFF2-40B4-BE49-F238E27FC236}">
                <a16:creationId xmlns:a16="http://schemas.microsoft.com/office/drawing/2014/main" id="{123AFEFD-9979-EE35-EB1C-57E204D1A9F9}"/>
              </a:ext>
            </a:extLst>
          </p:cNvPr>
          <p:cNvSpPr/>
          <p:nvPr/>
        </p:nvSpPr>
        <p:spPr>
          <a:xfrm>
            <a:off x="6718650" y="1131671"/>
            <a:ext cx="1440000" cy="493486"/>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UART / PWM</a:t>
            </a:r>
            <a:endParaRPr lang="en-US" sz="1200" baseline="-25000" dirty="0">
              <a:solidFill>
                <a:schemeClr val="tx1"/>
              </a:solidFill>
            </a:endParaRPr>
          </a:p>
        </p:txBody>
      </p:sp>
      <p:cxnSp>
        <p:nvCxnSpPr>
          <p:cNvPr id="43" name="Straight Arrow Connector 42">
            <a:extLst>
              <a:ext uri="{FF2B5EF4-FFF2-40B4-BE49-F238E27FC236}">
                <a16:creationId xmlns:a16="http://schemas.microsoft.com/office/drawing/2014/main" id="{194D5933-1814-31DE-284A-F9F1DFAA5D9F}"/>
              </a:ext>
            </a:extLst>
          </p:cNvPr>
          <p:cNvCxnSpPr>
            <a:cxnSpLocks/>
          </p:cNvCxnSpPr>
          <p:nvPr/>
        </p:nvCxnSpPr>
        <p:spPr>
          <a:xfrm>
            <a:off x="8432385" y="2184975"/>
            <a:ext cx="1088425" cy="0"/>
          </a:xfrm>
          <a:prstGeom prst="straightConnector1">
            <a:avLst/>
          </a:prstGeom>
          <a:ln w="12700">
            <a:solidFill>
              <a:schemeClr val="bg1">
                <a:lumMod val="6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087CE79-E359-4FF5-AC7F-F0B37D4B6EAD}"/>
              </a:ext>
            </a:extLst>
          </p:cNvPr>
          <p:cNvCxnSpPr>
            <a:cxnSpLocks/>
          </p:cNvCxnSpPr>
          <p:nvPr/>
        </p:nvCxnSpPr>
        <p:spPr>
          <a:xfrm>
            <a:off x="8182134" y="4480417"/>
            <a:ext cx="454865" cy="0"/>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94D30914-E3B9-469C-BE31-3F38E346D913}"/>
              </a:ext>
            </a:extLst>
          </p:cNvPr>
          <p:cNvSpPr txBox="1"/>
          <p:nvPr/>
        </p:nvSpPr>
        <p:spPr>
          <a:xfrm>
            <a:off x="8055384" y="5024951"/>
            <a:ext cx="395093" cy="246221"/>
          </a:xfrm>
          <a:prstGeom prst="rect">
            <a:avLst/>
          </a:prstGeom>
          <a:noFill/>
        </p:spPr>
        <p:txBody>
          <a:bodyPr wrap="square" rtlCol="0">
            <a:spAutoFit/>
          </a:bodyPr>
          <a:lstStyle/>
          <a:p>
            <a:r>
              <a:rPr lang="en-US" sz="1000" b="1"/>
              <a:t>yes</a:t>
            </a:r>
          </a:p>
        </p:txBody>
      </p:sp>
      <p:cxnSp>
        <p:nvCxnSpPr>
          <p:cNvPr id="130" name="Straight Arrow Connector 129">
            <a:extLst>
              <a:ext uri="{FF2B5EF4-FFF2-40B4-BE49-F238E27FC236}">
                <a16:creationId xmlns:a16="http://schemas.microsoft.com/office/drawing/2014/main" id="{957F1EF2-9206-54E6-841F-170C5CBC1261}"/>
              </a:ext>
            </a:extLst>
          </p:cNvPr>
          <p:cNvCxnSpPr>
            <a:cxnSpLocks/>
          </p:cNvCxnSpPr>
          <p:nvPr/>
        </p:nvCxnSpPr>
        <p:spPr>
          <a:xfrm flipV="1">
            <a:off x="9520785" y="2002409"/>
            <a:ext cx="25" cy="218528"/>
          </a:xfrm>
          <a:prstGeom prst="straightConnector1">
            <a:avLst/>
          </a:prstGeom>
          <a:ln w="12700">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18D5E914-BD17-3DA4-E0C4-EEB1FB7CEB93}"/>
              </a:ext>
            </a:extLst>
          </p:cNvPr>
          <p:cNvCxnSpPr>
            <a:cxnSpLocks/>
            <a:stCxn id="17" idx="0"/>
          </p:cNvCxnSpPr>
          <p:nvPr/>
        </p:nvCxnSpPr>
        <p:spPr>
          <a:xfrm flipV="1">
            <a:off x="9520810" y="1582257"/>
            <a:ext cx="2837" cy="16849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42BE7148-E4CD-11B3-EB51-4A7119EAD60D}"/>
              </a:ext>
            </a:extLst>
          </p:cNvPr>
          <p:cNvCxnSpPr>
            <a:cxnSpLocks/>
          </p:cNvCxnSpPr>
          <p:nvPr/>
        </p:nvCxnSpPr>
        <p:spPr>
          <a:xfrm>
            <a:off x="10105847" y="3543160"/>
            <a:ext cx="0" cy="69938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E50E5ADA-9C04-B675-ECA5-F85A4FE32727}"/>
              </a:ext>
            </a:extLst>
          </p:cNvPr>
          <p:cNvSpPr txBox="1"/>
          <p:nvPr/>
        </p:nvSpPr>
        <p:spPr>
          <a:xfrm>
            <a:off x="8068148" y="4243106"/>
            <a:ext cx="395093" cy="246221"/>
          </a:xfrm>
          <a:prstGeom prst="rect">
            <a:avLst/>
          </a:prstGeom>
          <a:noFill/>
        </p:spPr>
        <p:txBody>
          <a:bodyPr wrap="square" rtlCol="0">
            <a:spAutoFit/>
          </a:bodyPr>
          <a:lstStyle/>
          <a:p>
            <a:r>
              <a:rPr lang="en-US" sz="1000" b="1"/>
              <a:t>yes</a:t>
            </a:r>
          </a:p>
        </p:txBody>
      </p:sp>
      <p:cxnSp>
        <p:nvCxnSpPr>
          <p:cNvPr id="156" name="Straight Arrow Connector 155">
            <a:extLst>
              <a:ext uri="{FF2B5EF4-FFF2-40B4-BE49-F238E27FC236}">
                <a16:creationId xmlns:a16="http://schemas.microsoft.com/office/drawing/2014/main" id="{5F0C6152-71CD-D624-1FC5-D74D9278019A}"/>
              </a:ext>
            </a:extLst>
          </p:cNvPr>
          <p:cNvCxnSpPr>
            <a:cxnSpLocks/>
            <a:stCxn id="4" idx="2"/>
            <a:endCxn id="5" idx="0"/>
          </p:cNvCxnSpPr>
          <p:nvPr/>
        </p:nvCxnSpPr>
        <p:spPr>
          <a:xfrm flipH="1">
            <a:off x="7444970" y="4750020"/>
            <a:ext cx="3205" cy="29494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1920FB69-57E7-C2B6-8037-CE90DD4BED02}"/>
              </a:ext>
            </a:extLst>
          </p:cNvPr>
          <p:cNvSpPr txBox="1"/>
          <p:nvPr/>
        </p:nvSpPr>
        <p:spPr>
          <a:xfrm>
            <a:off x="7452007" y="4693950"/>
            <a:ext cx="395093" cy="246221"/>
          </a:xfrm>
          <a:prstGeom prst="rect">
            <a:avLst/>
          </a:prstGeom>
          <a:noFill/>
        </p:spPr>
        <p:txBody>
          <a:bodyPr wrap="square" rtlCol="0">
            <a:spAutoFit/>
          </a:bodyPr>
          <a:lstStyle/>
          <a:p>
            <a:r>
              <a:rPr lang="en-US" sz="1000" b="1"/>
              <a:t>no</a:t>
            </a:r>
          </a:p>
        </p:txBody>
      </p:sp>
      <p:cxnSp>
        <p:nvCxnSpPr>
          <p:cNvPr id="161" name="Straight Arrow Connector 160">
            <a:extLst>
              <a:ext uri="{FF2B5EF4-FFF2-40B4-BE49-F238E27FC236}">
                <a16:creationId xmlns:a16="http://schemas.microsoft.com/office/drawing/2014/main" id="{6C0FDD7E-76FD-1851-4D4C-D709563EC350}"/>
              </a:ext>
            </a:extLst>
          </p:cNvPr>
          <p:cNvCxnSpPr>
            <a:cxnSpLocks/>
          </p:cNvCxnSpPr>
          <p:nvPr/>
        </p:nvCxnSpPr>
        <p:spPr>
          <a:xfrm>
            <a:off x="8342938" y="4925412"/>
            <a:ext cx="276904" cy="0"/>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567124D3-A41A-DFA3-490E-98E308BFC7F8}"/>
              </a:ext>
            </a:extLst>
          </p:cNvPr>
          <p:cNvCxnSpPr>
            <a:cxnSpLocks/>
          </p:cNvCxnSpPr>
          <p:nvPr/>
        </p:nvCxnSpPr>
        <p:spPr>
          <a:xfrm>
            <a:off x="8342938" y="4925412"/>
            <a:ext cx="0" cy="431927"/>
          </a:xfrm>
          <a:prstGeom prst="straightConnector1">
            <a:avLst/>
          </a:prstGeom>
          <a:ln w="127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47B41049-4B94-5066-43E3-C3CC81E25F00}"/>
              </a:ext>
            </a:extLst>
          </p:cNvPr>
          <p:cNvCxnSpPr>
            <a:cxnSpLocks/>
          </p:cNvCxnSpPr>
          <p:nvPr/>
        </p:nvCxnSpPr>
        <p:spPr>
          <a:xfrm>
            <a:off x="8168175" y="5357339"/>
            <a:ext cx="174763" cy="0"/>
          </a:xfrm>
          <a:prstGeom prst="straightConnector1">
            <a:avLst/>
          </a:prstGeom>
          <a:ln w="127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6863C059-177C-3536-02FB-B1DC0B6C4A42}"/>
              </a:ext>
            </a:extLst>
          </p:cNvPr>
          <p:cNvCxnSpPr>
            <a:cxnSpLocks/>
          </p:cNvCxnSpPr>
          <p:nvPr/>
        </p:nvCxnSpPr>
        <p:spPr>
          <a:xfrm>
            <a:off x="7450560" y="5689470"/>
            <a:ext cx="1447" cy="290777"/>
          </a:xfrm>
          <a:prstGeom prst="straightConnector1">
            <a:avLst/>
          </a:prstGeom>
          <a:ln w="12700">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E6737D4B-A423-1149-3471-585A34AFACBE}"/>
              </a:ext>
            </a:extLst>
          </p:cNvPr>
          <p:cNvCxnSpPr>
            <a:cxnSpLocks/>
          </p:cNvCxnSpPr>
          <p:nvPr/>
        </p:nvCxnSpPr>
        <p:spPr>
          <a:xfrm>
            <a:off x="7446572" y="5983089"/>
            <a:ext cx="1203867" cy="0"/>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A7515CE7-9E72-2B92-E1B1-CA6CD9DF45D4}"/>
              </a:ext>
            </a:extLst>
          </p:cNvPr>
          <p:cNvSpPr txBox="1"/>
          <p:nvPr/>
        </p:nvSpPr>
        <p:spPr>
          <a:xfrm>
            <a:off x="7429408" y="5719436"/>
            <a:ext cx="395093" cy="246221"/>
          </a:xfrm>
          <a:prstGeom prst="rect">
            <a:avLst/>
          </a:prstGeom>
          <a:noFill/>
        </p:spPr>
        <p:txBody>
          <a:bodyPr wrap="square" rtlCol="0">
            <a:spAutoFit/>
          </a:bodyPr>
          <a:lstStyle/>
          <a:p>
            <a:r>
              <a:rPr lang="en-US" sz="1000" b="1"/>
              <a:t>no</a:t>
            </a:r>
          </a:p>
        </p:txBody>
      </p:sp>
      <p:sp>
        <p:nvSpPr>
          <p:cNvPr id="179" name="TextBox 178">
            <a:extLst>
              <a:ext uri="{FF2B5EF4-FFF2-40B4-BE49-F238E27FC236}">
                <a16:creationId xmlns:a16="http://schemas.microsoft.com/office/drawing/2014/main" id="{EB5420F2-5BC7-00E7-B1AE-99CEB66960CE}"/>
              </a:ext>
            </a:extLst>
          </p:cNvPr>
          <p:cNvSpPr txBox="1"/>
          <p:nvPr/>
        </p:nvSpPr>
        <p:spPr>
          <a:xfrm>
            <a:off x="2960486" y="1092058"/>
            <a:ext cx="3354671" cy="2277547"/>
          </a:xfrm>
          <a:prstGeom prst="rect">
            <a:avLst/>
          </a:prstGeom>
          <a:noFill/>
        </p:spPr>
        <p:txBody>
          <a:bodyPr wrap="square" rtlCol="0">
            <a:spAutoFit/>
          </a:bodyPr>
          <a:lstStyle/>
          <a:p>
            <a:r>
              <a:rPr lang="en-US" sz="1200" b="1"/>
              <a:t>SCD30: State-of-the-Art Transmissive NDIR Sensor</a:t>
            </a:r>
          </a:p>
          <a:p>
            <a:pPr marL="285750" indent="-285750">
              <a:buFont typeface="Wingdings" panose="05000000000000000000" pitchFamily="2" charset="2"/>
              <a:buChar char="§"/>
            </a:pPr>
            <a:r>
              <a:rPr lang="en-US" sz="1200"/>
              <a:t>Highest Accuracy: ± (30 ppm + 3%)</a:t>
            </a:r>
            <a:endParaRPr lang="en-US" sz="1200" b="1"/>
          </a:p>
          <a:p>
            <a:pPr marL="285750" indent="-285750">
              <a:buFont typeface="Wingdings" panose="05000000000000000000" pitchFamily="2" charset="2"/>
              <a:buChar char="§"/>
            </a:pPr>
            <a:r>
              <a:rPr lang="en-US" sz="1200"/>
              <a:t>Dual Channel detection for superior long-term stability</a:t>
            </a:r>
            <a:br>
              <a:rPr lang="en-US" sz="1200" b="1"/>
            </a:br>
            <a:endParaRPr lang="en-US" sz="1200" b="1"/>
          </a:p>
          <a:p>
            <a:r>
              <a:rPr lang="en-US" sz="1200" b="1"/>
              <a:t>SCD4x: Miniature Photoacoustic NDIR Sensor</a:t>
            </a:r>
          </a:p>
          <a:p>
            <a:pPr marL="285750" indent="-285750">
              <a:buFont typeface="Wingdings" panose="05000000000000000000" pitchFamily="2" charset="2"/>
              <a:buChar char="§"/>
            </a:pPr>
            <a:r>
              <a:rPr lang="en-US" sz="1200"/>
              <a:t>World’s smallest optical CO</a:t>
            </a:r>
            <a:r>
              <a:rPr lang="en-US" sz="1200" baseline="-25000"/>
              <a:t>2</a:t>
            </a:r>
            <a:r>
              <a:rPr lang="en-US" sz="1200"/>
              <a:t> Sensor</a:t>
            </a:r>
          </a:p>
          <a:p>
            <a:pPr marL="285750" indent="-285750">
              <a:buFont typeface="Wingdings" panose="05000000000000000000" pitchFamily="2" charset="2"/>
              <a:buChar char="§"/>
            </a:pPr>
            <a:r>
              <a:rPr lang="en-US" sz="1200"/>
              <a:t>SMD solderable: Enables cost-efficient and highly reliable automated manufacturing </a:t>
            </a:r>
          </a:p>
          <a:p>
            <a:pPr marL="285750" indent="-285750">
              <a:buFont typeface="Wingdings" panose="05000000000000000000" pitchFamily="2" charset="2"/>
              <a:buChar char="§"/>
            </a:pPr>
            <a:endParaRPr lang="en-US" sz="1100"/>
          </a:p>
          <a:p>
            <a:pPr marL="285750" indent="-285750">
              <a:buFont typeface="Wingdings" panose="05000000000000000000" pitchFamily="2" charset="2"/>
              <a:buChar char="§"/>
            </a:pPr>
            <a:endParaRPr lang="en-US" sz="1100"/>
          </a:p>
          <a:p>
            <a:pPr marL="285750" indent="-285750">
              <a:buFont typeface="Wingdings" panose="05000000000000000000" pitchFamily="2" charset="2"/>
              <a:buChar char="§"/>
            </a:pPr>
            <a:endParaRPr lang="en-US" sz="1200"/>
          </a:p>
        </p:txBody>
      </p:sp>
      <p:pic>
        <p:nvPicPr>
          <p:cNvPr id="185" name="Picture 184" descr="Diagram, engineering drawing&#10;&#10;Description automatically generated">
            <a:extLst>
              <a:ext uri="{FF2B5EF4-FFF2-40B4-BE49-F238E27FC236}">
                <a16:creationId xmlns:a16="http://schemas.microsoft.com/office/drawing/2014/main" id="{05204A7F-971B-7019-C294-6361F37CB412}"/>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1554" t="12618" r="27580" b="19379"/>
          <a:stretch/>
        </p:blipFill>
        <p:spPr>
          <a:xfrm>
            <a:off x="984251" y="1092058"/>
            <a:ext cx="1894803" cy="1565164"/>
          </a:xfrm>
          <a:prstGeom prst="rect">
            <a:avLst/>
          </a:prstGeom>
        </p:spPr>
      </p:pic>
      <p:pic>
        <p:nvPicPr>
          <p:cNvPr id="187" name="Picture 186">
            <a:extLst>
              <a:ext uri="{FF2B5EF4-FFF2-40B4-BE49-F238E27FC236}">
                <a16:creationId xmlns:a16="http://schemas.microsoft.com/office/drawing/2014/main" id="{E9F3C585-7DD6-494F-FE3E-239C9D5966FD}"/>
              </a:ext>
            </a:extLst>
          </p:cNvPr>
          <p:cNvPicPr>
            <a:picLocks noChangeAspect="1"/>
          </p:cNvPicPr>
          <p:nvPr/>
        </p:nvPicPr>
        <p:blipFill>
          <a:blip r:embed="rId13"/>
          <a:stretch>
            <a:fillRect/>
          </a:stretch>
        </p:blipFill>
        <p:spPr>
          <a:xfrm>
            <a:off x="2936960" y="3761989"/>
            <a:ext cx="705319" cy="441217"/>
          </a:xfrm>
          <a:prstGeom prst="rect">
            <a:avLst/>
          </a:prstGeom>
        </p:spPr>
      </p:pic>
      <p:sp>
        <p:nvSpPr>
          <p:cNvPr id="189" name="TextBox 188">
            <a:extLst>
              <a:ext uri="{FF2B5EF4-FFF2-40B4-BE49-F238E27FC236}">
                <a16:creationId xmlns:a16="http://schemas.microsoft.com/office/drawing/2014/main" id="{B5B584F2-AE2B-2639-0103-5AD43A1F7C17}"/>
              </a:ext>
            </a:extLst>
          </p:cNvPr>
          <p:cNvSpPr txBox="1"/>
          <p:nvPr/>
        </p:nvSpPr>
        <p:spPr>
          <a:xfrm>
            <a:off x="2898819" y="4178910"/>
            <a:ext cx="2161513" cy="2616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a:hlinkClick r:id="rId14"/>
              </a:rPr>
              <a:t>SEK-SCD4x</a:t>
            </a:r>
            <a:r>
              <a:rPr lang="en-US" sz="1100"/>
              <a:t> + </a:t>
            </a:r>
            <a:r>
              <a:rPr lang="en-US" sz="1100">
                <a:hlinkClick r:id="rId15"/>
              </a:rPr>
              <a:t>SEK-</a:t>
            </a:r>
            <a:r>
              <a:rPr lang="en-US" sz="1100" err="1">
                <a:hlinkClick r:id="rId15"/>
              </a:rPr>
              <a:t>SensorBridge</a:t>
            </a:r>
            <a:endParaRPr kumimoji="0" lang="en-US" sz="11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pic>
        <p:nvPicPr>
          <p:cNvPr id="1026" name="Picture 2">
            <a:extLst>
              <a:ext uri="{FF2B5EF4-FFF2-40B4-BE49-F238E27FC236}">
                <a16:creationId xmlns:a16="http://schemas.microsoft.com/office/drawing/2014/main" id="{D46A0AE4-7CB1-6158-855C-551BA59601DB}"/>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70510" y="3688425"/>
            <a:ext cx="856477" cy="535774"/>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189">
            <a:extLst>
              <a:ext uri="{FF2B5EF4-FFF2-40B4-BE49-F238E27FC236}">
                <a16:creationId xmlns:a16="http://schemas.microsoft.com/office/drawing/2014/main" id="{06D60780-ACD2-915F-C7D3-AC97154FD93C}"/>
              </a:ext>
            </a:extLst>
          </p:cNvPr>
          <p:cNvSpPr txBox="1"/>
          <p:nvPr/>
        </p:nvSpPr>
        <p:spPr>
          <a:xfrm>
            <a:off x="943936" y="4174373"/>
            <a:ext cx="2161513" cy="2616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a:hlinkClick r:id="rId17"/>
              </a:rPr>
              <a:t>SEK-SCD30</a:t>
            </a:r>
            <a:r>
              <a:rPr lang="en-US" sz="1100"/>
              <a:t> + </a:t>
            </a:r>
            <a:r>
              <a:rPr lang="en-US" sz="1100">
                <a:hlinkClick r:id="rId15"/>
              </a:rPr>
              <a:t>SEK-</a:t>
            </a:r>
            <a:r>
              <a:rPr lang="en-US" sz="1100" err="1">
                <a:hlinkClick r:id="rId15"/>
              </a:rPr>
              <a:t>SensorBridge</a:t>
            </a:r>
            <a:endParaRPr kumimoji="0" lang="en-US" sz="11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pic>
        <p:nvPicPr>
          <p:cNvPr id="191" name="Picture 190" descr="A picture containing electronics, cable, jack, connector&#10;&#10;Description automatically generated">
            <a:extLst>
              <a:ext uri="{FF2B5EF4-FFF2-40B4-BE49-F238E27FC236}">
                <a16:creationId xmlns:a16="http://schemas.microsoft.com/office/drawing/2014/main" id="{A1E09E8A-9294-DEB9-DA0F-6A340C6B5469}"/>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0194" t="18932" r="20031" b="20758"/>
          <a:stretch/>
        </p:blipFill>
        <p:spPr>
          <a:xfrm>
            <a:off x="1899558" y="3754891"/>
            <a:ext cx="699670" cy="441217"/>
          </a:xfrm>
          <a:prstGeom prst="rect">
            <a:avLst/>
          </a:prstGeom>
        </p:spPr>
      </p:pic>
      <p:pic>
        <p:nvPicPr>
          <p:cNvPr id="1024" name="Picture 2" descr="The YouTube logo: a history | Creative Bloq">
            <a:extLst>
              <a:ext uri="{FF2B5EF4-FFF2-40B4-BE49-F238E27FC236}">
                <a16:creationId xmlns:a16="http://schemas.microsoft.com/office/drawing/2014/main" id="{F5B57F92-6953-5C7E-99D2-303D9281F37E}"/>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5457" t="26465" r="5460" b="30188"/>
          <a:stretch/>
        </p:blipFill>
        <p:spPr bwMode="auto">
          <a:xfrm>
            <a:off x="5078781" y="3533680"/>
            <a:ext cx="1022534" cy="279401"/>
          </a:xfrm>
          <a:prstGeom prst="rect">
            <a:avLst/>
          </a:prstGeom>
          <a:noFill/>
          <a:extLst>
            <a:ext uri="{909E8E84-426E-40DD-AFC4-6F175D3DCCD1}">
              <a14:hiddenFill xmlns:a14="http://schemas.microsoft.com/office/drawing/2010/main">
                <a:solidFill>
                  <a:srgbClr val="FFFFFF"/>
                </a:solidFill>
              </a14:hiddenFill>
            </a:ext>
          </a:extLst>
        </p:spPr>
      </p:pic>
      <p:sp>
        <p:nvSpPr>
          <p:cNvPr id="1025" name="TextBox 1024">
            <a:extLst>
              <a:ext uri="{FF2B5EF4-FFF2-40B4-BE49-F238E27FC236}">
                <a16:creationId xmlns:a16="http://schemas.microsoft.com/office/drawing/2014/main" id="{FEEFB118-47AF-EE92-A05A-EEEBD53C13F0}"/>
              </a:ext>
            </a:extLst>
          </p:cNvPr>
          <p:cNvSpPr txBox="1"/>
          <p:nvPr/>
        </p:nvSpPr>
        <p:spPr>
          <a:xfrm>
            <a:off x="4880588" y="3844097"/>
            <a:ext cx="1643439" cy="276999"/>
          </a:xfrm>
          <a:prstGeom prst="rect">
            <a:avLst/>
          </a:prstGeom>
          <a:noFill/>
        </p:spPr>
        <p:txBody>
          <a:bodyPr wrap="square">
            <a:spAutoFit/>
          </a:bodyPr>
          <a:lstStyle/>
          <a:p>
            <a:r>
              <a:rPr lang="en-US" sz="1200">
                <a:hlinkClick r:id="rId20"/>
              </a:rPr>
              <a:t>Tutorial SCD4x SEK</a:t>
            </a:r>
            <a:endParaRPr lang="en-US" sz="1200"/>
          </a:p>
        </p:txBody>
      </p:sp>
      <p:pic>
        <p:nvPicPr>
          <p:cNvPr id="1027" name="Picture 1026" descr="A picture containing electronics, cable, jack, connector&#10;&#10;Description automatically generated">
            <a:extLst>
              <a:ext uri="{FF2B5EF4-FFF2-40B4-BE49-F238E27FC236}">
                <a16:creationId xmlns:a16="http://schemas.microsoft.com/office/drawing/2014/main" id="{5D62B13E-D6DB-9032-8C4A-7973390AA7B3}"/>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0194" t="18932" r="20031" b="20758"/>
          <a:stretch/>
        </p:blipFill>
        <p:spPr>
          <a:xfrm>
            <a:off x="3821365" y="3765155"/>
            <a:ext cx="699670" cy="441217"/>
          </a:xfrm>
          <a:prstGeom prst="rect">
            <a:avLst/>
          </a:prstGeom>
        </p:spPr>
      </p:pic>
      <p:sp>
        <p:nvSpPr>
          <p:cNvPr id="1028" name="TextBox 1027">
            <a:extLst>
              <a:ext uri="{FF2B5EF4-FFF2-40B4-BE49-F238E27FC236}">
                <a16:creationId xmlns:a16="http://schemas.microsoft.com/office/drawing/2014/main" id="{E2C74C46-A6B1-00D3-49D3-724289AC8DE8}"/>
              </a:ext>
            </a:extLst>
          </p:cNvPr>
          <p:cNvSpPr txBox="1"/>
          <p:nvPr/>
        </p:nvSpPr>
        <p:spPr>
          <a:xfrm>
            <a:off x="4880588" y="4073770"/>
            <a:ext cx="1643439" cy="276999"/>
          </a:xfrm>
          <a:prstGeom prst="rect">
            <a:avLst/>
          </a:prstGeom>
          <a:noFill/>
        </p:spPr>
        <p:txBody>
          <a:bodyPr wrap="square">
            <a:spAutoFit/>
          </a:bodyPr>
          <a:lstStyle/>
          <a:p>
            <a:r>
              <a:rPr lang="en-US" sz="1200">
                <a:hlinkClick r:id="rId21"/>
              </a:rPr>
              <a:t>Tutorial Control Center</a:t>
            </a:r>
            <a:endParaRPr lang="en-US" sz="1200"/>
          </a:p>
        </p:txBody>
      </p:sp>
      <p:grpSp>
        <p:nvGrpSpPr>
          <p:cNvPr id="30" name="Group 29">
            <a:extLst>
              <a:ext uri="{FF2B5EF4-FFF2-40B4-BE49-F238E27FC236}">
                <a16:creationId xmlns:a16="http://schemas.microsoft.com/office/drawing/2014/main" id="{18D0C048-2E7D-128A-D974-49CB773E1E5E}"/>
              </a:ext>
            </a:extLst>
          </p:cNvPr>
          <p:cNvGrpSpPr/>
          <p:nvPr/>
        </p:nvGrpSpPr>
        <p:grpSpPr>
          <a:xfrm>
            <a:off x="6728175" y="1860199"/>
            <a:ext cx="1440000" cy="635314"/>
            <a:chOff x="6728292" y="1938232"/>
            <a:chExt cx="1440000" cy="635314"/>
          </a:xfrm>
        </p:grpSpPr>
        <p:sp>
          <p:nvSpPr>
            <p:cNvPr id="3" name="Flowchart: Decision 2">
              <a:extLst>
                <a:ext uri="{FF2B5EF4-FFF2-40B4-BE49-F238E27FC236}">
                  <a16:creationId xmlns:a16="http://schemas.microsoft.com/office/drawing/2014/main" id="{D70A86C3-A5BF-1314-156C-8201CA8AC2E6}"/>
                </a:ext>
              </a:extLst>
            </p:cNvPr>
            <p:cNvSpPr/>
            <p:nvPr/>
          </p:nvSpPr>
          <p:spPr>
            <a:xfrm>
              <a:off x="6728292" y="1938232"/>
              <a:ext cx="1440000" cy="635314"/>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a:solidFill>
                  <a:schemeClr val="tx1"/>
                </a:solidFill>
              </a:endParaRPr>
            </a:p>
          </p:txBody>
        </p:sp>
        <p:sp>
          <p:nvSpPr>
            <p:cNvPr id="12" name="TextBox 11">
              <a:extLst>
                <a:ext uri="{FF2B5EF4-FFF2-40B4-BE49-F238E27FC236}">
                  <a16:creationId xmlns:a16="http://schemas.microsoft.com/office/drawing/2014/main" id="{27066212-A47C-9337-4F21-DE32FC6D2FDA}"/>
                </a:ext>
              </a:extLst>
            </p:cNvPr>
            <p:cNvSpPr txBox="1"/>
            <p:nvPr/>
          </p:nvSpPr>
          <p:spPr>
            <a:xfrm>
              <a:off x="6879647" y="2023411"/>
              <a:ext cx="1185961" cy="461665"/>
            </a:xfrm>
            <a:prstGeom prst="rect">
              <a:avLst/>
            </a:prstGeom>
            <a:noFill/>
          </p:spPr>
          <p:txBody>
            <a:bodyPr wrap="square">
              <a:spAutoFit/>
            </a:bodyPr>
            <a:lstStyle/>
            <a:p>
              <a:pPr algn="ctr"/>
              <a:r>
                <a:rPr lang="en-US" sz="1200" dirty="0">
                  <a:solidFill>
                    <a:schemeClr val="tx1"/>
                  </a:solidFill>
                </a:rPr>
                <a:t>Relevant Standard</a:t>
              </a:r>
              <a:endParaRPr lang="en-US" sz="1200" baseline="-25000" dirty="0">
                <a:solidFill>
                  <a:schemeClr val="tx1"/>
                </a:solidFill>
              </a:endParaRPr>
            </a:p>
          </p:txBody>
        </p:sp>
      </p:grpSp>
      <p:grpSp>
        <p:nvGrpSpPr>
          <p:cNvPr id="31" name="Group 30">
            <a:extLst>
              <a:ext uri="{FF2B5EF4-FFF2-40B4-BE49-F238E27FC236}">
                <a16:creationId xmlns:a16="http://schemas.microsoft.com/office/drawing/2014/main" id="{41410740-64E8-E0F4-827C-6BFFDBEFA04A}"/>
              </a:ext>
            </a:extLst>
          </p:cNvPr>
          <p:cNvGrpSpPr/>
          <p:nvPr/>
        </p:nvGrpSpPr>
        <p:grpSpPr>
          <a:xfrm>
            <a:off x="6728175" y="4226066"/>
            <a:ext cx="1440000" cy="523954"/>
            <a:chOff x="6728175" y="4203206"/>
            <a:chExt cx="1440000" cy="523954"/>
          </a:xfrm>
        </p:grpSpPr>
        <p:sp>
          <p:nvSpPr>
            <p:cNvPr id="4" name="Flowchart: Decision 3">
              <a:extLst>
                <a:ext uri="{FF2B5EF4-FFF2-40B4-BE49-F238E27FC236}">
                  <a16:creationId xmlns:a16="http://schemas.microsoft.com/office/drawing/2014/main" id="{5EB5124C-33AE-D1EE-4A1F-DD94EF3CF31E}"/>
                </a:ext>
              </a:extLst>
            </p:cNvPr>
            <p:cNvSpPr/>
            <p:nvPr/>
          </p:nvSpPr>
          <p:spPr>
            <a:xfrm>
              <a:off x="6728175" y="4203206"/>
              <a:ext cx="1440000" cy="523954"/>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6" name="TextBox 15">
              <a:extLst>
                <a:ext uri="{FF2B5EF4-FFF2-40B4-BE49-F238E27FC236}">
                  <a16:creationId xmlns:a16="http://schemas.microsoft.com/office/drawing/2014/main" id="{BF7F0287-8BD4-798D-3CBD-C1FE4A9622E4}"/>
                </a:ext>
              </a:extLst>
            </p:cNvPr>
            <p:cNvSpPr txBox="1"/>
            <p:nvPr/>
          </p:nvSpPr>
          <p:spPr>
            <a:xfrm>
              <a:off x="6967295" y="4258175"/>
              <a:ext cx="1010663" cy="461665"/>
            </a:xfrm>
            <a:prstGeom prst="rect">
              <a:avLst/>
            </a:prstGeom>
            <a:noFill/>
          </p:spPr>
          <p:txBody>
            <a:bodyPr wrap="square">
              <a:spAutoFit/>
            </a:bodyPr>
            <a:lstStyle/>
            <a:p>
              <a:pPr algn="ctr"/>
              <a:r>
                <a:rPr lang="de-CH" sz="1200" dirty="0">
                  <a:solidFill>
                    <a:schemeClr val="tx1"/>
                  </a:solidFill>
                </a:rPr>
                <a:t>Low Power Mode?</a:t>
              </a:r>
              <a:endParaRPr lang="en-US" sz="1200" dirty="0">
                <a:solidFill>
                  <a:schemeClr val="tx1"/>
                </a:solidFill>
              </a:endParaRPr>
            </a:p>
          </p:txBody>
        </p:sp>
      </p:grpSp>
      <p:grpSp>
        <p:nvGrpSpPr>
          <p:cNvPr id="32" name="Group 31">
            <a:extLst>
              <a:ext uri="{FF2B5EF4-FFF2-40B4-BE49-F238E27FC236}">
                <a16:creationId xmlns:a16="http://schemas.microsoft.com/office/drawing/2014/main" id="{EA0FAE11-84B4-972B-6D71-FCFB24C948F4}"/>
              </a:ext>
            </a:extLst>
          </p:cNvPr>
          <p:cNvGrpSpPr/>
          <p:nvPr/>
        </p:nvGrpSpPr>
        <p:grpSpPr>
          <a:xfrm>
            <a:off x="6724970" y="5044968"/>
            <a:ext cx="1440000" cy="635314"/>
            <a:chOff x="6724970" y="5083068"/>
            <a:chExt cx="1440000" cy="635314"/>
          </a:xfrm>
        </p:grpSpPr>
        <p:sp>
          <p:nvSpPr>
            <p:cNvPr id="5" name="Flowchart: Decision 4">
              <a:extLst>
                <a:ext uri="{FF2B5EF4-FFF2-40B4-BE49-F238E27FC236}">
                  <a16:creationId xmlns:a16="http://schemas.microsoft.com/office/drawing/2014/main" id="{E4314016-22B7-CFAA-AE8F-EA785CD7BC3C}"/>
                </a:ext>
              </a:extLst>
            </p:cNvPr>
            <p:cNvSpPr/>
            <p:nvPr/>
          </p:nvSpPr>
          <p:spPr>
            <a:xfrm>
              <a:off x="6724970" y="5083068"/>
              <a:ext cx="1440000" cy="635314"/>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7" name="TextBox 26">
              <a:extLst>
                <a:ext uri="{FF2B5EF4-FFF2-40B4-BE49-F238E27FC236}">
                  <a16:creationId xmlns:a16="http://schemas.microsoft.com/office/drawing/2014/main" id="{EF6288E0-BE43-3CBF-F387-50741D65690C}"/>
                </a:ext>
              </a:extLst>
            </p:cNvPr>
            <p:cNvSpPr txBox="1"/>
            <p:nvPr/>
          </p:nvSpPr>
          <p:spPr>
            <a:xfrm>
              <a:off x="6947035" y="5151778"/>
              <a:ext cx="1019886" cy="461665"/>
            </a:xfrm>
            <a:prstGeom prst="rect">
              <a:avLst/>
            </a:prstGeom>
            <a:noFill/>
          </p:spPr>
          <p:txBody>
            <a:bodyPr wrap="square">
              <a:spAutoFit/>
            </a:bodyPr>
            <a:lstStyle/>
            <a:p>
              <a:pPr algn="ctr"/>
              <a:r>
                <a:rPr lang="de-CH" sz="1200" dirty="0"/>
                <a:t>Extended </a:t>
              </a:r>
              <a:r>
                <a:rPr lang="de-CH" sz="1200" dirty="0" err="1"/>
                <a:t>Spec</a:t>
              </a:r>
              <a:r>
                <a:rPr lang="de-CH" sz="1200" dirty="0"/>
                <a:t>. R</a:t>
              </a:r>
              <a:r>
                <a:rPr lang="de-CH" sz="1200" dirty="0">
                  <a:solidFill>
                    <a:schemeClr val="tx1"/>
                  </a:solidFill>
                </a:rPr>
                <a:t>ange?</a:t>
              </a:r>
              <a:endParaRPr lang="en-US" sz="1200" dirty="0">
                <a:solidFill>
                  <a:schemeClr val="tx1"/>
                </a:solidFill>
              </a:endParaRPr>
            </a:p>
          </p:txBody>
        </p:sp>
      </p:grpSp>
      <p:cxnSp>
        <p:nvCxnSpPr>
          <p:cNvPr id="8" name="Straight Arrow Connector 7">
            <a:extLst>
              <a:ext uri="{FF2B5EF4-FFF2-40B4-BE49-F238E27FC236}">
                <a16:creationId xmlns:a16="http://schemas.microsoft.com/office/drawing/2014/main" id="{8C64D108-967C-2525-1A6A-F566FC71F5E5}"/>
              </a:ext>
            </a:extLst>
          </p:cNvPr>
          <p:cNvCxnSpPr>
            <a:cxnSpLocks/>
          </p:cNvCxnSpPr>
          <p:nvPr/>
        </p:nvCxnSpPr>
        <p:spPr>
          <a:xfrm flipH="1">
            <a:off x="9520759" y="2172943"/>
            <a:ext cx="25" cy="24797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BB434A3D-9F40-7AB5-D011-AABF49E43AB3}"/>
              </a:ext>
            </a:extLst>
          </p:cNvPr>
          <p:cNvSpPr/>
          <p:nvPr/>
        </p:nvSpPr>
        <p:spPr>
          <a:xfrm>
            <a:off x="8734717" y="2455160"/>
            <a:ext cx="2772531" cy="1097280"/>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14" name="Rectangle 13">
            <a:extLst>
              <a:ext uri="{FF2B5EF4-FFF2-40B4-BE49-F238E27FC236}">
                <a16:creationId xmlns:a16="http://schemas.microsoft.com/office/drawing/2014/main" id="{837F937C-7EEC-9815-4D6A-B827C1C47325}"/>
              </a:ext>
            </a:extLst>
          </p:cNvPr>
          <p:cNvSpPr/>
          <p:nvPr/>
        </p:nvSpPr>
        <p:spPr>
          <a:xfrm>
            <a:off x="8905288" y="2576782"/>
            <a:ext cx="1368360" cy="36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CA Title 24</a:t>
            </a:r>
          </a:p>
        </p:txBody>
      </p:sp>
      <p:sp>
        <p:nvSpPr>
          <p:cNvPr id="18" name="Rectangle 17">
            <a:extLst>
              <a:ext uri="{FF2B5EF4-FFF2-40B4-BE49-F238E27FC236}">
                <a16:creationId xmlns:a16="http://schemas.microsoft.com/office/drawing/2014/main" id="{FFF103C5-F17B-D70B-6480-AD4460029C85}"/>
              </a:ext>
            </a:extLst>
          </p:cNvPr>
          <p:cNvSpPr/>
          <p:nvPr/>
        </p:nvSpPr>
        <p:spPr>
          <a:xfrm>
            <a:off x="10336093" y="2579838"/>
            <a:ext cx="1118471" cy="36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WELL</a:t>
            </a:r>
          </a:p>
        </p:txBody>
      </p:sp>
      <p:sp>
        <p:nvSpPr>
          <p:cNvPr id="21" name="Rectangle 20">
            <a:extLst>
              <a:ext uri="{FF2B5EF4-FFF2-40B4-BE49-F238E27FC236}">
                <a16:creationId xmlns:a16="http://schemas.microsoft.com/office/drawing/2014/main" id="{A6DC1A30-8104-B5D6-FEAA-AE3B46B0BCC2}"/>
              </a:ext>
            </a:extLst>
          </p:cNvPr>
          <p:cNvSpPr/>
          <p:nvPr/>
        </p:nvSpPr>
        <p:spPr>
          <a:xfrm>
            <a:off x="9714412" y="3042343"/>
            <a:ext cx="1118471" cy="36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RESET</a:t>
            </a:r>
          </a:p>
        </p:txBody>
      </p:sp>
      <p:grpSp>
        <p:nvGrpSpPr>
          <p:cNvPr id="34" name="Group 33">
            <a:extLst>
              <a:ext uri="{FF2B5EF4-FFF2-40B4-BE49-F238E27FC236}">
                <a16:creationId xmlns:a16="http://schemas.microsoft.com/office/drawing/2014/main" id="{CFE63F51-DBF9-925E-7523-5C80F454737B}"/>
              </a:ext>
            </a:extLst>
          </p:cNvPr>
          <p:cNvGrpSpPr/>
          <p:nvPr/>
        </p:nvGrpSpPr>
        <p:grpSpPr>
          <a:xfrm>
            <a:off x="8619568" y="4259978"/>
            <a:ext cx="3338412" cy="814480"/>
            <a:chOff x="7514938" y="2893971"/>
            <a:chExt cx="3898118" cy="972000"/>
          </a:xfrm>
        </p:grpSpPr>
        <p:sp>
          <p:nvSpPr>
            <p:cNvPr id="36" name="Rectangle: Rounded Corners 49">
              <a:extLst>
                <a:ext uri="{FF2B5EF4-FFF2-40B4-BE49-F238E27FC236}">
                  <a16:creationId xmlns:a16="http://schemas.microsoft.com/office/drawing/2014/main" id="{3413F1CA-4D6F-193F-56AA-A6E8D033973E}"/>
                </a:ext>
              </a:extLst>
            </p:cNvPr>
            <p:cNvSpPr/>
            <p:nvPr/>
          </p:nvSpPr>
          <p:spPr>
            <a:xfrm>
              <a:off x="7553045" y="2893971"/>
              <a:ext cx="3860011" cy="97200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37" descr="A picture containing dishware, tableware&#10;&#10;Description automatically generated">
              <a:extLst>
                <a:ext uri="{FF2B5EF4-FFF2-40B4-BE49-F238E27FC236}">
                  <a16:creationId xmlns:a16="http://schemas.microsoft.com/office/drawing/2014/main" id="{8D27A3FE-CC3A-AD73-8468-B0BB149E8CC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514938" y="3204047"/>
              <a:ext cx="751956" cy="558252"/>
            </a:xfrm>
            <a:prstGeom prst="rect">
              <a:avLst/>
            </a:prstGeom>
          </p:spPr>
        </p:pic>
        <p:sp>
          <p:nvSpPr>
            <p:cNvPr id="39" name="TextBox 38">
              <a:extLst>
                <a:ext uri="{FF2B5EF4-FFF2-40B4-BE49-F238E27FC236}">
                  <a16:creationId xmlns:a16="http://schemas.microsoft.com/office/drawing/2014/main" id="{CE9070AA-1DBA-2179-576B-6C6AA391DD16}"/>
                </a:ext>
              </a:extLst>
            </p:cNvPr>
            <p:cNvSpPr txBox="1"/>
            <p:nvPr/>
          </p:nvSpPr>
          <p:spPr>
            <a:xfrm>
              <a:off x="7560710" y="2920386"/>
              <a:ext cx="3749306" cy="624410"/>
            </a:xfrm>
            <a:prstGeom prst="rect">
              <a:avLst/>
            </a:prstGeom>
            <a:noFill/>
          </p:spPr>
          <p:txBody>
            <a:bodyPr wrap="square" rtlCol="0">
              <a:spAutoFit/>
            </a:bodyPr>
            <a:lstStyle/>
            <a:p>
              <a:r>
                <a:rPr lang="en-US" sz="1400" b="1" dirty="0"/>
                <a:t>SCD41  </a:t>
              </a:r>
              <a:r>
                <a:rPr lang="en-US" sz="1250" b="1" dirty="0"/>
                <a:t>-  </a:t>
              </a:r>
              <a:r>
                <a:rPr lang="en-US" sz="1250" dirty="0"/>
                <a:t>Low power, air quality standard variant</a:t>
              </a:r>
            </a:p>
            <a:p>
              <a:endParaRPr lang="en-US" sz="1400" b="0" i="0" dirty="0">
                <a:solidFill>
                  <a:schemeClr val="tx1"/>
                </a:solidFill>
              </a:endParaRPr>
            </a:p>
          </p:txBody>
        </p:sp>
        <p:sp>
          <p:nvSpPr>
            <p:cNvPr id="41" name="TextBox 40">
              <a:extLst>
                <a:ext uri="{FF2B5EF4-FFF2-40B4-BE49-F238E27FC236}">
                  <a16:creationId xmlns:a16="http://schemas.microsoft.com/office/drawing/2014/main" id="{DF7BAAA6-6C9C-6343-F9C0-764C0C5BECBC}"/>
                </a:ext>
              </a:extLst>
            </p:cNvPr>
            <p:cNvSpPr txBox="1"/>
            <p:nvPr/>
          </p:nvSpPr>
          <p:spPr>
            <a:xfrm>
              <a:off x="8308456" y="3168770"/>
              <a:ext cx="3001560" cy="624410"/>
            </a:xfrm>
            <a:prstGeom prst="rect">
              <a:avLst/>
            </a:prstGeom>
            <a:noFill/>
          </p:spPr>
          <p:txBody>
            <a:bodyPr wrap="square" rtlCol="0">
              <a:spAutoFit/>
            </a:bodyPr>
            <a:lstStyle/>
            <a:p>
              <a:r>
                <a:rPr lang="en-US" sz="1400" b="1" dirty="0"/>
                <a:t>Markets: </a:t>
              </a:r>
              <a:r>
                <a:rPr lang="en-US" sz="1200" dirty="0"/>
                <a:t>HVAC, IAQ-Monitors</a:t>
              </a:r>
              <a:endParaRPr lang="en-US" sz="500" b="1" dirty="0"/>
            </a:p>
            <a:p>
              <a:r>
                <a:rPr lang="en-US" sz="1400" b="1" dirty="0"/>
                <a:t>Regions:</a:t>
              </a:r>
            </a:p>
          </p:txBody>
        </p:sp>
        <p:pic>
          <p:nvPicPr>
            <p:cNvPr id="42" name="Picture 2" descr="Amazon.com : Fyon United States Flag US Flag 49 Stars 1959 Banner ...">
              <a:extLst>
                <a:ext uri="{FF2B5EF4-FFF2-40B4-BE49-F238E27FC236}">
                  <a16:creationId xmlns:a16="http://schemas.microsoft.com/office/drawing/2014/main" id="{34A9EC3F-0339-98A9-4EF1-A63917FEBBF1}"/>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193080" y="3496594"/>
              <a:ext cx="455704" cy="29526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E45D0530-921D-EE10-F9D8-3ACE5772F61D}"/>
                </a:ext>
              </a:extLst>
            </p:cNvPr>
            <p:cNvPicPr>
              <a:picLocks noChangeAspect="1"/>
            </p:cNvPicPr>
            <p:nvPr/>
          </p:nvPicPr>
          <p:blipFill>
            <a:blip r:embed="rId24"/>
            <a:stretch>
              <a:fillRect/>
            </a:stretch>
          </p:blipFill>
          <p:spPr>
            <a:xfrm>
              <a:off x="10964111" y="3576444"/>
              <a:ext cx="168989" cy="225554"/>
            </a:xfrm>
            <a:prstGeom prst="rect">
              <a:avLst/>
            </a:prstGeom>
          </p:spPr>
        </p:pic>
        <p:pic>
          <p:nvPicPr>
            <p:cNvPr id="46" name="Picture 45">
              <a:extLst>
                <a:ext uri="{FF2B5EF4-FFF2-40B4-BE49-F238E27FC236}">
                  <a16:creationId xmlns:a16="http://schemas.microsoft.com/office/drawing/2014/main" id="{568429E2-0CB6-F429-1037-B52A5EC7B89A}"/>
                </a:ext>
              </a:extLst>
            </p:cNvPr>
            <p:cNvPicPr>
              <a:picLocks noChangeAspect="1"/>
            </p:cNvPicPr>
            <p:nvPr/>
          </p:nvPicPr>
          <p:blipFill>
            <a:blip r:embed="rId24"/>
            <a:stretch>
              <a:fillRect/>
            </a:stretch>
          </p:blipFill>
          <p:spPr>
            <a:xfrm>
              <a:off x="11177391" y="3573845"/>
              <a:ext cx="168989" cy="225554"/>
            </a:xfrm>
            <a:prstGeom prst="rect">
              <a:avLst/>
            </a:prstGeom>
          </p:spPr>
        </p:pic>
      </p:grpSp>
      <p:pic>
        <p:nvPicPr>
          <p:cNvPr id="47" name="Picture 6" descr="FlagSuperstore European Union EU Flag - 5 x 3 FT - New 100 ...">
            <a:extLst>
              <a:ext uri="{FF2B5EF4-FFF2-40B4-BE49-F238E27FC236}">
                <a16:creationId xmlns:a16="http://schemas.microsoft.com/office/drawing/2014/main" id="{5CCC55FE-14B5-1AEC-93C0-E448B704D05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541453" y="4749553"/>
            <a:ext cx="412362" cy="268340"/>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oup 47">
            <a:extLst>
              <a:ext uri="{FF2B5EF4-FFF2-40B4-BE49-F238E27FC236}">
                <a16:creationId xmlns:a16="http://schemas.microsoft.com/office/drawing/2014/main" id="{C8F100C2-C3FA-3770-5ECA-9B16F089E249}"/>
              </a:ext>
            </a:extLst>
          </p:cNvPr>
          <p:cNvGrpSpPr/>
          <p:nvPr/>
        </p:nvGrpSpPr>
        <p:grpSpPr>
          <a:xfrm>
            <a:off x="8659615" y="585065"/>
            <a:ext cx="3298364" cy="981325"/>
            <a:chOff x="7553044" y="1675444"/>
            <a:chExt cx="3860013" cy="974467"/>
          </a:xfrm>
        </p:grpSpPr>
        <p:sp>
          <p:nvSpPr>
            <p:cNvPr id="49" name="Rectangle: Rounded Corners 49">
              <a:extLst>
                <a:ext uri="{FF2B5EF4-FFF2-40B4-BE49-F238E27FC236}">
                  <a16:creationId xmlns:a16="http://schemas.microsoft.com/office/drawing/2014/main" id="{4DC20BC9-1006-9819-7921-EAEFDA38FD8A}"/>
                </a:ext>
              </a:extLst>
            </p:cNvPr>
            <p:cNvSpPr/>
            <p:nvPr/>
          </p:nvSpPr>
          <p:spPr>
            <a:xfrm>
              <a:off x="7553046" y="1675444"/>
              <a:ext cx="3860011" cy="97200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a:extLst>
                <a:ext uri="{FF2B5EF4-FFF2-40B4-BE49-F238E27FC236}">
                  <a16:creationId xmlns:a16="http://schemas.microsoft.com/office/drawing/2014/main" id="{1E231A3F-E875-B4D6-ACD5-E1FD132557A6}"/>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560713" y="1958008"/>
              <a:ext cx="801890" cy="691903"/>
            </a:xfrm>
            <a:prstGeom prst="rect">
              <a:avLst/>
            </a:prstGeom>
          </p:spPr>
        </p:pic>
        <p:sp>
          <p:nvSpPr>
            <p:cNvPr id="52" name="TextBox 51">
              <a:extLst>
                <a:ext uri="{FF2B5EF4-FFF2-40B4-BE49-F238E27FC236}">
                  <a16:creationId xmlns:a16="http://schemas.microsoft.com/office/drawing/2014/main" id="{D00D43E2-AECD-BA71-D461-C4C41DEFEC4A}"/>
                </a:ext>
              </a:extLst>
            </p:cNvPr>
            <p:cNvSpPr txBox="1"/>
            <p:nvPr/>
          </p:nvSpPr>
          <p:spPr>
            <a:xfrm>
              <a:off x="7553044" y="1676334"/>
              <a:ext cx="3749306" cy="307777"/>
            </a:xfrm>
            <a:prstGeom prst="rect">
              <a:avLst/>
            </a:prstGeom>
            <a:noFill/>
          </p:spPr>
          <p:txBody>
            <a:bodyPr wrap="square" rtlCol="0">
              <a:spAutoFit/>
            </a:bodyPr>
            <a:lstStyle/>
            <a:p>
              <a:r>
                <a:rPr lang="en-US" sz="1400" b="1" dirty="0"/>
                <a:t>SCD30  -  </a:t>
              </a:r>
              <a:r>
                <a:rPr lang="en-US" sz="1200" b="0" i="0" dirty="0">
                  <a:solidFill>
                    <a:schemeClr val="tx1"/>
                  </a:solidFill>
                </a:rPr>
                <a:t>Highest accuracy, long-term stable variant</a:t>
              </a:r>
              <a:endParaRPr lang="en-US" sz="1400" b="0" i="0" dirty="0">
                <a:solidFill>
                  <a:schemeClr val="tx1"/>
                </a:solidFill>
              </a:endParaRPr>
            </a:p>
          </p:txBody>
        </p:sp>
        <p:sp>
          <p:nvSpPr>
            <p:cNvPr id="53" name="TextBox 52">
              <a:extLst>
                <a:ext uri="{FF2B5EF4-FFF2-40B4-BE49-F238E27FC236}">
                  <a16:creationId xmlns:a16="http://schemas.microsoft.com/office/drawing/2014/main" id="{05ACC6C5-C502-EBD7-30DA-5074C7CCF25E}"/>
                </a:ext>
              </a:extLst>
            </p:cNvPr>
            <p:cNvSpPr txBox="1"/>
            <p:nvPr/>
          </p:nvSpPr>
          <p:spPr>
            <a:xfrm>
              <a:off x="8308455" y="1940802"/>
              <a:ext cx="3001561" cy="615553"/>
            </a:xfrm>
            <a:prstGeom prst="rect">
              <a:avLst/>
            </a:prstGeom>
            <a:noFill/>
          </p:spPr>
          <p:txBody>
            <a:bodyPr wrap="square" rtlCol="0">
              <a:spAutoFit/>
            </a:bodyPr>
            <a:lstStyle/>
            <a:p>
              <a:r>
                <a:rPr lang="en-US" sz="1400" b="1" dirty="0"/>
                <a:t>Markets:  </a:t>
              </a:r>
              <a:r>
                <a:rPr lang="en-US" sz="1200" dirty="0"/>
                <a:t>HVAC, High-end monitors</a:t>
              </a:r>
              <a:endParaRPr lang="en-US" sz="1400" dirty="0"/>
            </a:p>
            <a:p>
              <a:endParaRPr lang="en-US" sz="600" b="1" dirty="0"/>
            </a:p>
            <a:p>
              <a:r>
                <a:rPr lang="en-US" sz="1400" b="1" dirty="0"/>
                <a:t>Regions:  </a:t>
              </a:r>
              <a:r>
                <a:rPr lang="en-US" sz="1400" dirty="0"/>
                <a:t>global</a:t>
              </a:r>
              <a:endParaRPr lang="en-US" sz="1400" b="1" dirty="0"/>
            </a:p>
          </p:txBody>
        </p:sp>
        <p:pic>
          <p:nvPicPr>
            <p:cNvPr id="54" name="Picture 53">
              <a:extLst>
                <a:ext uri="{FF2B5EF4-FFF2-40B4-BE49-F238E27FC236}">
                  <a16:creationId xmlns:a16="http://schemas.microsoft.com/office/drawing/2014/main" id="{1A834D8A-71D6-A503-CB0C-26B1993064CF}"/>
                </a:ext>
              </a:extLst>
            </p:cNvPr>
            <p:cNvPicPr>
              <a:picLocks noChangeAspect="1"/>
            </p:cNvPicPr>
            <p:nvPr/>
          </p:nvPicPr>
          <p:blipFill>
            <a:blip r:embed="rId24"/>
            <a:stretch>
              <a:fillRect/>
            </a:stretch>
          </p:blipFill>
          <p:spPr>
            <a:xfrm>
              <a:off x="10752065" y="2360175"/>
              <a:ext cx="168989" cy="225554"/>
            </a:xfrm>
            <a:prstGeom prst="rect">
              <a:avLst/>
            </a:prstGeom>
          </p:spPr>
        </p:pic>
        <p:pic>
          <p:nvPicPr>
            <p:cNvPr id="55" name="Picture 54">
              <a:extLst>
                <a:ext uri="{FF2B5EF4-FFF2-40B4-BE49-F238E27FC236}">
                  <a16:creationId xmlns:a16="http://schemas.microsoft.com/office/drawing/2014/main" id="{D7B68905-23F8-CCF4-E871-86AC969D53AA}"/>
                </a:ext>
              </a:extLst>
            </p:cNvPr>
            <p:cNvPicPr>
              <a:picLocks noChangeAspect="1"/>
            </p:cNvPicPr>
            <p:nvPr/>
          </p:nvPicPr>
          <p:blipFill>
            <a:blip r:embed="rId24"/>
            <a:stretch>
              <a:fillRect/>
            </a:stretch>
          </p:blipFill>
          <p:spPr>
            <a:xfrm>
              <a:off x="10967644" y="2360175"/>
              <a:ext cx="168989" cy="225554"/>
            </a:xfrm>
            <a:prstGeom prst="rect">
              <a:avLst/>
            </a:prstGeom>
          </p:spPr>
        </p:pic>
        <p:pic>
          <p:nvPicPr>
            <p:cNvPr id="56" name="Picture 55">
              <a:extLst>
                <a:ext uri="{FF2B5EF4-FFF2-40B4-BE49-F238E27FC236}">
                  <a16:creationId xmlns:a16="http://schemas.microsoft.com/office/drawing/2014/main" id="{021A8DE8-570D-CB6A-6C21-0BD3906933DA}"/>
                </a:ext>
              </a:extLst>
            </p:cNvPr>
            <p:cNvPicPr>
              <a:picLocks noChangeAspect="1"/>
            </p:cNvPicPr>
            <p:nvPr/>
          </p:nvPicPr>
          <p:blipFill>
            <a:blip r:embed="rId24"/>
            <a:stretch>
              <a:fillRect/>
            </a:stretch>
          </p:blipFill>
          <p:spPr>
            <a:xfrm>
              <a:off x="11180924" y="2357576"/>
              <a:ext cx="168989" cy="225554"/>
            </a:xfrm>
            <a:prstGeom prst="rect">
              <a:avLst/>
            </a:prstGeom>
          </p:spPr>
        </p:pic>
      </p:grpSp>
      <p:grpSp>
        <p:nvGrpSpPr>
          <p:cNvPr id="71" name="Group 70">
            <a:extLst>
              <a:ext uri="{FF2B5EF4-FFF2-40B4-BE49-F238E27FC236}">
                <a16:creationId xmlns:a16="http://schemas.microsoft.com/office/drawing/2014/main" id="{CFE98CDF-6971-D01F-49A2-A2D4B693722F}"/>
              </a:ext>
            </a:extLst>
          </p:cNvPr>
          <p:cNvGrpSpPr/>
          <p:nvPr/>
        </p:nvGrpSpPr>
        <p:grpSpPr>
          <a:xfrm>
            <a:off x="8649534" y="5443055"/>
            <a:ext cx="3298362" cy="872503"/>
            <a:chOff x="7514938" y="5331026"/>
            <a:chExt cx="3891234" cy="972000"/>
          </a:xfrm>
        </p:grpSpPr>
        <p:sp>
          <p:nvSpPr>
            <p:cNvPr id="76" name="Rectangle: Rounded Corners 49">
              <a:extLst>
                <a:ext uri="{FF2B5EF4-FFF2-40B4-BE49-F238E27FC236}">
                  <a16:creationId xmlns:a16="http://schemas.microsoft.com/office/drawing/2014/main" id="{175C9848-14C4-4CB2-2209-8D6A3A6C0443}"/>
                </a:ext>
              </a:extLst>
            </p:cNvPr>
            <p:cNvSpPr/>
            <p:nvPr/>
          </p:nvSpPr>
          <p:spPr>
            <a:xfrm>
              <a:off x="7542240" y="5331026"/>
              <a:ext cx="3860011" cy="97200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62D681FD-A441-01AF-3B09-A4F050A00425}"/>
                </a:ext>
              </a:extLst>
            </p:cNvPr>
            <p:cNvSpPr txBox="1"/>
            <p:nvPr/>
          </p:nvSpPr>
          <p:spPr>
            <a:xfrm>
              <a:off x="7656866" y="5337748"/>
              <a:ext cx="3749306" cy="342875"/>
            </a:xfrm>
            <a:prstGeom prst="rect">
              <a:avLst/>
            </a:prstGeom>
            <a:noFill/>
          </p:spPr>
          <p:txBody>
            <a:bodyPr wrap="square" rtlCol="0">
              <a:spAutoFit/>
            </a:bodyPr>
            <a:lstStyle/>
            <a:p>
              <a:r>
                <a:rPr lang="en-US" sz="1400" b="1" dirty="0"/>
                <a:t>SCD40  -  </a:t>
              </a:r>
              <a:r>
                <a:rPr lang="en-US" sz="1200" b="0" i="0" dirty="0">
                  <a:solidFill>
                    <a:schemeClr val="tx1"/>
                  </a:solidFill>
                </a:rPr>
                <a:t>Product variant for cost sensitive markets</a:t>
              </a:r>
              <a:endParaRPr lang="en-US" sz="1400" b="0" i="0" dirty="0">
                <a:solidFill>
                  <a:schemeClr val="tx1"/>
                </a:solidFill>
              </a:endParaRPr>
            </a:p>
          </p:txBody>
        </p:sp>
        <p:pic>
          <p:nvPicPr>
            <p:cNvPr id="78" name="Picture 77" descr="A picture containing dishware, tableware&#10;&#10;Description automatically generated">
              <a:extLst>
                <a:ext uri="{FF2B5EF4-FFF2-40B4-BE49-F238E27FC236}">
                  <a16:creationId xmlns:a16="http://schemas.microsoft.com/office/drawing/2014/main" id="{CACE6304-0817-3DD8-DA2C-9CD302ACA108}"/>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514938" y="5626117"/>
              <a:ext cx="751956" cy="558252"/>
            </a:xfrm>
            <a:prstGeom prst="rect">
              <a:avLst/>
            </a:prstGeom>
          </p:spPr>
        </p:pic>
        <p:sp>
          <p:nvSpPr>
            <p:cNvPr id="79" name="TextBox 78">
              <a:extLst>
                <a:ext uri="{FF2B5EF4-FFF2-40B4-BE49-F238E27FC236}">
                  <a16:creationId xmlns:a16="http://schemas.microsoft.com/office/drawing/2014/main" id="{B6486F03-E634-92F5-1018-234002F5E2C9}"/>
                </a:ext>
              </a:extLst>
            </p:cNvPr>
            <p:cNvSpPr txBox="1"/>
            <p:nvPr/>
          </p:nvSpPr>
          <p:spPr>
            <a:xfrm>
              <a:off x="8308456" y="5565236"/>
              <a:ext cx="2843528" cy="685749"/>
            </a:xfrm>
            <a:prstGeom prst="rect">
              <a:avLst/>
            </a:prstGeom>
            <a:noFill/>
          </p:spPr>
          <p:txBody>
            <a:bodyPr wrap="square" rtlCol="0">
              <a:spAutoFit/>
            </a:bodyPr>
            <a:lstStyle/>
            <a:p>
              <a:r>
                <a:rPr lang="en-US" sz="1400" b="1" dirty="0"/>
                <a:t>Markets: </a:t>
              </a:r>
              <a:r>
                <a:rPr lang="en-US" sz="1200" dirty="0"/>
                <a:t>Consumer, Appliances</a:t>
              </a:r>
              <a:endParaRPr lang="en-US" sz="1400" dirty="0"/>
            </a:p>
            <a:p>
              <a:endParaRPr lang="en-US" sz="600" b="1" dirty="0"/>
            </a:p>
            <a:p>
              <a:r>
                <a:rPr lang="en-US" sz="1400" b="1" dirty="0"/>
                <a:t>Regions: </a:t>
              </a:r>
              <a:r>
                <a:rPr lang="en-US" sz="1400" dirty="0"/>
                <a:t>global</a:t>
              </a:r>
              <a:endParaRPr lang="en-US" sz="1400" b="1" dirty="0"/>
            </a:p>
          </p:txBody>
        </p:sp>
        <p:pic>
          <p:nvPicPr>
            <p:cNvPr id="80" name="Picture 79">
              <a:extLst>
                <a:ext uri="{FF2B5EF4-FFF2-40B4-BE49-F238E27FC236}">
                  <a16:creationId xmlns:a16="http://schemas.microsoft.com/office/drawing/2014/main" id="{D42A9F6B-8719-5678-69B3-2481AC6D8F44}"/>
                </a:ext>
              </a:extLst>
            </p:cNvPr>
            <p:cNvPicPr>
              <a:picLocks noChangeAspect="1"/>
            </p:cNvPicPr>
            <p:nvPr/>
          </p:nvPicPr>
          <p:blipFill>
            <a:blip r:embed="rId24"/>
            <a:stretch>
              <a:fillRect/>
            </a:stretch>
          </p:blipFill>
          <p:spPr>
            <a:xfrm>
              <a:off x="11172015" y="6023185"/>
              <a:ext cx="168989" cy="225554"/>
            </a:xfrm>
            <a:prstGeom prst="rect">
              <a:avLst/>
            </a:prstGeom>
          </p:spPr>
        </p:pic>
      </p:grpSp>
    </p:spTree>
    <p:extLst>
      <p:ext uri="{BB962C8B-B14F-4D97-AF65-F5344CB8AC3E}">
        <p14:creationId xmlns:p14="http://schemas.microsoft.com/office/powerpoint/2010/main" val="33232359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48932" y="917196"/>
            <a:ext cx="4054664" cy="4910848"/>
          </a:xfrm>
        </p:spPr>
        <p:txBody>
          <a:bodyPr/>
          <a:lstStyle/>
          <a:p>
            <a:pPr marL="342900" indent="-342900">
              <a:buFont typeface="Arial" panose="020B0604020202020204" pitchFamily="34" charset="0"/>
              <a:buChar char="•"/>
            </a:pPr>
            <a:r>
              <a:rPr lang="en-US" dirty="0"/>
              <a:t>SEK - SCD4x</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SEK - </a:t>
            </a:r>
            <a:r>
              <a:rPr lang="en-US" dirty="0" err="1"/>
              <a:t>SensorBridge</a:t>
            </a:r>
            <a:endParaRPr lang="en-US" dirty="0"/>
          </a:p>
        </p:txBody>
      </p:sp>
      <p:sp>
        <p:nvSpPr>
          <p:cNvPr id="3" name="Title 2"/>
          <p:cNvSpPr>
            <a:spLocks noGrp="1"/>
          </p:cNvSpPr>
          <p:nvPr>
            <p:ph type="title"/>
          </p:nvPr>
        </p:nvSpPr>
        <p:spPr/>
        <p:txBody>
          <a:bodyPr/>
          <a:lstStyle/>
          <a:p>
            <a:r>
              <a:rPr lang="en-US" dirty="0"/>
              <a:t>Demonstrations – Seeing is Believing</a:t>
            </a:r>
          </a:p>
        </p:txBody>
      </p:sp>
      <p:pic>
        <p:nvPicPr>
          <p:cNvPr id="5" name="Picture 4">
            <a:extLst>
              <a:ext uri="{FF2B5EF4-FFF2-40B4-BE49-F238E27FC236}">
                <a16:creationId xmlns:a16="http://schemas.microsoft.com/office/drawing/2014/main" id="{B3FCBC92-14A8-A9F1-14A7-2C6EE51A9671}"/>
              </a:ext>
            </a:extLst>
          </p:cNvPr>
          <p:cNvPicPr>
            <a:picLocks noChangeAspect="1"/>
          </p:cNvPicPr>
          <p:nvPr/>
        </p:nvPicPr>
        <p:blipFill>
          <a:blip r:embed="rId2"/>
          <a:stretch>
            <a:fillRect/>
          </a:stretch>
        </p:blipFill>
        <p:spPr>
          <a:xfrm>
            <a:off x="1332519" y="1402113"/>
            <a:ext cx="2823530" cy="1700684"/>
          </a:xfrm>
          <a:prstGeom prst="rect">
            <a:avLst/>
          </a:prstGeom>
        </p:spPr>
      </p:pic>
      <p:pic>
        <p:nvPicPr>
          <p:cNvPr id="7" name="Picture 6">
            <a:extLst>
              <a:ext uri="{FF2B5EF4-FFF2-40B4-BE49-F238E27FC236}">
                <a16:creationId xmlns:a16="http://schemas.microsoft.com/office/drawing/2014/main" id="{965CD10B-C12C-E686-2BA9-E0CB2C13DC2E}"/>
              </a:ext>
            </a:extLst>
          </p:cNvPr>
          <p:cNvPicPr>
            <a:picLocks noChangeAspect="1"/>
          </p:cNvPicPr>
          <p:nvPr/>
        </p:nvPicPr>
        <p:blipFill>
          <a:blip r:embed="rId3"/>
          <a:stretch>
            <a:fillRect/>
          </a:stretch>
        </p:blipFill>
        <p:spPr>
          <a:xfrm>
            <a:off x="1439126" y="4101489"/>
            <a:ext cx="2823530" cy="1870130"/>
          </a:xfrm>
          <a:prstGeom prst="rect">
            <a:avLst/>
          </a:prstGeom>
        </p:spPr>
      </p:pic>
      <p:sp>
        <p:nvSpPr>
          <p:cNvPr id="10" name="Text Placeholder 1">
            <a:extLst>
              <a:ext uri="{FF2B5EF4-FFF2-40B4-BE49-F238E27FC236}">
                <a16:creationId xmlns:a16="http://schemas.microsoft.com/office/drawing/2014/main" id="{57EC7766-5299-1ADE-888E-5AB32FEAD37A}"/>
              </a:ext>
            </a:extLst>
          </p:cNvPr>
          <p:cNvSpPr txBox="1">
            <a:spLocks/>
          </p:cNvSpPr>
          <p:nvPr/>
        </p:nvSpPr>
        <p:spPr>
          <a:xfrm>
            <a:off x="4903596" y="996874"/>
            <a:ext cx="4054664" cy="618921"/>
          </a:xfrm>
          <a:prstGeom prst="rect">
            <a:avLst/>
          </a:prstGeom>
        </p:spPr>
        <p:txBody>
          <a:bodyPr vert="horz" lIns="0" tIns="0" rIns="91440" bIns="0" rtlCol="0">
            <a:noAutofit/>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b="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SEK - </a:t>
            </a:r>
            <a:r>
              <a:rPr lang="en-US" dirty="0" err="1"/>
              <a:t>ControlCenter</a:t>
            </a:r>
            <a:endParaRPr lang="en-US" dirty="0"/>
          </a:p>
        </p:txBody>
      </p:sp>
      <p:pic>
        <p:nvPicPr>
          <p:cNvPr id="12" name="Picture 11">
            <a:extLst>
              <a:ext uri="{FF2B5EF4-FFF2-40B4-BE49-F238E27FC236}">
                <a16:creationId xmlns:a16="http://schemas.microsoft.com/office/drawing/2014/main" id="{666FBF6B-E9F5-5054-1FD4-5737FFB774C3}"/>
              </a:ext>
            </a:extLst>
          </p:cNvPr>
          <p:cNvPicPr>
            <a:picLocks noChangeAspect="1"/>
          </p:cNvPicPr>
          <p:nvPr/>
        </p:nvPicPr>
        <p:blipFill>
          <a:blip r:embed="rId4"/>
          <a:stretch>
            <a:fillRect/>
          </a:stretch>
        </p:blipFill>
        <p:spPr>
          <a:xfrm>
            <a:off x="5032281" y="1615795"/>
            <a:ext cx="6570077" cy="4081620"/>
          </a:xfrm>
          <a:prstGeom prst="rect">
            <a:avLst/>
          </a:prstGeom>
        </p:spPr>
      </p:pic>
    </p:spTree>
    <p:extLst>
      <p:ext uri="{BB962C8B-B14F-4D97-AF65-F5344CB8AC3E}">
        <p14:creationId xmlns:p14="http://schemas.microsoft.com/office/powerpoint/2010/main" val="13636306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1CE411C-728D-454F-AE00-855210C67C93}"/>
              </a:ext>
            </a:extLst>
          </p:cNvPr>
          <p:cNvSpPr txBox="1"/>
          <p:nvPr/>
        </p:nvSpPr>
        <p:spPr>
          <a:xfrm>
            <a:off x="752798" y="743519"/>
            <a:ext cx="10349890" cy="646331"/>
          </a:xfrm>
          <a:prstGeom prst="rect">
            <a:avLst/>
          </a:prstGeom>
          <a:noFill/>
        </p:spPr>
        <p:txBody>
          <a:bodyPr wrap="square">
            <a:spAutoFit/>
          </a:bodyPr>
          <a:lstStyle/>
          <a:p>
            <a:r>
              <a:rPr lang="en-US" sz="3600" b="1" dirty="0">
                <a:solidFill>
                  <a:schemeClr val="accent1"/>
                </a:solidFill>
              </a:rPr>
              <a:t>Summary for SCD4X </a:t>
            </a:r>
          </a:p>
        </p:txBody>
      </p:sp>
      <p:sp>
        <p:nvSpPr>
          <p:cNvPr id="45" name="Rectangle: Rounded Corners 49">
            <a:extLst>
              <a:ext uri="{FF2B5EF4-FFF2-40B4-BE49-F238E27FC236}">
                <a16:creationId xmlns:a16="http://schemas.microsoft.com/office/drawing/2014/main" id="{9DD442FD-F09C-EC4B-B5D3-16A065263CE9}"/>
              </a:ext>
            </a:extLst>
          </p:cNvPr>
          <p:cNvSpPr/>
          <p:nvPr/>
        </p:nvSpPr>
        <p:spPr>
          <a:xfrm>
            <a:off x="1171533" y="1525313"/>
            <a:ext cx="4756210" cy="2191025"/>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 name="Group 46">
            <a:extLst>
              <a:ext uri="{FF2B5EF4-FFF2-40B4-BE49-F238E27FC236}">
                <a16:creationId xmlns:a16="http://schemas.microsoft.com/office/drawing/2014/main" id="{DC37F36B-6669-C44C-BD81-53F53BC2C0C7}"/>
              </a:ext>
            </a:extLst>
          </p:cNvPr>
          <p:cNvGrpSpPr/>
          <p:nvPr/>
        </p:nvGrpSpPr>
        <p:grpSpPr>
          <a:xfrm>
            <a:off x="839769" y="2157117"/>
            <a:ext cx="640080" cy="640080"/>
            <a:chOff x="839788" y="1436818"/>
            <a:chExt cx="640080" cy="640080"/>
          </a:xfrm>
        </p:grpSpPr>
        <p:grpSp>
          <p:nvGrpSpPr>
            <p:cNvPr id="50" name="Group 49">
              <a:extLst>
                <a:ext uri="{FF2B5EF4-FFF2-40B4-BE49-F238E27FC236}">
                  <a16:creationId xmlns:a16="http://schemas.microsoft.com/office/drawing/2014/main" id="{B91420D8-EAA7-FB4B-88D2-1331F5373A87}"/>
                </a:ext>
              </a:extLst>
            </p:cNvPr>
            <p:cNvGrpSpPr/>
            <p:nvPr/>
          </p:nvGrpSpPr>
          <p:grpSpPr>
            <a:xfrm>
              <a:off x="839788" y="1436818"/>
              <a:ext cx="640080" cy="640080"/>
              <a:chOff x="6661431" y="2189755"/>
              <a:chExt cx="640080" cy="640080"/>
            </a:xfrm>
          </p:grpSpPr>
          <p:sp>
            <p:nvSpPr>
              <p:cNvPr id="56" name="Oval 55">
                <a:extLst>
                  <a:ext uri="{FF2B5EF4-FFF2-40B4-BE49-F238E27FC236}">
                    <a16:creationId xmlns:a16="http://schemas.microsoft.com/office/drawing/2014/main" id="{8DC4BB7D-72CD-7043-A82A-BA8F37D8F225}"/>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7B9B88D8-8916-A942-9D11-87F84EB37CD4}"/>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4" name="Graphic 53">
              <a:extLst>
                <a:ext uri="{FF2B5EF4-FFF2-40B4-BE49-F238E27FC236}">
                  <a16:creationId xmlns:a16="http://schemas.microsoft.com/office/drawing/2014/main" id="{5DA8A027-938E-5844-A786-4B248E13175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07798" y="1604828"/>
              <a:ext cx="304061" cy="304061"/>
            </a:xfrm>
            <a:prstGeom prst="rect">
              <a:avLst/>
            </a:prstGeom>
          </p:spPr>
        </p:pic>
      </p:grpSp>
      <p:sp>
        <p:nvSpPr>
          <p:cNvPr id="58" name="Rectangle 57">
            <a:extLst>
              <a:ext uri="{FF2B5EF4-FFF2-40B4-BE49-F238E27FC236}">
                <a16:creationId xmlns:a16="http://schemas.microsoft.com/office/drawing/2014/main" id="{DE296C0F-A075-D949-892D-B491A2807AF9}"/>
              </a:ext>
            </a:extLst>
          </p:cNvPr>
          <p:cNvSpPr/>
          <p:nvPr/>
        </p:nvSpPr>
        <p:spPr>
          <a:xfrm>
            <a:off x="1620139" y="1738493"/>
            <a:ext cx="2417290" cy="1754326"/>
          </a:xfrm>
          <a:prstGeom prst="rect">
            <a:avLst/>
          </a:prstGeom>
        </p:spPr>
        <p:txBody>
          <a:bodyPr wrap="square">
            <a:spAutoFit/>
          </a:bodyPr>
          <a:lstStyle/>
          <a:p>
            <a:pPr marL="0" lvl="1">
              <a:defRPr/>
            </a:pPr>
            <a:r>
              <a:rPr lang="en-US" sz="1800" dirty="0"/>
              <a:t>CO</a:t>
            </a:r>
            <a:r>
              <a:rPr lang="en-US" sz="1800" baseline="-25000" dirty="0"/>
              <a:t>2</a:t>
            </a:r>
            <a:r>
              <a:rPr lang="en-US" sz="1800" dirty="0"/>
              <a:t> is a good proxy for indoor air quality. High CO</a:t>
            </a:r>
            <a:r>
              <a:rPr lang="en-US" sz="1800" baseline="-25000" dirty="0"/>
              <a:t>2</a:t>
            </a:r>
            <a:r>
              <a:rPr lang="en-US" sz="1800" dirty="0"/>
              <a:t> concentration compromises our well-being, cognitive performance and health.</a:t>
            </a:r>
          </a:p>
        </p:txBody>
      </p:sp>
      <p:pic>
        <p:nvPicPr>
          <p:cNvPr id="61" name="Picture 60" descr="A picture containing dishware, tableware&#10;&#10;Description automatically generated">
            <a:extLst>
              <a:ext uri="{FF2B5EF4-FFF2-40B4-BE49-F238E27FC236}">
                <a16:creationId xmlns:a16="http://schemas.microsoft.com/office/drawing/2014/main" id="{53DFB2BA-21A5-544D-9DF2-CBC21AB401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14905" y="1814233"/>
            <a:ext cx="1856566" cy="1378501"/>
          </a:xfrm>
          <a:prstGeom prst="rect">
            <a:avLst/>
          </a:prstGeom>
        </p:spPr>
      </p:pic>
      <p:cxnSp>
        <p:nvCxnSpPr>
          <p:cNvPr id="60" name="Straight Connector 59">
            <a:extLst>
              <a:ext uri="{FF2B5EF4-FFF2-40B4-BE49-F238E27FC236}">
                <a16:creationId xmlns:a16="http://schemas.microsoft.com/office/drawing/2014/main" id="{9E194EC2-6DFC-CE4E-BD4D-6A22DEFD06BD}"/>
              </a:ext>
            </a:extLst>
          </p:cNvPr>
          <p:cNvCxnSpPr>
            <a:cxnSpLocks/>
          </p:cNvCxnSpPr>
          <p:nvPr/>
        </p:nvCxnSpPr>
        <p:spPr>
          <a:xfrm>
            <a:off x="4083638" y="1754977"/>
            <a:ext cx="0" cy="173169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2" name="Rectangle: Rounded Corners 49">
            <a:extLst>
              <a:ext uri="{FF2B5EF4-FFF2-40B4-BE49-F238E27FC236}">
                <a16:creationId xmlns:a16="http://schemas.microsoft.com/office/drawing/2014/main" id="{20FC0111-40C7-2D44-A2AE-F3DE8BC53A7E}"/>
              </a:ext>
            </a:extLst>
          </p:cNvPr>
          <p:cNvSpPr/>
          <p:nvPr/>
        </p:nvSpPr>
        <p:spPr>
          <a:xfrm>
            <a:off x="1171533" y="4060804"/>
            <a:ext cx="4756210" cy="2191025"/>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Group 62">
            <a:extLst>
              <a:ext uri="{FF2B5EF4-FFF2-40B4-BE49-F238E27FC236}">
                <a16:creationId xmlns:a16="http://schemas.microsoft.com/office/drawing/2014/main" id="{90BA7D1B-27B3-4149-A547-81718CEEAC74}"/>
              </a:ext>
            </a:extLst>
          </p:cNvPr>
          <p:cNvGrpSpPr/>
          <p:nvPr/>
        </p:nvGrpSpPr>
        <p:grpSpPr>
          <a:xfrm>
            <a:off x="839769" y="4692608"/>
            <a:ext cx="640080" cy="640080"/>
            <a:chOff x="839788" y="1436818"/>
            <a:chExt cx="640080" cy="640080"/>
          </a:xfrm>
        </p:grpSpPr>
        <p:grpSp>
          <p:nvGrpSpPr>
            <p:cNvPr id="64" name="Group 63">
              <a:extLst>
                <a:ext uri="{FF2B5EF4-FFF2-40B4-BE49-F238E27FC236}">
                  <a16:creationId xmlns:a16="http://schemas.microsoft.com/office/drawing/2014/main" id="{60303A62-AD32-A349-B178-F8C3325F1F8E}"/>
                </a:ext>
              </a:extLst>
            </p:cNvPr>
            <p:cNvGrpSpPr/>
            <p:nvPr/>
          </p:nvGrpSpPr>
          <p:grpSpPr>
            <a:xfrm>
              <a:off x="839788" y="1436818"/>
              <a:ext cx="640080" cy="640080"/>
              <a:chOff x="6661431" y="2189755"/>
              <a:chExt cx="640080" cy="640080"/>
            </a:xfrm>
          </p:grpSpPr>
          <p:sp>
            <p:nvSpPr>
              <p:cNvPr id="66" name="Oval 65">
                <a:extLst>
                  <a:ext uri="{FF2B5EF4-FFF2-40B4-BE49-F238E27FC236}">
                    <a16:creationId xmlns:a16="http://schemas.microsoft.com/office/drawing/2014/main" id="{219CB31B-C778-9B42-AED9-DEE7555C24FA}"/>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E64439CC-F0BB-4B42-89F3-85BB688AF250}"/>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5" name="Graphic 64">
              <a:extLst>
                <a:ext uri="{FF2B5EF4-FFF2-40B4-BE49-F238E27FC236}">
                  <a16:creationId xmlns:a16="http://schemas.microsoft.com/office/drawing/2014/main" id="{3CAA3535-3ABC-914D-8F76-AF9B3E95D62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07798" y="1604828"/>
              <a:ext cx="304061" cy="304061"/>
            </a:xfrm>
            <a:prstGeom prst="rect">
              <a:avLst/>
            </a:prstGeom>
          </p:spPr>
        </p:pic>
      </p:grpSp>
      <p:sp>
        <p:nvSpPr>
          <p:cNvPr id="68" name="Rectangle 67">
            <a:extLst>
              <a:ext uri="{FF2B5EF4-FFF2-40B4-BE49-F238E27FC236}">
                <a16:creationId xmlns:a16="http://schemas.microsoft.com/office/drawing/2014/main" id="{48E2EB87-09F7-0545-B2D7-19101B312FB0}"/>
              </a:ext>
            </a:extLst>
          </p:cNvPr>
          <p:cNvSpPr/>
          <p:nvPr/>
        </p:nvSpPr>
        <p:spPr>
          <a:xfrm>
            <a:off x="1620138" y="4273984"/>
            <a:ext cx="2586101" cy="1754326"/>
          </a:xfrm>
          <a:prstGeom prst="rect">
            <a:avLst/>
          </a:prstGeom>
        </p:spPr>
        <p:txBody>
          <a:bodyPr wrap="square">
            <a:spAutoFit/>
          </a:bodyPr>
          <a:lstStyle/>
          <a:p>
            <a:pPr marL="0" lvl="1">
              <a:defRPr/>
            </a:pPr>
            <a:r>
              <a:rPr lang="en-US" sz="1800" dirty="0" err="1"/>
              <a:t>Sensirion’s</a:t>
            </a:r>
            <a:r>
              <a:rPr lang="en-US" sz="1800" dirty="0"/>
              <a:t> miniaturized CO</a:t>
            </a:r>
            <a:r>
              <a:rPr lang="en-US" sz="1800" baseline="-25000" dirty="0"/>
              <a:t>2</a:t>
            </a:r>
            <a:r>
              <a:rPr lang="en-US" sz="1800" dirty="0"/>
              <a:t> sensor SCD4x based on the </a:t>
            </a:r>
            <a:r>
              <a:rPr lang="en-US" sz="1800" dirty="0" err="1"/>
              <a:t>PASens</a:t>
            </a:r>
            <a:r>
              <a:rPr lang="en-US" sz="1800" baseline="30000" dirty="0"/>
              <a:t>®</a:t>
            </a:r>
            <a:r>
              <a:rPr lang="en-US" sz="1800" dirty="0"/>
              <a:t> technology breaks the size barrier to enable wide-spread adaptation of CO</a:t>
            </a:r>
            <a:r>
              <a:rPr lang="en-US" sz="1800" baseline="-25000" dirty="0"/>
              <a:t>2</a:t>
            </a:r>
            <a:r>
              <a:rPr lang="en-US" sz="1800" dirty="0"/>
              <a:t> sensing. </a:t>
            </a:r>
          </a:p>
        </p:txBody>
      </p:sp>
      <p:cxnSp>
        <p:nvCxnSpPr>
          <p:cNvPr id="70" name="Straight Connector 69">
            <a:extLst>
              <a:ext uri="{FF2B5EF4-FFF2-40B4-BE49-F238E27FC236}">
                <a16:creationId xmlns:a16="http://schemas.microsoft.com/office/drawing/2014/main" id="{81F065BE-2F5A-FE45-A48B-1D4778178864}"/>
              </a:ext>
            </a:extLst>
          </p:cNvPr>
          <p:cNvCxnSpPr>
            <a:cxnSpLocks/>
          </p:cNvCxnSpPr>
          <p:nvPr/>
        </p:nvCxnSpPr>
        <p:spPr>
          <a:xfrm>
            <a:off x="4336857" y="4290468"/>
            <a:ext cx="0" cy="173169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1" name="Rectangle: Rounded Corners 49">
            <a:extLst>
              <a:ext uri="{FF2B5EF4-FFF2-40B4-BE49-F238E27FC236}">
                <a16:creationId xmlns:a16="http://schemas.microsoft.com/office/drawing/2014/main" id="{5F389796-2921-5443-9208-6106894B154C}"/>
              </a:ext>
            </a:extLst>
          </p:cNvPr>
          <p:cNvSpPr/>
          <p:nvPr/>
        </p:nvSpPr>
        <p:spPr>
          <a:xfrm>
            <a:off x="6596021" y="1525313"/>
            <a:ext cx="4756210" cy="2191025"/>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2" name="Group 71">
            <a:extLst>
              <a:ext uri="{FF2B5EF4-FFF2-40B4-BE49-F238E27FC236}">
                <a16:creationId xmlns:a16="http://schemas.microsoft.com/office/drawing/2014/main" id="{2B176AC9-B682-C942-BDAA-421ECFA6D595}"/>
              </a:ext>
            </a:extLst>
          </p:cNvPr>
          <p:cNvGrpSpPr/>
          <p:nvPr/>
        </p:nvGrpSpPr>
        <p:grpSpPr>
          <a:xfrm>
            <a:off x="6264257" y="2157117"/>
            <a:ext cx="640080" cy="640080"/>
            <a:chOff x="839788" y="1436818"/>
            <a:chExt cx="640080" cy="640080"/>
          </a:xfrm>
        </p:grpSpPr>
        <p:grpSp>
          <p:nvGrpSpPr>
            <p:cNvPr id="73" name="Group 72">
              <a:extLst>
                <a:ext uri="{FF2B5EF4-FFF2-40B4-BE49-F238E27FC236}">
                  <a16:creationId xmlns:a16="http://schemas.microsoft.com/office/drawing/2014/main" id="{18C002B1-A1F2-884F-A956-00DF9F0105C1}"/>
                </a:ext>
              </a:extLst>
            </p:cNvPr>
            <p:cNvGrpSpPr/>
            <p:nvPr/>
          </p:nvGrpSpPr>
          <p:grpSpPr>
            <a:xfrm>
              <a:off x="839788" y="1436818"/>
              <a:ext cx="640080" cy="640080"/>
              <a:chOff x="6661431" y="2189755"/>
              <a:chExt cx="640080" cy="640080"/>
            </a:xfrm>
          </p:grpSpPr>
          <p:sp>
            <p:nvSpPr>
              <p:cNvPr id="75" name="Oval 74">
                <a:extLst>
                  <a:ext uri="{FF2B5EF4-FFF2-40B4-BE49-F238E27FC236}">
                    <a16:creationId xmlns:a16="http://schemas.microsoft.com/office/drawing/2014/main" id="{45E6467E-BCE4-164F-AA72-2612A08015BA}"/>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0A21D1C3-6414-8F46-BDF4-672C430F2724}"/>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4" name="Graphic 73">
              <a:extLst>
                <a:ext uri="{FF2B5EF4-FFF2-40B4-BE49-F238E27FC236}">
                  <a16:creationId xmlns:a16="http://schemas.microsoft.com/office/drawing/2014/main" id="{DE892BE7-1CDA-3849-9210-4CA16316CB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07798" y="1604828"/>
              <a:ext cx="304061" cy="304061"/>
            </a:xfrm>
            <a:prstGeom prst="rect">
              <a:avLst/>
            </a:prstGeom>
          </p:spPr>
        </p:pic>
      </p:grpSp>
      <p:sp>
        <p:nvSpPr>
          <p:cNvPr id="77" name="Rectangle 76">
            <a:extLst>
              <a:ext uri="{FF2B5EF4-FFF2-40B4-BE49-F238E27FC236}">
                <a16:creationId xmlns:a16="http://schemas.microsoft.com/office/drawing/2014/main" id="{D3A34E7A-D9F6-FF46-B033-112545E5BD3D}"/>
              </a:ext>
            </a:extLst>
          </p:cNvPr>
          <p:cNvSpPr/>
          <p:nvPr/>
        </p:nvSpPr>
        <p:spPr>
          <a:xfrm>
            <a:off x="7044627" y="1738493"/>
            <a:ext cx="1944628" cy="1754326"/>
          </a:xfrm>
          <a:prstGeom prst="rect">
            <a:avLst/>
          </a:prstGeom>
        </p:spPr>
        <p:txBody>
          <a:bodyPr wrap="square">
            <a:spAutoFit/>
          </a:bodyPr>
          <a:lstStyle/>
          <a:p>
            <a:pPr marL="0" lvl="1">
              <a:defRPr/>
            </a:pPr>
            <a:r>
              <a:rPr lang="en-US" sz="1800" dirty="0"/>
              <a:t>The SCD4x is available now! High volumes have been shipped to lead customers throughout 2021. </a:t>
            </a:r>
          </a:p>
        </p:txBody>
      </p:sp>
      <p:cxnSp>
        <p:nvCxnSpPr>
          <p:cNvPr id="79" name="Straight Connector 78">
            <a:extLst>
              <a:ext uri="{FF2B5EF4-FFF2-40B4-BE49-F238E27FC236}">
                <a16:creationId xmlns:a16="http://schemas.microsoft.com/office/drawing/2014/main" id="{162B47AF-7CD8-9647-8A90-1CEFE34CC5F2}"/>
              </a:ext>
            </a:extLst>
          </p:cNvPr>
          <p:cNvCxnSpPr>
            <a:cxnSpLocks/>
          </p:cNvCxnSpPr>
          <p:nvPr/>
        </p:nvCxnSpPr>
        <p:spPr>
          <a:xfrm>
            <a:off x="9508126" y="1754977"/>
            <a:ext cx="0" cy="173169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0" name="Rectangle: Rounded Corners 49">
            <a:extLst>
              <a:ext uri="{FF2B5EF4-FFF2-40B4-BE49-F238E27FC236}">
                <a16:creationId xmlns:a16="http://schemas.microsoft.com/office/drawing/2014/main" id="{7724BCE7-A78B-7246-AABB-280E639DA8CC}"/>
              </a:ext>
            </a:extLst>
          </p:cNvPr>
          <p:cNvSpPr/>
          <p:nvPr/>
        </p:nvSpPr>
        <p:spPr>
          <a:xfrm>
            <a:off x="6596021" y="4060804"/>
            <a:ext cx="4756210" cy="2191025"/>
          </a:xfrm>
          <a:prstGeom prst="roundRect">
            <a:avLst>
              <a:gd name="adj" fmla="val 42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1" name="Group 80">
            <a:extLst>
              <a:ext uri="{FF2B5EF4-FFF2-40B4-BE49-F238E27FC236}">
                <a16:creationId xmlns:a16="http://schemas.microsoft.com/office/drawing/2014/main" id="{08CE8642-E4D0-2546-BFC3-4D25E289AF33}"/>
              </a:ext>
            </a:extLst>
          </p:cNvPr>
          <p:cNvGrpSpPr/>
          <p:nvPr/>
        </p:nvGrpSpPr>
        <p:grpSpPr>
          <a:xfrm>
            <a:off x="6264257" y="4692608"/>
            <a:ext cx="640080" cy="640080"/>
            <a:chOff x="839788" y="1436818"/>
            <a:chExt cx="640080" cy="640080"/>
          </a:xfrm>
        </p:grpSpPr>
        <p:grpSp>
          <p:nvGrpSpPr>
            <p:cNvPr id="82" name="Group 81">
              <a:extLst>
                <a:ext uri="{FF2B5EF4-FFF2-40B4-BE49-F238E27FC236}">
                  <a16:creationId xmlns:a16="http://schemas.microsoft.com/office/drawing/2014/main" id="{42176BE4-316D-C644-B495-567437018FF5}"/>
                </a:ext>
              </a:extLst>
            </p:cNvPr>
            <p:cNvGrpSpPr/>
            <p:nvPr/>
          </p:nvGrpSpPr>
          <p:grpSpPr>
            <a:xfrm>
              <a:off x="839788" y="1436818"/>
              <a:ext cx="640080" cy="640080"/>
              <a:chOff x="6661431" y="2189755"/>
              <a:chExt cx="640080" cy="640080"/>
            </a:xfrm>
          </p:grpSpPr>
          <p:sp>
            <p:nvSpPr>
              <p:cNvPr id="84" name="Oval 83">
                <a:extLst>
                  <a:ext uri="{FF2B5EF4-FFF2-40B4-BE49-F238E27FC236}">
                    <a16:creationId xmlns:a16="http://schemas.microsoft.com/office/drawing/2014/main" id="{D8516CEA-95CE-6745-BDEB-9C583EA48318}"/>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0712472B-7C55-6D45-9A4C-8E781135D68D}"/>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3" name="Graphic 82">
              <a:extLst>
                <a:ext uri="{FF2B5EF4-FFF2-40B4-BE49-F238E27FC236}">
                  <a16:creationId xmlns:a16="http://schemas.microsoft.com/office/drawing/2014/main" id="{F01E2B96-5B28-D24F-9ACD-2DD775EF623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007798" y="1604828"/>
              <a:ext cx="304061" cy="304061"/>
            </a:xfrm>
            <a:prstGeom prst="rect">
              <a:avLst/>
            </a:prstGeom>
          </p:spPr>
        </p:pic>
      </p:grpSp>
      <p:sp>
        <p:nvSpPr>
          <p:cNvPr id="86" name="Rectangle 85">
            <a:extLst>
              <a:ext uri="{FF2B5EF4-FFF2-40B4-BE49-F238E27FC236}">
                <a16:creationId xmlns:a16="http://schemas.microsoft.com/office/drawing/2014/main" id="{6AADFE28-0AEB-F141-AF0D-45F9EFD573E7}"/>
              </a:ext>
            </a:extLst>
          </p:cNvPr>
          <p:cNvSpPr/>
          <p:nvPr/>
        </p:nvSpPr>
        <p:spPr>
          <a:xfrm>
            <a:off x="7044626" y="4273984"/>
            <a:ext cx="3049987" cy="1754326"/>
          </a:xfrm>
          <a:prstGeom prst="rect">
            <a:avLst/>
          </a:prstGeom>
        </p:spPr>
        <p:txBody>
          <a:bodyPr wrap="square">
            <a:spAutoFit/>
          </a:bodyPr>
          <a:lstStyle/>
          <a:p>
            <a:pPr marL="0" lvl="1">
              <a:defRPr/>
            </a:pPr>
            <a:r>
              <a:rPr lang="en-US" sz="1800" dirty="0"/>
              <a:t>The SEK-SCD41 evaluation </a:t>
            </a:r>
            <a:br>
              <a:rPr lang="en-US" sz="1800" dirty="0"/>
            </a:br>
            <a:r>
              <a:rPr lang="en-US" sz="1800" dirty="0"/>
              <a:t>kit enables easy sensor evaluation and prototyping. Documentation, drivers </a:t>
            </a:r>
            <a:br>
              <a:rPr lang="en-US" sz="1800" dirty="0"/>
            </a:br>
            <a:r>
              <a:rPr lang="en-US" sz="1800" dirty="0"/>
              <a:t>and tutorials: </a:t>
            </a:r>
            <a:r>
              <a:rPr lang="en-US" sz="1800" b="1" dirty="0">
                <a:solidFill>
                  <a:schemeClr val="accent1"/>
                </a:solidFill>
                <a:hlinkClick r:id="rId11">
                  <a:extLst>
                    <a:ext uri="{A12FA001-AC4F-418D-AE19-62706E023703}">
                      <ahyp:hlinkClr xmlns:ahyp="http://schemas.microsoft.com/office/drawing/2018/hyperlinkcolor" val="tx"/>
                    </a:ext>
                  </a:extLst>
                </a:hlinkClick>
              </a:rPr>
              <a:t>www.sensirion.com/my-scd-ek </a:t>
            </a:r>
            <a:endParaRPr lang="en-US" sz="1800" b="1" dirty="0">
              <a:solidFill>
                <a:schemeClr val="accent1"/>
              </a:solidFill>
            </a:endParaRPr>
          </a:p>
        </p:txBody>
      </p:sp>
      <p:pic>
        <p:nvPicPr>
          <p:cNvPr id="89" name="Picture 88" descr="A picture containing text&#10;&#10;Description automatically generated">
            <a:extLst>
              <a:ext uri="{FF2B5EF4-FFF2-40B4-BE49-F238E27FC236}">
                <a16:creationId xmlns:a16="http://schemas.microsoft.com/office/drawing/2014/main" id="{CE72EAB3-5E2D-294C-A96A-4E31CC069AA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058479" y="4404004"/>
            <a:ext cx="2109578" cy="1494285"/>
          </a:xfrm>
          <a:prstGeom prst="rect">
            <a:avLst/>
          </a:prstGeom>
        </p:spPr>
      </p:pic>
      <p:pic>
        <p:nvPicPr>
          <p:cNvPr id="90" name="Content Placeholder 4" descr="Graphical user interface, application&#10;&#10;Description automatically generated">
            <a:extLst>
              <a:ext uri="{FF2B5EF4-FFF2-40B4-BE49-F238E27FC236}">
                <a16:creationId xmlns:a16="http://schemas.microsoft.com/office/drawing/2014/main" id="{7B92590B-2A55-A942-93B8-664E27136B5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511144" y="1537108"/>
            <a:ext cx="1858274" cy="2095205"/>
          </a:xfrm>
          <a:prstGeom prst="rect">
            <a:avLst/>
          </a:prstGeom>
        </p:spPr>
      </p:pic>
      <p:pic>
        <p:nvPicPr>
          <p:cNvPr id="13" name="Picture 12">
            <a:extLst>
              <a:ext uri="{FF2B5EF4-FFF2-40B4-BE49-F238E27FC236}">
                <a16:creationId xmlns:a16="http://schemas.microsoft.com/office/drawing/2014/main" id="{61AA86B6-105E-BA47-88B7-AB3174B4A0F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604859" y="4559460"/>
            <a:ext cx="1578956" cy="906374"/>
          </a:xfrm>
          <a:prstGeom prst="rect">
            <a:avLst/>
          </a:prstGeom>
        </p:spPr>
      </p:pic>
      <p:pic>
        <p:nvPicPr>
          <p:cNvPr id="22" name="Picture 21">
            <a:extLst>
              <a:ext uri="{FF2B5EF4-FFF2-40B4-BE49-F238E27FC236}">
                <a16:creationId xmlns:a16="http://schemas.microsoft.com/office/drawing/2014/main" id="{15F3BAD6-4459-EC4D-9A24-E52B793259F8}"/>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b="80219"/>
          <a:stretch/>
        </p:blipFill>
        <p:spPr>
          <a:xfrm>
            <a:off x="9779066" y="4612446"/>
            <a:ext cx="1230816" cy="767937"/>
          </a:xfrm>
          <a:prstGeom prst="rect">
            <a:avLst/>
          </a:prstGeom>
        </p:spPr>
      </p:pic>
      <p:grpSp>
        <p:nvGrpSpPr>
          <p:cNvPr id="39" name="Group 38">
            <a:extLst>
              <a:ext uri="{FF2B5EF4-FFF2-40B4-BE49-F238E27FC236}">
                <a16:creationId xmlns:a16="http://schemas.microsoft.com/office/drawing/2014/main" id="{DFDFF4E9-BBD8-44B8-81FC-4471776E55DB}"/>
              </a:ext>
            </a:extLst>
          </p:cNvPr>
          <p:cNvGrpSpPr/>
          <p:nvPr/>
        </p:nvGrpSpPr>
        <p:grpSpPr>
          <a:xfrm>
            <a:off x="839769" y="6387669"/>
            <a:ext cx="5150521" cy="235359"/>
            <a:chOff x="839769" y="6387669"/>
            <a:chExt cx="5150521" cy="235359"/>
          </a:xfrm>
        </p:grpSpPr>
        <p:grpSp>
          <p:nvGrpSpPr>
            <p:cNvPr id="40" name="Gruppierung 1">
              <a:extLst>
                <a:ext uri="{FF2B5EF4-FFF2-40B4-BE49-F238E27FC236}">
                  <a16:creationId xmlns:a16="http://schemas.microsoft.com/office/drawing/2014/main" id="{B14D3A8D-E45E-4377-A1FF-D26D46EBCE27}"/>
                </a:ext>
              </a:extLst>
            </p:cNvPr>
            <p:cNvGrpSpPr/>
            <p:nvPr/>
          </p:nvGrpSpPr>
          <p:grpSpPr>
            <a:xfrm>
              <a:off x="839769" y="6387669"/>
              <a:ext cx="5150521" cy="235359"/>
              <a:chOff x="839769" y="6369739"/>
              <a:chExt cx="5150521" cy="235359"/>
            </a:xfrm>
          </p:grpSpPr>
          <p:sp>
            <p:nvSpPr>
              <p:cNvPr id="42" name="Fußzeilenplatzhalter 4">
                <a:extLst>
                  <a:ext uri="{FF2B5EF4-FFF2-40B4-BE49-F238E27FC236}">
                    <a16:creationId xmlns:a16="http://schemas.microsoft.com/office/drawing/2014/main" id="{AA62769B-8D6A-4A64-89C8-AD43BF40FC9F}"/>
                  </a:ext>
                </a:extLst>
              </p:cNvPr>
              <p:cNvSpPr txBox="1">
                <a:spLocks/>
              </p:cNvSpPr>
              <p:nvPr/>
            </p:nvSpPr>
            <p:spPr bwMode="auto">
              <a:xfrm>
                <a:off x="839769"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 Copyright Sensirion AG, </a:t>
                </a:r>
                <a:r>
                  <a:rPr lang="en-US" sz="1100" noProof="0" dirty="0">
                    <a:solidFill>
                      <a:schemeClr val="bg1">
                        <a:lumMod val="75000"/>
                      </a:schemeClr>
                    </a:solidFill>
                  </a:rPr>
                  <a:t>Switzerland</a:t>
                </a:r>
              </a:p>
            </p:txBody>
          </p:sp>
          <p:sp>
            <p:nvSpPr>
              <p:cNvPr id="43" name="Fußzeilenplatzhalter 4">
                <a:extLst>
                  <a:ext uri="{FF2B5EF4-FFF2-40B4-BE49-F238E27FC236}">
                    <a16:creationId xmlns:a16="http://schemas.microsoft.com/office/drawing/2014/main" id="{AC104C37-031B-4715-8FD3-91630F7B4469}"/>
                  </a:ext>
                </a:extLst>
              </p:cNvPr>
              <p:cNvSpPr txBox="1">
                <a:spLocks/>
              </p:cNvSpPr>
              <p:nvPr userDrawn="1"/>
            </p:nvSpPr>
            <p:spPr bwMode="auto">
              <a:xfrm>
                <a:off x="3253573" y="636973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dirty="0">
                    <a:solidFill>
                      <a:schemeClr val="bg1">
                        <a:lumMod val="75000"/>
                      </a:schemeClr>
                    </a:solidFill>
                  </a:rPr>
                  <a:t>Confidential </a:t>
                </a:r>
              </a:p>
            </p:txBody>
          </p:sp>
        </p:grpSp>
        <p:cxnSp>
          <p:nvCxnSpPr>
            <p:cNvPr id="41" name="Straight Connector 40">
              <a:extLst>
                <a:ext uri="{FF2B5EF4-FFF2-40B4-BE49-F238E27FC236}">
                  <a16:creationId xmlns:a16="http://schemas.microsoft.com/office/drawing/2014/main" id="{E5668D17-3960-4802-9387-89015301B751}"/>
                </a:ext>
              </a:extLst>
            </p:cNvPr>
            <p:cNvCxnSpPr>
              <a:cxnSpLocks/>
            </p:cNvCxnSpPr>
            <p:nvPr/>
          </p:nvCxnSpPr>
          <p:spPr>
            <a:xfrm>
              <a:off x="3102964" y="6387669"/>
              <a:ext cx="0" cy="17324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49708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68" grpId="0"/>
      <p:bldP spid="77" grpId="0"/>
      <p:bldP spid="86"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B1F75D1B-72D1-458E-A66A-7A4B5C34800C}"/>
              </a:ext>
            </a:extLst>
          </p:cNvPr>
          <p:cNvSpPr txBox="1"/>
          <p:nvPr/>
        </p:nvSpPr>
        <p:spPr>
          <a:xfrm>
            <a:off x="667433" y="519667"/>
            <a:ext cx="9652735" cy="646331"/>
          </a:xfrm>
          <a:prstGeom prst="rect">
            <a:avLst/>
          </a:prstGeom>
          <a:noFill/>
        </p:spPr>
        <p:txBody>
          <a:bodyPr wrap="square">
            <a:spAutoFit/>
          </a:bodyPr>
          <a:lstStyle/>
          <a:p>
            <a:r>
              <a:rPr lang="en-US" sz="3600" b="1">
                <a:solidFill>
                  <a:schemeClr val="accent1"/>
                </a:solidFill>
              </a:rPr>
              <a:t>Top-five CO</a:t>
            </a:r>
            <a:r>
              <a:rPr lang="en-US" sz="3600" b="1" baseline="-25000">
                <a:solidFill>
                  <a:schemeClr val="accent1"/>
                </a:solidFill>
              </a:rPr>
              <a:t>2</a:t>
            </a:r>
            <a:r>
              <a:rPr lang="en-US" sz="3600" b="1">
                <a:solidFill>
                  <a:schemeClr val="accent1"/>
                </a:solidFill>
              </a:rPr>
              <a:t> Market Opportunities for CO2 Sensors</a:t>
            </a:r>
          </a:p>
        </p:txBody>
      </p:sp>
      <p:pic>
        <p:nvPicPr>
          <p:cNvPr id="4098" name="Picture 2" descr="IconExperience » G-Collection » Podium Icon">
            <a:extLst>
              <a:ext uri="{FF2B5EF4-FFF2-40B4-BE49-F238E27FC236}">
                <a16:creationId xmlns:a16="http://schemas.microsoft.com/office/drawing/2014/main" id="{418DF1FF-A5FE-4D96-AFF7-33562EE2517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864"/>
          <a:stretch/>
        </p:blipFill>
        <p:spPr bwMode="auto">
          <a:xfrm>
            <a:off x="4271431" y="3980881"/>
            <a:ext cx="3687235" cy="228724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0" descr="Amazon.com: Awair Element Indoor Air Quality Monitor: Home &amp; Kitchen">
            <a:extLst>
              <a:ext uri="{FF2B5EF4-FFF2-40B4-BE49-F238E27FC236}">
                <a16:creationId xmlns:a16="http://schemas.microsoft.com/office/drawing/2014/main" id="{55346DAA-1DBF-469D-977C-9FD92D599C6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2902" y="3056466"/>
            <a:ext cx="1288293" cy="97781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9DFC12D-A648-4E30-82AD-392B2C1403A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05508" y="3557462"/>
            <a:ext cx="1288293" cy="1288293"/>
          </a:xfrm>
          <a:prstGeom prst="rect">
            <a:avLst/>
          </a:prstGeom>
        </p:spPr>
      </p:pic>
      <p:pic>
        <p:nvPicPr>
          <p:cNvPr id="6" name="Picture 5">
            <a:extLst>
              <a:ext uri="{FF2B5EF4-FFF2-40B4-BE49-F238E27FC236}">
                <a16:creationId xmlns:a16="http://schemas.microsoft.com/office/drawing/2014/main" id="{4ADB56AF-7BF5-4EFD-8BF6-EB64569A76B7}"/>
              </a:ext>
            </a:extLst>
          </p:cNvPr>
          <p:cNvPicPr>
            <a:picLocks noChangeAspect="1"/>
          </p:cNvPicPr>
          <p:nvPr/>
        </p:nvPicPr>
        <p:blipFill rotWithShape="1">
          <a:blip r:embed="rId6"/>
          <a:srcRect l="12870"/>
          <a:stretch/>
        </p:blipFill>
        <p:spPr>
          <a:xfrm>
            <a:off x="2914993" y="4996881"/>
            <a:ext cx="1097433" cy="1060496"/>
          </a:xfrm>
          <a:prstGeom prst="rect">
            <a:avLst/>
          </a:prstGeom>
        </p:spPr>
      </p:pic>
      <p:pic>
        <p:nvPicPr>
          <p:cNvPr id="8" name="Picture 7">
            <a:extLst>
              <a:ext uri="{FF2B5EF4-FFF2-40B4-BE49-F238E27FC236}">
                <a16:creationId xmlns:a16="http://schemas.microsoft.com/office/drawing/2014/main" id="{FD79E37E-3487-4C85-8EA2-D4D6C53B8FB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2500" b="10732"/>
          <a:stretch/>
        </p:blipFill>
        <p:spPr>
          <a:xfrm>
            <a:off x="6840530" y="4106333"/>
            <a:ext cx="1226114" cy="941262"/>
          </a:xfrm>
          <a:prstGeom prst="rect">
            <a:avLst/>
          </a:prstGeom>
        </p:spPr>
      </p:pic>
      <p:pic>
        <p:nvPicPr>
          <p:cNvPr id="4100" name="Picture 4">
            <a:extLst>
              <a:ext uri="{FF2B5EF4-FFF2-40B4-BE49-F238E27FC236}">
                <a16:creationId xmlns:a16="http://schemas.microsoft.com/office/drawing/2014/main" id="{882A744C-BA80-4D78-BC01-BCC62C11896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17671" y="5035283"/>
            <a:ext cx="1060496" cy="1060496"/>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119FEF25-8488-45A7-BBE2-853BD253C735}"/>
              </a:ext>
            </a:extLst>
          </p:cNvPr>
          <p:cNvCxnSpPr>
            <a:cxnSpLocks/>
          </p:cNvCxnSpPr>
          <p:nvPr/>
        </p:nvCxnSpPr>
        <p:spPr>
          <a:xfrm flipV="1">
            <a:off x="6067048" y="2023107"/>
            <a:ext cx="0" cy="1405894"/>
          </a:xfrm>
          <a:prstGeom prst="line">
            <a:avLst/>
          </a:prstGeom>
          <a:ln w="12700">
            <a:solidFill>
              <a:srgbClr val="7F7F7F"/>
            </a:solidFill>
            <a:head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653C0B0-358E-44EB-A817-1F61DF32A14B}"/>
              </a:ext>
            </a:extLst>
          </p:cNvPr>
          <p:cNvCxnSpPr>
            <a:cxnSpLocks/>
          </p:cNvCxnSpPr>
          <p:nvPr/>
        </p:nvCxnSpPr>
        <p:spPr>
          <a:xfrm flipV="1">
            <a:off x="7629725" y="3098800"/>
            <a:ext cx="1188308" cy="1025825"/>
          </a:xfrm>
          <a:prstGeom prst="line">
            <a:avLst/>
          </a:prstGeom>
          <a:ln w="12700">
            <a:solidFill>
              <a:srgbClr val="7F7F7F"/>
            </a:solidFill>
            <a:head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E93F5BE-7392-49A2-A925-5F8777A64690}"/>
              </a:ext>
            </a:extLst>
          </p:cNvPr>
          <p:cNvCxnSpPr>
            <a:cxnSpLocks/>
          </p:cNvCxnSpPr>
          <p:nvPr/>
        </p:nvCxnSpPr>
        <p:spPr>
          <a:xfrm flipV="1">
            <a:off x="9170822" y="4881880"/>
            <a:ext cx="801218" cy="445309"/>
          </a:xfrm>
          <a:prstGeom prst="line">
            <a:avLst/>
          </a:prstGeom>
          <a:ln w="12700">
            <a:solidFill>
              <a:srgbClr val="7F7F7F"/>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02B041A-EED8-411F-A733-271D765E0605}"/>
              </a:ext>
            </a:extLst>
          </p:cNvPr>
          <p:cNvCxnSpPr>
            <a:cxnSpLocks/>
          </p:cNvCxnSpPr>
          <p:nvPr/>
        </p:nvCxnSpPr>
        <p:spPr>
          <a:xfrm flipH="1" flipV="1">
            <a:off x="3449320" y="3144520"/>
            <a:ext cx="992126" cy="551394"/>
          </a:xfrm>
          <a:prstGeom prst="line">
            <a:avLst/>
          </a:prstGeom>
          <a:ln w="12700">
            <a:solidFill>
              <a:srgbClr val="7F7F7F"/>
            </a:solidFill>
            <a:head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06836D4-890A-457C-8C5D-3600067D458A}"/>
              </a:ext>
            </a:extLst>
          </p:cNvPr>
          <p:cNvCxnSpPr>
            <a:cxnSpLocks/>
          </p:cNvCxnSpPr>
          <p:nvPr/>
        </p:nvCxnSpPr>
        <p:spPr>
          <a:xfrm flipH="1" flipV="1">
            <a:off x="2341033" y="4919133"/>
            <a:ext cx="776393" cy="281680"/>
          </a:xfrm>
          <a:prstGeom prst="line">
            <a:avLst/>
          </a:prstGeom>
          <a:ln w="12700">
            <a:solidFill>
              <a:srgbClr val="7F7F7F"/>
            </a:solidFill>
            <a:headEnd type="oval"/>
          </a:ln>
        </p:spPr>
        <p:style>
          <a:lnRef idx="1">
            <a:schemeClr val="accent1"/>
          </a:lnRef>
          <a:fillRef idx="0">
            <a:schemeClr val="accent1"/>
          </a:fillRef>
          <a:effectRef idx="0">
            <a:schemeClr val="accent1"/>
          </a:effectRef>
          <a:fontRef idx="minor">
            <a:schemeClr val="tx1"/>
          </a:fontRef>
        </p:style>
      </p:cxnSp>
      <p:sp>
        <p:nvSpPr>
          <p:cNvPr id="21" name="Rectangle: Rounded Corners 49">
            <a:extLst>
              <a:ext uri="{FF2B5EF4-FFF2-40B4-BE49-F238E27FC236}">
                <a16:creationId xmlns:a16="http://schemas.microsoft.com/office/drawing/2014/main" id="{497A6265-B702-4281-BD21-88FD191057BD}"/>
              </a:ext>
            </a:extLst>
          </p:cNvPr>
          <p:cNvSpPr/>
          <p:nvPr/>
        </p:nvSpPr>
        <p:spPr>
          <a:xfrm>
            <a:off x="8602813" y="3426495"/>
            <a:ext cx="3131988" cy="1553307"/>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r>
              <a:rPr lang="en-US" sz="1600" b="1">
                <a:solidFill>
                  <a:schemeClr val="tx1"/>
                </a:solidFill>
              </a:rPr>
              <a:t>Greenhouse CO</a:t>
            </a:r>
            <a:r>
              <a:rPr lang="en-US" sz="1600" b="1" baseline="-25000">
                <a:solidFill>
                  <a:schemeClr val="tx1"/>
                </a:solidFill>
              </a:rPr>
              <a:t>2</a:t>
            </a:r>
            <a:r>
              <a:rPr lang="en-US" sz="1600" b="1">
                <a:solidFill>
                  <a:schemeClr val="tx1"/>
                </a:solidFill>
              </a:rPr>
              <a:t> monitoring / supplementation:</a:t>
            </a:r>
          </a:p>
          <a:p>
            <a:pPr marL="285750" indent="-285750">
              <a:buFont typeface="Wingdings" panose="05000000000000000000" pitchFamily="2" charset="2"/>
              <a:buChar char="§"/>
            </a:pPr>
            <a:r>
              <a:rPr lang="en-US" sz="1600">
                <a:solidFill>
                  <a:schemeClr val="tx1"/>
                </a:solidFill>
              </a:rPr>
              <a:t>Efficiency gain &gt; sensor costs</a:t>
            </a:r>
          </a:p>
          <a:p>
            <a:pPr marL="285750" indent="-285750">
              <a:buFont typeface="Wingdings" panose="05000000000000000000" pitchFamily="2" charset="2"/>
              <a:buChar char="§"/>
            </a:pPr>
            <a:r>
              <a:rPr lang="en-US" sz="1600">
                <a:solidFill>
                  <a:schemeClr val="tx1"/>
                </a:solidFill>
              </a:rPr>
              <a:t>Cannabis legalization US</a:t>
            </a:r>
          </a:p>
          <a:p>
            <a:pPr marL="285750" indent="-285750">
              <a:buFont typeface="Wingdings" panose="05000000000000000000" pitchFamily="2" charset="2"/>
              <a:buChar char="Ø"/>
            </a:pPr>
            <a:r>
              <a:rPr lang="en-US" sz="1600">
                <a:solidFill>
                  <a:schemeClr val="tx1"/>
                </a:solidFill>
              </a:rPr>
              <a:t>Often SCD30 best suited</a:t>
            </a:r>
          </a:p>
        </p:txBody>
      </p:sp>
      <p:sp>
        <p:nvSpPr>
          <p:cNvPr id="25" name="Rectangle: Rounded Corners 49">
            <a:extLst>
              <a:ext uri="{FF2B5EF4-FFF2-40B4-BE49-F238E27FC236}">
                <a16:creationId xmlns:a16="http://schemas.microsoft.com/office/drawing/2014/main" id="{A1770A9D-E3BF-4F32-9CCE-1D84F8755AC3}"/>
              </a:ext>
            </a:extLst>
          </p:cNvPr>
          <p:cNvSpPr/>
          <p:nvPr/>
        </p:nvSpPr>
        <p:spPr>
          <a:xfrm>
            <a:off x="543003" y="3424955"/>
            <a:ext cx="3106129" cy="1494178"/>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r>
              <a:rPr lang="en-US" sz="1600" b="1">
                <a:solidFill>
                  <a:schemeClr val="tx1"/>
                </a:solidFill>
              </a:rPr>
              <a:t>CO</a:t>
            </a:r>
            <a:r>
              <a:rPr lang="en-US" sz="1600" b="1" baseline="-25000">
                <a:solidFill>
                  <a:schemeClr val="tx1"/>
                </a:solidFill>
              </a:rPr>
              <a:t>2</a:t>
            </a:r>
            <a:r>
              <a:rPr lang="en-US" sz="1600" b="1">
                <a:solidFill>
                  <a:schemeClr val="tx1"/>
                </a:solidFill>
              </a:rPr>
              <a:t> traffic lights </a:t>
            </a:r>
          </a:p>
          <a:p>
            <a:pPr marL="285750" indent="-285750">
              <a:buFont typeface="Wingdings" panose="05000000000000000000" pitchFamily="2" charset="2"/>
              <a:buChar char="§"/>
            </a:pPr>
            <a:r>
              <a:rPr lang="en-US" sz="1600">
                <a:solidFill>
                  <a:schemeClr val="tx1"/>
                </a:solidFill>
              </a:rPr>
              <a:t>Increasing number of national norms/standards</a:t>
            </a:r>
          </a:p>
          <a:p>
            <a:pPr marL="285750" indent="-285750">
              <a:buFont typeface="Wingdings" panose="05000000000000000000" pitchFamily="2" charset="2"/>
              <a:buChar char="§"/>
            </a:pPr>
            <a:r>
              <a:rPr lang="en-US" sz="1600">
                <a:solidFill>
                  <a:schemeClr val="tx1"/>
                </a:solidFill>
              </a:rPr>
              <a:t>Commercial buildings following </a:t>
            </a:r>
          </a:p>
          <a:p>
            <a:pPr marL="285750" indent="-285750">
              <a:buFont typeface="Wingdings" panose="05000000000000000000" pitchFamily="2" charset="2"/>
              <a:buChar char="§"/>
            </a:pPr>
            <a:r>
              <a:rPr lang="en-US" sz="1600">
                <a:solidFill>
                  <a:schemeClr val="tx1"/>
                </a:solidFill>
              </a:rPr>
              <a:t>Availability is often key</a:t>
            </a:r>
          </a:p>
        </p:txBody>
      </p:sp>
      <p:sp>
        <p:nvSpPr>
          <p:cNvPr id="28" name="Rectangle: Rounded Corners 49">
            <a:extLst>
              <a:ext uri="{FF2B5EF4-FFF2-40B4-BE49-F238E27FC236}">
                <a16:creationId xmlns:a16="http://schemas.microsoft.com/office/drawing/2014/main" id="{F6CFEE9C-329F-45C2-BC75-3C228617E345}"/>
              </a:ext>
            </a:extLst>
          </p:cNvPr>
          <p:cNvSpPr/>
          <p:nvPr/>
        </p:nvSpPr>
        <p:spPr>
          <a:xfrm>
            <a:off x="543003" y="1695635"/>
            <a:ext cx="3106130" cy="155742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r>
              <a:rPr lang="en-US" sz="1600" b="1">
                <a:solidFill>
                  <a:schemeClr val="tx1"/>
                </a:solidFill>
              </a:rPr>
              <a:t>Air purifier with CO</a:t>
            </a:r>
            <a:r>
              <a:rPr lang="en-US" sz="1600" b="1" baseline="-25000">
                <a:solidFill>
                  <a:schemeClr val="tx1"/>
                </a:solidFill>
              </a:rPr>
              <a:t>2</a:t>
            </a:r>
            <a:r>
              <a:rPr lang="en-US" sz="1600" b="1">
                <a:solidFill>
                  <a:schemeClr val="tx1"/>
                </a:solidFill>
              </a:rPr>
              <a:t> sensor </a:t>
            </a:r>
          </a:p>
          <a:p>
            <a:pPr marL="285750" indent="-285750">
              <a:buFont typeface="Wingdings" panose="05000000000000000000" pitchFamily="2" charset="2"/>
              <a:buChar char="§"/>
            </a:pPr>
            <a:r>
              <a:rPr lang="en-US" sz="1600">
                <a:solidFill>
                  <a:schemeClr val="tx1"/>
                </a:solidFill>
              </a:rPr>
              <a:t>Air purification &amp; CO</a:t>
            </a:r>
            <a:r>
              <a:rPr lang="en-US" sz="1600" baseline="-25000">
                <a:solidFill>
                  <a:schemeClr val="tx1"/>
                </a:solidFill>
              </a:rPr>
              <a:t>2</a:t>
            </a:r>
            <a:r>
              <a:rPr lang="en-US" sz="1600">
                <a:solidFill>
                  <a:schemeClr val="tx1"/>
                </a:solidFill>
              </a:rPr>
              <a:t> monitoring to prevent Covid-infections</a:t>
            </a:r>
          </a:p>
          <a:p>
            <a:pPr marL="285750" indent="-285750">
              <a:buFont typeface="Wingdings" panose="05000000000000000000" pitchFamily="2" charset="2"/>
              <a:buChar char="§"/>
            </a:pPr>
            <a:r>
              <a:rPr lang="en-US" sz="1600">
                <a:solidFill>
                  <a:schemeClr val="tx1"/>
                </a:solidFill>
              </a:rPr>
              <a:t>Hot topic in Asia (subsidized)</a:t>
            </a:r>
          </a:p>
          <a:p>
            <a:pPr marL="285750" indent="-285750">
              <a:buFont typeface="Wingdings" panose="05000000000000000000" pitchFamily="2" charset="2"/>
              <a:buChar char="§"/>
            </a:pPr>
            <a:r>
              <a:rPr lang="en-US" sz="1600">
                <a:solidFill>
                  <a:schemeClr val="tx1"/>
                </a:solidFill>
              </a:rPr>
              <a:t>CO</a:t>
            </a:r>
            <a:r>
              <a:rPr lang="en-US" sz="1600" baseline="-25000">
                <a:solidFill>
                  <a:schemeClr val="tx1"/>
                </a:solidFill>
              </a:rPr>
              <a:t>2</a:t>
            </a:r>
            <a:r>
              <a:rPr lang="en-US" sz="1600">
                <a:solidFill>
                  <a:schemeClr val="tx1"/>
                </a:solidFill>
              </a:rPr>
              <a:t> output as differentiator </a:t>
            </a:r>
          </a:p>
        </p:txBody>
      </p:sp>
      <p:sp>
        <p:nvSpPr>
          <p:cNvPr id="31" name="Rectangle: Rounded Corners 49">
            <a:extLst>
              <a:ext uri="{FF2B5EF4-FFF2-40B4-BE49-F238E27FC236}">
                <a16:creationId xmlns:a16="http://schemas.microsoft.com/office/drawing/2014/main" id="{3BE8EE4A-AB94-4B4E-BB12-F73389712F79}"/>
              </a:ext>
            </a:extLst>
          </p:cNvPr>
          <p:cNvSpPr/>
          <p:nvPr/>
        </p:nvSpPr>
        <p:spPr>
          <a:xfrm>
            <a:off x="8602813" y="1695635"/>
            <a:ext cx="3131988" cy="1608220"/>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r>
              <a:rPr lang="en-US" sz="1600" b="1">
                <a:solidFill>
                  <a:schemeClr val="tx1"/>
                </a:solidFill>
              </a:rPr>
              <a:t>Commercial and Residential HVAC systems</a:t>
            </a:r>
          </a:p>
          <a:p>
            <a:pPr marL="285750" indent="-285750">
              <a:buFont typeface="Wingdings" panose="05000000000000000000" pitchFamily="2" charset="2"/>
              <a:buChar char="§"/>
            </a:pPr>
            <a:r>
              <a:rPr lang="en-US" sz="1600">
                <a:solidFill>
                  <a:schemeClr val="tx1"/>
                </a:solidFill>
              </a:rPr>
              <a:t>Large, sustainable market </a:t>
            </a:r>
          </a:p>
          <a:p>
            <a:pPr marL="285750" indent="-285750">
              <a:buFont typeface="Wingdings" panose="05000000000000000000" pitchFamily="2" charset="2"/>
              <a:buChar char="§"/>
            </a:pPr>
            <a:r>
              <a:rPr lang="en-US" sz="1600">
                <a:solidFill>
                  <a:schemeClr val="tx1"/>
                </a:solidFill>
              </a:rPr>
              <a:t>Competitors cannot deliver </a:t>
            </a:r>
          </a:p>
          <a:p>
            <a:pPr marL="285750" indent="-285750">
              <a:buFont typeface="Wingdings" panose="05000000000000000000" pitchFamily="2" charset="2"/>
              <a:buChar char="§"/>
            </a:pPr>
            <a:r>
              <a:rPr lang="en-US" sz="1600">
                <a:solidFill>
                  <a:schemeClr val="tx1"/>
                </a:solidFill>
              </a:rPr>
              <a:t>High price-point: large driving factor to switch sensor</a:t>
            </a:r>
          </a:p>
        </p:txBody>
      </p:sp>
      <p:sp>
        <p:nvSpPr>
          <p:cNvPr id="33" name="Rectangle: Rounded Corners 49">
            <a:extLst>
              <a:ext uri="{FF2B5EF4-FFF2-40B4-BE49-F238E27FC236}">
                <a16:creationId xmlns:a16="http://schemas.microsoft.com/office/drawing/2014/main" id="{AA98DE4F-8BA7-4E53-BF8C-17CF647A1E84}"/>
              </a:ext>
            </a:extLst>
          </p:cNvPr>
          <p:cNvSpPr/>
          <p:nvPr/>
        </p:nvSpPr>
        <p:spPr>
          <a:xfrm>
            <a:off x="3907370" y="1695634"/>
            <a:ext cx="4419600" cy="1138989"/>
          </a:xfrm>
          <a:prstGeom prst="roundRect">
            <a:avLst>
              <a:gd name="adj" fmla="val 3574"/>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r>
              <a:rPr lang="en-US" sz="1600" b="1">
                <a:solidFill>
                  <a:schemeClr val="tx1"/>
                </a:solidFill>
              </a:rPr>
              <a:t>Connected consumer electronics devices </a:t>
            </a:r>
          </a:p>
          <a:p>
            <a:pPr marL="285750" indent="-285750">
              <a:buFont typeface="Wingdings" panose="05000000000000000000" pitchFamily="2" charset="2"/>
              <a:buChar char="§"/>
            </a:pPr>
            <a:r>
              <a:rPr lang="en-US" sz="1600">
                <a:solidFill>
                  <a:schemeClr val="tx1"/>
                </a:solidFill>
              </a:rPr>
              <a:t>Public awareness for IAQ and CO</a:t>
            </a:r>
            <a:r>
              <a:rPr lang="en-US" sz="1600" baseline="-25000">
                <a:solidFill>
                  <a:schemeClr val="tx1"/>
                </a:solidFill>
              </a:rPr>
              <a:t>2</a:t>
            </a:r>
            <a:r>
              <a:rPr lang="en-US" sz="1600">
                <a:solidFill>
                  <a:schemeClr val="tx1"/>
                </a:solidFill>
              </a:rPr>
              <a:t> exploded </a:t>
            </a:r>
          </a:p>
          <a:p>
            <a:pPr marL="285750" indent="-285750">
              <a:buFont typeface="Wingdings" panose="05000000000000000000" pitchFamily="2" charset="2"/>
              <a:buChar char="§"/>
            </a:pPr>
            <a:r>
              <a:rPr lang="en-US" sz="1600">
                <a:solidFill>
                  <a:schemeClr val="tx1"/>
                </a:solidFill>
              </a:rPr>
              <a:t>Small formfactor and lower price point make CO</a:t>
            </a:r>
            <a:r>
              <a:rPr lang="en-US" sz="1600" baseline="-25000">
                <a:solidFill>
                  <a:schemeClr val="tx1"/>
                </a:solidFill>
              </a:rPr>
              <a:t>2</a:t>
            </a:r>
            <a:r>
              <a:rPr lang="en-US" sz="1600">
                <a:solidFill>
                  <a:schemeClr val="tx1"/>
                </a:solidFill>
              </a:rPr>
              <a:t> tangible for consumer applications</a:t>
            </a:r>
          </a:p>
        </p:txBody>
      </p:sp>
      <p:sp>
        <p:nvSpPr>
          <p:cNvPr id="22" name="object 11">
            <a:extLst>
              <a:ext uri="{FF2B5EF4-FFF2-40B4-BE49-F238E27FC236}">
                <a16:creationId xmlns:a16="http://schemas.microsoft.com/office/drawing/2014/main" id="{D4A096FB-28E2-417C-B16E-48115AFA2601}"/>
              </a:ext>
            </a:extLst>
          </p:cNvPr>
          <p:cNvSpPr/>
          <p:nvPr/>
        </p:nvSpPr>
        <p:spPr>
          <a:xfrm>
            <a:off x="9858579" y="6415912"/>
            <a:ext cx="1493634" cy="145006"/>
          </a:xfrm>
          <a:custGeom>
            <a:avLst/>
            <a:gdLst/>
            <a:ahLst/>
            <a:cxnLst/>
            <a:rect l="l" t="t" r="r" b="b"/>
            <a:pathLst>
              <a:path w="3917950" h="380364">
                <a:moveTo>
                  <a:pt x="438912" y="7175"/>
                </a:moveTo>
                <a:lnTo>
                  <a:pt x="170980" y="7175"/>
                </a:lnTo>
                <a:lnTo>
                  <a:pt x="108643" y="11199"/>
                </a:lnTo>
                <a:lnTo>
                  <a:pt x="60671" y="23721"/>
                </a:lnTo>
                <a:lnTo>
                  <a:pt x="26769" y="45421"/>
                </a:lnTo>
                <a:lnTo>
                  <a:pt x="6643" y="76975"/>
                </a:lnTo>
                <a:lnTo>
                  <a:pt x="0" y="119062"/>
                </a:lnTo>
                <a:lnTo>
                  <a:pt x="6182" y="158120"/>
                </a:lnTo>
                <a:lnTo>
                  <a:pt x="25034" y="187643"/>
                </a:lnTo>
                <a:lnTo>
                  <a:pt x="57011" y="208121"/>
                </a:lnTo>
                <a:lnTo>
                  <a:pt x="102570" y="220047"/>
                </a:lnTo>
                <a:lnTo>
                  <a:pt x="162166" y="223913"/>
                </a:lnTo>
                <a:lnTo>
                  <a:pt x="282905" y="223913"/>
                </a:lnTo>
                <a:lnTo>
                  <a:pt x="315141" y="225930"/>
                </a:lnTo>
                <a:lnTo>
                  <a:pt x="337769" y="232808"/>
                </a:lnTo>
                <a:lnTo>
                  <a:pt x="351110" y="245789"/>
                </a:lnTo>
                <a:lnTo>
                  <a:pt x="355485" y="266115"/>
                </a:lnTo>
                <a:lnTo>
                  <a:pt x="350716" y="285891"/>
                </a:lnTo>
                <a:lnTo>
                  <a:pt x="336151" y="298589"/>
                </a:lnTo>
                <a:lnTo>
                  <a:pt x="311406" y="305363"/>
                </a:lnTo>
                <a:lnTo>
                  <a:pt x="276098" y="307365"/>
                </a:lnTo>
                <a:lnTo>
                  <a:pt x="19685" y="307365"/>
                </a:lnTo>
                <a:lnTo>
                  <a:pt x="19685" y="372478"/>
                </a:lnTo>
                <a:lnTo>
                  <a:pt x="292392" y="372478"/>
                </a:lnTo>
                <a:lnTo>
                  <a:pt x="354386" y="368478"/>
                </a:lnTo>
                <a:lnTo>
                  <a:pt x="402148" y="356103"/>
                </a:lnTo>
                <a:lnTo>
                  <a:pt x="435941" y="334789"/>
                </a:lnTo>
                <a:lnTo>
                  <a:pt x="456024" y="303973"/>
                </a:lnTo>
                <a:lnTo>
                  <a:pt x="462661" y="263093"/>
                </a:lnTo>
                <a:lnTo>
                  <a:pt x="456924" y="223039"/>
                </a:lnTo>
                <a:lnTo>
                  <a:pt x="439237" y="193765"/>
                </a:lnTo>
                <a:lnTo>
                  <a:pt x="408886" y="174192"/>
                </a:lnTo>
                <a:lnTo>
                  <a:pt x="365154" y="163240"/>
                </a:lnTo>
                <a:lnTo>
                  <a:pt x="307327" y="159829"/>
                </a:lnTo>
                <a:lnTo>
                  <a:pt x="171653" y="159829"/>
                </a:lnTo>
                <a:lnTo>
                  <a:pt x="143558" y="157344"/>
                </a:lnTo>
                <a:lnTo>
                  <a:pt x="123405" y="149890"/>
                </a:lnTo>
                <a:lnTo>
                  <a:pt x="111263" y="137471"/>
                </a:lnTo>
                <a:lnTo>
                  <a:pt x="107200" y="120091"/>
                </a:lnTo>
                <a:lnTo>
                  <a:pt x="111961" y="98466"/>
                </a:lnTo>
                <a:lnTo>
                  <a:pt x="126452" y="83607"/>
                </a:lnTo>
                <a:lnTo>
                  <a:pt x="150990" y="75039"/>
                </a:lnTo>
                <a:lnTo>
                  <a:pt x="185889" y="72288"/>
                </a:lnTo>
                <a:lnTo>
                  <a:pt x="438912" y="72288"/>
                </a:lnTo>
                <a:lnTo>
                  <a:pt x="438912" y="7175"/>
                </a:lnTo>
                <a:close/>
              </a:path>
              <a:path w="3917950" h="380364">
                <a:moveTo>
                  <a:pt x="908342" y="7175"/>
                </a:moveTo>
                <a:lnTo>
                  <a:pt x="738060" y="7175"/>
                </a:lnTo>
                <a:lnTo>
                  <a:pt x="676022" y="10877"/>
                </a:lnTo>
                <a:lnTo>
                  <a:pt x="624082" y="22091"/>
                </a:lnTo>
                <a:lnTo>
                  <a:pt x="582038" y="40976"/>
                </a:lnTo>
                <a:lnTo>
                  <a:pt x="549688" y="67694"/>
                </a:lnTo>
                <a:lnTo>
                  <a:pt x="526831" y="102404"/>
                </a:lnTo>
                <a:lnTo>
                  <a:pt x="513264" y="145267"/>
                </a:lnTo>
                <a:lnTo>
                  <a:pt x="508787" y="196443"/>
                </a:lnTo>
                <a:lnTo>
                  <a:pt x="513385" y="242623"/>
                </a:lnTo>
                <a:lnTo>
                  <a:pt x="527267" y="281979"/>
                </a:lnTo>
                <a:lnTo>
                  <a:pt x="550562" y="314556"/>
                </a:lnTo>
                <a:lnTo>
                  <a:pt x="583399" y="340398"/>
                </a:lnTo>
                <a:lnTo>
                  <a:pt x="618874" y="357422"/>
                </a:lnTo>
                <a:lnTo>
                  <a:pt x="693386" y="371469"/>
                </a:lnTo>
                <a:lnTo>
                  <a:pt x="735355" y="372478"/>
                </a:lnTo>
                <a:lnTo>
                  <a:pt x="908342" y="372478"/>
                </a:lnTo>
                <a:lnTo>
                  <a:pt x="908342" y="308876"/>
                </a:lnTo>
                <a:lnTo>
                  <a:pt x="740117" y="308876"/>
                </a:lnTo>
                <a:lnTo>
                  <a:pt x="688027" y="304111"/>
                </a:lnTo>
                <a:lnTo>
                  <a:pt x="652094" y="288707"/>
                </a:lnTo>
                <a:lnTo>
                  <a:pt x="631172" y="261004"/>
                </a:lnTo>
                <a:lnTo>
                  <a:pt x="624116" y="219341"/>
                </a:lnTo>
                <a:lnTo>
                  <a:pt x="908342" y="219341"/>
                </a:lnTo>
                <a:lnTo>
                  <a:pt x="908342" y="155778"/>
                </a:lnTo>
                <a:lnTo>
                  <a:pt x="624789" y="155778"/>
                </a:lnTo>
                <a:lnTo>
                  <a:pt x="634126" y="118225"/>
                </a:lnTo>
                <a:lnTo>
                  <a:pt x="656250" y="91703"/>
                </a:lnTo>
                <a:lnTo>
                  <a:pt x="691476" y="75968"/>
                </a:lnTo>
                <a:lnTo>
                  <a:pt x="740117" y="70777"/>
                </a:lnTo>
                <a:lnTo>
                  <a:pt x="908342" y="70777"/>
                </a:lnTo>
                <a:lnTo>
                  <a:pt x="908342" y="7175"/>
                </a:lnTo>
                <a:close/>
              </a:path>
              <a:path w="3917950" h="380364">
                <a:moveTo>
                  <a:pt x="1127442" y="7175"/>
                </a:moveTo>
                <a:lnTo>
                  <a:pt x="997877" y="7175"/>
                </a:lnTo>
                <a:lnTo>
                  <a:pt x="997877" y="372478"/>
                </a:lnTo>
                <a:lnTo>
                  <a:pt x="1098511" y="373087"/>
                </a:lnTo>
                <a:lnTo>
                  <a:pt x="1098245" y="96189"/>
                </a:lnTo>
                <a:lnTo>
                  <a:pt x="1195059" y="96189"/>
                </a:lnTo>
                <a:lnTo>
                  <a:pt x="1127442" y="7175"/>
                </a:lnTo>
                <a:close/>
              </a:path>
              <a:path w="3917950" h="380364">
                <a:moveTo>
                  <a:pt x="1195059" y="96189"/>
                </a:moveTo>
                <a:lnTo>
                  <a:pt x="1098245" y="96189"/>
                </a:lnTo>
                <a:lnTo>
                  <a:pt x="1307884" y="372478"/>
                </a:lnTo>
                <a:lnTo>
                  <a:pt x="1426603" y="372478"/>
                </a:lnTo>
                <a:lnTo>
                  <a:pt x="1426721" y="269697"/>
                </a:lnTo>
                <a:lnTo>
                  <a:pt x="1326857" y="269697"/>
                </a:lnTo>
                <a:lnTo>
                  <a:pt x="1195059" y="96189"/>
                </a:lnTo>
                <a:close/>
              </a:path>
              <a:path w="3917950" h="380364">
                <a:moveTo>
                  <a:pt x="1427022" y="5727"/>
                </a:moveTo>
                <a:lnTo>
                  <a:pt x="1327162" y="6235"/>
                </a:lnTo>
                <a:lnTo>
                  <a:pt x="1326857" y="269697"/>
                </a:lnTo>
                <a:lnTo>
                  <a:pt x="1426721" y="269697"/>
                </a:lnTo>
                <a:lnTo>
                  <a:pt x="1427022" y="5727"/>
                </a:lnTo>
                <a:close/>
              </a:path>
              <a:path w="3917950" h="380364">
                <a:moveTo>
                  <a:pt x="1937397" y="7175"/>
                </a:moveTo>
                <a:lnTo>
                  <a:pt x="1669414" y="7175"/>
                </a:lnTo>
                <a:lnTo>
                  <a:pt x="1607102" y="11199"/>
                </a:lnTo>
                <a:lnTo>
                  <a:pt x="1559141" y="23721"/>
                </a:lnTo>
                <a:lnTo>
                  <a:pt x="1525243" y="45421"/>
                </a:lnTo>
                <a:lnTo>
                  <a:pt x="1505117" y="76975"/>
                </a:lnTo>
                <a:lnTo>
                  <a:pt x="1498473" y="119062"/>
                </a:lnTo>
                <a:lnTo>
                  <a:pt x="1504655" y="158120"/>
                </a:lnTo>
                <a:lnTo>
                  <a:pt x="1523505" y="187643"/>
                </a:lnTo>
                <a:lnTo>
                  <a:pt x="1555476" y="208121"/>
                </a:lnTo>
                <a:lnTo>
                  <a:pt x="1601023" y="220047"/>
                </a:lnTo>
                <a:lnTo>
                  <a:pt x="1660601" y="223913"/>
                </a:lnTo>
                <a:lnTo>
                  <a:pt x="1781365" y="223913"/>
                </a:lnTo>
                <a:lnTo>
                  <a:pt x="1813585" y="225930"/>
                </a:lnTo>
                <a:lnTo>
                  <a:pt x="1836215" y="232808"/>
                </a:lnTo>
                <a:lnTo>
                  <a:pt x="1849565" y="245789"/>
                </a:lnTo>
                <a:lnTo>
                  <a:pt x="1853945" y="266115"/>
                </a:lnTo>
                <a:lnTo>
                  <a:pt x="1849175" y="285891"/>
                </a:lnTo>
                <a:lnTo>
                  <a:pt x="1834610" y="298589"/>
                </a:lnTo>
                <a:lnTo>
                  <a:pt x="1809872" y="305363"/>
                </a:lnTo>
                <a:lnTo>
                  <a:pt x="1774583" y="307365"/>
                </a:lnTo>
                <a:lnTo>
                  <a:pt x="1518145" y="307365"/>
                </a:lnTo>
                <a:lnTo>
                  <a:pt x="1518145" y="372478"/>
                </a:lnTo>
                <a:lnTo>
                  <a:pt x="1790865" y="372478"/>
                </a:lnTo>
                <a:lnTo>
                  <a:pt x="1852857" y="368478"/>
                </a:lnTo>
                <a:lnTo>
                  <a:pt x="1900617" y="356103"/>
                </a:lnTo>
                <a:lnTo>
                  <a:pt x="1934405" y="334789"/>
                </a:lnTo>
                <a:lnTo>
                  <a:pt x="1954486" y="303973"/>
                </a:lnTo>
                <a:lnTo>
                  <a:pt x="1961121" y="263093"/>
                </a:lnTo>
                <a:lnTo>
                  <a:pt x="1955387" y="223039"/>
                </a:lnTo>
                <a:lnTo>
                  <a:pt x="1937705" y="193765"/>
                </a:lnTo>
                <a:lnTo>
                  <a:pt x="1907357" y="174192"/>
                </a:lnTo>
                <a:lnTo>
                  <a:pt x="1863624" y="163240"/>
                </a:lnTo>
                <a:lnTo>
                  <a:pt x="1805787" y="159829"/>
                </a:lnTo>
                <a:lnTo>
                  <a:pt x="1670100" y="159829"/>
                </a:lnTo>
                <a:lnTo>
                  <a:pt x="1642012" y="157344"/>
                </a:lnTo>
                <a:lnTo>
                  <a:pt x="1621872" y="149890"/>
                </a:lnTo>
                <a:lnTo>
                  <a:pt x="1609743" y="137471"/>
                </a:lnTo>
                <a:lnTo>
                  <a:pt x="1605686" y="120091"/>
                </a:lnTo>
                <a:lnTo>
                  <a:pt x="1610440" y="98466"/>
                </a:lnTo>
                <a:lnTo>
                  <a:pt x="1624917" y="83607"/>
                </a:lnTo>
                <a:lnTo>
                  <a:pt x="1649438" y="75039"/>
                </a:lnTo>
                <a:lnTo>
                  <a:pt x="1684324" y="72288"/>
                </a:lnTo>
                <a:lnTo>
                  <a:pt x="1937397" y="72288"/>
                </a:lnTo>
                <a:lnTo>
                  <a:pt x="1937397" y="7175"/>
                </a:lnTo>
                <a:close/>
              </a:path>
              <a:path w="3917950" h="380364">
                <a:moveTo>
                  <a:pt x="2145626" y="7175"/>
                </a:moveTo>
                <a:lnTo>
                  <a:pt x="2038477" y="7175"/>
                </a:lnTo>
                <a:lnTo>
                  <a:pt x="2038477" y="372478"/>
                </a:lnTo>
                <a:lnTo>
                  <a:pt x="2145626" y="372478"/>
                </a:lnTo>
                <a:lnTo>
                  <a:pt x="2145626" y="7175"/>
                </a:lnTo>
                <a:close/>
              </a:path>
              <a:path w="3917950" h="380364">
                <a:moveTo>
                  <a:pt x="2499055" y="7175"/>
                </a:moveTo>
                <a:lnTo>
                  <a:pt x="2246642" y="7175"/>
                </a:lnTo>
                <a:lnTo>
                  <a:pt x="2246642" y="372478"/>
                </a:lnTo>
                <a:lnTo>
                  <a:pt x="2349144" y="372478"/>
                </a:lnTo>
                <a:lnTo>
                  <a:pt x="2349144" y="229019"/>
                </a:lnTo>
                <a:lnTo>
                  <a:pt x="2578237" y="229019"/>
                </a:lnTo>
                <a:lnTo>
                  <a:pt x="2570924" y="219824"/>
                </a:lnTo>
                <a:lnTo>
                  <a:pt x="2612925" y="207406"/>
                </a:lnTo>
                <a:lnTo>
                  <a:pt x="2643787" y="185796"/>
                </a:lnTo>
                <a:lnTo>
                  <a:pt x="2657236" y="164388"/>
                </a:lnTo>
                <a:lnTo>
                  <a:pt x="2349144" y="164388"/>
                </a:lnTo>
                <a:lnTo>
                  <a:pt x="2349144" y="72288"/>
                </a:lnTo>
                <a:lnTo>
                  <a:pt x="2660169" y="72288"/>
                </a:lnTo>
                <a:lnTo>
                  <a:pt x="2642577" y="45198"/>
                </a:lnTo>
                <a:lnTo>
                  <a:pt x="2608779" y="23733"/>
                </a:lnTo>
                <a:lnTo>
                  <a:pt x="2561023" y="11229"/>
                </a:lnTo>
                <a:lnTo>
                  <a:pt x="2499055" y="7175"/>
                </a:lnTo>
                <a:close/>
              </a:path>
              <a:path w="3917950" h="380364">
                <a:moveTo>
                  <a:pt x="2578237" y="229019"/>
                </a:moveTo>
                <a:lnTo>
                  <a:pt x="2469908" y="229019"/>
                </a:lnTo>
                <a:lnTo>
                  <a:pt x="2577045" y="372478"/>
                </a:lnTo>
                <a:lnTo>
                  <a:pt x="2692336" y="372478"/>
                </a:lnTo>
                <a:lnTo>
                  <a:pt x="2578237" y="229019"/>
                </a:lnTo>
                <a:close/>
              </a:path>
              <a:path w="3917950" h="380364">
                <a:moveTo>
                  <a:pt x="2660169" y="72288"/>
                </a:moveTo>
                <a:lnTo>
                  <a:pt x="2474607" y="72288"/>
                </a:lnTo>
                <a:lnTo>
                  <a:pt x="2514574" y="74154"/>
                </a:lnTo>
                <a:lnTo>
                  <a:pt x="2542965" y="81086"/>
                </a:lnTo>
                <a:lnTo>
                  <a:pt x="2559907" y="95080"/>
                </a:lnTo>
                <a:lnTo>
                  <a:pt x="2565527" y="118135"/>
                </a:lnTo>
                <a:lnTo>
                  <a:pt x="2559907" y="140996"/>
                </a:lnTo>
                <a:lnTo>
                  <a:pt x="2542965" y="155159"/>
                </a:lnTo>
                <a:lnTo>
                  <a:pt x="2514574" y="162373"/>
                </a:lnTo>
                <a:lnTo>
                  <a:pt x="2474607" y="164388"/>
                </a:lnTo>
                <a:lnTo>
                  <a:pt x="2657236" y="164388"/>
                </a:lnTo>
                <a:lnTo>
                  <a:pt x="2662814" y="155510"/>
                </a:lnTo>
                <a:lnTo>
                  <a:pt x="2669311" y="117068"/>
                </a:lnTo>
                <a:lnTo>
                  <a:pt x="2662670" y="76139"/>
                </a:lnTo>
                <a:lnTo>
                  <a:pt x="2660169" y="72288"/>
                </a:lnTo>
                <a:close/>
              </a:path>
              <a:path w="3917950" h="380364">
                <a:moveTo>
                  <a:pt x="2863354" y="7175"/>
                </a:moveTo>
                <a:lnTo>
                  <a:pt x="2756103" y="7175"/>
                </a:lnTo>
                <a:lnTo>
                  <a:pt x="2756103" y="372478"/>
                </a:lnTo>
                <a:lnTo>
                  <a:pt x="2863354" y="372478"/>
                </a:lnTo>
                <a:lnTo>
                  <a:pt x="2863354" y="7175"/>
                </a:lnTo>
                <a:close/>
              </a:path>
              <a:path w="3917950" h="380364">
                <a:moveTo>
                  <a:pt x="3176003" y="0"/>
                </a:moveTo>
                <a:lnTo>
                  <a:pt x="3118606" y="2856"/>
                </a:lnTo>
                <a:lnTo>
                  <a:pt x="3069116" y="11432"/>
                </a:lnTo>
                <a:lnTo>
                  <a:pt x="3027357" y="25802"/>
                </a:lnTo>
                <a:lnTo>
                  <a:pt x="2993315" y="46010"/>
                </a:lnTo>
                <a:lnTo>
                  <a:pt x="2948158" y="104150"/>
                </a:lnTo>
                <a:lnTo>
                  <a:pt x="2936934" y="142187"/>
                </a:lnTo>
                <a:lnTo>
                  <a:pt x="2933204" y="186270"/>
                </a:lnTo>
                <a:lnTo>
                  <a:pt x="2936765" y="232712"/>
                </a:lnTo>
                <a:lnTo>
                  <a:pt x="2947580" y="272562"/>
                </a:lnTo>
                <a:lnTo>
                  <a:pt x="2991772" y="332981"/>
                </a:lnTo>
                <a:lnTo>
                  <a:pt x="3025549" y="353796"/>
                </a:lnTo>
                <a:lnTo>
                  <a:pt x="3067380" y="368511"/>
                </a:lnTo>
                <a:lnTo>
                  <a:pt x="3117465" y="377250"/>
                </a:lnTo>
                <a:lnTo>
                  <a:pt x="3176003" y="380136"/>
                </a:lnTo>
                <a:lnTo>
                  <a:pt x="3234011" y="377250"/>
                </a:lnTo>
                <a:lnTo>
                  <a:pt x="3283803" y="368566"/>
                </a:lnTo>
                <a:lnTo>
                  <a:pt x="3325623" y="353982"/>
                </a:lnTo>
                <a:lnTo>
                  <a:pt x="3359557" y="333424"/>
                </a:lnTo>
                <a:lnTo>
                  <a:pt x="3375693" y="317017"/>
                </a:lnTo>
                <a:lnTo>
                  <a:pt x="3176003" y="317017"/>
                </a:lnTo>
                <a:lnTo>
                  <a:pt x="3127238" y="312018"/>
                </a:lnTo>
                <a:lnTo>
                  <a:pt x="3090372" y="296811"/>
                </a:lnTo>
                <a:lnTo>
                  <a:pt x="3064795" y="271077"/>
                </a:lnTo>
                <a:lnTo>
                  <a:pt x="3049896" y="234497"/>
                </a:lnTo>
                <a:lnTo>
                  <a:pt x="3045066" y="186753"/>
                </a:lnTo>
                <a:lnTo>
                  <a:pt x="3050221" y="142009"/>
                </a:lnTo>
                <a:lnTo>
                  <a:pt x="3065768" y="107249"/>
                </a:lnTo>
                <a:lnTo>
                  <a:pt x="3091832" y="82448"/>
                </a:lnTo>
                <a:lnTo>
                  <a:pt x="3128535" y="67585"/>
                </a:lnTo>
                <a:lnTo>
                  <a:pt x="3176003" y="62636"/>
                </a:lnTo>
                <a:lnTo>
                  <a:pt x="3375529" y="62636"/>
                </a:lnTo>
                <a:lnTo>
                  <a:pt x="3359557" y="46453"/>
                </a:lnTo>
                <a:lnTo>
                  <a:pt x="3325623" y="25989"/>
                </a:lnTo>
                <a:lnTo>
                  <a:pt x="3283803" y="11488"/>
                </a:lnTo>
                <a:lnTo>
                  <a:pt x="3233971" y="2856"/>
                </a:lnTo>
                <a:lnTo>
                  <a:pt x="3176003" y="0"/>
                </a:lnTo>
                <a:close/>
              </a:path>
              <a:path w="3917950" h="380364">
                <a:moveTo>
                  <a:pt x="3375529" y="62636"/>
                </a:moveTo>
                <a:lnTo>
                  <a:pt x="3176003" y="62636"/>
                </a:lnTo>
                <a:lnTo>
                  <a:pt x="3224355" y="67610"/>
                </a:lnTo>
                <a:lnTo>
                  <a:pt x="3261327" y="82644"/>
                </a:lnTo>
                <a:lnTo>
                  <a:pt x="3287284" y="107910"/>
                </a:lnTo>
                <a:lnTo>
                  <a:pt x="3302592" y="143576"/>
                </a:lnTo>
                <a:lnTo>
                  <a:pt x="3307613" y="189814"/>
                </a:lnTo>
                <a:lnTo>
                  <a:pt x="3302592" y="236064"/>
                </a:lnTo>
                <a:lnTo>
                  <a:pt x="3287284" y="271738"/>
                </a:lnTo>
                <a:lnTo>
                  <a:pt x="3261327" y="297007"/>
                </a:lnTo>
                <a:lnTo>
                  <a:pt x="3224355" y="312043"/>
                </a:lnTo>
                <a:lnTo>
                  <a:pt x="3176003" y="317017"/>
                </a:lnTo>
                <a:lnTo>
                  <a:pt x="3375693" y="317017"/>
                </a:lnTo>
                <a:lnTo>
                  <a:pt x="3385732" y="306809"/>
                </a:lnTo>
                <a:lnTo>
                  <a:pt x="3404272" y="274057"/>
                </a:lnTo>
                <a:lnTo>
                  <a:pt x="3415304" y="235085"/>
                </a:lnTo>
                <a:lnTo>
                  <a:pt x="3418954" y="189814"/>
                </a:lnTo>
                <a:lnTo>
                  <a:pt x="3415304" y="144560"/>
                </a:lnTo>
                <a:lnTo>
                  <a:pt x="3404272" y="105645"/>
                </a:lnTo>
                <a:lnTo>
                  <a:pt x="3385732" y="72974"/>
                </a:lnTo>
                <a:lnTo>
                  <a:pt x="3375529" y="62636"/>
                </a:lnTo>
                <a:close/>
              </a:path>
              <a:path w="3917950" h="380364">
                <a:moveTo>
                  <a:pt x="3618318" y="7175"/>
                </a:moveTo>
                <a:lnTo>
                  <a:pt x="3488740" y="7175"/>
                </a:lnTo>
                <a:lnTo>
                  <a:pt x="3488740" y="372478"/>
                </a:lnTo>
                <a:lnTo>
                  <a:pt x="3589439" y="372478"/>
                </a:lnTo>
                <a:lnTo>
                  <a:pt x="3589147" y="96189"/>
                </a:lnTo>
                <a:lnTo>
                  <a:pt x="3685939" y="96189"/>
                </a:lnTo>
                <a:lnTo>
                  <a:pt x="3618318" y="7175"/>
                </a:lnTo>
                <a:close/>
              </a:path>
              <a:path w="3917950" h="380364">
                <a:moveTo>
                  <a:pt x="3685939" y="96189"/>
                </a:moveTo>
                <a:lnTo>
                  <a:pt x="3589147" y="96189"/>
                </a:lnTo>
                <a:lnTo>
                  <a:pt x="3798773" y="372478"/>
                </a:lnTo>
                <a:lnTo>
                  <a:pt x="3917480" y="372478"/>
                </a:lnTo>
                <a:lnTo>
                  <a:pt x="3917480" y="269697"/>
                </a:lnTo>
                <a:lnTo>
                  <a:pt x="3817747" y="269697"/>
                </a:lnTo>
                <a:lnTo>
                  <a:pt x="3685939" y="96189"/>
                </a:lnTo>
                <a:close/>
              </a:path>
              <a:path w="3917950" h="380364">
                <a:moveTo>
                  <a:pt x="3917480" y="7175"/>
                </a:moveTo>
                <a:lnTo>
                  <a:pt x="3817454" y="7175"/>
                </a:lnTo>
                <a:lnTo>
                  <a:pt x="3817747" y="269697"/>
                </a:lnTo>
                <a:lnTo>
                  <a:pt x="3917480" y="269697"/>
                </a:lnTo>
                <a:lnTo>
                  <a:pt x="3917480" y="7175"/>
                </a:lnTo>
                <a:close/>
              </a:path>
            </a:pathLst>
          </a:custGeom>
          <a:solidFill>
            <a:srgbClr val="66CC33"/>
          </a:solidFill>
        </p:spPr>
        <p:txBody>
          <a:bodyPr wrap="square" lIns="0" tIns="0" rIns="0" bIns="0" rtlCol="0"/>
          <a:lstStyle/>
          <a:p>
            <a:endParaRPr lang="de-CH" sz="2400"/>
          </a:p>
        </p:txBody>
      </p:sp>
      <p:sp>
        <p:nvSpPr>
          <p:cNvPr id="26" name="Fußzeilenplatzhalter 4">
            <a:extLst>
              <a:ext uri="{FF2B5EF4-FFF2-40B4-BE49-F238E27FC236}">
                <a16:creationId xmlns:a16="http://schemas.microsoft.com/office/drawing/2014/main" id="{E2AB8E16-80DB-457B-8F58-E05102867F8D}"/>
              </a:ext>
            </a:extLst>
          </p:cNvPr>
          <p:cNvSpPr txBox="1">
            <a:spLocks/>
          </p:cNvSpPr>
          <p:nvPr/>
        </p:nvSpPr>
        <p:spPr bwMode="auto">
          <a:xfrm>
            <a:off x="839769" y="638766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bg1">
                    <a:lumMod val="75000"/>
                  </a:schemeClr>
                </a:solidFill>
              </a:rPr>
              <a:t>© Copyright Sensirion AG, </a:t>
            </a:r>
            <a:r>
              <a:rPr lang="en-US" sz="1100" noProof="0">
                <a:solidFill>
                  <a:schemeClr val="bg1">
                    <a:lumMod val="75000"/>
                  </a:schemeClr>
                </a:solidFill>
              </a:rPr>
              <a:t>Switzerland</a:t>
            </a:r>
          </a:p>
        </p:txBody>
      </p:sp>
    </p:spTree>
    <p:extLst>
      <p:ext uri="{BB962C8B-B14F-4D97-AF65-F5344CB8AC3E}">
        <p14:creationId xmlns:p14="http://schemas.microsoft.com/office/powerpoint/2010/main" val="33340678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16E34DB-40F1-46AC-A523-154BB07EE15A}"/>
              </a:ext>
            </a:extLst>
          </p:cNvPr>
          <p:cNvGrpSpPr/>
          <p:nvPr/>
        </p:nvGrpSpPr>
        <p:grpSpPr>
          <a:xfrm>
            <a:off x="0" y="0"/>
            <a:ext cx="12192000" cy="6905656"/>
            <a:chOff x="-1541263" y="17033"/>
            <a:chExt cx="12192000" cy="6840967"/>
          </a:xfrm>
        </p:grpSpPr>
        <p:pic>
          <p:nvPicPr>
            <p:cNvPr id="13" name="Content Placeholder 3">
              <a:extLst>
                <a:ext uri="{FF2B5EF4-FFF2-40B4-BE49-F238E27FC236}">
                  <a16:creationId xmlns:a16="http://schemas.microsoft.com/office/drawing/2014/main" id="{A8B17D44-4EB6-4251-A421-F3902F3114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6898"/>
            <a:stretch/>
          </p:blipFill>
          <p:spPr>
            <a:xfrm>
              <a:off x="3070712" y="17033"/>
              <a:ext cx="7580025" cy="6840967"/>
            </a:xfrm>
            <a:prstGeom prst="rect">
              <a:avLst/>
            </a:prstGeom>
          </p:spPr>
        </p:pic>
        <p:pic>
          <p:nvPicPr>
            <p:cNvPr id="14" name="Content Placeholder 3">
              <a:extLst>
                <a:ext uri="{FF2B5EF4-FFF2-40B4-BE49-F238E27FC236}">
                  <a16:creationId xmlns:a16="http://schemas.microsoft.com/office/drawing/2014/main" id="{19963D82-B924-4EAD-B0CE-786FC0708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99499"/>
            <a:stretch/>
          </p:blipFill>
          <p:spPr>
            <a:xfrm>
              <a:off x="-1541263" y="17033"/>
              <a:ext cx="4611975" cy="6840967"/>
            </a:xfrm>
            <a:prstGeom prst="rect">
              <a:avLst/>
            </a:prstGeom>
          </p:spPr>
        </p:pic>
      </p:grpSp>
      <p:sp>
        <p:nvSpPr>
          <p:cNvPr id="4" name="Oval 3">
            <a:extLst>
              <a:ext uri="{FF2B5EF4-FFF2-40B4-BE49-F238E27FC236}">
                <a16:creationId xmlns:a16="http://schemas.microsoft.com/office/drawing/2014/main" id="{7BCB03AC-FB61-48F0-8460-2CDD9B7D7428}"/>
              </a:ext>
            </a:extLst>
          </p:cNvPr>
          <p:cNvSpPr/>
          <p:nvPr/>
        </p:nvSpPr>
        <p:spPr>
          <a:xfrm>
            <a:off x="9972433" y="-2384693"/>
            <a:ext cx="306090" cy="306090"/>
          </a:xfrm>
          <a:prstGeom prst="ellipse">
            <a:avLst/>
          </a:prstGeom>
          <a:solidFill>
            <a:schemeClr val="accent1"/>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Fußzeilenplatzhalter 4">
            <a:extLst>
              <a:ext uri="{FF2B5EF4-FFF2-40B4-BE49-F238E27FC236}">
                <a16:creationId xmlns:a16="http://schemas.microsoft.com/office/drawing/2014/main" id="{1D89CB32-4CFB-8040-BCC2-F21CE9EEF097}"/>
              </a:ext>
            </a:extLst>
          </p:cNvPr>
          <p:cNvSpPr txBox="1">
            <a:spLocks/>
          </p:cNvSpPr>
          <p:nvPr/>
        </p:nvSpPr>
        <p:spPr bwMode="auto">
          <a:xfrm>
            <a:off x="839769" y="6387669"/>
            <a:ext cx="2736717" cy="235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100">
                <a:solidFill>
                  <a:schemeClr val="bg1">
                    <a:lumMod val="75000"/>
                  </a:schemeClr>
                </a:solidFill>
              </a:rPr>
              <a:t>© Copyright Sensirion AG, </a:t>
            </a:r>
            <a:r>
              <a:rPr lang="en-US" sz="1100" noProof="0">
                <a:solidFill>
                  <a:schemeClr val="bg1">
                    <a:lumMod val="75000"/>
                  </a:schemeClr>
                </a:solidFill>
              </a:rPr>
              <a:t>Switzerland</a:t>
            </a:r>
          </a:p>
        </p:txBody>
      </p:sp>
      <p:sp>
        <p:nvSpPr>
          <p:cNvPr id="20" name="Title 1">
            <a:extLst>
              <a:ext uri="{FF2B5EF4-FFF2-40B4-BE49-F238E27FC236}">
                <a16:creationId xmlns:a16="http://schemas.microsoft.com/office/drawing/2014/main" id="{8DC1D199-2296-47DE-A55F-84EDF09E2FDE}"/>
              </a:ext>
            </a:extLst>
          </p:cNvPr>
          <p:cNvSpPr txBox="1">
            <a:spLocks/>
          </p:cNvSpPr>
          <p:nvPr/>
        </p:nvSpPr>
        <p:spPr>
          <a:xfrm>
            <a:off x="839788" y="283464"/>
            <a:ext cx="10512426" cy="505939"/>
          </a:xfrm>
          <a:prstGeom prst="rect">
            <a:avLst/>
          </a:prstGeom>
        </p:spPr>
        <p:txBody>
          <a:bodyPr/>
          <a:lstStyle>
            <a:lvl1pPr algn="l" defTabSz="914400" rtl="0" eaLnBrk="1" latinLnBrk="0" hangingPunct="1">
              <a:lnSpc>
                <a:spcPct val="90000"/>
              </a:lnSpc>
              <a:spcBef>
                <a:spcPct val="0"/>
              </a:spcBef>
              <a:buNone/>
              <a:defRPr sz="3100" b="1" kern="1200" baseline="0">
                <a:solidFill>
                  <a:srgbClr val="66CC33"/>
                </a:solidFill>
                <a:latin typeface="Arial Narrow" panose="020B0606020202030204" pitchFamily="34" charset="0"/>
                <a:ea typeface="+mj-ea"/>
                <a:cs typeface="+mj-cs"/>
              </a:defRPr>
            </a:lvl1pPr>
          </a:lstStyle>
          <a:p>
            <a:pPr fontAlgn="auto">
              <a:spcAft>
                <a:spcPts val="0"/>
              </a:spcAft>
            </a:pPr>
            <a:endParaRPr lang="en-US"/>
          </a:p>
        </p:txBody>
      </p:sp>
      <p:grpSp>
        <p:nvGrpSpPr>
          <p:cNvPr id="10" name="Group 9">
            <a:extLst>
              <a:ext uri="{FF2B5EF4-FFF2-40B4-BE49-F238E27FC236}">
                <a16:creationId xmlns:a16="http://schemas.microsoft.com/office/drawing/2014/main" id="{532DB914-A11F-4D13-81DA-CF500FA96F16}"/>
              </a:ext>
            </a:extLst>
          </p:cNvPr>
          <p:cNvGrpSpPr/>
          <p:nvPr/>
        </p:nvGrpSpPr>
        <p:grpSpPr>
          <a:xfrm>
            <a:off x="659203" y="3393919"/>
            <a:ext cx="5040000" cy="707886"/>
            <a:chOff x="3390481" y="492895"/>
            <a:chExt cx="5040000" cy="707886"/>
          </a:xfrm>
        </p:grpSpPr>
        <p:sp>
          <p:nvSpPr>
            <p:cNvPr id="24" name="Rectangle 23">
              <a:extLst>
                <a:ext uri="{FF2B5EF4-FFF2-40B4-BE49-F238E27FC236}">
                  <a16:creationId xmlns:a16="http://schemas.microsoft.com/office/drawing/2014/main" id="{B7AA10BA-DF58-4430-91CA-EB0470AE6511}"/>
                </a:ext>
              </a:extLst>
            </p:cNvPr>
            <p:cNvSpPr/>
            <p:nvPr/>
          </p:nvSpPr>
          <p:spPr>
            <a:xfrm>
              <a:off x="3390481" y="492895"/>
              <a:ext cx="5040000" cy="707886"/>
            </a:xfrm>
            <a:prstGeom prst="rect">
              <a:avLst/>
            </a:prstGeom>
            <a:solidFill>
              <a:schemeClr val="bg1"/>
            </a:solidFill>
          </p:spPr>
          <p:txBody>
            <a:bodyPr wrap="square">
              <a:spAutoFit/>
            </a:bodyPr>
            <a:lstStyle/>
            <a:p>
              <a:pPr lvl="0" algn="r" fontAlgn="auto">
                <a:spcBef>
                  <a:spcPts val="0"/>
                </a:spcBef>
                <a:spcAft>
                  <a:spcPts val="0"/>
                </a:spcAft>
                <a:defRPr/>
              </a:pPr>
              <a:r>
                <a:rPr lang="en-US"/>
                <a:t>Optical, highly selective technology </a:t>
              </a:r>
              <a:r>
                <a:rPr lang="en-US">
                  <a:sym typeface="Wingdings" panose="05000000000000000000" pitchFamily="2" charset="2"/>
                </a:rPr>
                <a:t> </a:t>
              </a:r>
              <a:endParaRPr lang="en-US"/>
            </a:p>
            <a:p>
              <a:pPr algn="r"/>
              <a:r>
                <a:rPr lang="en-US" b="1"/>
                <a:t>Stable, reliable sensor output</a:t>
              </a:r>
            </a:p>
          </p:txBody>
        </p:sp>
        <p:pic>
          <p:nvPicPr>
            <p:cNvPr id="1026" name="Picture 2" descr="Carbon dioxide (CO2) | Climate Encyclopedia">
              <a:extLst>
                <a:ext uri="{FF2B5EF4-FFF2-40B4-BE49-F238E27FC236}">
                  <a16:creationId xmlns:a16="http://schemas.microsoft.com/office/drawing/2014/main" id="{D0F11689-028D-4993-8738-11737266ADB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0400323">
              <a:off x="3474942" y="624664"/>
              <a:ext cx="572134" cy="40693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C085C0C4-6F3E-469A-BBDE-B9B82F2B411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3863937" y="763622"/>
              <a:ext cx="653260" cy="2708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1A0D86FF-51F8-4E90-90EA-FB9824302526}"/>
              </a:ext>
            </a:extLst>
          </p:cNvPr>
          <p:cNvGrpSpPr/>
          <p:nvPr/>
        </p:nvGrpSpPr>
        <p:grpSpPr>
          <a:xfrm>
            <a:off x="659203" y="2474323"/>
            <a:ext cx="4680000" cy="707886"/>
            <a:chOff x="441324" y="3236275"/>
            <a:chExt cx="4680000" cy="707886"/>
          </a:xfrm>
        </p:grpSpPr>
        <p:sp>
          <p:nvSpPr>
            <p:cNvPr id="28" name="Rectangle 27">
              <a:extLst>
                <a:ext uri="{FF2B5EF4-FFF2-40B4-BE49-F238E27FC236}">
                  <a16:creationId xmlns:a16="http://schemas.microsoft.com/office/drawing/2014/main" id="{50D25687-DFD6-4876-83B1-8D5393BCCCFB}"/>
                </a:ext>
              </a:extLst>
            </p:cNvPr>
            <p:cNvSpPr/>
            <p:nvPr/>
          </p:nvSpPr>
          <p:spPr>
            <a:xfrm>
              <a:off x="441324" y="3236275"/>
              <a:ext cx="4680000" cy="707886"/>
            </a:xfrm>
            <a:prstGeom prst="rect">
              <a:avLst/>
            </a:prstGeom>
            <a:solidFill>
              <a:schemeClr val="bg1"/>
            </a:solidFill>
          </p:spPr>
          <p:txBody>
            <a:bodyPr wrap="square">
              <a:spAutoFit/>
            </a:bodyPr>
            <a:lstStyle/>
            <a:p>
              <a:pPr algn="r" fontAlgn="auto">
                <a:spcBef>
                  <a:spcPts val="0"/>
                </a:spcBef>
                <a:spcAft>
                  <a:spcPts val="0"/>
                </a:spcAft>
                <a:defRPr/>
              </a:pPr>
              <a:r>
                <a:rPr lang="en-US"/>
                <a:t>SMD soldering, tape &amp; reel package </a:t>
              </a:r>
              <a:r>
                <a:rPr lang="en-US">
                  <a:solidFill>
                    <a:schemeClr val="dk1"/>
                  </a:solidFill>
                  <a:sym typeface="Wingdings" panose="05000000000000000000" pitchFamily="2" charset="2"/>
                </a:rPr>
                <a:t> </a:t>
              </a:r>
            </a:p>
            <a:p>
              <a:pPr lvl="0" algn="r" fontAlgn="auto">
                <a:spcBef>
                  <a:spcPts val="0"/>
                </a:spcBef>
                <a:spcAft>
                  <a:spcPts val="0"/>
                </a:spcAft>
                <a:defRPr/>
              </a:pPr>
              <a:r>
                <a:rPr lang="en-US" b="1">
                  <a:solidFill>
                    <a:schemeClr val="dk1"/>
                  </a:solidFill>
                </a:rPr>
                <a:t>Highly automated manufacturing</a:t>
              </a:r>
            </a:p>
          </p:txBody>
        </p:sp>
        <p:pic>
          <p:nvPicPr>
            <p:cNvPr id="37" name="Picture 36">
              <a:extLst>
                <a:ext uri="{FF2B5EF4-FFF2-40B4-BE49-F238E27FC236}">
                  <a16:creationId xmlns:a16="http://schemas.microsoft.com/office/drawing/2014/main" id="{7692BCE2-E7A7-47A8-AFB6-8EFA6A553D5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95292" y="3342667"/>
              <a:ext cx="463754" cy="480657"/>
            </a:xfrm>
            <a:prstGeom prst="rect">
              <a:avLst/>
            </a:prstGeom>
          </p:spPr>
        </p:pic>
      </p:grpSp>
      <p:grpSp>
        <p:nvGrpSpPr>
          <p:cNvPr id="5" name="Group 4">
            <a:extLst>
              <a:ext uri="{FF2B5EF4-FFF2-40B4-BE49-F238E27FC236}">
                <a16:creationId xmlns:a16="http://schemas.microsoft.com/office/drawing/2014/main" id="{D2D02ADE-F752-4576-8B02-2BC2444561E7}"/>
              </a:ext>
            </a:extLst>
          </p:cNvPr>
          <p:cNvGrpSpPr/>
          <p:nvPr/>
        </p:nvGrpSpPr>
        <p:grpSpPr>
          <a:xfrm>
            <a:off x="659203" y="5233112"/>
            <a:ext cx="5760000" cy="707886"/>
            <a:chOff x="441316" y="5138429"/>
            <a:chExt cx="5760000" cy="707886"/>
          </a:xfrm>
        </p:grpSpPr>
        <p:sp>
          <p:nvSpPr>
            <p:cNvPr id="40" name="Rectangle 39">
              <a:extLst>
                <a:ext uri="{FF2B5EF4-FFF2-40B4-BE49-F238E27FC236}">
                  <a16:creationId xmlns:a16="http://schemas.microsoft.com/office/drawing/2014/main" id="{67A9BD96-FEB7-489E-8B17-3F9236333B8D}"/>
                </a:ext>
              </a:extLst>
            </p:cNvPr>
            <p:cNvSpPr/>
            <p:nvPr/>
          </p:nvSpPr>
          <p:spPr>
            <a:xfrm>
              <a:off x="441316" y="5138429"/>
              <a:ext cx="5760000" cy="707886"/>
            </a:xfrm>
            <a:prstGeom prst="rect">
              <a:avLst/>
            </a:prstGeom>
            <a:solidFill>
              <a:schemeClr val="bg1"/>
            </a:solidFill>
          </p:spPr>
          <p:txBody>
            <a:bodyPr wrap="square">
              <a:spAutoFit/>
            </a:bodyPr>
            <a:lstStyle/>
            <a:p>
              <a:pPr algn="r" fontAlgn="auto">
                <a:spcBef>
                  <a:spcPts val="0"/>
                </a:spcBef>
                <a:spcAft>
                  <a:spcPts val="0"/>
                </a:spcAft>
                <a:defRPr/>
              </a:pPr>
              <a:r>
                <a:rPr lang="en-US"/>
                <a:t>Market proven &amp; large production capacity </a:t>
              </a:r>
              <a:r>
                <a:rPr lang="en-US">
                  <a:solidFill>
                    <a:schemeClr val="dk1"/>
                  </a:solidFill>
                  <a:sym typeface="Wingdings" panose="05000000000000000000" pitchFamily="2" charset="2"/>
                </a:rPr>
                <a:t> </a:t>
              </a:r>
            </a:p>
            <a:p>
              <a:pPr lvl="0" algn="r" fontAlgn="auto">
                <a:spcBef>
                  <a:spcPts val="0"/>
                </a:spcBef>
                <a:spcAft>
                  <a:spcPts val="0"/>
                </a:spcAft>
                <a:defRPr/>
              </a:pPr>
              <a:r>
                <a:rPr lang="en-US" b="1">
                  <a:solidFill>
                    <a:schemeClr val="dk1"/>
                  </a:solidFill>
                </a:rPr>
                <a:t>Large volumes available with short lead time</a:t>
              </a:r>
            </a:p>
          </p:txBody>
        </p:sp>
        <p:pic>
          <p:nvPicPr>
            <p:cNvPr id="39" name="Picture 38">
              <a:extLst>
                <a:ext uri="{FF2B5EF4-FFF2-40B4-BE49-F238E27FC236}">
                  <a16:creationId xmlns:a16="http://schemas.microsoft.com/office/drawing/2014/main" id="{F39B27F8-BD9F-485A-8FFE-7C323D49A062}"/>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a:off x="478882" y="5190625"/>
              <a:ext cx="721773" cy="601971"/>
            </a:xfrm>
            <a:prstGeom prst="rect">
              <a:avLst/>
            </a:prstGeom>
          </p:spPr>
        </p:pic>
      </p:grpSp>
      <p:grpSp>
        <p:nvGrpSpPr>
          <p:cNvPr id="3" name="Group 2">
            <a:extLst>
              <a:ext uri="{FF2B5EF4-FFF2-40B4-BE49-F238E27FC236}">
                <a16:creationId xmlns:a16="http://schemas.microsoft.com/office/drawing/2014/main" id="{A37DCDC4-2673-4F9F-A7EA-F8EB213AAC9C}"/>
              </a:ext>
            </a:extLst>
          </p:cNvPr>
          <p:cNvGrpSpPr/>
          <p:nvPr/>
        </p:nvGrpSpPr>
        <p:grpSpPr>
          <a:xfrm>
            <a:off x="659203" y="1554727"/>
            <a:ext cx="4320000" cy="707886"/>
            <a:chOff x="441316" y="5956671"/>
            <a:chExt cx="4320000" cy="707886"/>
          </a:xfrm>
        </p:grpSpPr>
        <p:sp>
          <p:nvSpPr>
            <p:cNvPr id="41" name="Rectangle 40">
              <a:extLst>
                <a:ext uri="{FF2B5EF4-FFF2-40B4-BE49-F238E27FC236}">
                  <a16:creationId xmlns:a16="http://schemas.microsoft.com/office/drawing/2014/main" id="{9F6691BA-7E90-4AC3-B09A-1C2020E005D7}"/>
                </a:ext>
              </a:extLst>
            </p:cNvPr>
            <p:cNvSpPr/>
            <p:nvPr/>
          </p:nvSpPr>
          <p:spPr>
            <a:xfrm>
              <a:off x="441316" y="5956671"/>
              <a:ext cx="4320000" cy="707886"/>
            </a:xfrm>
            <a:prstGeom prst="rect">
              <a:avLst/>
            </a:prstGeom>
            <a:solidFill>
              <a:schemeClr val="bg1"/>
            </a:solidFill>
          </p:spPr>
          <p:txBody>
            <a:bodyPr wrap="square">
              <a:spAutoFit/>
            </a:bodyPr>
            <a:lstStyle/>
            <a:p>
              <a:pPr algn="r" fontAlgn="auto">
                <a:spcBef>
                  <a:spcPts val="0"/>
                </a:spcBef>
                <a:spcAft>
                  <a:spcPts val="0"/>
                </a:spcAft>
                <a:defRPr/>
              </a:pPr>
              <a:r>
                <a:rPr lang="en-US"/>
                <a:t>Smallest CO</a:t>
              </a:r>
              <a:r>
                <a:rPr lang="en-US" baseline="-25000"/>
                <a:t>2</a:t>
              </a:r>
              <a:r>
                <a:rPr lang="en-US"/>
                <a:t> sensor </a:t>
              </a:r>
              <a:r>
                <a:rPr lang="en-US">
                  <a:solidFill>
                    <a:schemeClr val="dk1"/>
                  </a:solidFill>
                  <a:sym typeface="Wingdings" panose="05000000000000000000" pitchFamily="2" charset="2"/>
                </a:rPr>
                <a:t> </a:t>
              </a:r>
            </a:p>
            <a:p>
              <a:pPr lvl="0" algn="r" fontAlgn="auto">
                <a:spcBef>
                  <a:spcPts val="0"/>
                </a:spcBef>
                <a:spcAft>
                  <a:spcPts val="0"/>
                </a:spcAft>
                <a:defRPr/>
              </a:pPr>
              <a:r>
                <a:rPr lang="en-US" b="1">
                  <a:solidFill>
                    <a:schemeClr val="dk1"/>
                  </a:solidFill>
                </a:rPr>
                <a:t>Maximum freedom of design</a:t>
              </a:r>
            </a:p>
          </p:txBody>
        </p:sp>
        <p:pic>
          <p:nvPicPr>
            <p:cNvPr id="36" name="Picture 35">
              <a:extLst>
                <a:ext uri="{FF2B5EF4-FFF2-40B4-BE49-F238E27FC236}">
                  <a16:creationId xmlns:a16="http://schemas.microsoft.com/office/drawing/2014/main" id="{02DD8AF7-2CFE-4780-A463-2B49C668AEE3}"/>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40000"/>
                      </a14:imgEffect>
                    </a14:imgLayer>
                  </a14:imgProps>
                </a:ext>
              </a:extLst>
            </a:blip>
            <a:stretch>
              <a:fillRect/>
            </a:stretch>
          </p:blipFill>
          <p:spPr>
            <a:xfrm>
              <a:off x="554358" y="6017377"/>
              <a:ext cx="393228" cy="557159"/>
            </a:xfrm>
            <a:prstGeom prst="rect">
              <a:avLst/>
            </a:prstGeom>
          </p:spPr>
        </p:pic>
      </p:grpSp>
      <p:grpSp>
        <p:nvGrpSpPr>
          <p:cNvPr id="2" name="Group 1">
            <a:extLst>
              <a:ext uri="{FF2B5EF4-FFF2-40B4-BE49-F238E27FC236}">
                <a16:creationId xmlns:a16="http://schemas.microsoft.com/office/drawing/2014/main" id="{01662365-A905-4262-B97A-BCB9BE7BD32F}"/>
              </a:ext>
            </a:extLst>
          </p:cNvPr>
          <p:cNvGrpSpPr/>
          <p:nvPr/>
        </p:nvGrpSpPr>
        <p:grpSpPr>
          <a:xfrm>
            <a:off x="659203" y="4313515"/>
            <a:ext cx="5400000" cy="707886"/>
            <a:chOff x="441323" y="4212234"/>
            <a:chExt cx="5400000" cy="707886"/>
          </a:xfrm>
        </p:grpSpPr>
        <p:grpSp>
          <p:nvGrpSpPr>
            <p:cNvPr id="6" name="Group 5">
              <a:extLst>
                <a:ext uri="{FF2B5EF4-FFF2-40B4-BE49-F238E27FC236}">
                  <a16:creationId xmlns:a16="http://schemas.microsoft.com/office/drawing/2014/main" id="{7760554D-6BFE-4AD7-86FC-704824456E6F}"/>
                </a:ext>
              </a:extLst>
            </p:cNvPr>
            <p:cNvGrpSpPr/>
            <p:nvPr/>
          </p:nvGrpSpPr>
          <p:grpSpPr>
            <a:xfrm>
              <a:off x="441323" y="4212234"/>
              <a:ext cx="5400000" cy="707886"/>
              <a:chOff x="441323" y="4212234"/>
              <a:chExt cx="5400000" cy="707886"/>
            </a:xfrm>
          </p:grpSpPr>
          <p:sp>
            <p:nvSpPr>
              <p:cNvPr id="31" name="Rectangle 30">
                <a:extLst>
                  <a:ext uri="{FF2B5EF4-FFF2-40B4-BE49-F238E27FC236}">
                    <a16:creationId xmlns:a16="http://schemas.microsoft.com/office/drawing/2014/main" id="{91EABEC2-D776-4745-A0A3-00EA09ABB59E}"/>
                  </a:ext>
                </a:extLst>
              </p:cNvPr>
              <p:cNvSpPr/>
              <p:nvPr/>
            </p:nvSpPr>
            <p:spPr>
              <a:xfrm>
                <a:off x="441323" y="4212234"/>
                <a:ext cx="5400000" cy="707886"/>
              </a:xfrm>
              <a:prstGeom prst="rect">
                <a:avLst/>
              </a:prstGeom>
              <a:solidFill>
                <a:schemeClr val="bg1"/>
              </a:solidFill>
            </p:spPr>
            <p:txBody>
              <a:bodyPr wrap="square">
                <a:spAutoFit/>
              </a:bodyPr>
              <a:lstStyle/>
              <a:p>
                <a:pPr algn="r" fontAlgn="auto">
                  <a:spcBef>
                    <a:spcPts val="0"/>
                  </a:spcBef>
                  <a:spcAft>
                    <a:spcPts val="0"/>
                  </a:spcAft>
                  <a:defRPr/>
                </a:pPr>
                <a:r>
                  <a:rPr lang="en-US"/>
                  <a:t>Large supply voltage range: 2.4 V – 5.5 V </a:t>
                </a:r>
                <a:r>
                  <a:rPr lang="en-US">
                    <a:solidFill>
                      <a:schemeClr val="dk1"/>
                    </a:solidFill>
                    <a:sym typeface="Wingdings" panose="05000000000000000000" pitchFamily="2" charset="2"/>
                  </a:rPr>
                  <a:t> </a:t>
                </a:r>
                <a:endParaRPr lang="en-US">
                  <a:solidFill>
                    <a:schemeClr val="dk1"/>
                  </a:solidFill>
                </a:endParaRPr>
              </a:p>
              <a:p>
                <a:pPr algn="r"/>
                <a:r>
                  <a:rPr lang="en-US" b="1"/>
                  <a:t>No need for additional circuitry</a:t>
                </a:r>
              </a:p>
            </p:txBody>
          </p:sp>
          <p:pic>
            <p:nvPicPr>
              <p:cNvPr id="1030" name="Picture 6" descr="DiodesZetex AZ1117H-3.3TRE1, 1 Low Dropout Voltage, Voltage Regulator 1A,  3.3 V 3+Tab-Pin, SOT-223 | RS Components">
                <a:extLst>
                  <a:ext uri="{FF2B5EF4-FFF2-40B4-BE49-F238E27FC236}">
                    <a16:creationId xmlns:a16="http://schemas.microsoft.com/office/drawing/2014/main" id="{6227D85B-3EA7-4AF9-8B48-89A7D1D10AA2}"/>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4776" r="9310"/>
              <a:stretch/>
            </p:blipFill>
            <p:spPr bwMode="auto">
              <a:xfrm>
                <a:off x="507490" y="4364678"/>
                <a:ext cx="608723" cy="44903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8" name="Straight Connector 7">
              <a:extLst>
                <a:ext uri="{FF2B5EF4-FFF2-40B4-BE49-F238E27FC236}">
                  <a16:creationId xmlns:a16="http://schemas.microsoft.com/office/drawing/2014/main" id="{C038B2EF-5AC0-4AC9-87DD-287E64A503C6}"/>
                </a:ext>
              </a:extLst>
            </p:cNvPr>
            <p:cNvCxnSpPr/>
            <p:nvPr/>
          </p:nvCxnSpPr>
          <p:spPr>
            <a:xfrm flipV="1">
              <a:off x="554358" y="4328616"/>
              <a:ext cx="423542" cy="477713"/>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30" name="object 11">
            <a:extLst>
              <a:ext uri="{FF2B5EF4-FFF2-40B4-BE49-F238E27FC236}">
                <a16:creationId xmlns:a16="http://schemas.microsoft.com/office/drawing/2014/main" id="{3BC60556-DDFC-4696-A75B-4A2E974CEF44}"/>
              </a:ext>
            </a:extLst>
          </p:cNvPr>
          <p:cNvSpPr/>
          <p:nvPr/>
        </p:nvSpPr>
        <p:spPr>
          <a:xfrm>
            <a:off x="9858579" y="6415912"/>
            <a:ext cx="1493634" cy="145006"/>
          </a:xfrm>
          <a:custGeom>
            <a:avLst/>
            <a:gdLst/>
            <a:ahLst/>
            <a:cxnLst/>
            <a:rect l="l" t="t" r="r" b="b"/>
            <a:pathLst>
              <a:path w="3917950" h="380364">
                <a:moveTo>
                  <a:pt x="438912" y="7175"/>
                </a:moveTo>
                <a:lnTo>
                  <a:pt x="170980" y="7175"/>
                </a:lnTo>
                <a:lnTo>
                  <a:pt x="108643" y="11199"/>
                </a:lnTo>
                <a:lnTo>
                  <a:pt x="60671" y="23721"/>
                </a:lnTo>
                <a:lnTo>
                  <a:pt x="26769" y="45421"/>
                </a:lnTo>
                <a:lnTo>
                  <a:pt x="6643" y="76975"/>
                </a:lnTo>
                <a:lnTo>
                  <a:pt x="0" y="119062"/>
                </a:lnTo>
                <a:lnTo>
                  <a:pt x="6182" y="158120"/>
                </a:lnTo>
                <a:lnTo>
                  <a:pt x="25034" y="187643"/>
                </a:lnTo>
                <a:lnTo>
                  <a:pt x="57011" y="208121"/>
                </a:lnTo>
                <a:lnTo>
                  <a:pt x="102570" y="220047"/>
                </a:lnTo>
                <a:lnTo>
                  <a:pt x="162166" y="223913"/>
                </a:lnTo>
                <a:lnTo>
                  <a:pt x="282905" y="223913"/>
                </a:lnTo>
                <a:lnTo>
                  <a:pt x="315141" y="225930"/>
                </a:lnTo>
                <a:lnTo>
                  <a:pt x="337769" y="232808"/>
                </a:lnTo>
                <a:lnTo>
                  <a:pt x="351110" y="245789"/>
                </a:lnTo>
                <a:lnTo>
                  <a:pt x="355485" y="266115"/>
                </a:lnTo>
                <a:lnTo>
                  <a:pt x="350716" y="285891"/>
                </a:lnTo>
                <a:lnTo>
                  <a:pt x="336151" y="298589"/>
                </a:lnTo>
                <a:lnTo>
                  <a:pt x="311406" y="305363"/>
                </a:lnTo>
                <a:lnTo>
                  <a:pt x="276098" y="307365"/>
                </a:lnTo>
                <a:lnTo>
                  <a:pt x="19685" y="307365"/>
                </a:lnTo>
                <a:lnTo>
                  <a:pt x="19685" y="372478"/>
                </a:lnTo>
                <a:lnTo>
                  <a:pt x="292392" y="372478"/>
                </a:lnTo>
                <a:lnTo>
                  <a:pt x="354386" y="368478"/>
                </a:lnTo>
                <a:lnTo>
                  <a:pt x="402148" y="356103"/>
                </a:lnTo>
                <a:lnTo>
                  <a:pt x="435941" y="334789"/>
                </a:lnTo>
                <a:lnTo>
                  <a:pt x="456024" y="303973"/>
                </a:lnTo>
                <a:lnTo>
                  <a:pt x="462661" y="263093"/>
                </a:lnTo>
                <a:lnTo>
                  <a:pt x="456924" y="223039"/>
                </a:lnTo>
                <a:lnTo>
                  <a:pt x="439237" y="193765"/>
                </a:lnTo>
                <a:lnTo>
                  <a:pt x="408886" y="174192"/>
                </a:lnTo>
                <a:lnTo>
                  <a:pt x="365154" y="163240"/>
                </a:lnTo>
                <a:lnTo>
                  <a:pt x="307327" y="159829"/>
                </a:lnTo>
                <a:lnTo>
                  <a:pt x="171653" y="159829"/>
                </a:lnTo>
                <a:lnTo>
                  <a:pt x="143558" y="157344"/>
                </a:lnTo>
                <a:lnTo>
                  <a:pt x="123405" y="149890"/>
                </a:lnTo>
                <a:lnTo>
                  <a:pt x="111263" y="137471"/>
                </a:lnTo>
                <a:lnTo>
                  <a:pt x="107200" y="120091"/>
                </a:lnTo>
                <a:lnTo>
                  <a:pt x="111961" y="98466"/>
                </a:lnTo>
                <a:lnTo>
                  <a:pt x="126452" y="83607"/>
                </a:lnTo>
                <a:lnTo>
                  <a:pt x="150990" y="75039"/>
                </a:lnTo>
                <a:lnTo>
                  <a:pt x="185889" y="72288"/>
                </a:lnTo>
                <a:lnTo>
                  <a:pt x="438912" y="72288"/>
                </a:lnTo>
                <a:lnTo>
                  <a:pt x="438912" y="7175"/>
                </a:lnTo>
                <a:close/>
              </a:path>
              <a:path w="3917950" h="380364">
                <a:moveTo>
                  <a:pt x="908342" y="7175"/>
                </a:moveTo>
                <a:lnTo>
                  <a:pt x="738060" y="7175"/>
                </a:lnTo>
                <a:lnTo>
                  <a:pt x="676022" y="10877"/>
                </a:lnTo>
                <a:lnTo>
                  <a:pt x="624082" y="22091"/>
                </a:lnTo>
                <a:lnTo>
                  <a:pt x="582038" y="40976"/>
                </a:lnTo>
                <a:lnTo>
                  <a:pt x="549688" y="67694"/>
                </a:lnTo>
                <a:lnTo>
                  <a:pt x="526831" y="102404"/>
                </a:lnTo>
                <a:lnTo>
                  <a:pt x="513264" y="145267"/>
                </a:lnTo>
                <a:lnTo>
                  <a:pt x="508787" y="196443"/>
                </a:lnTo>
                <a:lnTo>
                  <a:pt x="513385" y="242623"/>
                </a:lnTo>
                <a:lnTo>
                  <a:pt x="527267" y="281979"/>
                </a:lnTo>
                <a:lnTo>
                  <a:pt x="550562" y="314556"/>
                </a:lnTo>
                <a:lnTo>
                  <a:pt x="583399" y="340398"/>
                </a:lnTo>
                <a:lnTo>
                  <a:pt x="618874" y="357422"/>
                </a:lnTo>
                <a:lnTo>
                  <a:pt x="693386" y="371469"/>
                </a:lnTo>
                <a:lnTo>
                  <a:pt x="735355" y="372478"/>
                </a:lnTo>
                <a:lnTo>
                  <a:pt x="908342" y="372478"/>
                </a:lnTo>
                <a:lnTo>
                  <a:pt x="908342" y="308876"/>
                </a:lnTo>
                <a:lnTo>
                  <a:pt x="740117" y="308876"/>
                </a:lnTo>
                <a:lnTo>
                  <a:pt x="688027" y="304111"/>
                </a:lnTo>
                <a:lnTo>
                  <a:pt x="652094" y="288707"/>
                </a:lnTo>
                <a:lnTo>
                  <a:pt x="631172" y="261004"/>
                </a:lnTo>
                <a:lnTo>
                  <a:pt x="624116" y="219341"/>
                </a:lnTo>
                <a:lnTo>
                  <a:pt x="908342" y="219341"/>
                </a:lnTo>
                <a:lnTo>
                  <a:pt x="908342" y="155778"/>
                </a:lnTo>
                <a:lnTo>
                  <a:pt x="624789" y="155778"/>
                </a:lnTo>
                <a:lnTo>
                  <a:pt x="634126" y="118225"/>
                </a:lnTo>
                <a:lnTo>
                  <a:pt x="656250" y="91703"/>
                </a:lnTo>
                <a:lnTo>
                  <a:pt x="691476" y="75968"/>
                </a:lnTo>
                <a:lnTo>
                  <a:pt x="740117" y="70777"/>
                </a:lnTo>
                <a:lnTo>
                  <a:pt x="908342" y="70777"/>
                </a:lnTo>
                <a:lnTo>
                  <a:pt x="908342" y="7175"/>
                </a:lnTo>
                <a:close/>
              </a:path>
              <a:path w="3917950" h="380364">
                <a:moveTo>
                  <a:pt x="1127442" y="7175"/>
                </a:moveTo>
                <a:lnTo>
                  <a:pt x="997877" y="7175"/>
                </a:lnTo>
                <a:lnTo>
                  <a:pt x="997877" y="372478"/>
                </a:lnTo>
                <a:lnTo>
                  <a:pt x="1098511" y="373087"/>
                </a:lnTo>
                <a:lnTo>
                  <a:pt x="1098245" y="96189"/>
                </a:lnTo>
                <a:lnTo>
                  <a:pt x="1195059" y="96189"/>
                </a:lnTo>
                <a:lnTo>
                  <a:pt x="1127442" y="7175"/>
                </a:lnTo>
                <a:close/>
              </a:path>
              <a:path w="3917950" h="380364">
                <a:moveTo>
                  <a:pt x="1195059" y="96189"/>
                </a:moveTo>
                <a:lnTo>
                  <a:pt x="1098245" y="96189"/>
                </a:lnTo>
                <a:lnTo>
                  <a:pt x="1307884" y="372478"/>
                </a:lnTo>
                <a:lnTo>
                  <a:pt x="1426603" y="372478"/>
                </a:lnTo>
                <a:lnTo>
                  <a:pt x="1426721" y="269697"/>
                </a:lnTo>
                <a:lnTo>
                  <a:pt x="1326857" y="269697"/>
                </a:lnTo>
                <a:lnTo>
                  <a:pt x="1195059" y="96189"/>
                </a:lnTo>
                <a:close/>
              </a:path>
              <a:path w="3917950" h="380364">
                <a:moveTo>
                  <a:pt x="1427022" y="5727"/>
                </a:moveTo>
                <a:lnTo>
                  <a:pt x="1327162" y="6235"/>
                </a:lnTo>
                <a:lnTo>
                  <a:pt x="1326857" y="269697"/>
                </a:lnTo>
                <a:lnTo>
                  <a:pt x="1426721" y="269697"/>
                </a:lnTo>
                <a:lnTo>
                  <a:pt x="1427022" y="5727"/>
                </a:lnTo>
                <a:close/>
              </a:path>
              <a:path w="3917950" h="380364">
                <a:moveTo>
                  <a:pt x="1937397" y="7175"/>
                </a:moveTo>
                <a:lnTo>
                  <a:pt x="1669414" y="7175"/>
                </a:lnTo>
                <a:lnTo>
                  <a:pt x="1607102" y="11199"/>
                </a:lnTo>
                <a:lnTo>
                  <a:pt x="1559141" y="23721"/>
                </a:lnTo>
                <a:lnTo>
                  <a:pt x="1525243" y="45421"/>
                </a:lnTo>
                <a:lnTo>
                  <a:pt x="1505117" y="76975"/>
                </a:lnTo>
                <a:lnTo>
                  <a:pt x="1498473" y="119062"/>
                </a:lnTo>
                <a:lnTo>
                  <a:pt x="1504655" y="158120"/>
                </a:lnTo>
                <a:lnTo>
                  <a:pt x="1523505" y="187643"/>
                </a:lnTo>
                <a:lnTo>
                  <a:pt x="1555476" y="208121"/>
                </a:lnTo>
                <a:lnTo>
                  <a:pt x="1601023" y="220047"/>
                </a:lnTo>
                <a:lnTo>
                  <a:pt x="1660601" y="223913"/>
                </a:lnTo>
                <a:lnTo>
                  <a:pt x="1781365" y="223913"/>
                </a:lnTo>
                <a:lnTo>
                  <a:pt x="1813585" y="225930"/>
                </a:lnTo>
                <a:lnTo>
                  <a:pt x="1836215" y="232808"/>
                </a:lnTo>
                <a:lnTo>
                  <a:pt x="1849565" y="245789"/>
                </a:lnTo>
                <a:lnTo>
                  <a:pt x="1853945" y="266115"/>
                </a:lnTo>
                <a:lnTo>
                  <a:pt x="1849175" y="285891"/>
                </a:lnTo>
                <a:lnTo>
                  <a:pt x="1834610" y="298589"/>
                </a:lnTo>
                <a:lnTo>
                  <a:pt x="1809872" y="305363"/>
                </a:lnTo>
                <a:lnTo>
                  <a:pt x="1774583" y="307365"/>
                </a:lnTo>
                <a:lnTo>
                  <a:pt x="1518145" y="307365"/>
                </a:lnTo>
                <a:lnTo>
                  <a:pt x="1518145" y="372478"/>
                </a:lnTo>
                <a:lnTo>
                  <a:pt x="1790865" y="372478"/>
                </a:lnTo>
                <a:lnTo>
                  <a:pt x="1852857" y="368478"/>
                </a:lnTo>
                <a:lnTo>
                  <a:pt x="1900617" y="356103"/>
                </a:lnTo>
                <a:lnTo>
                  <a:pt x="1934405" y="334789"/>
                </a:lnTo>
                <a:lnTo>
                  <a:pt x="1954486" y="303973"/>
                </a:lnTo>
                <a:lnTo>
                  <a:pt x="1961121" y="263093"/>
                </a:lnTo>
                <a:lnTo>
                  <a:pt x="1955387" y="223039"/>
                </a:lnTo>
                <a:lnTo>
                  <a:pt x="1937705" y="193765"/>
                </a:lnTo>
                <a:lnTo>
                  <a:pt x="1907357" y="174192"/>
                </a:lnTo>
                <a:lnTo>
                  <a:pt x="1863624" y="163240"/>
                </a:lnTo>
                <a:lnTo>
                  <a:pt x="1805787" y="159829"/>
                </a:lnTo>
                <a:lnTo>
                  <a:pt x="1670100" y="159829"/>
                </a:lnTo>
                <a:lnTo>
                  <a:pt x="1642012" y="157344"/>
                </a:lnTo>
                <a:lnTo>
                  <a:pt x="1621872" y="149890"/>
                </a:lnTo>
                <a:lnTo>
                  <a:pt x="1609743" y="137471"/>
                </a:lnTo>
                <a:lnTo>
                  <a:pt x="1605686" y="120091"/>
                </a:lnTo>
                <a:lnTo>
                  <a:pt x="1610440" y="98466"/>
                </a:lnTo>
                <a:lnTo>
                  <a:pt x="1624917" y="83607"/>
                </a:lnTo>
                <a:lnTo>
                  <a:pt x="1649438" y="75039"/>
                </a:lnTo>
                <a:lnTo>
                  <a:pt x="1684324" y="72288"/>
                </a:lnTo>
                <a:lnTo>
                  <a:pt x="1937397" y="72288"/>
                </a:lnTo>
                <a:lnTo>
                  <a:pt x="1937397" y="7175"/>
                </a:lnTo>
                <a:close/>
              </a:path>
              <a:path w="3917950" h="380364">
                <a:moveTo>
                  <a:pt x="2145626" y="7175"/>
                </a:moveTo>
                <a:lnTo>
                  <a:pt x="2038477" y="7175"/>
                </a:lnTo>
                <a:lnTo>
                  <a:pt x="2038477" y="372478"/>
                </a:lnTo>
                <a:lnTo>
                  <a:pt x="2145626" y="372478"/>
                </a:lnTo>
                <a:lnTo>
                  <a:pt x="2145626" y="7175"/>
                </a:lnTo>
                <a:close/>
              </a:path>
              <a:path w="3917950" h="380364">
                <a:moveTo>
                  <a:pt x="2499055" y="7175"/>
                </a:moveTo>
                <a:lnTo>
                  <a:pt x="2246642" y="7175"/>
                </a:lnTo>
                <a:lnTo>
                  <a:pt x="2246642" y="372478"/>
                </a:lnTo>
                <a:lnTo>
                  <a:pt x="2349144" y="372478"/>
                </a:lnTo>
                <a:lnTo>
                  <a:pt x="2349144" y="229019"/>
                </a:lnTo>
                <a:lnTo>
                  <a:pt x="2578237" y="229019"/>
                </a:lnTo>
                <a:lnTo>
                  <a:pt x="2570924" y="219824"/>
                </a:lnTo>
                <a:lnTo>
                  <a:pt x="2612925" y="207406"/>
                </a:lnTo>
                <a:lnTo>
                  <a:pt x="2643787" y="185796"/>
                </a:lnTo>
                <a:lnTo>
                  <a:pt x="2657236" y="164388"/>
                </a:lnTo>
                <a:lnTo>
                  <a:pt x="2349144" y="164388"/>
                </a:lnTo>
                <a:lnTo>
                  <a:pt x="2349144" y="72288"/>
                </a:lnTo>
                <a:lnTo>
                  <a:pt x="2660169" y="72288"/>
                </a:lnTo>
                <a:lnTo>
                  <a:pt x="2642577" y="45198"/>
                </a:lnTo>
                <a:lnTo>
                  <a:pt x="2608779" y="23733"/>
                </a:lnTo>
                <a:lnTo>
                  <a:pt x="2561023" y="11229"/>
                </a:lnTo>
                <a:lnTo>
                  <a:pt x="2499055" y="7175"/>
                </a:lnTo>
                <a:close/>
              </a:path>
              <a:path w="3917950" h="380364">
                <a:moveTo>
                  <a:pt x="2578237" y="229019"/>
                </a:moveTo>
                <a:lnTo>
                  <a:pt x="2469908" y="229019"/>
                </a:lnTo>
                <a:lnTo>
                  <a:pt x="2577045" y="372478"/>
                </a:lnTo>
                <a:lnTo>
                  <a:pt x="2692336" y="372478"/>
                </a:lnTo>
                <a:lnTo>
                  <a:pt x="2578237" y="229019"/>
                </a:lnTo>
                <a:close/>
              </a:path>
              <a:path w="3917950" h="380364">
                <a:moveTo>
                  <a:pt x="2660169" y="72288"/>
                </a:moveTo>
                <a:lnTo>
                  <a:pt x="2474607" y="72288"/>
                </a:lnTo>
                <a:lnTo>
                  <a:pt x="2514574" y="74154"/>
                </a:lnTo>
                <a:lnTo>
                  <a:pt x="2542965" y="81086"/>
                </a:lnTo>
                <a:lnTo>
                  <a:pt x="2559907" y="95080"/>
                </a:lnTo>
                <a:lnTo>
                  <a:pt x="2565527" y="118135"/>
                </a:lnTo>
                <a:lnTo>
                  <a:pt x="2559907" y="140996"/>
                </a:lnTo>
                <a:lnTo>
                  <a:pt x="2542965" y="155159"/>
                </a:lnTo>
                <a:lnTo>
                  <a:pt x="2514574" y="162373"/>
                </a:lnTo>
                <a:lnTo>
                  <a:pt x="2474607" y="164388"/>
                </a:lnTo>
                <a:lnTo>
                  <a:pt x="2657236" y="164388"/>
                </a:lnTo>
                <a:lnTo>
                  <a:pt x="2662814" y="155510"/>
                </a:lnTo>
                <a:lnTo>
                  <a:pt x="2669311" y="117068"/>
                </a:lnTo>
                <a:lnTo>
                  <a:pt x="2662670" y="76139"/>
                </a:lnTo>
                <a:lnTo>
                  <a:pt x="2660169" y="72288"/>
                </a:lnTo>
                <a:close/>
              </a:path>
              <a:path w="3917950" h="380364">
                <a:moveTo>
                  <a:pt x="2863354" y="7175"/>
                </a:moveTo>
                <a:lnTo>
                  <a:pt x="2756103" y="7175"/>
                </a:lnTo>
                <a:lnTo>
                  <a:pt x="2756103" y="372478"/>
                </a:lnTo>
                <a:lnTo>
                  <a:pt x="2863354" y="372478"/>
                </a:lnTo>
                <a:lnTo>
                  <a:pt x="2863354" y="7175"/>
                </a:lnTo>
                <a:close/>
              </a:path>
              <a:path w="3917950" h="380364">
                <a:moveTo>
                  <a:pt x="3176003" y="0"/>
                </a:moveTo>
                <a:lnTo>
                  <a:pt x="3118606" y="2856"/>
                </a:lnTo>
                <a:lnTo>
                  <a:pt x="3069116" y="11432"/>
                </a:lnTo>
                <a:lnTo>
                  <a:pt x="3027357" y="25802"/>
                </a:lnTo>
                <a:lnTo>
                  <a:pt x="2993315" y="46010"/>
                </a:lnTo>
                <a:lnTo>
                  <a:pt x="2948158" y="104150"/>
                </a:lnTo>
                <a:lnTo>
                  <a:pt x="2936934" y="142187"/>
                </a:lnTo>
                <a:lnTo>
                  <a:pt x="2933204" y="186270"/>
                </a:lnTo>
                <a:lnTo>
                  <a:pt x="2936765" y="232712"/>
                </a:lnTo>
                <a:lnTo>
                  <a:pt x="2947580" y="272562"/>
                </a:lnTo>
                <a:lnTo>
                  <a:pt x="2991772" y="332981"/>
                </a:lnTo>
                <a:lnTo>
                  <a:pt x="3025549" y="353796"/>
                </a:lnTo>
                <a:lnTo>
                  <a:pt x="3067380" y="368511"/>
                </a:lnTo>
                <a:lnTo>
                  <a:pt x="3117465" y="377250"/>
                </a:lnTo>
                <a:lnTo>
                  <a:pt x="3176003" y="380136"/>
                </a:lnTo>
                <a:lnTo>
                  <a:pt x="3234011" y="377250"/>
                </a:lnTo>
                <a:lnTo>
                  <a:pt x="3283803" y="368566"/>
                </a:lnTo>
                <a:lnTo>
                  <a:pt x="3325623" y="353982"/>
                </a:lnTo>
                <a:lnTo>
                  <a:pt x="3359557" y="333424"/>
                </a:lnTo>
                <a:lnTo>
                  <a:pt x="3375693" y="317017"/>
                </a:lnTo>
                <a:lnTo>
                  <a:pt x="3176003" y="317017"/>
                </a:lnTo>
                <a:lnTo>
                  <a:pt x="3127238" y="312018"/>
                </a:lnTo>
                <a:lnTo>
                  <a:pt x="3090372" y="296811"/>
                </a:lnTo>
                <a:lnTo>
                  <a:pt x="3064795" y="271077"/>
                </a:lnTo>
                <a:lnTo>
                  <a:pt x="3049896" y="234497"/>
                </a:lnTo>
                <a:lnTo>
                  <a:pt x="3045066" y="186753"/>
                </a:lnTo>
                <a:lnTo>
                  <a:pt x="3050221" y="142009"/>
                </a:lnTo>
                <a:lnTo>
                  <a:pt x="3065768" y="107249"/>
                </a:lnTo>
                <a:lnTo>
                  <a:pt x="3091832" y="82448"/>
                </a:lnTo>
                <a:lnTo>
                  <a:pt x="3128535" y="67585"/>
                </a:lnTo>
                <a:lnTo>
                  <a:pt x="3176003" y="62636"/>
                </a:lnTo>
                <a:lnTo>
                  <a:pt x="3375529" y="62636"/>
                </a:lnTo>
                <a:lnTo>
                  <a:pt x="3359557" y="46453"/>
                </a:lnTo>
                <a:lnTo>
                  <a:pt x="3325623" y="25989"/>
                </a:lnTo>
                <a:lnTo>
                  <a:pt x="3283803" y="11488"/>
                </a:lnTo>
                <a:lnTo>
                  <a:pt x="3233971" y="2856"/>
                </a:lnTo>
                <a:lnTo>
                  <a:pt x="3176003" y="0"/>
                </a:lnTo>
                <a:close/>
              </a:path>
              <a:path w="3917950" h="380364">
                <a:moveTo>
                  <a:pt x="3375529" y="62636"/>
                </a:moveTo>
                <a:lnTo>
                  <a:pt x="3176003" y="62636"/>
                </a:lnTo>
                <a:lnTo>
                  <a:pt x="3224355" y="67610"/>
                </a:lnTo>
                <a:lnTo>
                  <a:pt x="3261327" y="82644"/>
                </a:lnTo>
                <a:lnTo>
                  <a:pt x="3287284" y="107910"/>
                </a:lnTo>
                <a:lnTo>
                  <a:pt x="3302592" y="143576"/>
                </a:lnTo>
                <a:lnTo>
                  <a:pt x="3307613" y="189814"/>
                </a:lnTo>
                <a:lnTo>
                  <a:pt x="3302592" y="236064"/>
                </a:lnTo>
                <a:lnTo>
                  <a:pt x="3287284" y="271738"/>
                </a:lnTo>
                <a:lnTo>
                  <a:pt x="3261327" y="297007"/>
                </a:lnTo>
                <a:lnTo>
                  <a:pt x="3224355" y="312043"/>
                </a:lnTo>
                <a:lnTo>
                  <a:pt x="3176003" y="317017"/>
                </a:lnTo>
                <a:lnTo>
                  <a:pt x="3375693" y="317017"/>
                </a:lnTo>
                <a:lnTo>
                  <a:pt x="3385732" y="306809"/>
                </a:lnTo>
                <a:lnTo>
                  <a:pt x="3404272" y="274057"/>
                </a:lnTo>
                <a:lnTo>
                  <a:pt x="3415304" y="235085"/>
                </a:lnTo>
                <a:lnTo>
                  <a:pt x="3418954" y="189814"/>
                </a:lnTo>
                <a:lnTo>
                  <a:pt x="3415304" y="144560"/>
                </a:lnTo>
                <a:lnTo>
                  <a:pt x="3404272" y="105645"/>
                </a:lnTo>
                <a:lnTo>
                  <a:pt x="3385732" y="72974"/>
                </a:lnTo>
                <a:lnTo>
                  <a:pt x="3375529" y="62636"/>
                </a:lnTo>
                <a:close/>
              </a:path>
              <a:path w="3917950" h="380364">
                <a:moveTo>
                  <a:pt x="3618318" y="7175"/>
                </a:moveTo>
                <a:lnTo>
                  <a:pt x="3488740" y="7175"/>
                </a:lnTo>
                <a:lnTo>
                  <a:pt x="3488740" y="372478"/>
                </a:lnTo>
                <a:lnTo>
                  <a:pt x="3589439" y="372478"/>
                </a:lnTo>
                <a:lnTo>
                  <a:pt x="3589147" y="96189"/>
                </a:lnTo>
                <a:lnTo>
                  <a:pt x="3685939" y="96189"/>
                </a:lnTo>
                <a:lnTo>
                  <a:pt x="3618318" y="7175"/>
                </a:lnTo>
                <a:close/>
              </a:path>
              <a:path w="3917950" h="380364">
                <a:moveTo>
                  <a:pt x="3685939" y="96189"/>
                </a:moveTo>
                <a:lnTo>
                  <a:pt x="3589147" y="96189"/>
                </a:lnTo>
                <a:lnTo>
                  <a:pt x="3798773" y="372478"/>
                </a:lnTo>
                <a:lnTo>
                  <a:pt x="3917480" y="372478"/>
                </a:lnTo>
                <a:lnTo>
                  <a:pt x="3917480" y="269697"/>
                </a:lnTo>
                <a:lnTo>
                  <a:pt x="3817747" y="269697"/>
                </a:lnTo>
                <a:lnTo>
                  <a:pt x="3685939" y="96189"/>
                </a:lnTo>
                <a:close/>
              </a:path>
              <a:path w="3917950" h="380364">
                <a:moveTo>
                  <a:pt x="3917480" y="7175"/>
                </a:moveTo>
                <a:lnTo>
                  <a:pt x="3817454" y="7175"/>
                </a:lnTo>
                <a:lnTo>
                  <a:pt x="3817747" y="269697"/>
                </a:lnTo>
                <a:lnTo>
                  <a:pt x="3917480" y="269697"/>
                </a:lnTo>
                <a:lnTo>
                  <a:pt x="3917480" y="7175"/>
                </a:lnTo>
                <a:close/>
              </a:path>
            </a:pathLst>
          </a:custGeom>
          <a:solidFill>
            <a:srgbClr val="66CC33"/>
          </a:solidFill>
        </p:spPr>
        <p:txBody>
          <a:bodyPr wrap="square" lIns="0" tIns="0" rIns="0" bIns="0" rtlCol="0"/>
          <a:lstStyle/>
          <a:p>
            <a:endParaRPr lang="de-CH"/>
          </a:p>
        </p:txBody>
      </p:sp>
      <p:sp>
        <p:nvSpPr>
          <p:cNvPr id="32" name="TextBox 31">
            <a:extLst>
              <a:ext uri="{FF2B5EF4-FFF2-40B4-BE49-F238E27FC236}">
                <a16:creationId xmlns:a16="http://schemas.microsoft.com/office/drawing/2014/main" id="{D2FBF37C-E5F8-486B-BA24-4AE945BD0F90}"/>
              </a:ext>
            </a:extLst>
          </p:cNvPr>
          <p:cNvSpPr txBox="1"/>
          <p:nvPr/>
        </p:nvSpPr>
        <p:spPr>
          <a:xfrm>
            <a:off x="542471" y="270177"/>
            <a:ext cx="4191736" cy="954107"/>
          </a:xfrm>
          <a:prstGeom prst="rect">
            <a:avLst/>
          </a:prstGeom>
          <a:noFill/>
        </p:spPr>
        <p:txBody>
          <a:bodyPr wrap="square">
            <a:spAutoFit/>
          </a:bodyPr>
          <a:lstStyle/>
          <a:p>
            <a:r>
              <a:rPr lang="en-US" sz="2800" b="1">
                <a:solidFill>
                  <a:schemeClr val="bg1"/>
                </a:solidFill>
              </a:rPr>
              <a:t>Five reasons why the SCD4x is ahead of its competitors </a:t>
            </a:r>
          </a:p>
        </p:txBody>
      </p:sp>
      <p:cxnSp>
        <p:nvCxnSpPr>
          <p:cNvPr id="11" name="Straight Connector 10">
            <a:extLst>
              <a:ext uri="{FF2B5EF4-FFF2-40B4-BE49-F238E27FC236}">
                <a16:creationId xmlns:a16="http://schemas.microsoft.com/office/drawing/2014/main" id="{92E6632A-0E62-4C99-9450-399B51E8315D}"/>
              </a:ext>
            </a:extLst>
          </p:cNvPr>
          <p:cNvCxnSpPr/>
          <p:nvPr/>
        </p:nvCxnSpPr>
        <p:spPr>
          <a:xfrm>
            <a:off x="673100" y="1236133"/>
            <a:ext cx="4652433"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AD45108-7515-426D-9188-1E8F4D53774D}"/>
              </a:ext>
            </a:extLst>
          </p:cNvPr>
          <p:cNvCxnSpPr>
            <a:cxnSpLocks/>
          </p:cNvCxnSpPr>
          <p:nvPr/>
        </p:nvCxnSpPr>
        <p:spPr>
          <a:xfrm>
            <a:off x="5320000" y="1236133"/>
            <a:ext cx="2748733" cy="9863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208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58584CA5-42A6-4734-85A5-E417F87590E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470" y="975847"/>
            <a:ext cx="4435170" cy="3135468"/>
          </a:xfrm>
          <a:prstGeom prst="rect">
            <a:avLst/>
          </a:prstGeom>
        </p:spPr>
      </p:pic>
      <p:sp>
        <p:nvSpPr>
          <p:cNvPr id="17" name="Title 1"/>
          <p:cNvSpPr txBox="1">
            <a:spLocks/>
          </p:cNvSpPr>
          <p:nvPr/>
        </p:nvSpPr>
        <p:spPr bwMode="auto">
          <a:xfrm>
            <a:off x="820937" y="327180"/>
            <a:ext cx="9122053" cy="50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lvl1pPr algn="l" defTabSz="914400" rtl="0" eaLnBrk="1" latinLnBrk="0" hangingPunct="1">
              <a:lnSpc>
                <a:spcPct val="90000"/>
              </a:lnSpc>
              <a:spcBef>
                <a:spcPct val="0"/>
              </a:spcBef>
              <a:buNone/>
              <a:defRPr sz="3100" b="1" kern="1200">
                <a:solidFill>
                  <a:srgbClr val="66CC33"/>
                </a:solidFill>
                <a:latin typeface="Arial Narrow" panose="020B0606020202030204" pitchFamily="34" charset="0"/>
                <a:ea typeface="+mj-ea"/>
                <a:cs typeface="+mj-cs"/>
              </a:defRPr>
            </a:lvl1pPr>
          </a:lstStyle>
          <a:p>
            <a:pPr fontAlgn="auto">
              <a:spcAft>
                <a:spcPts val="0"/>
              </a:spcAft>
            </a:pPr>
            <a:r>
              <a:rPr lang="en-US"/>
              <a:t>Looking towards the complex problems of tomorrow</a:t>
            </a:r>
          </a:p>
        </p:txBody>
      </p:sp>
      <p:sp>
        <p:nvSpPr>
          <p:cNvPr id="11" name="Slide Number Placeholder 10"/>
          <p:cNvSpPr>
            <a:spLocks noGrp="1"/>
          </p:cNvSpPr>
          <p:nvPr>
            <p:ph type="sldNum" sz="quarter" idx="4"/>
          </p:nvPr>
        </p:nvSpPr>
        <p:spPr/>
        <p:txBody>
          <a:bodyPr/>
          <a:lstStyle/>
          <a:p>
            <a:fld id="{553BBF28-59B0-4969-8EAE-E099AE92A1EC}" type="slidenum">
              <a:rPr lang="en-US" smtClean="0">
                <a:solidFill>
                  <a:prstClr val="black"/>
                </a:solidFill>
              </a:rPr>
              <a:pPr/>
              <a:t>8</a:t>
            </a:fld>
            <a:endParaRPr lang="en-US">
              <a:solidFill>
                <a:prstClr val="black"/>
              </a:solidFill>
            </a:endParaRPr>
          </a:p>
        </p:txBody>
      </p:sp>
      <p:sp>
        <p:nvSpPr>
          <p:cNvPr id="37" name="Oval 36">
            <a:extLst>
              <a:ext uri="{FF2B5EF4-FFF2-40B4-BE49-F238E27FC236}">
                <a16:creationId xmlns:a16="http://schemas.microsoft.com/office/drawing/2014/main" id="{A5F2F941-768E-4380-BBF5-3C23F6D00994}"/>
              </a:ext>
            </a:extLst>
          </p:cNvPr>
          <p:cNvSpPr/>
          <p:nvPr/>
        </p:nvSpPr>
        <p:spPr>
          <a:xfrm flipH="1">
            <a:off x="1789356" y="3806483"/>
            <a:ext cx="45719" cy="48238"/>
          </a:xfrm>
          <a:prstGeom prst="ellipse">
            <a:avLst/>
          </a:prstGeom>
          <a:solidFill>
            <a:srgbClr val="66CC33"/>
          </a:solidFill>
          <a:ln>
            <a:noFill/>
          </a:ln>
          <a:effectLst>
            <a:glow rad="63500">
              <a:srgbClr val="70AD47">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559DACE-DA16-4E82-8A49-6622468B7EEE}"/>
              </a:ext>
            </a:extLst>
          </p:cNvPr>
          <p:cNvSpPr txBox="1"/>
          <p:nvPr/>
        </p:nvSpPr>
        <p:spPr>
          <a:xfrm>
            <a:off x="3163827" y="2785456"/>
            <a:ext cx="2373927" cy="707886"/>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r"/>
            <a:r>
              <a:rPr lang="en-US" b="1">
                <a:solidFill>
                  <a:srgbClr val="66CC33"/>
                </a:solidFill>
              </a:rPr>
              <a:t>EV Battery Management Safety</a:t>
            </a:r>
          </a:p>
        </p:txBody>
      </p:sp>
      <p:sp>
        <p:nvSpPr>
          <p:cNvPr id="45" name="TextBox 44">
            <a:extLst>
              <a:ext uri="{FF2B5EF4-FFF2-40B4-BE49-F238E27FC236}">
                <a16:creationId xmlns:a16="http://schemas.microsoft.com/office/drawing/2014/main" id="{597A38CC-4EBF-41FB-B8F1-EDC71C91FE56}"/>
              </a:ext>
            </a:extLst>
          </p:cNvPr>
          <p:cNvSpPr txBox="1"/>
          <p:nvPr/>
        </p:nvSpPr>
        <p:spPr>
          <a:xfrm>
            <a:off x="3427529" y="1080129"/>
            <a:ext cx="2373927" cy="1015663"/>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r"/>
            <a:r>
              <a:rPr lang="en-US" b="1">
                <a:solidFill>
                  <a:srgbClr val="66CC33"/>
                </a:solidFill>
              </a:rPr>
              <a:t>Electronics Safety &amp; Antifogging for LiDAR &amp; ADAS</a:t>
            </a:r>
          </a:p>
        </p:txBody>
      </p:sp>
      <p:sp>
        <p:nvSpPr>
          <p:cNvPr id="48" name="TextBox 47">
            <a:extLst>
              <a:ext uri="{FF2B5EF4-FFF2-40B4-BE49-F238E27FC236}">
                <a16:creationId xmlns:a16="http://schemas.microsoft.com/office/drawing/2014/main" id="{041D1B68-65FA-4517-A4C6-D8315E770E5B}"/>
              </a:ext>
            </a:extLst>
          </p:cNvPr>
          <p:cNvSpPr txBox="1"/>
          <p:nvPr/>
        </p:nvSpPr>
        <p:spPr>
          <a:xfrm>
            <a:off x="156518" y="1266493"/>
            <a:ext cx="1783891" cy="707886"/>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r"/>
            <a:r>
              <a:rPr lang="en-US" b="1">
                <a:solidFill>
                  <a:srgbClr val="66CC33"/>
                </a:solidFill>
              </a:rPr>
              <a:t>Air Quality: In-cabin &amp; Outside</a:t>
            </a:r>
          </a:p>
        </p:txBody>
      </p:sp>
      <p:pic>
        <p:nvPicPr>
          <p:cNvPr id="1026" name="Picture 2" descr="Image - Highly accurate">
            <a:extLst>
              <a:ext uri="{FF2B5EF4-FFF2-40B4-BE49-F238E27FC236}">
                <a16:creationId xmlns:a16="http://schemas.microsoft.com/office/drawing/2014/main" id="{24EA4CF6-DD2E-46F7-81AC-D167925E066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6663" y="4241934"/>
            <a:ext cx="2493576" cy="164021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DPC3 - Smallest flow sensor with highest performance">
            <a:extLst>
              <a:ext uri="{FF2B5EF4-FFF2-40B4-BE49-F238E27FC236}">
                <a16:creationId xmlns:a16="http://schemas.microsoft.com/office/drawing/2014/main" id="{EFF85968-6677-4B89-8DC4-9126601219E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48111" y="3931541"/>
            <a:ext cx="3348037" cy="209434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787491F7-73D4-4D58-9B8D-4003312F370A}"/>
              </a:ext>
            </a:extLst>
          </p:cNvPr>
          <p:cNvSpPr txBox="1"/>
          <p:nvPr/>
        </p:nvSpPr>
        <p:spPr>
          <a:xfrm>
            <a:off x="311979" y="5812717"/>
            <a:ext cx="2373927" cy="400110"/>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r"/>
            <a:r>
              <a:rPr lang="en-US" b="1">
                <a:solidFill>
                  <a:srgbClr val="66CC33"/>
                </a:solidFill>
              </a:rPr>
              <a:t>Smart Inhalers</a:t>
            </a:r>
          </a:p>
        </p:txBody>
      </p:sp>
      <p:pic>
        <p:nvPicPr>
          <p:cNvPr id="1036" name="Picture 12" descr="Smart Building">
            <a:extLst>
              <a:ext uri="{FF2B5EF4-FFF2-40B4-BE49-F238E27FC236}">
                <a16:creationId xmlns:a16="http://schemas.microsoft.com/office/drawing/2014/main" id="{026E9BFA-B8FB-4B0D-B784-37F8DE9B4F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11937" y="982505"/>
            <a:ext cx="4382412" cy="2682102"/>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3E4687EC-62AC-4C03-B1BA-68E66D267781}"/>
              </a:ext>
            </a:extLst>
          </p:cNvPr>
          <p:cNvSpPr txBox="1"/>
          <p:nvPr/>
        </p:nvSpPr>
        <p:spPr>
          <a:xfrm>
            <a:off x="3522221" y="5825827"/>
            <a:ext cx="2373927" cy="400110"/>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r>
              <a:rPr lang="en-US" b="1">
                <a:solidFill>
                  <a:srgbClr val="66CC33"/>
                </a:solidFill>
              </a:rPr>
              <a:t>Point-of-Care</a:t>
            </a:r>
          </a:p>
        </p:txBody>
      </p:sp>
      <p:sp>
        <p:nvSpPr>
          <p:cNvPr id="68" name="TextBox 67">
            <a:extLst>
              <a:ext uri="{FF2B5EF4-FFF2-40B4-BE49-F238E27FC236}">
                <a16:creationId xmlns:a16="http://schemas.microsoft.com/office/drawing/2014/main" id="{7DECF20F-0846-4475-8D38-A5A3E7D751BB}"/>
              </a:ext>
            </a:extLst>
          </p:cNvPr>
          <p:cNvSpPr txBox="1"/>
          <p:nvPr/>
        </p:nvSpPr>
        <p:spPr>
          <a:xfrm>
            <a:off x="9350348" y="975847"/>
            <a:ext cx="2373927" cy="707886"/>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r"/>
            <a:r>
              <a:rPr lang="en-US" b="1">
                <a:solidFill>
                  <a:srgbClr val="66CC33"/>
                </a:solidFill>
              </a:rPr>
              <a:t>Building Automation Systems</a:t>
            </a:r>
          </a:p>
        </p:txBody>
      </p:sp>
      <p:sp>
        <p:nvSpPr>
          <p:cNvPr id="69" name="TextBox 68">
            <a:extLst>
              <a:ext uri="{FF2B5EF4-FFF2-40B4-BE49-F238E27FC236}">
                <a16:creationId xmlns:a16="http://schemas.microsoft.com/office/drawing/2014/main" id="{9FEAD3B6-8992-4B15-854B-0ABA7C92B378}"/>
              </a:ext>
            </a:extLst>
          </p:cNvPr>
          <p:cNvSpPr txBox="1"/>
          <p:nvPr/>
        </p:nvSpPr>
        <p:spPr>
          <a:xfrm>
            <a:off x="9350348" y="2267644"/>
            <a:ext cx="2373927" cy="707886"/>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r"/>
            <a:r>
              <a:rPr lang="en-US" b="1">
                <a:solidFill>
                  <a:srgbClr val="66CC33"/>
                </a:solidFill>
              </a:rPr>
              <a:t>VAV Controllers &amp; DCV Systems</a:t>
            </a:r>
          </a:p>
        </p:txBody>
      </p:sp>
      <p:pic>
        <p:nvPicPr>
          <p:cNvPr id="70" name="Picture 4" descr="Image result for silos grain bin monitor">
            <a:extLst>
              <a:ext uri="{FF2B5EF4-FFF2-40B4-BE49-F238E27FC236}">
                <a16:creationId xmlns:a16="http://schemas.microsoft.com/office/drawing/2014/main" id="{F11D43B6-EB37-46DA-B450-BECB597258B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4210" r="733"/>
          <a:stretch/>
        </p:blipFill>
        <p:spPr bwMode="auto">
          <a:xfrm>
            <a:off x="6316632" y="3725402"/>
            <a:ext cx="1731742" cy="263457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4" descr="https://upload.wikimedia.org/wikipedia/commons/thumb/7/7e/VertiCrop.jpg/220px-VertiCrop.jpg">
            <a:extLst>
              <a:ext uri="{FF2B5EF4-FFF2-40B4-BE49-F238E27FC236}">
                <a16:creationId xmlns:a16="http://schemas.microsoft.com/office/drawing/2014/main" id="{6FCDE911-EDD7-4178-9B31-0875CF0928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51733" y="3854721"/>
            <a:ext cx="1731742" cy="2605484"/>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3CF68F85-CB5B-4CCE-BE5E-B47862C721AC}"/>
              </a:ext>
            </a:extLst>
          </p:cNvPr>
          <p:cNvSpPr txBox="1"/>
          <p:nvPr/>
        </p:nvSpPr>
        <p:spPr>
          <a:xfrm>
            <a:off x="9942990" y="4027481"/>
            <a:ext cx="1731742" cy="707886"/>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ctr"/>
            <a:r>
              <a:rPr lang="en-US" b="1">
                <a:solidFill>
                  <a:srgbClr val="66CC33"/>
                </a:solidFill>
              </a:rPr>
              <a:t>IoT Farming and Growing</a:t>
            </a:r>
          </a:p>
        </p:txBody>
      </p:sp>
      <p:sp>
        <p:nvSpPr>
          <p:cNvPr id="75" name="TextBox 74">
            <a:extLst>
              <a:ext uri="{FF2B5EF4-FFF2-40B4-BE49-F238E27FC236}">
                <a16:creationId xmlns:a16="http://schemas.microsoft.com/office/drawing/2014/main" id="{7699B435-F914-405B-942F-A492B90BE3E1}"/>
              </a:ext>
            </a:extLst>
          </p:cNvPr>
          <p:cNvSpPr txBox="1"/>
          <p:nvPr/>
        </p:nvSpPr>
        <p:spPr>
          <a:xfrm>
            <a:off x="9986834" y="5042690"/>
            <a:ext cx="1831283" cy="707886"/>
          </a:xfrm>
          <a:prstGeom prst="rect">
            <a:avLst/>
          </a:prstGeom>
          <a:ln w="12700">
            <a:noFill/>
            <a:prstDash val="sysDash"/>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ctr"/>
            <a:r>
              <a:rPr lang="en-US" b="1">
                <a:solidFill>
                  <a:srgbClr val="66CC33"/>
                </a:solidFill>
              </a:rPr>
              <a:t>Smart Lighting and Monitoring</a:t>
            </a:r>
          </a:p>
        </p:txBody>
      </p:sp>
    </p:spTree>
    <p:extLst>
      <p:ext uri="{BB962C8B-B14F-4D97-AF65-F5344CB8AC3E}">
        <p14:creationId xmlns:p14="http://schemas.microsoft.com/office/powerpoint/2010/main" val="37234172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Humidity and Temperature</a:t>
            </a:r>
            <a:br>
              <a:rPr lang="en-US" sz="7200"/>
            </a:br>
            <a:r>
              <a:rPr lang="en-US" sz="7200"/>
              <a:t>Sensors</a:t>
            </a:r>
          </a:p>
        </p:txBody>
      </p:sp>
    </p:spTree>
    <p:extLst>
      <p:ext uri="{BB962C8B-B14F-4D97-AF65-F5344CB8AC3E}">
        <p14:creationId xmlns:p14="http://schemas.microsoft.com/office/powerpoint/2010/main" val="270353653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extfeld 64"/>
          <p:cNvSpPr txBox="1"/>
          <p:nvPr/>
        </p:nvSpPr>
        <p:spPr>
          <a:xfrm>
            <a:off x="7146280" y="1214701"/>
            <a:ext cx="1361883" cy="37978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Data Loggers</a:t>
            </a:r>
          </a:p>
        </p:txBody>
      </p:sp>
      <p:sp>
        <p:nvSpPr>
          <p:cNvPr id="41" name="Abgerundetes Rechteck 40"/>
          <p:cNvSpPr/>
          <p:nvPr/>
        </p:nvSpPr>
        <p:spPr>
          <a:xfrm>
            <a:off x="852572" y="4803222"/>
            <a:ext cx="1258779" cy="653765"/>
          </a:xfrm>
          <a:prstGeom prst="roundRect">
            <a:avLst/>
          </a:prstGeom>
          <a:solidFill>
            <a:srgbClr val="66CC33"/>
          </a:solidFill>
          <a:ln>
            <a:no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err="1">
                <a:ln>
                  <a:noFill/>
                </a:ln>
                <a:solidFill>
                  <a:srgbClr val="FFFFFF"/>
                </a:solidFill>
                <a:effectLst/>
                <a:uLnTx/>
                <a:uFillTx/>
                <a:latin typeface="Arial Narrow"/>
                <a:ea typeface="+mn-ea"/>
                <a:cs typeface="+mn-cs"/>
              </a:rPr>
              <a:t>Protection</a:t>
            </a:r>
            <a:endParaRPr kumimoji="0" lang="de-CH" sz="1400" b="0" i="0" u="none" strike="noStrike" kern="1200" cap="none" spc="0" normalizeH="0" baseline="0" noProof="0">
              <a:ln>
                <a:noFill/>
              </a:ln>
              <a:solidFill>
                <a:srgbClr val="FFFFFF"/>
              </a:solidFill>
              <a:effectLst/>
              <a:uLnTx/>
              <a:uFillTx/>
              <a:latin typeface="Arial Narrow"/>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FFFFFF"/>
                </a:solidFill>
                <a:effectLst/>
                <a:uLnTx/>
                <a:uFillTx/>
                <a:latin typeface="Arial Narrow"/>
                <a:ea typeface="+mn-ea"/>
                <a:cs typeface="+mn-cs"/>
              </a:rPr>
              <a:t>Options</a:t>
            </a:r>
          </a:p>
        </p:txBody>
      </p:sp>
      <p:pic>
        <p:nvPicPr>
          <p:cNvPr id="2060" name="Picture 12" descr="http://www.sensirion.com/fileadmin/user_upload/customers/sensirion/Bilder/ProductPictures/Sensirion_Humidity_FilterCap_SF2.jpg"/>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100251" y="4666519"/>
            <a:ext cx="620175" cy="620175"/>
          </a:xfrm>
          <a:prstGeom prst="rect">
            <a:avLst/>
          </a:prstGeom>
          <a:noFill/>
          <a:extLst>
            <a:ext uri="{909E8E84-426E-40DD-AFC4-6F175D3DCCD1}">
              <a14:hiddenFill xmlns:a14="http://schemas.microsoft.com/office/drawing/2010/main">
                <a:solidFill>
                  <a:srgbClr val="FFFFFF"/>
                </a:solidFill>
              </a14:hiddenFill>
            </a:ext>
          </a:extLst>
        </p:spPr>
      </p:pic>
      <p:sp>
        <p:nvSpPr>
          <p:cNvPr id="60" name="Abgerundetes Rechteck 59"/>
          <p:cNvSpPr/>
          <p:nvPr/>
        </p:nvSpPr>
        <p:spPr>
          <a:xfrm>
            <a:off x="852573" y="1111768"/>
            <a:ext cx="1258779" cy="953862"/>
          </a:xfrm>
          <a:prstGeom prst="roundRect">
            <a:avLst/>
          </a:prstGeom>
          <a:solidFill>
            <a:srgbClr val="66CC33"/>
          </a:solidFill>
          <a:ln>
            <a:no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err="1">
                <a:ln>
                  <a:noFill/>
                </a:ln>
                <a:solidFill>
                  <a:srgbClr val="FFFFFF"/>
                </a:solidFill>
                <a:effectLst/>
                <a:uLnTx/>
                <a:uFillTx/>
                <a:latin typeface="Arial Narrow"/>
                <a:ea typeface="+mn-ea"/>
                <a:cs typeface="+mn-cs"/>
              </a:rPr>
              <a:t>Markets</a:t>
            </a:r>
            <a:r>
              <a:rPr kumimoji="0" lang="de-CH" sz="1400" b="0" i="0" u="none" strike="noStrike" kern="1200" cap="none" spc="0" normalizeH="0" baseline="0" noProof="0">
                <a:ln>
                  <a:noFill/>
                </a:ln>
                <a:solidFill>
                  <a:srgbClr val="FFFFFF"/>
                </a:solidFill>
                <a:effectLst/>
                <a:uLnTx/>
                <a:uFillTx/>
                <a:latin typeface="Arial Narrow"/>
                <a:ea typeface="+mn-ea"/>
                <a:cs typeface="+mn-cs"/>
              </a:rPr>
              <a:t> / </a:t>
            </a:r>
            <a:r>
              <a:rPr kumimoji="0" lang="de-CH" sz="1400" b="0" i="0" u="none" strike="noStrike" kern="1200" cap="none" spc="0" normalizeH="0" baseline="0" noProof="0" err="1">
                <a:ln>
                  <a:noFill/>
                </a:ln>
                <a:solidFill>
                  <a:srgbClr val="FFFFFF"/>
                </a:solidFill>
                <a:effectLst/>
                <a:uLnTx/>
                <a:uFillTx/>
                <a:latin typeface="Arial Narrow"/>
                <a:ea typeface="+mn-ea"/>
                <a:cs typeface="+mn-cs"/>
              </a:rPr>
              <a:t>Applications</a:t>
            </a:r>
            <a:endParaRPr kumimoji="0" lang="de-CH" sz="1400" b="0" i="0" u="none" strike="noStrike" kern="1200" cap="none" spc="0" normalizeH="0" baseline="0" noProof="0">
              <a:ln>
                <a:noFill/>
              </a:ln>
              <a:solidFill>
                <a:srgbClr val="FFFFFF"/>
              </a:solidFill>
              <a:effectLst/>
              <a:uLnTx/>
              <a:uFillTx/>
              <a:latin typeface="Arial Narrow"/>
              <a:ea typeface="+mn-ea"/>
              <a:cs typeface="+mn-cs"/>
            </a:endParaRPr>
          </a:p>
        </p:txBody>
      </p:sp>
      <p:sp>
        <p:nvSpPr>
          <p:cNvPr id="61" name="Abgerundetes Rechteck 60"/>
          <p:cNvSpPr/>
          <p:nvPr/>
        </p:nvSpPr>
        <p:spPr>
          <a:xfrm>
            <a:off x="852573" y="2278501"/>
            <a:ext cx="1258779" cy="1316403"/>
          </a:xfrm>
          <a:prstGeom prst="roundRect">
            <a:avLst/>
          </a:prstGeom>
          <a:solidFill>
            <a:srgbClr val="66CC33"/>
          </a:solidFill>
          <a:ln>
            <a:no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err="1">
                <a:ln>
                  <a:noFill/>
                </a:ln>
                <a:solidFill>
                  <a:srgbClr val="FFFFFF"/>
                </a:solidFill>
                <a:effectLst/>
                <a:uLnTx/>
                <a:uFillTx/>
                <a:latin typeface="Arial Narrow"/>
                <a:ea typeface="+mn-ea"/>
                <a:cs typeface="+mn-cs"/>
              </a:rPr>
              <a:t>Product</a:t>
            </a:r>
            <a:r>
              <a:rPr kumimoji="0" lang="de-CH" sz="1400" b="0" i="0" u="none" strike="noStrike" kern="1200" cap="none" spc="0" normalizeH="0" baseline="0" noProof="0">
                <a:ln>
                  <a:noFill/>
                </a:ln>
                <a:solidFill>
                  <a:srgbClr val="FFFFFF"/>
                </a:solidFill>
                <a:effectLst/>
                <a:uLnTx/>
                <a:uFillTx/>
                <a:latin typeface="Arial Narrow"/>
                <a:ea typeface="+mn-ea"/>
                <a:cs typeface="+mn-cs"/>
              </a:rPr>
              <a:t> Lines</a:t>
            </a:r>
          </a:p>
        </p:txBody>
      </p:sp>
      <p:sp>
        <p:nvSpPr>
          <p:cNvPr id="55" name="Abgerundetes Rechteck 54"/>
          <p:cNvSpPr/>
          <p:nvPr/>
        </p:nvSpPr>
        <p:spPr>
          <a:xfrm>
            <a:off x="852572" y="5741386"/>
            <a:ext cx="1258779" cy="270323"/>
          </a:xfrm>
          <a:prstGeom prst="roundRect">
            <a:avLst/>
          </a:prstGeom>
          <a:solidFill>
            <a:srgbClr val="66CC33"/>
          </a:solidFill>
          <a:ln>
            <a:no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FFFFFF"/>
                </a:solidFill>
                <a:effectLst/>
                <a:uLnTx/>
                <a:uFillTx/>
                <a:latin typeface="Arial Narrow"/>
                <a:ea typeface="+mn-ea"/>
                <a:cs typeface="+mn-cs"/>
              </a:rPr>
              <a:t>Evaluation Kits</a:t>
            </a:r>
          </a:p>
        </p:txBody>
      </p:sp>
      <p:sp>
        <p:nvSpPr>
          <p:cNvPr id="5" name="Textfeld 4"/>
          <p:cNvSpPr txBox="1"/>
          <p:nvPr/>
        </p:nvSpPr>
        <p:spPr>
          <a:xfrm>
            <a:off x="2461811" y="1200063"/>
            <a:ext cx="1485125"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High-End </a:t>
            </a:r>
            <a:r>
              <a:rPr kumimoji="0" lang="de-CH" sz="1800" b="0" i="0" u="none" strike="noStrike" kern="1200" cap="none" spc="0" normalizeH="0" baseline="0" noProof="0" err="1">
                <a:ln>
                  <a:noFill/>
                </a:ln>
                <a:solidFill>
                  <a:srgbClr val="000000"/>
                </a:solidFill>
                <a:effectLst/>
                <a:uLnTx/>
                <a:uFillTx/>
                <a:latin typeface="Arial Narrow" pitchFamily="34" charset="0"/>
                <a:ea typeface="+mn-ea"/>
                <a:cs typeface="Arial" charset="0"/>
              </a:rPr>
              <a:t>Measurements</a:t>
            </a:r>
            <a:endPar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9" name="Textfeld 58"/>
          <p:cNvSpPr txBox="1"/>
          <p:nvPr/>
        </p:nvSpPr>
        <p:spPr>
          <a:xfrm>
            <a:off x="3854599" y="1192912"/>
            <a:ext cx="981108" cy="37978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Industrial</a:t>
            </a:r>
          </a:p>
        </p:txBody>
      </p:sp>
      <p:sp>
        <p:nvSpPr>
          <p:cNvPr id="63" name="Textfeld 62"/>
          <p:cNvSpPr txBox="1"/>
          <p:nvPr/>
        </p:nvSpPr>
        <p:spPr>
          <a:xfrm>
            <a:off x="5687476" y="1568240"/>
            <a:ext cx="1660263"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Home Appliances</a:t>
            </a:r>
          </a:p>
        </p:txBody>
      </p:sp>
      <p:sp>
        <p:nvSpPr>
          <p:cNvPr id="64" name="Textfeld 63"/>
          <p:cNvSpPr txBox="1"/>
          <p:nvPr/>
        </p:nvSpPr>
        <p:spPr>
          <a:xfrm>
            <a:off x="6037935" y="1214701"/>
            <a:ext cx="860779" cy="37978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Medical</a:t>
            </a:r>
          </a:p>
        </p:txBody>
      </p:sp>
      <p:sp>
        <p:nvSpPr>
          <p:cNvPr id="66" name="Textfeld 65"/>
          <p:cNvSpPr txBox="1"/>
          <p:nvPr/>
        </p:nvSpPr>
        <p:spPr>
          <a:xfrm>
            <a:off x="4495256" y="1533835"/>
            <a:ext cx="1165726" cy="37978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Automotive</a:t>
            </a:r>
          </a:p>
        </p:txBody>
      </p:sp>
      <p:sp>
        <p:nvSpPr>
          <p:cNvPr id="67" name="Textfeld 66"/>
          <p:cNvSpPr txBox="1"/>
          <p:nvPr/>
        </p:nvSpPr>
        <p:spPr>
          <a:xfrm>
            <a:off x="5064164" y="1204917"/>
            <a:ext cx="696601"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HVAC</a:t>
            </a:r>
          </a:p>
        </p:txBody>
      </p:sp>
      <p:sp>
        <p:nvSpPr>
          <p:cNvPr id="68" name="Textfeld 67"/>
          <p:cNvSpPr txBox="1"/>
          <p:nvPr/>
        </p:nvSpPr>
        <p:spPr>
          <a:xfrm>
            <a:off x="9733322" y="1227641"/>
            <a:ext cx="1510236" cy="37978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Mobile Devices</a:t>
            </a:r>
          </a:p>
        </p:txBody>
      </p:sp>
      <p:sp>
        <p:nvSpPr>
          <p:cNvPr id="70" name="Abgerundetes Rechteck 69"/>
          <p:cNvSpPr/>
          <p:nvPr/>
        </p:nvSpPr>
        <p:spPr>
          <a:xfrm>
            <a:off x="2617856" y="5741386"/>
            <a:ext cx="8759227" cy="266614"/>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SEK-Environmental Sensors</a:t>
            </a:r>
          </a:p>
        </p:txBody>
      </p:sp>
      <p:grpSp>
        <p:nvGrpSpPr>
          <p:cNvPr id="12" name="Group 11"/>
          <p:cNvGrpSpPr/>
          <p:nvPr/>
        </p:nvGrpSpPr>
        <p:grpSpPr>
          <a:xfrm>
            <a:off x="2617856" y="3825489"/>
            <a:ext cx="8759228" cy="790966"/>
            <a:chOff x="2617856" y="3825488"/>
            <a:chExt cx="6754405" cy="814505"/>
          </a:xfrm>
        </p:grpSpPr>
        <p:sp>
          <p:nvSpPr>
            <p:cNvPr id="74" name="Abgerundetes Rechteck 73"/>
            <p:cNvSpPr/>
            <p:nvPr/>
          </p:nvSpPr>
          <p:spPr>
            <a:xfrm>
              <a:off x="2617856" y="3825488"/>
              <a:ext cx="784799" cy="222113"/>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SHT85</a:t>
              </a:r>
            </a:p>
          </p:txBody>
        </p:sp>
        <p:sp>
          <p:nvSpPr>
            <p:cNvPr id="82" name="Abgerundetes Rechteck 81"/>
            <p:cNvSpPr/>
            <p:nvPr/>
          </p:nvSpPr>
          <p:spPr>
            <a:xfrm>
              <a:off x="8333963" y="4417880"/>
              <a:ext cx="1038298" cy="222113"/>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SHTC1</a:t>
              </a:r>
            </a:p>
          </p:txBody>
        </p:sp>
        <p:sp>
          <p:nvSpPr>
            <p:cNvPr id="42" name="Abgerundetes Rechteck 41"/>
            <p:cNvSpPr/>
            <p:nvPr/>
          </p:nvSpPr>
          <p:spPr>
            <a:xfrm>
              <a:off x="4263238" y="4417880"/>
              <a:ext cx="2696861" cy="222113"/>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                SHT40 / STS40</a:t>
              </a:r>
            </a:p>
          </p:txBody>
        </p:sp>
        <p:sp>
          <p:nvSpPr>
            <p:cNvPr id="43" name="Abgerundetes Rechteck 42"/>
            <p:cNvSpPr/>
            <p:nvPr/>
          </p:nvSpPr>
          <p:spPr>
            <a:xfrm>
              <a:off x="3559797" y="4127094"/>
              <a:ext cx="2705361" cy="222113"/>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                     SHT41 </a:t>
              </a:r>
            </a:p>
          </p:txBody>
        </p:sp>
        <p:sp>
          <p:nvSpPr>
            <p:cNvPr id="44" name="Abgerundetes Rechteck 43"/>
            <p:cNvSpPr/>
            <p:nvPr/>
          </p:nvSpPr>
          <p:spPr>
            <a:xfrm>
              <a:off x="3559798" y="3825488"/>
              <a:ext cx="2705361" cy="222113"/>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                     SHT45</a:t>
              </a:r>
            </a:p>
          </p:txBody>
        </p:sp>
      </p:grpSp>
      <p:sp>
        <p:nvSpPr>
          <p:cNvPr id="45" name="Abgerundetes Rechteck 44"/>
          <p:cNvSpPr/>
          <p:nvPr/>
        </p:nvSpPr>
        <p:spPr>
          <a:xfrm>
            <a:off x="3854599" y="5209935"/>
            <a:ext cx="4394351" cy="235190"/>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SF4 / </a:t>
            </a:r>
            <a:r>
              <a:rPr kumimoji="0" lang="de-CH" sz="1400" b="0" i="0" u="none" strike="noStrike" kern="1200" cap="none" spc="0" normalizeH="0" baseline="0" noProof="0" err="1">
                <a:ln>
                  <a:noFill/>
                </a:ln>
                <a:solidFill>
                  <a:srgbClr val="000000"/>
                </a:solidFill>
                <a:effectLst/>
                <a:uLnTx/>
                <a:uFillTx/>
                <a:latin typeface="Arial Narrow"/>
                <a:ea typeface="+mn-ea"/>
                <a:cs typeface="+mn-cs"/>
              </a:rPr>
              <a:t>Opt</a:t>
            </a:r>
            <a:r>
              <a:rPr kumimoji="0" lang="de-CH" sz="1400" b="0" i="0" u="none" strike="noStrike" kern="1200" cap="none" spc="0" normalizeH="0" baseline="0" noProof="0">
                <a:ln>
                  <a:noFill/>
                </a:ln>
                <a:solidFill>
                  <a:srgbClr val="000000"/>
                </a:solidFill>
                <a:effectLst/>
                <a:uLnTx/>
                <a:uFillTx/>
                <a:latin typeface="Arial Narrow"/>
                <a:ea typeface="+mn-ea"/>
                <a:cs typeface="+mn-cs"/>
              </a:rPr>
              <a:t>. Prot. Cover / </a:t>
            </a:r>
            <a:r>
              <a:rPr kumimoji="0" lang="de-CH" sz="1400" b="0" i="0" u="none" strike="noStrike" kern="1200" cap="none" spc="0" normalizeH="0" baseline="0" noProof="0" err="1">
                <a:ln>
                  <a:noFill/>
                </a:ln>
                <a:solidFill>
                  <a:srgbClr val="000000"/>
                </a:solidFill>
                <a:effectLst/>
                <a:uLnTx/>
                <a:uFillTx/>
                <a:latin typeface="Arial Narrow"/>
                <a:ea typeface="+mn-ea"/>
                <a:cs typeface="+mn-cs"/>
              </a:rPr>
              <a:t>Opt</a:t>
            </a:r>
            <a:r>
              <a:rPr kumimoji="0" lang="de-CH" sz="1400" b="0" i="0" u="none" strike="noStrike" kern="1200" cap="none" spc="0" normalizeH="0" baseline="0" noProof="0">
                <a:ln>
                  <a:noFill/>
                </a:ln>
                <a:solidFill>
                  <a:srgbClr val="000000"/>
                </a:solidFill>
                <a:effectLst/>
                <a:uLnTx/>
                <a:uFillTx/>
                <a:latin typeface="Arial Narrow"/>
                <a:ea typeface="+mn-ea"/>
                <a:cs typeface="+mn-cs"/>
              </a:rPr>
              <a:t>. Membrane (Coming Soon)</a:t>
            </a:r>
          </a:p>
        </p:txBody>
      </p:sp>
      <p:sp>
        <p:nvSpPr>
          <p:cNvPr id="47" name="Textfeld 46"/>
          <p:cNvSpPr txBox="1"/>
          <p:nvPr/>
        </p:nvSpPr>
        <p:spPr>
          <a:xfrm>
            <a:off x="8464967" y="1571058"/>
            <a:ext cx="2095405" cy="37978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Consumer Electronics</a:t>
            </a:r>
          </a:p>
        </p:txBody>
      </p:sp>
      <p:sp>
        <p:nvSpPr>
          <p:cNvPr id="48" name="Textfeld 47"/>
          <p:cNvSpPr txBox="1"/>
          <p:nvPr/>
        </p:nvSpPr>
        <p:spPr>
          <a:xfrm>
            <a:off x="8917593" y="1227641"/>
            <a:ext cx="610226" cy="37978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HDD</a:t>
            </a:r>
          </a:p>
        </p:txBody>
      </p:sp>
      <p:sp>
        <p:nvSpPr>
          <p:cNvPr id="62" name="Abgerundetes Rechteck 61"/>
          <p:cNvSpPr/>
          <p:nvPr/>
        </p:nvSpPr>
        <p:spPr>
          <a:xfrm>
            <a:off x="850797" y="3817787"/>
            <a:ext cx="865211" cy="814142"/>
          </a:xfrm>
          <a:prstGeom prst="roundRect">
            <a:avLst/>
          </a:prstGeom>
          <a:solidFill>
            <a:srgbClr val="66CC33"/>
          </a:solidFill>
          <a:ln>
            <a:no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FFFFFF"/>
                </a:solidFill>
                <a:effectLst/>
                <a:uLnTx/>
                <a:uFillTx/>
                <a:latin typeface="Arial Narrow"/>
                <a:ea typeface="+mn-ea"/>
                <a:cs typeface="+mn-cs"/>
              </a:rPr>
              <a:t>Sensor Product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050" b="0" i="0" u="none" strike="noStrike" kern="1200" cap="none" spc="0" normalizeH="0" baseline="0" noProof="0">
                <a:ln>
                  <a:noFill/>
                </a:ln>
                <a:solidFill>
                  <a:srgbClr val="FFFFFF"/>
                </a:solidFill>
                <a:effectLst/>
                <a:uLnTx/>
                <a:uFillTx/>
                <a:latin typeface="Arial Narrow"/>
                <a:ea typeface="+mn-ea"/>
                <a:cs typeface="+mn-cs"/>
              </a:rPr>
              <a:t>(</a:t>
            </a:r>
            <a:r>
              <a:rPr kumimoji="0" lang="de-CH" sz="1050" b="0" i="0" u="none" strike="noStrike" kern="1200" cap="none" spc="0" normalizeH="0" baseline="0" noProof="0" err="1">
                <a:ln>
                  <a:noFill/>
                </a:ln>
                <a:solidFill>
                  <a:srgbClr val="FFFFFF"/>
                </a:solidFill>
                <a:effectLst/>
                <a:uLnTx/>
                <a:uFillTx/>
                <a:latin typeface="Arial Narrow"/>
                <a:ea typeface="+mn-ea"/>
                <a:cs typeface="+mn-cs"/>
              </a:rPr>
              <a:t>accuracy</a:t>
            </a:r>
            <a:r>
              <a:rPr kumimoji="0" lang="de-CH" sz="1050" b="0" i="0" u="none" strike="noStrike" kern="1200" cap="none" spc="0" normalizeH="0" baseline="0" noProof="0">
                <a:ln>
                  <a:noFill/>
                </a:ln>
                <a:solidFill>
                  <a:srgbClr val="FFFFFF"/>
                </a:solidFill>
                <a:effectLst/>
                <a:uLnTx/>
                <a:uFillTx/>
                <a:latin typeface="Arial Narrow"/>
                <a:ea typeface="+mn-ea"/>
                <a:cs typeface="+mn-cs"/>
              </a:rPr>
              <a:t>)</a:t>
            </a:r>
          </a:p>
        </p:txBody>
      </p:sp>
      <p:grpSp>
        <p:nvGrpSpPr>
          <p:cNvPr id="10" name="Group 9"/>
          <p:cNvGrpSpPr>
            <a:grpSpLocks noChangeAspect="1"/>
          </p:cNvGrpSpPr>
          <p:nvPr/>
        </p:nvGrpSpPr>
        <p:grpSpPr>
          <a:xfrm>
            <a:off x="2377770" y="2253131"/>
            <a:ext cx="1507144" cy="1495944"/>
            <a:chOff x="2404228" y="2125029"/>
            <a:chExt cx="1620402" cy="1608361"/>
          </a:xfrm>
        </p:grpSpPr>
        <p:sp>
          <p:nvSpPr>
            <p:cNvPr id="3" name="Textfeld 2"/>
            <p:cNvSpPr txBox="1"/>
            <p:nvPr/>
          </p:nvSpPr>
          <p:spPr>
            <a:xfrm>
              <a:off x="2679836" y="2125029"/>
              <a:ext cx="903441" cy="43017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a:ln>
                    <a:noFill/>
                  </a:ln>
                  <a:solidFill>
                    <a:srgbClr val="000000"/>
                  </a:solidFill>
                  <a:effectLst/>
                  <a:uLnTx/>
                  <a:uFillTx/>
                  <a:latin typeface="Arial Narrow" pitchFamily="34" charset="0"/>
                  <a:ea typeface="+mn-ea"/>
                  <a:cs typeface="Arial" charset="0"/>
                </a:rPr>
                <a:t>SHT85</a:t>
              </a:r>
            </a:p>
          </p:txBody>
        </p:sp>
        <p:sp>
          <p:nvSpPr>
            <p:cNvPr id="94" name="Textfeld 93"/>
            <p:cNvSpPr txBox="1"/>
            <p:nvPr/>
          </p:nvSpPr>
          <p:spPr>
            <a:xfrm>
              <a:off x="2404228" y="3088125"/>
              <a:ext cx="1620402" cy="645265"/>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a:ln>
                    <a:noFill/>
                  </a:ln>
                  <a:solidFill>
                    <a:srgbClr val="000000"/>
                  </a:solidFill>
                  <a:effectLst/>
                  <a:uLnTx/>
                  <a:uFillTx/>
                  <a:latin typeface="Arial Narrow" pitchFamily="34" charset="0"/>
                  <a:ea typeface="+mn-ea"/>
                  <a:cs typeface="Arial" charset="0"/>
                </a:rPr>
                <a:t>2.4 – 5.5 V</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a:ln>
                    <a:noFill/>
                  </a:ln>
                  <a:solidFill>
                    <a:srgbClr val="000000"/>
                  </a:solidFill>
                  <a:effectLst/>
                  <a:uLnTx/>
                  <a:uFillTx/>
                  <a:latin typeface="Arial Narrow" pitchFamily="34" charset="0"/>
                  <a:ea typeface="+mn-ea"/>
                  <a:cs typeface="Arial" charset="0"/>
                </a:rPr>
                <a:t>I2C</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a:ln>
                    <a:noFill/>
                  </a:ln>
                  <a:solidFill>
                    <a:srgbClr val="000000"/>
                  </a:solidFill>
                  <a:effectLst/>
                  <a:uLnTx/>
                  <a:uFillTx/>
                  <a:latin typeface="Arial Narrow" pitchFamily="34" charset="0"/>
                  <a:ea typeface="+mn-ea"/>
                  <a:cs typeface="Arial" charset="0"/>
                </a:rPr>
                <a:t>~19.5 x 5.5 x 2.2-3.5 </a:t>
              </a:r>
              <a:r>
                <a:rPr kumimoji="0" lang="de-CH" sz="1100" b="0" i="0" u="none" strike="noStrike" kern="0" cap="none" spc="0" normalizeH="0" baseline="0" noProof="0">
                  <a:ln>
                    <a:noFill/>
                  </a:ln>
                  <a:solidFill>
                    <a:srgbClr val="000000"/>
                  </a:solidFill>
                  <a:effectLst/>
                  <a:uLnTx/>
                  <a:uFillTx/>
                  <a:latin typeface="Arial Narrow" pitchFamily="34" charset="0"/>
                  <a:ea typeface="+mn-ea"/>
                  <a:cs typeface="Arial" charset="0"/>
                </a:rPr>
                <a:t>mm</a:t>
              </a:r>
              <a:r>
                <a:rPr kumimoji="0" lang="de-CH" sz="1100" b="0" i="0" u="none" strike="noStrike" kern="0" cap="none" spc="0" normalizeH="0" baseline="30000" noProof="0">
                  <a:ln>
                    <a:noFill/>
                  </a:ln>
                  <a:solidFill>
                    <a:srgbClr val="000000"/>
                  </a:solidFill>
                  <a:effectLst/>
                  <a:uLnTx/>
                  <a:uFillTx/>
                  <a:latin typeface="Arial Narrow" pitchFamily="34" charset="0"/>
                  <a:ea typeface="+mn-ea"/>
                  <a:cs typeface="Arial" charset="0"/>
                </a:rPr>
                <a:t>3</a:t>
              </a:r>
            </a:p>
          </p:txBody>
        </p:sp>
      </p:grpSp>
      <p:grpSp>
        <p:nvGrpSpPr>
          <p:cNvPr id="4" name="Group 3">
            <a:extLst>
              <a:ext uri="{FF2B5EF4-FFF2-40B4-BE49-F238E27FC236}">
                <a16:creationId xmlns:a16="http://schemas.microsoft.com/office/drawing/2014/main" id="{1492E2A9-E322-4D89-8B07-14277EB90CF4}"/>
              </a:ext>
            </a:extLst>
          </p:cNvPr>
          <p:cNvGrpSpPr/>
          <p:nvPr/>
        </p:nvGrpSpPr>
        <p:grpSpPr>
          <a:xfrm>
            <a:off x="10017619" y="2212037"/>
            <a:ext cx="1228220" cy="1751096"/>
            <a:chOff x="10017619" y="2212037"/>
            <a:chExt cx="1228220" cy="1751096"/>
          </a:xfrm>
        </p:grpSpPr>
        <p:pic>
          <p:nvPicPr>
            <p:cNvPr id="11" name="Grafik 10"/>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85746" y="2723867"/>
              <a:ext cx="468516" cy="471806"/>
            </a:xfrm>
            <a:prstGeom prst="rect">
              <a:avLst/>
            </a:prstGeom>
          </p:spPr>
        </p:pic>
        <p:sp>
          <p:nvSpPr>
            <p:cNvPr id="54" name="Textfeld 53"/>
            <p:cNvSpPr txBox="1"/>
            <p:nvPr/>
          </p:nvSpPr>
          <p:spPr>
            <a:xfrm>
              <a:off x="10182224" y="2212037"/>
              <a:ext cx="875561" cy="400110"/>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a:ln>
                    <a:noFill/>
                  </a:ln>
                  <a:solidFill>
                    <a:srgbClr val="000000"/>
                  </a:solidFill>
                  <a:effectLst/>
                  <a:uLnTx/>
                  <a:uFillTx/>
                  <a:latin typeface="Arial Narrow" pitchFamily="34" charset="0"/>
                  <a:ea typeface="+mn-ea"/>
                  <a:cs typeface="Arial" charset="0"/>
                </a:rPr>
                <a:t>SHTC1</a:t>
              </a:r>
            </a:p>
          </p:txBody>
        </p:sp>
        <p:sp>
          <p:nvSpPr>
            <p:cNvPr id="97" name="Textfeld 96"/>
            <p:cNvSpPr txBox="1"/>
            <p:nvPr/>
          </p:nvSpPr>
          <p:spPr>
            <a:xfrm>
              <a:off x="10017619" y="3193692"/>
              <a:ext cx="1228220" cy="76944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a:ln>
                    <a:noFill/>
                  </a:ln>
                  <a:solidFill>
                    <a:srgbClr val="000000"/>
                  </a:solidFill>
                  <a:effectLst/>
                  <a:uLnTx/>
                  <a:uFillTx/>
                  <a:latin typeface="Arial Narrow" pitchFamily="34" charset="0"/>
                  <a:ea typeface="+mn-ea"/>
                  <a:cs typeface="Arial" charset="0"/>
                </a:rPr>
                <a:t>1.8 V</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a:ln>
                    <a:noFill/>
                  </a:ln>
                  <a:solidFill>
                    <a:srgbClr val="000000"/>
                  </a:solidFill>
                  <a:effectLst/>
                  <a:uLnTx/>
                  <a:uFillTx/>
                  <a:latin typeface="Arial Narrow" pitchFamily="34" charset="0"/>
                  <a:ea typeface="+mn-ea"/>
                  <a:cs typeface="Arial" charset="0"/>
                </a:rPr>
                <a:t>I2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a:ln>
                    <a:noFill/>
                  </a:ln>
                  <a:solidFill>
                    <a:srgbClr val="000000"/>
                  </a:solidFill>
                  <a:effectLst/>
                  <a:uLnTx/>
                  <a:uFillTx/>
                  <a:latin typeface="Arial Narrow" pitchFamily="34" charset="0"/>
                  <a:ea typeface="+mn-ea"/>
                  <a:cs typeface="Arial" charset="0"/>
                </a:rPr>
                <a:t>2 x 2 x 0.75 mm</a:t>
              </a:r>
              <a:r>
                <a:rPr kumimoji="0" lang="de-CH" sz="1100" b="0" i="0" u="none" strike="noStrike" kern="0" cap="none" spc="0" normalizeH="0" baseline="30000" noProof="0">
                  <a:ln>
                    <a:noFill/>
                  </a:ln>
                  <a:solidFill>
                    <a:srgbClr val="000000"/>
                  </a:solidFill>
                  <a:effectLst/>
                  <a:uLnTx/>
                  <a:uFillTx/>
                  <a:latin typeface="Arial Narrow" pitchFamily="34" charset="0"/>
                  <a:ea typeface="+mn-ea"/>
                  <a:cs typeface="Arial" charset="0"/>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a:ln>
                    <a:noFill/>
                  </a:ln>
                  <a:solidFill>
                    <a:srgbClr val="000000"/>
                  </a:solidFill>
                  <a:effectLst/>
                  <a:uLnTx/>
                  <a:uFillTx/>
                  <a:latin typeface="Arial Narrow" pitchFamily="34" charset="0"/>
                  <a:ea typeface="+mn-ea"/>
                  <a:cs typeface="Arial" charset="0"/>
                </a:rPr>
                <a:t>1.3 x 0.7 x 075 mm</a:t>
              </a:r>
              <a:r>
                <a:rPr kumimoji="0" lang="de-CH" sz="1100" b="0" i="0" u="none" strike="noStrike" kern="0" cap="none" spc="0" normalizeH="0" baseline="30000" noProof="0">
                  <a:ln>
                    <a:noFill/>
                  </a:ln>
                  <a:solidFill>
                    <a:srgbClr val="000000"/>
                  </a:solidFill>
                  <a:effectLst/>
                  <a:uLnTx/>
                  <a:uFillTx/>
                  <a:latin typeface="Arial Narrow" pitchFamily="34" charset="0"/>
                  <a:ea typeface="+mn-ea"/>
                  <a:cs typeface="Arial" charset="0"/>
                </a:rPr>
                <a:t>3</a:t>
              </a:r>
            </a:p>
          </p:txBody>
        </p:sp>
      </p:grpSp>
      <p:grpSp>
        <p:nvGrpSpPr>
          <p:cNvPr id="14" name="Group 13"/>
          <p:cNvGrpSpPr/>
          <p:nvPr/>
        </p:nvGrpSpPr>
        <p:grpSpPr>
          <a:xfrm>
            <a:off x="5219039" y="2215965"/>
            <a:ext cx="1635384" cy="1580141"/>
            <a:chOff x="5857479" y="2335471"/>
            <a:chExt cx="1635384" cy="1580141"/>
          </a:xfrm>
        </p:grpSpPr>
        <p:sp>
          <p:nvSpPr>
            <p:cNvPr id="98" name="Textfeld 97"/>
            <p:cNvSpPr txBox="1"/>
            <p:nvPr/>
          </p:nvSpPr>
          <p:spPr>
            <a:xfrm>
              <a:off x="6087232" y="3315448"/>
              <a:ext cx="1178528" cy="600164"/>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a:ln>
                    <a:noFill/>
                  </a:ln>
                  <a:solidFill>
                    <a:srgbClr val="000000"/>
                  </a:solidFill>
                  <a:effectLst/>
                  <a:uLnTx/>
                  <a:uFillTx/>
                  <a:latin typeface="Arial Narrow" pitchFamily="34" charset="0"/>
                  <a:ea typeface="+mn-ea"/>
                  <a:cs typeface="Arial" charset="0"/>
                </a:rPr>
                <a:t>2.4 – 5.5 V</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a:ln>
                    <a:noFill/>
                  </a:ln>
                  <a:solidFill>
                    <a:srgbClr val="000000"/>
                  </a:solidFill>
                  <a:effectLst/>
                  <a:uLnTx/>
                  <a:uFillTx/>
                  <a:latin typeface="Arial Narrow" pitchFamily="34" charset="0"/>
                  <a:ea typeface="+mn-ea"/>
                  <a:cs typeface="Arial" charset="0"/>
                </a:rPr>
                <a:t>I2C, analog </a:t>
              </a:r>
              <a:r>
                <a:rPr kumimoji="0" lang="de-CH" sz="1100" b="0" i="0" u="none" strike="noStrike" kern="1200" cap="none" spc="0" normalizeH="0" baseline="0" noProof="0" err="1">
                  <a:ln>
                    <a:noFill/>
                  </a:ln>
                  <a:solidFill>
                    <a:srgbClr val="000000"/>
                  </a:solidFill>
                  <a:effectLst/>
                  <a:uLnTx/>
                  <a:uFillTx/>
                  <a:latin typeface="Arial Narrow" pitchFamily="34" charset="0"/>
                  <a:ea typeface="+mn-ea"/>
                  <a:cs typeface="Arial" charset="0"/>
                </a:rPr>
                <a:t>voltage</a:t>
              </a:r>
              <a:endParaRPr kumimoji="0" lang="de-CH" sz="1100" b="0" i="0" u="none" strike="noStrike" kern="1200" cap="none" spc="0" normalizeH="0" baseline="0" noProof="0">
                <a:ln>
                  <a:noFill/>
                </a:ln>
                <a:solidFill>
                  <a:srgbClr val="000000"/>
                </a:solidFill>
                <a:effectLst/>
                <a:uLnTx/>
                <a:uFillTx/>
                <a:latin typeface="Arial Narrow"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0" cap="none" spc="0" normalizeH="0" baseline="0" noProof="0">
                  <a:ln>
                    <a:noFill/>
                  </a:ln>
                  <a:solidFill>
                    <a:srgbClr val="000000"/>
                  </a:solidFill>
                  <a:effectLst/>
                  <a:uLnTx/>
                  <a:uFillTx/>
                  <a:latin typeface="Arial Narrow" pitchFamily="34" charset="0"/>
                  <a:ea typeface="+mn-ea"/>
                  <a:cs typeface="Arial" charset="0"/>
                </a:rPr>
                <a:t>2.5 x 2.5 x 0.9 mm</a:t>
              </a:r>
              <a:r>
                <a:rPr kumimoji="0" lang="de-CH" sz="1100" b="0" i="0" u="none" strike="noStrike" kern="0" cap="none" spc="0" normalizeH="0" baseline="30000" noProof="0">
                  <a:ln>
                    <a:noFill/>
                  </a:ln>
                  <a:solidFill>
                    <a:srgbClr val="000000"/>
                  </a:solidFill>
                  <a:effectLst/>
                  <a:uLnTx/>
                  <a:uFillTx/>
                  <a:latin typeface="Arial Narrow" pitchFamily="34" charset="0"/>
                  <a:ea typeface="+mn-ea"/>
                  <a:cs typeface="Arial" charset="0"/>
                </a:rPr>
                <a:t>3</a:t>
              </a:r>
            </a:p>
          </p:txBody>
        </p:sp>
        <p:grpSp>
          <p:nvGrpSpPr>
            <p:cNvPr id="13" name="Group 12"/>
            <p:cNvGrpSpPr/>
            <p:nvPr/>
          </p:nvGrpSpPr>
          <p:grpSpPr>
            <a:xfrm>
              <a:off x="5857479" y="2335471"/>
              <a:ext cx="1635384" cy="1044852"/>
              <a:chOff x="5857479" y="2335471"/>
              <a:chExt cx="1635384" cy="1044852"/>
            </a:xfrm>
          </p:grpSpPr>
          <p:sp>
            <p:nvSpPr>
              <p:cNvPr id="40" name="Textfeld 39"/>
              <p:cNvSpPr txBox="1"/>
              <p:nvPr/>
            </p:nvSpPr>
            <p:spPr>
              <a:xfrm>
                <a:off x="5857479" y="2335471"/>
                <a:ext cx="1635384" cy="400110"/>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a:ln>
                      <a:noFill/>
                    </a:ln>
                    <a:solidFill>
                      <a:srgbClr val="000000"/>
                    </a:solidFill>
                    <a:effectLst/>
                    <a:uLnTx/>
                    <a:uFillTx/>
                    <a:latin typeface="Arial Narrow" pitchFamily="34" charset="0"/>
                    <a:ea typeface="+mn-ea"/>
                    <a:cs typeface="Arial" charset="0"/>
                  </a:rPr>
                  <a:t>SHT4x / STS4x</a:t>
                </a:r>
              </a:p>
            </p:txBody>
          </p:sp>
          <p:pic>
            <p:nvPicPr>
              <p:cNvPr id="86"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5996522" y="2843373"/>
                <a:ext cx="533187" cy="536950"/>
              </a:xfrm>
              <a:prstGeom prst="rect">
                <a:avLst/>
              </a:prstGeom>
              <a:noFill/>
              <a:ln>
                <a:noFill/>
              </a:ln>
            </p:spPr>
          </p:pic>
          <p:pic>
            <p:nvPicPr>
              <p:cNvPr id="90" name="Picture 2"/>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776541" y="2868390"/>
                <a:ext cx="481680" cy="4869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49" name="Textfeld 48"/>
          <p:cNvSpPr txBox="1"/>
          <p:nvPr/>
        </p:nvSpPr>
        <p:spPr>
          <a:xfrm>
            <a:off x="7586106" y="1516607"/>
            <a:ext cx="458780"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800" b="0" i="0" u="none" strike="noStrike" kern="1200" cap="none" spc="0" normalizeH="0" baseline="0" noProof="0">
                <a:ln>
                  <a:noFill/>
                </a:ln>
                <a:solidFill>
                  <a:srgbClr val="000000"/>
                </a:solidFill>
                <a:effectLst/>
                <a:uLnTx/>
                <a:uFillTx/>
                <a:latin typeface="Arial Narrow" pitchFamily="34" charset="0"/>
                <a:ea typeface="+mn-ea"/>
                <a:cs typeface="Arial" charset="0"/>
              </a:rPr>
              <a:t>IoT</a:t>
            </a:r>
          </a:p>
        </p:txBody>
      </p:sp>
      <p:pic>
        <p:nvPicPr>
          <p:cNvPr id="50" name="Grafik 49"/>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503609" y="4714923"/>
            <a:ext cx="514861" cy="514861"/>
          </a:xfrm>
          <a:prstGeom prst="rect">
            <a:avLst/>
          </a:prstGeom>
        </p:spPr>
      </p:pic>
      <p:pic>
        <p:nvPicPr>
          <p:cNvPr id="51" name="Grafik 5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835005" y="4667566"/>
            <a:ext cx="600906" cy="562218"/>
          </a:xfrm>
          <a:prstGeom prst="rect">
            <a:avLst/>
          </a:prstGeom>
        </p:spPr>
      </p:pic>
      <p:sp>
        <p:nvSpPr>
          <p:cNvPr id="2" name="Title 1"/>
          <p:cNvSpPr>
            <a:spLocks noGrp="1"/>
          </p:cNvSpPr>
          <p:nvPr>
            <p:ph type="title"/>
          </p:nvPr>
        </p:nvSpPr>
        <p:spPr/>
        <p:txBody>
          <a:bodyPr>
            <a:normAutofit/>
          </a:bodyPr>
          <a:lstStyle/>
          <a:p>
            <a:r>
              <a:rPr lang="en-US" kern="0">
                <a:latin typeface="Arial Narrow"/>
              </a:rPr>
              <a:t>4</a:t>
            </a:r>
            <a:r>
              <a:rPr lang="en-US" kern="0" baseline="30000">
                <a:latin typeface="Arial Narrow"/>
              </a:rPr>
              <a:t>th-</a:t>
            </a:r>
            <a:r>
              <a:rPr lang="en-US" kern="0">
                <a:latin typeface="Arial Narrow"/>
              </a:rPr>
              <a:t>Generation RH/T Sensor Product Portfolio</a:t>
            </a:r>
            <a:endParaRPr lang="de-CH"/>
          </a:p>
        </p:txBody>
      </p:sp>
      <p:sp>
        <p:nvSpPr>
          <p:cNvPr id="52" name="Abgerundetes Rechteck 51"/>
          <p:cNvSpPr/>
          <p:nvPr/>
        </p:nvSpPr>
        <p:spPr>
          <a:xfrm>
            <a:off x="8454660" y="4269917"/>
            <a:ext cx="1346483" cy="215694"/>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SHTC3</a:t>
            </a:r>
            <a:endParaRPr kumimoji="0" lang="de-CH" sz="1400" b="0" i="0" u="none" strike="noStrike" kern="1200" cap="none" spc="0" normalizeH="0" baseline="0" noProof="0">
              <a:ln>
                <a:noFill/>
              </a:ln>
              <a:solidFill>
                <a:srgbClr val="000000">
                  <a:lumMod val="50000"/>
                  <a:lumOff val="50000"/>
                </a:srgbClr>
              </a:solidFill>
              <a:effectLst/>
              <a:uLnTx/>
              <a:uFillTx/>
              <a:latin typeface="Arial Narrow"/>
              <a:ea typeface="+mn-ea"/>
              <a:cs typeface="+mn-cs"/>
            </a:endParaRPr>
          </a:p>
        </p:txBody>
      </p:sp>
      <p:pic>
        <p:nvPicPr>
          <p:cNvPr id="53" name="Grafik 52"/>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00091" y="2765004"/>
            <a:ext cx="455622" cy="458821"/>
          </a:xfrm>
          <a:prstGeom prst="rect">
            <a:avLst/>
          </a:prstGeom>
        </p:spPr>
      </p:pic>
      <p:sp>
        <p:nvSpPr>
          <p:cNvPr id="56" name="Textfeld 55"/>
          <p:cNvSpPr txBox="1"/>
          <p:nvPr/>
        </p:nvSpPr>
        <p:spPr>
          <a:xfrm>
            <a:off x="8660393" y="2219472"/>
            <a:ext cx="87556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0" cap="none" spc="0" normalizeH="0" baseline="0" noProof="0">
                <a:ln>
                  <a:noFill/>
                </a:ln>
                <a:solidFill>
                  <a:srgbClr val="000000"/>
                </a:solidFill>
                <a:effectLst/>
                <a:uLnTx/>
                <a:uFillTx/>
                <a:latin typeface="Arial Narrow" pitchFamily="34" charset="0"/>
                <a:ea typeface="+mn-ea"/>
                <a:cs typeface="Arial" charset="0"/>
              </a:rPr>
              <a:t>SHTC3</a:t>
            </a:r>
            <a:endParaRPr kumimoji="0" lang="de-CH" sz="2000" b="0" i="0" u="none" strike="noStrike" kern="0" cap="none" spc="0" normalizeH="0" baseline="0" noProof="0">
              <a:ln>
                <a:noFill/>
              </a:ln>
              <a:solidFill>
                <a:srgbClr val="FFFFFF">
                  <a:lumMod val="75000"/>
                </a:srgbClr>
              </a:solidFill>
              <a:effectLst/>
              <a:uLnTx/>
              <a:uFillTx/>
              <a:latin typeface="Arial Narrow" pitchFamily="34" charset="0"/>
              <a:ea typeface="+mn-ea"/>
              <a:cs typeface="Arial" charset="0"/>
            </a:endParaRPr>
          </a:p>
        </p:txBody>
      </p:sp>
      <p:sp>
        <p:nvSpPr>
          <p:cNvPr id="57" name="Textfeld 56"/>
          <p:cNvSpPr txBox="1"/>
          <p:nvPr/>
        </p:nvSpPr>
        <p:spPr>
          <a:xfrm>
            <a:off x="8569943" y="3205025"/>
            <a:ext cx="1069525" cy="6001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a:ln>
                  <a:noFill/>
                </a:ln>
                <a:solidFill>
                  <a:srgbClr val="000000"/>
                </a:solidFill>
                <a:effectLst/>
                <a:uLnTx/>
                <a:uFillTx/>
                <a:latin typeface="Arial Narrow" pitchFamily="34" charset="0"/>
                <a:ea typeface="+mn-ea"/>
                <a:cs typeface="Arial" charset="0"/>
              </a:rPr>
              <a:t>1.6 – 3.6 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a:ln>
                  <a:noFill/>
                </a:ln>
                <a:solidFill>
                  <a:srgbClr val="000000"/>
                </a:solidFill>
                <a:effectLst/>
                <a:uLnTx/>
                <a:uFillTx/>
                <a:latin typeface="Arial Narrow" pitchFamily="34" charset="0"/>
                <a:ea typeface="+mn-ea"/>
                <a:cs typeface="Arial" charset="0"/>
              </a:rPr>
              <a:t>I2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a:ln>
                  <a:noFill/>
                </a:ln>
                <a:solidFill>
                  <a:srgbClr val="000000"/>
                </a:solidFill>
                <a:effectLst/>
                <a:uLnTx/>
                <a:uFillTx/>
                <a:latin typeface="Arial Narrow" pitchFamily="34" charset="0"/>
                <a:ea typeface="+mn-ea"/>
                <a:cs typeface="Arial" charset="0"/>
              </a:rPr>
              <a:t>2 x 2 x 0.75 mm</a:t>
            </a:r>
            <a:r>
              <a:rPr kumimoji="0" lang="de-CH" sz="1100" b="0" i="0" u="none" strike="noStrike" kern="0" cap="none" spc="0" normalizeH="0" baseline="30000" noProof="0">
                <a:ln>
                  <a:noFill/>
                </a:ln>
                <a:solidFill>
                  <a:srgbClr val="000000"/>
                </a:solidFill>
                <a:effectLst/>
                <a:uLnTx/>
                <a:uFillTx/>
                <a:latin typeface="Arial Narrow" pitchFamily="34" charset="0"/>
                <a:ea typeface="+mn-ea"/>
                <a:cs typeface="Arial" charset="0"/>
              </a:rPr>
              <a:t>3</a:t>
            </a:r>
          </a:p>
        </p:txBody>
      </p:sp>
      <p:grpSp>
        <p:nvGrpSpPr>
          <p:cNvPr id="69" name="Group 68"/>
          <p:cNvGrpSpPr/>
          <p:nvPr/>
        </p:nvGrpSpPr>
        <p:grpSpPr>
          <a:xfrm flipH="1">
            <a:off x="2647549" y="2568423"/>
            <a:ext cx="837787" cy="608403"/>
            <a:chOff x="7395365" y="1599183"/>
            <a:chExt cx="4519729" cy="3033624"/>
          </a:xfrm>
        </p:grpSpPr>
        <p:pic>
          <p:nvPicPr>
            <p:cNvPr id="75" name="Picture 74"/>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474473" y="1599183"/>
              <a:ext cx="4440621" cy="3033624"/>
            </a:xfrm>
            <a:prstGeom prst="rect">
              <a:avLst/>
            </a:prstGeom>
          </p:spPr>
        </p:pic>
        <p:sp>
          <p:nvSpPr>
            <p:cNvPr id="76" name="Parallelogram 75"/>
            <p:cNvSpPr/>
            <p:nvPr/>
          </p:nvSpPr>
          <p:spPr>
            <a:xfrm rot="2194315">
              <a:off x="7934103" y="1752476"/>
              <a:ext cx="554806" cy="430426"/>
            </a:xfrm>
            <a:prstGeom prst="parallelogram">
              <a:avLst>
                <a:gd name="adj" fmla="val 36918"/>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77" name="Parallelogram 76"/>
            <p:cNvSpPr/>
            <p:nvPr/>
          </p:nvSpPr>
          <p:spPr>
            <a:xfrm rot="13002623" flipV="1">
              <a:off x="7395365" y="2395828"/>
              <a:ext cx="956830" cy="90029"/>
            </a:xfrm>
            <a:prstGeom prst="parallelogram">
              <a:avLst>
                <a:gd name="adj" fmla="val 91804"/>
              </a:avLst>
            </a:prstGeom>
            <a:solidFill>
              <a:srgbClr val="EEB832">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C000"/>
                </a:solidFill>
                <a:effectLst/>
                <a:uLnTx/>
                <a:uFillTx/>
                <a:latin typeface="Arial Narrow"/>
                <a:ea typeface="+mn-ea"/>
                <a:cs typeface="+mn-cs"/>
              </a:endParaRPr>
            </a:p>
          </p:txBody>
        </p:sp>
      </p:grpSp>
      <p:sp>
        <p:nvSpPr>
          <p:cNvPr id="78" name="Abgerundetes Rechteck 73"/>
          <p:cNvSpPr/>
          <p:nvPr/>
        </p:nvSpPr>
        <p:spPr>
          <a:xfrm>
            <a:off x="2599539" y="5219683"/>
            <a:ext cx="1017741" cy="215694"/>
          </a:xfrm>
          <a:prstGeom prst="roundRect">
            <a:avLst/>
          </a:prstGeom>
          <a:solidFill>
            <a:srgbClr val="7CD351"/>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Narrow"/>
                <a:ea typeface="+mn-ea"/>
                <a:cs typeface="+mn-cs"/>
              </a:rPr>
              <a:t>Membrane</a:t>
            </a:r>
          </a:p>
        </p:txBody>
      </p:sp>
      <p:pic>
        <p:nvPicPr>
          <p:cNvPr id="73" name="Inhaltsplatzhalter 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142673" y="5600575"/>
            <a:ext cx="730980" cy="548235"/>
          </a:xfrm>
          <a:prstGeom prst="rect">
            <a:avLst/>
          </a:prstGeom>
        </p:spPr>
      </p:pic>
      <p:sp>
        <p:nvSpPr>
          <p:cNvPr id="6" name="Abgerundetes Rechteck 5"/>
          <p:cNvSpPr/>
          <p:nvPr/>
        </p:nvSpPr>
        <p:spPr>
          <a:xfrm>
            <a:off x="2420471" y="2248806"/>
            <a:ext cx="1402224" cy="1864453"/>
          </a:xfrm>
          <a:prstGeom prst="round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80" name="Abgerundetes Rechteck 79"/>
          <p:cNvSpPr/>
          <p:nvPr/>
        </p:nvSpPr>
        <p:spPr>
          <a:xfrm>
            <a:off x="8400448" y="2196716"/>
            <a:ext cx="1437638" cy="2469803"/>
          </a:xfrm>
          <a:prstGeom prst="round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81" name="Abgerundetes Rechteck 80"/>
          <p:cNvSpPr/>
          <p:nvPr/>
        </p:nvSpPr>
        <p:spPr>
          <a:xfrm>
            <a:off x="2470162" y="5524977"/>
            <a:ext cx="9083406" cy="641782"/>
          </a:xfrm>
          <a:prstGeom prst="round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Arial Narrow"/>
              <a:ea typeface="+mn-ea"/>
              <a:cs typeface="+mn-cs"/>
            </a:endParaRPr>
          </a:p>
        </p:txBody>
      </p:sp>
      <p:sp>
        <p:nvSpPr>
          <p:cNvPr id="71" name="Oval 70">
            <a:extLst>
              <a:ext uri="{FF2B5EF4-FFF2-40B4-BE49-F238E27FC236}">
                <a16:creationId xmlns:a16="http://schemas.microsoft.com/office/drawing/2014/main" id="{C5B3DBE8-1308-467C-8656-F1C55E0973EA}"/>
              </a:ext>
            </a:extLst>
          </p:cNvPr>
          <p:cNvSpPr/>
          <p:nvPr/>
        </p:nvSpPr>
        <p:spPr>
          <a:xfrm>
            <a:off x="4948707" y="1902899"/>
            <a:ext cx="2111730" cy="1933311"/>
          </a:xfrm>
          <a:prstGeom prst="ellipse">
            <a:avLst/>
          </a:prstGeom>
          <a:noFill/>
          <a:ln w="38100">
            <a:solidFill>
              <a:srgbClr val="B419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26345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75736" y="940978"/>
            <a:ext cx="7782352" cy="5328000"/>
          </a:xfrm>
        </p:spPr>
        <p:txBody>
          <a:bodyPr/>
          <a:lstStyle/>
          <a:p>
            <a:pPr lvl="1">
              <a:spcBef>
                <a:spcPts val="1800"/>
              </a:spcBef>
            </a:pPr>
            <a:r>
              <a:rPr lang="en-US" sz="1600" b="1"/>
              <a:t>100% calibrated</a:t>
            </a:r>
            <a:endParaRPr lang="en-US" sz="1600" b="1" baseline="30000"/>
          </a:p>
          <a:p>
            <a:pPr marL="0" lvl="1" indent="0">
              <a:buNone/>
            </a:pPr>
            <a:r>
              <a:rPr lang="en-US" sz="1600" b="1">
                <a:solidFill>
                  <a:schemeClr val="accent1"/>
                </a:solidFill>
              </a:rPr>
              <a:t>	</a:t>
            </a:r>
            <a:r>
              <a:rPr lang="en-US" sz="1600" b="1">
                <a:solidFill>
                  <a:schemeClr val="accent1"/>
                </a:solidFill>
                <a:sym typeface="Wingdings" panose="05000000000000000000" pitchFamily="2" charset="2"/>
              </a:rPr>
              <a:t> Unparalleled accuracy and precision</a:t>
            </a:r>
          </a:p>
          <a:p>
            <a:pPr marL="0" lvl="1" indent="0">
              <a:buNone/>
            </a:pPr>
            <a:endParaRPr lang="en-US" sz="1600" b="1">
              <a:solidFill>
                <a:schemeClr val="accent1"/>
              </a:solidFill>
              <a:sym typeface="Wingdings" panose="05000000000000000000" pitchFamily="2" charset="2"/>
            </a:endParaRPr>
          </a:p>
          <a:p>
            <a:pPr lvl="1"/>
            <a:r>
              <a:rPr lang="en-US" sz="1600" b="1">
                <a:cs typeface="Arial" charset="0"/>
              </a:rPr>
              <a:t>Available in a variety of form factors, with protective membranes  and covers</a:t>
            </a:r>
            <a:endParaRPr lang="en-US" sz="1600" b="1"/>
          </a:p>
          <a:p>
            <a:pPr marL="0" lvl="1" indent="0">
              <a:buNone/>
            </a:pPr>
            <a:r>
              <a:rPr lang="en-US" sz="1600">
                <a:sym typeface="Wingdings" panose="05000000000000000000" pitchFamily="2" charset="2"/>
              </a:rPr>
              <a:t>	</a:t>
            </a:r>
            <a:r>
              <a:rPr lang="en-US" sz="1600" b="1">
                <a:solidFill>
                  <a:schemeClr val="accent1"/>
                </a:solidFill>
                <a:sym typeface="Wingdings" panose="05000000000000000000" pitchFamily="2" charset="2"/>
              </a:rPr>
              <a:t> </a:t>
            </a:r>
            <a:r>
              <a:rPr lang="en-US" sz="1600" b="1">
                <a:solidFill>
                  <a:schemeClr val="accent1"/>
                </a:solidFill>
              </a:rPr>
              <a:t>Versatile solutions</a:t>
            </a:r>
          </a:p>
          <a:p>
            <a:pPr lvl="1">
              <a:spcBef>
                <a:spcPts val="3000"/>
              </a:spcBef>
            </a:pPr>
            <a:r>
              <a:rPr lang="en-US" sz="1600" b="1"/>
              <a:t>Highest volume in the market, trusted for 15+ years</a:t>
            </a:r>
          </a:p>
          <a:p>
            <a:pPr marL="0" lvl="1" indent="0">
              <a:buNone/>
            </a:pPr>
            <a:r>
              <a:rPr lang="en-US" sz="1600">
                <a:solidFill>
                  <a:schemeClr val="accent1"/>
                </a:solidFill>
                <a:sym typeface="Wingdings" panose="05000000000000000000" pitchFamily="2" charset="2"/>
              </a:rPr>
              <a:t>	</a:t>
            </a:r>
            <a:r>
              <a:rPr lang="en-US" sz="1600" b="1">
                <a:solidFill>
                  <a:schemeClr val="accent1"/>
                </a:solidFill>
                <a:sym typeface="Wingdings" panose="05000000000000000000" pitchFamily="2" charset="2"/>
              </a:rPr>
              <a:t> </a:t>
            </a:r>
            <a:r>
              <a:rPr lang="en-US" sz="1600" b="1">
                <a:solidFill>
                  <a:schemeClr val="accent1"/>
                </a:solidFill>
              </a:rPr>
              <a:t>Lowest total cost, unmatched reliability and reputation</a:t>
            </a:r>
          </a:p>
          <a:p>
            <a:pPr lvl="1">
              <a:spcBef>
                <a:spcPts val="3000"/>
              </a:spcBef>
            </a:pPr>
            <a:r>
              <a:rPr lang="en-US" sz="1600" b="1"/>
              <a:t>Temperature Compensation Engine</a:t>
            </a:r>
          </a:p>
          <a:p>
            <a:pPr marL="504000" lvl="2" indent="0">
              <a:buNone/>
            </a:pPr>
            <a:r>
              <a:rPr lang="en-US" sz="1600">
                <a:solidFill>
                  <a:schemeClr val="accent1"/>
                </a:solidFill>
                <a:sym typeface="Wingdings" panose="05000000000000000000" pitchFamily="2" charset="2"/>
              </a:rPr>
              <a:t>	</a:t>
            </a:r>
            <a:r>
              <a:rPr lang="en-US" sz="1600" b="1">
                <a:solidFill>
                  <a:schemeClr val="accent1"/>
                </a:solidFill>
                <a:sym typeface="Wingdings" panose="05000000000000000000" pitchFamily="2" charset="2"/>
              </a:rPr>
              <a:t> </a:t>
            </a:r>
            <a:r>
              <a:rPr lang="en-US" sz="1600" b="1">
                <a:solidFill>
                  <a:schemeClr val="accent1"/>
                </a:solidFill>
              </a:rPr>
              <a:t>Independent of heating from surrounding board elements</a:t>
            </a:r>
          </a:p>
          <a:p>
            <a:pPr marL="504000" lvl="2" indent="0">
              <a:buNone/>
            </a:pPr>
            <a:r>
              <a:rPr lang="en-US" sz="1600" b="1">
                <a:solidFill>
                  <a:schemeClr val="accent1"/>
                </a:solidFill>
                <a:sym typeface="Wingdings" panose="05000000000000000000" pitchFamily="2" charset="2"/>
              </a:rPr>
              <a:t>	 Best performance and stability </a:t>
            </a:r>
            <a:endParaRPr lang="en-US" sz="1600" b="1">
              <a:solidFill>
                <a:schemeClr val="accent1"/>
              </a:solidFill>
            </a:endParaRPr>
          </a:p>
          <a:p>
            <a:pPr lvl="1">
              <a:spcBef>
                <a:spcPts val="3000"/>
              </a:spcBef>
            </a:pPr>
            <a:r>
              <a:rPr lang="en-US" sz="1600" b="1"/>
              <a:t>Powerful Internal Heater (NEW to SHT4x)</a:t>
            </a:r>
          </a:p>
          <a:p>
            <a:pPr marL="504000" lvl="2" indent="0">
              <a:buNone/>
            </a:pPr>
            <a:r>
              <a:rPr lang="en-US" sz="1600">
                <a:solidFill>
                  <a:schemeClr val="accent1"/>
                </a:solidFill>
                <a:sym typeface="Wingdings" panose="05000000000000000000" pitchFamily="2" charset="2"/>
              </a:rPr>
              <a:t>	</a:t>
            </a:r>
            <a:r>
              <a:rPr lang="en-US" sz="1600" b="1">
                <a:solidFill>
                  <a:schemeClr val="accent1"/>
                </a:solidFill>
                <a:sym typeface="Wingdings" panose="05000000000000000000" pitchFamily="2" charset="2"/>
              </a:rPr>
              <a:t> Allows for decontamination in-service</a:t>
            </a:r>
            <a:endParaRPr lang="en-US" sz="1600" b="1">
              <a:solidFill>
                <a:schemeClr val="accent1"/>
              </a:solidFill>
            </a:endParaRPr>
          </a:p>
          <a:p>
            <a:pPr marL="504000" lvl="2" indent="0">
              <a:buNone/>
            </a:pPr>
            <a:r>
              <a:rPr lang="en-US" sz="1600" b="1">
                <a:solidFill>
                  <a:schemeClr val="accent1"/>
                </a:solidFill>
                <a:sym typeface="Wingdings" panose="05000000000000000000" pitchFamily="2" charset="2"/>
              </a:rPr>
              <a:t>	</a:t>
            </a:r>
            <a:endParaRPr lang="en-US" sz="1600">
              <a:solidFill>
                <a:schemeClr val="accent1"/>
              </a:solidFill>
            </a:endParaRPr>
          </a:p>
        </p:txBody>
      </p:sp>
      <p:sp>
        <p:nvSpPr>
          <p:cNvPr id="2" name="Titel 1"/>
          <p:cNvSpPr>
            <a:spLocks noGrp="1"/>
          </p:cNvSpPr>
          <p:nvPr>
            <p:ph type="title"/>
          </p:nvPr>
        </p:nvSpPr>
        <p:spPr/>
        <p:txBody>
          <a:bodyPr/>
          <a:lstStyle/>
          <a:p>
            <a:r>
              <a:rPr lang="en-US"/>
              <a:t>SHT4x / STS4x – Key Selling Points</a:t>
            </a:r>
          </a:p>
        </p:txBody>
      </p:sp>
      <p:pic>
        <p:nvPicPr>
          <p:cNvPr id="6" name="Picture 5">
            <a:extLst>
              <a:ext uri="{FF2B5EF4-FFF2-40B4-BE49-F238E27FC236}">
                <a16:creationId xmlns:a16="http://schemas.microsoft.com/office/drawing/2014/main" id="{8BF7429C-08C1-BF84-4543-D36692DDFDF4}"/>
              </a:ext>
            </a:extLst>
          </p:cNvPr>
          <p:cNvPicPr>
            <a:picLocks noChangeAspect="1"/>
          </p:cNvPicPr>
          <p:nvPr/>
        </p:nvPicPr>
        <p:blipFill>
          <a:blip r:embed="rId3"/>
          <a:stretch>
            <a:fillRect/>
          </a:stretch>
        </p:blipFill>
        <p:spPr>
          <a:xfrm>
            <a:off x="8348356" y="1274020"/>
            <a:ext cx="2660834" cy="2161928"/>
          </a:xfrm>
          <a:prstGeom prst="rect">
            <a:avLst/>
          </a:prstGeom>
        </p:spPr>
      </p:pic>
      <p:pic>
        <p:nvPicPr>
          <p:cNvPr id="11" name="Picture 10">
            <a:extLst>
              <a:ext uri="{FF2B5EF4-FFF2-40B4-BE49-F238E27FC236}">
                <a16:creationId xmlns:a16="http://schemas.microsoft.com/office/drawing/2014/main" id="{DB830D19-BE1B-2E6A-DD5C-0714E40D6698}"/>
              </a:ext>
            </a:extLst>
          </p:cNvPr>
          <p:cNvPicPr>
            <a:picLocks noChangeAspect="1"/>
          </p:cNvPicPr>
          <p:nvPr/>
        </p:nvPicPr>
        <p:blipFill>
          <a:blip r:embed="rId4"/>
          <a:stretch>
            <a:fillRect/>
          </a:stretch>
        </p:blipFill>
        <p:spPr>
          <a:xfrm>
            <a:off x="8005760" y="3911898"/>
            <a:ext cx="3346027" cy="2038857"/>
          </a:xfrm>
          <a:prstGeom prst="rect">
            <a:avLst/>
          </a:prstGeom>
        </p:spPr>
      </p:pic>
    </p:spTree>
    <p:extLst>
      <p:ext uri="{BB962C8B-B14F-4D97-AF65-F5344CB8AC3E}">
        <p14:creationId xmlns:p14="http://schemas.microsoft.com/office/powerpoint/2010/main" val="31245383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CB4E7B-5265-9D57-2726-887FB753EB3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950B1-C7CF-425D-9A48-9AE722F4F236}" type="slidenum">
              <a:rPr kumimoji="0" lang="de-CH" sz="1100" b="0" i="0" u="none" strike="noStrike" kern="1200" cap="none" spc="0" normalizeH="0" baseline="0" noProof="0" smtClean="0">
                <a:ln>
                  <a:noFill/>
                </a:ln>
                <a:solidFill>
                  <a:srgbClr val="000000"/>
                </a:solidFill>
                <a:effectLst/>
                <a:uLnTx/>
                <a:uFillTx/>
                <a:latin typeface="Arial Narrow"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de-CH" sz="1100" b="0" i="0" u="none" strike="noStrike" kern="1200" cap="none" spc="0" normalizeH="0" baseline="0" noProof="0" dirty="0">
              <a:ln>
                <a:noFill/>
              </a:ln>
              <a:solidFill>
                <a:srgbClr val="000000"/>
              </a:solidFill>
              <a:effectLst/>
              <a:uLnTx/>
              <a:uFillTx/>
              <a:latin typeface="Arial Narrow" pitchFamily="34" charset="0"/>
              <a:ea typeface="+mn-ea"/>
              <a:cs typeface="Arial" charset="0"/>
            </a:endParaRPr>
          </a:p>
        </p:txBody>
      </p:sp>
      <p:sp>
        <p:nvSpPr>
          <p:cNvPr id="8" name="TextBox 7">
            <a:extLst>
              <a:ext uri="{FF2B5EF4-FFF2-40B4-BE49-F238E27FC236}">
                <a16:creationId xmlns:a16="http://schemas.microsoft.com/office/drawing/2014/main" id="{8DD8E5F4-60F9-059D-F9C0-E9CFD87BA877}"/>
              </a:ext>
            </a:extLst>
          </p:cNvPr>
          <p:cNvSpPr txBox="1"/>
          <p:nvPr/>
        </p:nvSpPr>
        <p:spPr>
          <a:xfrm>
            <a:off x="834464" y="2236321"/>
            <a:ext cx="10881505" cy="1862048"/>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500" b="0" i="0" u="none" strike="noStrike" kern="1200" cap="none" spc="0" normalizeH="0" baseline="0" noProof="0" dirty="0">
                <a:ln>
                  <a:noFill/>
                </a:ln>
                <a:solidFill>
                  <a:srgbClr val="66CC33"/>
                </a:solidFill>
                <a:effectLst/>
                <a:uLnTx/>
                <a:uFillTx/>
                <a:latin typeface="Arial Narrow" pitchFamily="34" charset="0"/>
                <a:ea typeface="+mn-ea"/>
                <a:cs typeface="Arial" charset="0"/>
              </a:rPr>
              <a:t>Cold Chain Solution</a:t>
            </a:r>
          </a:p>
        </p:txBody>
      </p:sp>
      <p:sp>
        <p:nvSpPr>
          <p:cNvPr id="9" name="TextBox 8">
            <a:extLst>
              <a:ext uri="{FF2B5EF4-FFF2-40B4-BE49-F238E27FC236}">
                <a16:creationId xmlns:a16="http://schemas.microsoft.com/office/drawing/2014/main" id="{8BDD7560-0858-CCB7-9D3E-97E6D54C5FBD}"/>
              </a:ext>
            </a:extLst>
          </p:cNvPr>
          <p:cNvSpPr txBox="1"/>
          <p:nvPr/>
        </p:nvSpPr>
        <p:spPr>
          <a:xfrm>
            <a:off x="4043082" y="4235823"/>
            <a:ext cx="3948517" cy="1862048"/>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500" b="0" i="0" u="none" strike="noStrike" kern="1200" cap="none" spc="0" normalizeH="0" baseline="0" noProof="0" dirty="0">
                <a:ln>
                  <a:noFill/>
                </a:ln>
                <a:solidFill>
                  <a:srgbClr val="66CC33"/>
                </a:solidFill>
                <a:effectLst/>
                <a:uLnTx/>
                <a:uFillTx/>
                <a:latin typeface="Arial Narrow" pitchFamily="34" charset="0"/>
                <a:ea typeface="+mn-ea"/>
                <a:cs typeface="Arial" charset="0"/>
              </a:rPr>
              <a:t>SHT43</a:t>
            </a:r>
          </a:p>
        </p:txBody>
      </p:sp>
      <p:sp>
        <p:nvSpPr>
          <p:cNvPr id="2" name="TextBox 1">
            <a:extLst>
              <a:ext uri="{FF2B5EF4-FFF2-40B4-BE49-F238E27FC236}">
                <a16:creationId xmlns:a16="http://schemas.microsoft.com/office/drawing/2014/main" id="{AEC146C4-E918-6DE3-9503-7222C7016C63}"/>
              </a:ext>
            </a:extLst>
          </p:cNvPr>
          <p:cNvSpPr txBox="1"/>
          <p:nvPr/>
        </p:nvSpPr>
        <p:spPr>
          <a:xfrm>
            <a:off x="2438400" y="476255"/>
            <a:ext cx="6833922" cy="1862048"/>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500" b="0" i="0" u="none" strike="noStrike" kern="1200" cap="none" spc="0" normalizeH="0" baseline="0" noProof="0" dirty="0">
                <a:ln>
                  <a:noFill/>
                </a:ln>
                <a:solidFill>
                  <a:srgbClr val="66CC33"/>
                </a:solidFill>
                <a:effectLst/>
                <a:uLnTx/>
                <a:uFillTx/>
                <a:latin typeface="Arial Narrow" pitchFamily="34" charset="0"/>
                <a:ea typeface="+mn-ea"/>
                <a:cs typeface="Arial" charset="0"/>
              </a:rPr>
              <a:t>SENSIRION</a:t>
            </a:r>
          </a:p>
        </p:txBody>
      </p:sp>
    </p:spTree>
    <p:extLst>
      <p:ext uri="{BB962C8B-B14F-4D97-AF65-F5344CB8AC3E}">
        <p14:creationId xmlns:p14="http://schemas.microsoft.com/office/powerpoint/2010/main" val="1980195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2"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80A8D-9FCE-A1F1-F31B-DAE49D0DBAF0}"/>
              </a:ext>
            </a:extLst>
          </p:cNvPr>
          <p:cNvSpPr>
            <a:spLocks noGrp="1"/>
          </p:cNvSpPr>
          <p:nvPr>
            <p:ph type="title"/>
          </p:nvPr>
        </p:nvSpPr>
        <p:spPr>
          <a:xfrm>
            <a:off x="215561" y="463955"/>
            <a:ext cx="11136653" cy="325448"/>
          </a:xfrm>
        </p:spPr>
        <p:txBody>
          <a:bodyPr/>
          <a:lstStyle/>
          <a:p>
            <a:r>
              <a:rPr lang="en-US" dirty="0"/>
              <a:t>Cold Chain Certification</a:t>
            </a:r>
          </a:p>
        </p:txBody>
      </p:sp>
      <p:sp>
        <p:nvSpPr>
          <p:cNvPr id="3" name="Content Placeholder 2">
            <a:extLst>
              <a:ext uri="{FF2B5EF4-FFF2-40B4-BE49-F238E27FC236}">
                <a16:creationId xmlns:a16="http://schemas.microsoft.com/office/drawing/2014/main" id="{22284153-EF68-1552-60BD-4F52A08A8B5C}"/>
              </a:ext>
            </a:extLst>
          </p:cNvPr>
          <p:cNvSpPr>
            <a:spLocks noGrp="1"/>
          </p:cNvSpPr>
          <p:nvPr>
            <p:ph idx="1"/>
          </p:nvPr>
        </p:nvSpPr>
        <p:spPr>
          <a:xfrm>
            <a:off x="215561" y="928687"/>
            <a:ext cx="9183297" cy="5328000"/>
          </a:xfrm>
        </p:spPr>
        <p:txBody>
          <a:bodyPr/>
          <a:lstStyle/>
          <a:p>
            <a:r>
              <a:rPr lang="en-US" sz="2400" i="0" dirty="0">
                <a:solidFill>
                  <a:srgbClr val="424242"/>
                </a:solidFill>
                <a:effectLst/>
                <a:latin typeface="Roboto" panose="02000000000000000000" pitchFamily="2" charset="0"/>
              </a:rPr>
              <a:t>What is Cold Chain?</a:t>
            </a:r>
          </a:p>
          <a:p>
            <a:endParaRPr lang="en-US" sz="2400" dirty="0">
              <a:solidFill>
                <a:srgbClr val="424242"/>
              </a:solidFill>
              <a:latin typeface="Roboto" panose="02000000000000000000" pitchFamily="2" charset="0"/>
            </a:endParaRPr>
          </a:p>
          <a:p>
            <a:r>
              <a:rPr lang="en-US" sz="2400" dirty="0">
                <a:solidFill>
                  <a:srgbClr val="424242"/>
                </a:solidFill>
                <a:latin typeface="Roboto" panose="02000000000000000000" pitchFamily="2" charset="0"/>
              </a:rPr>
              <a:t>The control and monitoring of temperatures throughout the cold chain are very important issues regarding the quality of goods. It is mostly used for the transportation of food and beverages or pharmaceuticals. </a:t>
            </a:r>
          </a:p>
          <a:p>
            <a:r>
              <a:rPr lang="en-US" sz="2400" dirty="0">
                <a:solidFill>
                  <a:srgbClr val="424242"/>
                </a:solidFill>
                <a:latin typeface="Roboto" panose="02000000000000000000" pitchFamily="2" charset="0"/>
              </a:rPr>
              <a:t>In order to ensure that the products are kept at adequate temperatures and humidity (for vaccines per WHO), continuous monitoring of sensitive goods throughout the entire supply chain from start to finish is required.  </a:t>
            </a:r>
          </a:p>
          <a:p>
            <a:r>
              <a:rPr lang="en-US" sz="2400" dirty="0">
                <a:solidFill>
                  <a:srgbClr val="424242"/>
                </a:solidFill>
                <a:latin typeface="Roboto" panose="02000000000000000000" pitchFamily="2" charset="0"/>
              </a:rPr>
              <a:t>These temperatures are recorded for continuous control purposes, in order to meet numerous industry standards. </a:t>
            </a:r>
          </a:p>
        </p:txBody>
      </p:sp>
      <p:sp>
        <p:nvSpPr>
          <p:cNvPr id="4" name="Slide Number Placeholder 3">
            <a:extLst>
              <a:ext uri="{FF2B5EF4-FFF2-40B4-BE49-F238E27FC236}">
                <a16:creationId xmlns:a16="http://schemas.microsoft.com/office/drawing/2014/main" id="{EF3FF184-18D8-CEA7-9A8D-252F9295F35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950B1-C7CF-425D-9A48-9AE722F4F236}" type="slidenum">
              <a:rPr kumimoji="0" lang="de-CH" sz="1100" b="0" i="0" u="none" strike="noStrike" kern="1200" cap="none" spc="0" normalizeH="0" baseline="0" noProof="0" smtClean="0">
                <a:ln>
                  <a:noFill/>
                </a:ln>
                <a:solidFill>
                  <a:srgbClr val="000000"/>
                </a:solidFill>
                <a:effectLst/>
                <a:uLnTx/>
                <a:uFillTx/>
                <a:latin typeface="Arial Narrow"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de-CH" sz="1100" b="0" i="0" u="none" strike="noStrike" kern="1200" cap="none" spc="0" normalizeH="0" baseline="0" noProof="0" dirty="0">
              <a:ln>
                <a:noFill/>
              </a:ln>
              <a:solidFill>
                <a:srgbClr val="000000"/>
              </a:solidFill>
              <a:effectLst/>
              <a:uLnTx/>
              <a:uFillTx/>
              <a:latin typeface="Arial Narrow" pitchFamily="34" charset="0"/>
              <a:ea typeface="+mn-ea"/>
              <a:cs typeface="Arial" charset="0"/>
            </a:endParaRPr>
          </a:p>
        </p:txBody>
      </p:sp>
      <p:pic>
        <p:nvPicPr>
          <p:cNvPr id="3074" name="Picture 2" descr="Image result for Clipart for Temp control">
            <a:extLst>
              <a:ext uri="{FF2B5EF4-FFF2-40B4-BE49-F238E27FC236}">
                <a16:creationId xmlns:a16="http://schemas.microsoft.com/office/drawing/2014/main" id="{4DCABF73-FF73-3BDD-CC4B-3C7F4AB092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14333" y="2870707"/>
            <a:ext cx="2452255" cy="25036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ee the source image">
            <a:extLst>
              <a:ext uri="{FF2B5EF4-FFF2-40B4-BE49-F238E27FC236}">
                <a16:creationId xmlns:a16="http://schemas.microsoft.com/office/drawing/2014/main" id="{E0E0A41C-7F22-43EF-9767-F745D7700D9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00449" y="0"/>
            <a:ext cx="3291551" cy="185737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See the source image">
            <a:extLst>
              <a:ext uri="{FF2B5EF4-FFF2-40B4-BE49-F238E27FC236}">
                <a16:creationId xmlns:a16="http://schemas.microsoft.com/office/drawing/2014/main" id="{95A12449-C15D-3922-8AF8-B68144FF70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4108" y="664466"/>
            <a:ext cx="1544190" cy="911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4545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3078"/>
                                        </p:tgtEl>
                                        <p:attrNameLst>
                                          <p:attrName>style.visibility</p:attrName>
                                        </p:attrNameLst>
                                      </p:cBhvr>
                                      <p:to>
                                        <p:strVal val="visible"/>
                                      </p:to>
                                    </p:set>
                                    <p:animEffect transition="in" filter="fade">
                                      <p:cBhvr>
                                        <p:cTn id="12" dur="1000"/>
                                        <p:tgtEl>
                                          <p:spTgt spid="3078"/>
                                        </p:tgtEl>
                                      </p:cBhvr>
                                    </p:animEffect>
                                    <p:anim calcmode="lin" valueType="num">
                                      <p:cBhvr>
                                        <p:cTn id="13" dur="1000" fill="hold"/>
                                        <p:tgtEl>
                                          <p:spTgt spid="3078"/>
                                        </p:tgtEl>
                                        <p:attrNameLst>
                                          <p:attrName>ppt_x</p:attrName>
                                        </p:attrNameLst>
                                      </p:cBhvr>
                                      <p:tavLst>
                                        <p:tav tm="0">
                                          <p:val>
                                            <p:strVal val="#ppt_x"/>
                                          </p:val>
                                        </p:tav>
                                        <p:tav tm="100000">
                                          <p:val>
                                            <p:strVal val="#ppt_x"/>
                                          </p:val>
                                        </p:tav>
                                      </p:tavLst>
                                    </p:anim>
                                    <p:anim calcmode="lin" valueType="num">
                                      <p:cBhvr>
                                        <p:cTn id="14" dur="1000" fill="hold"/>
                                        <p:tgtEl>
                                          <p:spTgt spid="307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3076"/>
                                        </p:tgtEl>
                                        <p:attrNameLst>
                                          <p:attrName>style.visibility</p:attrName>
                                        </p:attrNameLst>
                                      </p:cBhvr>
                                      <p:to>
                                        <p:strVal val="visible"/>
                                      </p:to>
                                    </p:set>
                                    <p:animEffect transition="in" filter="wipe(down)">
                                      <p:cBhvr>
                                        <p:cTn id="24" dur="500"/>
                                        <p:tgtEl>
                                          <p:spTgt spid="307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500"/>
                                        <p:tgtEl>
                                          <p:spTgt spid="3">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ntr" presetSubtype="16" fill="hold" nodeType="clickEffect">
                                  <p:stCondLst>
                                    <p:cond delay="0"/>
                                  </p:stCondLst>
                                  <p:childTnLst>
                                    <p:set>
                                      <p:cBhvr>
                                        <p:cTn id="38" dur="1" fill="hold">
                                          <p:stCondLst>
                                            <p:cond delay="0"/>
                                          </p:stCondLst>
                                        </p:cTn>
                                        <p:tgtEl>
                                          <p:spTgt spid="3074"/>
                                        </p:tgtEl>
                                        <p:attrNameLst>
                                          <p:attrName>style.visibility</p:attrName>
                                        </p:attrNameLst>
                                      </p:cBhvr>
                                      <p:to>
                                        <p:strVal val="visible"/>
                                      </p:to>
                                    </p:set>
                                    <p:animEffect transition="in" filter="circle(in)">
                                      <p:cBhvr>
                                        <p:cTn id="39" dur="20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09001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E324A-2E67-4591-94DF-45E9DB277058}"/>
              </a:ext>
            </a:extLst>
          </p:cNvPr>
          <p:cNvSpPr>
            <a:spLocks noGrp="1"/>
          </p:cNvSpPr>
          <p:nvPr>
            <p:ph type="title"/>
          </p:nvPr>
        </p:nvSpPr>
        <p:spPr/>
        <p:txBody>
          <a:bodyPr/>
          <a:lstStyle/>
          <a:p>
            <a:r>
              <a:rPr lang="en-US" b="0" dirty="0">
                <a:latin typeface="Segoe UI Semibold" panose="020B0702040204020203" pitchFamily="34" charset="0"/>
                <a:cs typeface="Segoe UI Semibold" panose="020B0702040204020203" pitchFamily="34" charset="0"/>
              </a:rPr>
              <a:t>Why Certification: Regulated End-to-End Monitoring</a:t>
            </a:r>
          </a:p>
        </p:txBody>
      </p:sp>
      <p:sp>
        <p:nvSpPr>
          <p:cNvPr id="4" name="Slide Number Placeholder 3">
            <a:extLst>
              <a:ext uri="{FF2B5EF4-FFF2-40B4-BE49-F238E27FC236}">
                <a16:creationId xmlns:a16="http://schemas.microsoft.com/office/drawing/2014/main" id="{3422C334-0C50-4CEA-AEC1-87E02DEFABC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950B1-C7CF-425D-9A48-9AE722F4F236}" type="slidenum">
              <a:rPr kumimoji="0" lang="en-US" sz="1100" b="0" i="0" u="none" strike="noStrike" kern="1200" cap="none" spc="0" normalizeH="0" baseline="0" noProof="0" smtClean="0">
                <a:ln>
                  <a:noFill/>
                </a:ln>
                <a:solidFill>
                  <a:srgbClr val="000000"/>
                </a:solidFill>
                <a:effectLst/>
                <a:uLnTx/>
                <a:uFillTx/>
                <a:latin typeface="Arial Narrow"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sz="11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graphicFrame>
        <p:nvGraphicFramePr>
          <p:cNvPr id="5" name="Diagram 4">
            <a:extLst>
              <a:ext uri="{FF2B5EF4-FFF2-40B4-BE49-F238E27FC236}">
                <a16:creationId xmlns:a16="http://schemas.microsoft.com/office/drawing/2014/main" id="{AA585ADB-976B-4033-9CFE-1047D6089FB5}"/>
              </a:ext>
            </a:extLst>
          </p:cNvPr>
          <p:cNvGraphicFramePr/>
          <p:nvPr/>
        </p:nvGraphicFramePr>
        <p:xfrm>
          <a:off x="1572418" y="2370114"/>
          <a:ext cx="9047164" cy="6268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1" name="Content Placeholder 7" descr="Diagram&#10;&#10;Description automatically generated">
            <a:extLst>
              <a:ext uri="{FF2B5EF4-FFF2-40B4-BE49-F238E27FC236}">
                <a16:creationId xmlns:a16="http://schemas.microsoft.com/office/drawing/2014/main" id="{CF08B9A6-0F67-4376-B36F-6F13544BC876}"/>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73487" b="90970" l="79985" r="97864">
                        <a14:foregroundMark x1="80172" y1="73583" x2="90705" y2="74544"/>
                        <a14:foregroundMark x1="90705" y1="74544" x2="92054" y2="74256"/>
                        <a14:foregroundMark x1="92129" y1="75985" x2="80735" y2="75600"/>
                        <a14:foregroundMark x1="80210" y1="81364" x2="80360" y2="85591"/>
                        <a14:foregroundMark x1="79985" y1="81076" x2="90967" y2="81556"/>
                        <a14:foregroundMark x1="91342" y1="80788" x2="91942" y2="84630"/>
                        <a14:foregroundMark x1="90180" y1="82613" x2="86061" y2="83439"/>
                        <a14:foregroundMark x1="83427" y1="84585" x2="84384" y2="84808"/>
                        <a14:foregroundMark x1="80322" y1="83862" x2="81689" y2="84181"/>
                        <a14:foregroundMark x1="89618" y1="85975" x2="90255" y2="85014"/>
                        <a14:foregroundMark x1="93066" y1="77329" x2="93178" y2="83189"/>
                        <a14:foregroundMark x1="97339" y1="83285" x2="97339" y2="84246"/>
                        <a14:foregroundMark x1="95690" y1="86551" x2="95202" y2="86551"/>
                        <a14:foregroundMark x1="90892" y1="86263" x2="90480" y2="86263"/>
                        <a14:foregroundMark x1="86282" y1="87128" x2="85720" y2="86744"/>
                        <a14:foregroundMark x1="82871" y1="87032" x2="82121" y2="86647"/>
                        <a14:backgroundMark x1="84745" y1="85110" x2="85045" y2="84342"/>
                        <a14:backgroundMark x1="85907" y1="83670" x2="86057" y2="83862"/>
                        <a14:backgroundMark x1="86169" y1="84150" x2="86019" y2="83573"/>
                        <a14:backgroundMark x1="86282" y1="83958" x2="86132" y2="83766"/>
                        <a14:backgroundMark x1="86282" y1="83573" x2="86169" y2="83381"/>
                        <a14:backgroundMark x1="86169" y1="83670" x2="86057" y2="83477"/>
                        <a14:backgroundMark x1="85007" y1="84726" x2="85007" y2="85014"/>
                        <a14:backgroundMark x1="84745" y1="84726" x2="84670" y2="85014"/>
                        <a14:backgroundMark x1="84633" y1="85207" x2="84483" y2="85207"/>
                        <a14:backgroundMark x1="82759" y1="83862" x2="83283" y2="84918"/>
                        <a14:backgroundMark x1="82459" y1="83670" x2="81709" y2="84246"/>
                        <a14:backgroundMark x1="81709" y1="84150" x2="81597" y2="84054"/>
                        <a14:backgroundMark x1="81484" y1="84342" x2="81522" y2="84342"/>
                        <a14:backgroundMark x1="81409" y1="84438" x2="81597" y2="84054"/>
                        <a14:backgroundMark x1="81447" y1="84246" x2="81634" y2="84438"/>
                        <a14:backgroundMark x1="83283" y1="84438" x2="83433" y2="84822"/>
                      </a14:backgroundRemoval>
                    </a14:imgEffect>
                  </a14:imgLayer>
                </a14:imgProps>
              </a:ext>
              <a:ext uri="{28A0092B-C50C-407E-A947-70E740481C1C}">
                <a14:useLocalDpi xmlns:a14="http://schemas.microsoft.com/office/drawing/2010/main" val="0"/>
              </a:ext>
            </a:extLst>
          </a:blip>
          <a:srcRect l="79049" t="71857" b="6727"/>
          <a:stretch/>
        </p:blipFill>
        <p:spPr>
          <a:xfrm>
            <a:off x="3931575" y="1589348"/>
            <a:ext cx="1869150" cy="745474"/>
          </a:xfrm>
          <a:prstGeom prst="rect">
            <a:avLst/>
          </a:prstGeom>
        </p:spPr>
      </p:pic>
      <p:pic>
        <p:nvPicPr>
          <p:cNvPr id="22" name="Content Placeholder 7" descr="Diagram&#10;&#10;Description automatically generated">
            <a:extLst>
              <a:ext uri="{FF2B5EF4-FFF2-40B4-BE49-F238E27FC236}">
                <a16:creationId xmlns:a16="http://schemas.microsoft.com/office/drawing/2014/main" id="{46C04F45-F4DB-4FEB-9145-C028B2A3AAFD}"/>
              </a:ext>
            </a:extLst>
          </p:cNvPr>
          <p:cNvPicPr>
            <a:picLocks noChangeAspect="1"/>
          </p:cNvPicPr>
          <p:nvPr/>
        </p:nvPicPr>
        <p:blipFill rotWithShape="1">
          <a:blip r:embed="rId10" cstate="print">
            <a:extLst>
              <a:ext uri="{BEBA8EAE-BF5A-486C-A8C5-ECC9F3942E4B}">
                <a14:imgProps xmlns:a14="http://schemas.microsoft.com/office/drawing/2010/main">
                  <a14:imgLayer r:embed="rId9">
                    <a14:imgEffect>
                      <a14:backgroundRemoval t="45245" b="72046" l="57309" r="66304">
                        <a14:foregroundMark x1="58321" y1="46110" x2="64243" y2="46494"/>
                        <a14:foregroundMark x1="64243" y1="46494" x2="64880" y2="46398"/>
                        <a14:foregroundMark x1="65067" y1="51393" x2="65030" y2="45437"/>
                        <a14:foregroundMark x1="64093" y1="46590" x2="64205" y2="58501"/>
                        <a14:foregroundMark x1="64430" y1="47166" x2="64468" y2="57157"/>
                        <a14:foregroundMark x1="63681" y1="47743" x2="64055" y2="59462"/>
                        <a14:foregroundMark x1="63718" y1="58021" x2="63718" y2="53026"/>
                        <a14:foregroundMark x1="63906" y1="59558" x2="64243" y2="62344"/>
                        <a14:foregroundMark x1="63831" y1="62344" x2="64018" y2="67819"/>
                        <a14:foregroundMark x1="64280" y1="64457" x2="64393" y2="66186"/>
                        <a14:foregroundMark x1="64393" y1="66090" x2="63831" y2="70413"/>
                        <a14:foregroundMark x1="65405" y1="70317" x2="61844" y2="70893"/>
                        <a14:foregroundMark x1="64993" y1="70221" x2="58246" y2="70989"/>
                        <a14:foregroundMark x1="57346" y1="70605" x2="57421" y2="71854"/>
                        <a14:foregroundMark x1="57646" y1="72142" x2="64318" y2="72238"/>
                        <a14:foregroundMark x1="64318" y1="72238" x2="65405" y2="71566"/>
                        <a14:foregroundMark x1="65592" y1="70509" x2="65967" y2="71085"/>
                        <a14:foregroundMark x1="66154" y1="70797" x2="66304" y2="70989"/>
                        <a14:foregroundMark x1="59183" y1="62728" x2="59070" y2="68588"/>
                        <a14:foregroundMark x1="59408" y1="64649" x2="59483" y2="68012"/>
                        <a14:foregroundMark x1="61432" y1="63593" x2="61282" y2="66859"/>
                        <a14:foregroundMark x1="61807" y1="64745" x2="61769" y2="68204"/>
                        <a14:foregroundMark x1="61507" y1="59270" x2="61544" y2="61383"/>
                        <a14:foregroundMark x1="61282" y1="54275" x2="62256" y2="55235"/>
                        <a14:foregroundMark x1="61357" y1="47070" x2="61357" y2="58405"/>
                        <a14:foregroundMark x1="61807" y1="46974" x2="62031" y2="55043"/>
                        <a14:foregroundMark x1="61132" y1="48223" x2="61169" y2="50817"/>
                        <a14:foregroundMark x1="59370" y1="46878" x2="59370" y2="58886"/>
                        <a14:foregroundMark x1="58846" y1="46974" x2="59033" y2="58405"/>
                        <a14:foregroundMark x1="58621" y1="50624" x2="58733" y2="58790"/>
                        <a14:foregroundMark x1="58996" y1="59174" x2="59108" y2="62152"/>
                      </a14:backgroundRemoval>
                    </a14:imgEffect>
                  </a14:imgLayer>
                </a14:imgProps>
              </a:ext>
              <a:ext uri="{28A0092B-C50C-407E-A947-70E740481C1C}">
                <a14:useLocalDpi xmlns:a14="http://schemas.microsoft.com/office/drawing/2010/main" val="0"/>
              </a:ext>
            </a:extLst>
          </a:blip>
          <a:srcRect l="56527" t="43292" r="33426" b="24995"/>
          <a:stretch/>
        </p:blipFill>
        <p:spPr>
          <a:xfrm>
            <a:off x="2362200" y="1271094"/>
            <a:ext cx="809625" cy="997078"/>
          </a:xfrm>
          <a:prstGeom prst="rect">
            <a:avLst/>
          </a:prstGeom>
        </p:spPr>
      </p:pic>
      <p:pic>
        <p:nvPicPr>
          <p:cNvPr id="35" name="Picture 34">
            <a:extLst>
              <a:ext uri="{FF2B5EF4-FFF2-40B4-BE49-F238E27FC236}">
                <a16:creationId xmlns:a16="http://schemas.microsoft.com/office/drawing/2014/main" id="{6A15B19C-3BD1-44FA-B35A-2786CB103252}"/>
              </a:ext>
            </a:extLst>
          </p:cNvPr>
          <p:cNvPicPr>
            <a:picLocks noChangeAspect="1"/>
          </p:cNvPicPr>
          <p:nvPr/>
        </p:nvPicPr>
        <p:blipFill>
          <a:blip r:embed="rId11">
            <a:duotone>
              <a:schemeClr val="accent3">
                <a:shade val="45000"/>
                <a:satMod val="135000"/>
              </a:schemeClr>
              <a:prstClr val="white"/>
            </a:duotone>
            <a:extLst>
              <a:ext uri="{BEBA8EAE-BF5A-486C-A8C5-ECC9F3942E4B}">
                <a14:imgProps xmlns:a14="http://schemas.microsoft.com/office/drawing/2010/main">
                  <a14:imgLayer r:embed="rId12">
                    <a14:imgEffect>
                      <a14:brightnessContrast bright="40000" contrast="40000"/>
                    </a14:imgEffect>
                  </a14:imgLayer>
                </a14:imgProps>
              </a:ext>
            </a:extLst>
          </a:blip>
          <a:stretch>
            <a:fillRect/>
          </a:stretch>
        </p:blipFill>
        <p:spPr>
          <a:xfrm>
            <a:off x="6948873" y="1518217"/>
            <a:ext cx="685524" cy="691143"/>
          </a:xfrm>
          <a:prstGeom prst="rect">
            <a:avLst/>
          </a:prstGeom>
        </p:spPr>
      </p:pic>
      <p:pic>
        <p:nvPicPr>
          <p:cNvPr id="37" name="Picture 36">
            <a:extLst>
              <a:ext uri="{FF2B5EF4-FFF2-40B4-BE49-F238E27FC236}">
                <a16:creationId xmlns:a16="http://schemas.microsoft.com/office/drawing/2014/main" id="{CABBEAF7-003C-4ECA-975A-65330BF10F6D}"/>
              </a:ext>
            </a:extLst>
          </p:cNvPr>
          <p:cNvPicPr>
            <a:picLocks noChangeAspect="1"/>
          </p:cNvPicPr>
          <p:nvPr/>
        </p:nvPicPr>
        <p:blipFill>
          <a:blip r:embed="rId13">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Lst>
          </a:blip>
          <a:stretch>
            <a:fillRect/>
          </a:stretch>
        </p:blipFill>
        <p:spPr>
          <a:xfrm>
            <a:off x="9020177" y="1446026"/>
            <a:ext cx="757128" cy="763334"/>
          </a:xfrm>
          <a:prstGeom prst="rect">
            <a:avLst/>
          </a:prstGeom>
        </p:spPr>
      </p:pic>
      <p:grpSp>
        <p:nvGrpSpPr>
          <p:cNvPr id="7" name="Group 6">
            <a:extLst>
              <a:ext uri="{FF2B5EF4-FFF2-40B4-BE49-F238E27FC236}">
                <a16:creationId xmlns:a16="http://schemas.microsoft.com/office/drawing/2014/main" id="{E60F3539-78B8-40E1-9036-22B5A32B3E41}"/>
              </a:ext>
            </a:extLst>
          </p:cNvPr>
          <p:cNvGrpSpPr/>
          <p:nvPr/>
        </p:nvGrpSpPr>
        <p:grpSpPr>
          <a:xfrm>
            <a:off x="1411696" y="3240489"/>
            <a:ext cx="9368608" cy="865126"/>
            <a:chOff x="1411696" y="3240489"/>
            <a:chExt cx="9368608" cy="865126"/>
          </a:xfrm>
        </p:grpSpPr>
        <p:sp>
          <p:nvSpPr>
            <p:cNvPr id="20" name="Left Brace 19">
              <a:extLst>
                <a:ext uri="{FF2B5EF4-FFF2-40B4-BE49-F238E27FC236}">
                  <a16:creationId xmlns:a16="http://schemas.microsoft.com/office/drawing/2014/main" id="{65D832D6-3BC2-43AD-8B86-9AC8CEBF3EE9}"/>
                </a:ext>
              </a:extLst>
            </p:cNvPr>
            <p:cNvSpPr/>
            <p:nvPr/>
          </p:nvSpPr>
          <p:spPr>
            <a:xfrm rot="16200000">
              <a:off x="5907489" y="-1255304"/>
              <a:ext cx="377021" cy="9368608"/>
            </a:xfrm>
            <a:prstGeom prst="leftBrace">
              <a:avLst>
                <a:gd name="adj1" fmla="val 8333"/>
                <a:gd name="adj2" fmla="val 49898"/>
              </a:avLst>
            </a:prstGeom>
            <a:ln w="25400">
              <a:solidFill>
                <a:srgbClr val="66CC3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a:ea typeface="+mn-ea"/>
                <a:cs typeface="+mn-cs"/>
              </a:endParaRPr>
            </a:p>
          </p:txBody>
        </p:sp>
        <p:sp>
          <p:nvSpPr>
            <p:cNvPr id="6" name="TextBox 5">
              <a:extLst>
                <a:ext uri="{FF2B5EF4-FFF2-40B4-BE49-F238E27FC236}">
                  <a16:creationId xmlns:a16="http://schemas.microsoft.com/office/drawing/2014/main" id="{821D5A46-C1D4-481B-B1B9-FBFC1D440409}"/>
                </a:ext>
              </a:extLst>
            </p:cNvPr>
            <p:cNvSpPr txBox="1"/>
            <p:nvPr/>
          </p:nvSpPr>
          <p:spPr>
            <a:xfrm>
              <a:off x="4177583" y="3705505"/>
              <a:ext cx="3843553" cy="400110"/>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ntinuous monitoring required</a:t>
              </a:r>
            </a:p>
          </p:txBody>
        </p:sp>
      </p:grpSp>
      <p:grpSp>
        <p:nvGrpSpPr>
          <p:cNvPr id="8" name="Group 7">
            <a:extLst>
              <a:ext uri="{FF2B5EF4-FFF2-40B4-BE49-F238E27FC236}">
                <a16:creationId xmlns:a16="http://schemas.microsoft.com/office/drawing/2014/main" id="{30DFA1BB-65F2-5941-EF92-3615E77CA0EB}"/>
              </a:ext>
            </a:extLst>
          </p:cNvPr>
          <p:cNvGrpSpPr/>
          <p:nvPr/>
        </p:nvGrpSpPr>
        <p:grpSpPr>
          <a:xfrm>
            <a:off x="695325" y="4168284"/>
            <a:ext cx="10801350" cy="2568374"/>
            <a:chOff x="1241469" y="4168284"/>
            <a:chExt cx="9136279" cy="2568374"/>
          </a:xfrm>
        </p:grpSpPr>
        <p:sp>
          <p:nvSpPr>
            <p:cNvPr id="39" name="TextBox 38">
              <a:extLst>
                <a:ext uri="{FF2B5EF4-FFF2-40B4-BE49-F238E27FC236}">
                  <a16:creationId xmlns:a16="http://schemas.microsoft.com/office/drawing/2014/main" id="{C10293B9-FEAE-4773-880E-D6073124A215}"/>
                </a:ext>
              </a:extLst>
            </p:cNvPr>
            <p:cNvSpPr txBox="1"/>
            <p:nvPr/>
          </p:nvSpPr>
          <p:spPr>
            <a:xfrm>
              <a:off x="1247776" y="4168284"/>
              <a:ext cx="4295774" cy="1477328"/>
            </a:xfrm>
            <a:prstGeom prst="rect">
              <a:avLst/>
            </a:prstGeom>
            <a:noFill/>
          </p:spPr>
          <p:txBody>
            <a:bodyPr wrap="square">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N 12830</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liable temperature recorders for the transport, storage and distribution of temperature sensitive goods</a:t>
              </a:r>
            </a:p>
          </p:txBody>
        </p:sp>
        <p:sp>
          <p:nvSpPr>
            <p:cNvPr id="40" name="TextBox 3">
              <a:extLst>
                <a:ext uri="{FF2B5EF4-FFF2-40B4-BE49-F238E27FC236}">
                  <a16:creationId xmlns:a16="http://schemas.microsoft.com/office/drawing/2014/main" id="{8F9FEE61-DEC1-4829-B78C-AA78114611E3}"/>
                </a:ext>
              </a:extLst>
            </p:cNvPr>
            <p:cNvSpPr txBox="1"/>
            <p:nvPr/>
          </p:nvSpPr>
          <p:spPr>
            <a:xfrm>
              <a:off x="6782252" y="4414506"/>
              <a:ext cx="3328428" cy="92333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3-point calibration (full range), calibration competence acc. to ISO17025</a:t>
              </a:r>
            </a:p>
          </p:txBody>
        </p:sp>
        <p:sp>
          <p:nvSpPr>
            <p:cNvPr id="42" name="TextBox 41">
              <a:extLst>
                <a:ext uri="{FF2B5EF4-FFF2-40B4-BE49-F238E27FC236}">
                  <a16:creationId xmlns:a16="http://schemas.microsoft.com/office/drawing/2014/main" id="{DC710751-CC35-4B19-B255-4714966609AB}"/>
                </a:ext>
              </a:extLst>
            </p:cNvPr>
            <p:cNvSpPr txBox="1"/>
            <p:nvPr/>
          </p:nvSpPr>
          <p:spPr>
            <a:xfrm>
              <a:off x="1241469" y="5536329"/>
              <a:ext cx="4552950" cy="1200329"/>
            </a:xfrm>
            <a:prstGeom prst="rect">
              <a:avLst/>
            </a:prstGeom>
            <a:noFill/>
          </p:spPr>
          <p:txBody>
            <a:bodyPr wrap="square">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SO 17025</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eneral requirements for the competence of testing and calibration laboratories</a:t>
              </a:r>
            </a:p>
          </p:txBody>
        </p:sp>
        <p:sp>
          <p:nvSpPr>
            <p:cNvPr id="43" name="TextBox 3">
              <a:extLst>
                <a:ext uri="{FF2B5EF4-FFF2-40B4-BE49-F238E27FC236}">
                  <a16:creationId xmlns:a16="http://schemas.microsoft.com/office/drawing/2014/main" id="{07DBE32B-CCF6-4DDC-B19C-E5B0DCEFDE23}"/>
                </a:ext>
              </a:extLst>
            </p:cNvPr>
            <p:cNvSpPr txBox="1"/>
            <p:nvPr/>
          </p:nvSpPr>
          <p:spPr>
            <a:xfrm>
              <a:off x="6782252" y="5884767"/>
              <a:ext cx="3595496"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alibration method &amp; traceability</a:t>
              </a:r>
            </a:p>
          </p:txBody>
        </p:sp>
        <p:sp>
          <p:nvSpPr>
            <p:cNvPr id="3" name="Arrow: Right 2">
              <a:extLst>
                <a:ext uri="{FF2B5EF4-FFF2-40B4-BE49-F238E27FC236}">
                  <a16:creationId xmlns:a16="http://schemas.microsoft.com/office/drawing/2014/main" id="{02505CA2-89EA-280C-D47A-A73D9692DBD9}"/>
                </a:ext>
              </a:extLst>
            </p:cNvPr>
            <p:cNvSpPr/>
            <p:nvPr/>
          </p:nvSpPr>
          <p:spPr>
            <a:xfrm>
              <a:off x="5694505" y="4674101"/>
              <a:ext cx="851338" cy="201798"/>
            </a:xfrm>
            <a:prstGeom prst="rightArrow">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7" name="Arrow: Right 16">
              <a:extLst>
                <a:ext uri="{FF2B5EF4-FFF2-40B4-BE49-F238E27FC236}">
                  <a16:creationId xmlns:a16="http://schemas.microsoft.com/office/drawing/2014/main" id="{D0088B1C-2E5E-692E-9AE9-1B41FC180C91}"/>
                </a:ext>
              </a:extLst>
            </p:cNvPr>
            <p:cNvSpPr/>
            <p:nvPr/>
          </p:nvSpPr>
          <p:spPr>
            <a:xfrm>
              <a:off x="5694505" y="5985002"/>
              <a:ext cx="872628" cy="201798"/>
            </a:xfrm>
            <a:prstGeom prst="rightArrow">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4244029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09001B"/>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C96E858-C1E0-0FC1-8E6B-A5F843DDD5F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950B1-C7CF-425D-9A48-9AE722F4F236}" type="slidenum">
              <a:rPr kumimoji="0" lang="de-CH" sz="1100" b="0" i="0" u="none" strike="noStrike" kern="1200" cap="none" spc="0" normalizeH="0" baseline="0" noProof="0" smtClean="0">
                <a:ln>
                  <a:noFill/>
                </a:ln>
                <a:solidFill>
                  <a:srgbClr val="000000"/>
                </a:solidFill>
                <a:effectLst/>
                <a:uLnTx/>
                <a:uFillTx/>
                <a:latin typeface="Arial Narrow"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de-CH" sz="1100" b="0" i="0" u="none" strike="noStrike" kern="1200" cap="none" spc="0" normalizeH="0" baseline="0" noProof="0" dirty="0">
              <a:ln>
                <a:noFill/>
              </a:ln>
              <a:solidFill>
                <a:srgbClr val="000000"/>
              </a:solidFill>
              <a:effectLst/>
              <a:uLnTx/>
              <a:uFillTx/>
              <a:latin typeface="Arial Narrow" pitchFamily="34" charset="0"/>
              <a:ea typeface="+mn-ea"/>
              <a:cs typeface="Arial" charset="0"/>
            </a:endParaRPr>
          </a:p>
        </p:txBody>
      </p:sp>
      <p:graphicFrame>
        <p:nvGraphicFramePr>
          <p:cNvPr id="7" name="Diagram 6">
            <a:extLst>
              <a:ext uri="{FF2B5EF4-FFF2-40B4-BE49-F238E27FC236}">
                <a16:creationId xmlns:a16="http://schemas.microsoft.com/office/drawing/2014/main" id="{861C417D-A6DB-6415-284F-334A9C1936C7}"/>
              </a:ext>
            </a:extLst>
          </p:cNvPr>
          <p:cNvGraphicFramePr/>
          <p:nvPr/>
        </p:nvGraphicFramePr>
        <p:xfrm>
          <a:off x="1537130" y="1936068"/>
          <a:ext cx="9047164" cy="6268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1" name="Straight Arrow Connector 10">
            <a:extLst>
              <a:ext uri="{FF2B5EF4-FFF2-40B4-BE49-F238E27FC236}">
                <a16:creationId xmlns:a16="http://schemas.microsoft.com/office/drawing/2014/main" id="{2B78D18F-2DC1-C511-94A8-E14747E3E02B}"/>
              </a:ext>
            </a:extLst>
          </p:cNvPr>
          <p:cNvCxnSpPr>
            <a:cxnSpLocks/>
          </p:cNvCxnSpPr>
          <p:nvPr/>
        </p:nvCxnSpPr>
        <p:spPr>
          <a:xfrm>
            <a:off x="13351521" y="1630072"/>
            <a:ext cx="1927224" cy="0"/>
          </a:xfrm>
          <a:prstGeom prst="straightConnector1">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7" name="Left Brace 16">
            <a:extLst>
              <a:ext uri="{FF2B5EF4-FFF2-40B4-BE49-F238E27FC236}">
                <a16:creationId xmlns:a16="http://schemas.microsoft.com/office/drawing/2014/main" id="{5ED860D7-22D8-3E90-2BA0-08BBA188CA53}"/>
              </a:ext>
            </a:extLst>
          </p:cNvPr>
          <p:cNvSpPr/>
          <p:nvPr/>
        </p:nvSpPr>
        <p:spPr>
          <a:xfrm rot="5400000">
            <a:off x="7981257" y="-670402"/>
            <a:ext cx="590233" cy="4604590"/>
          </a:xfrm>
          <a:prstGeom prst="leftBrace">
            <a:avLst>
              <a:gd name="adj1" fmla="val 45772"/>
              <a:gd name="adj2" fmla="val 50000"/>
            </a:avLst>
          </a:prstGeom>
          <a:ln w="254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000000"/>
              </a:solidFill>
              <a:effectLst/>
              <a:uLnTx/>
              <a:uFillTx/>
              <a:latin typeface="Arial Narrow"/>
              <a:ea typeface="+mn-ea"/>
              <a:cs typeface="+mn-cs"/>
            </a:endParaRPr>
          </a:p>
        </p:txBody>
      </p:sp>
      <p:sp>
        <p:nvSpPr>
          <p:cNvPr id="18" name="TextBox 17">
            <a:extLst>
              <a:ext uri="{FF2B5EF4-FFF2-40B4-BE49-F238E27FC236}">
                <a16:creationId xmlns:a16="http://schemas.microsoft.com/office/drawing/2014/main" id="{275F3BDB-DC07-6FD8-6E66-E31CA1F0D567}"/>
              </a:ext>
            </a:extLst>
          </p:cNvPr>
          <p:cNvSpPr txBox="1"/>
          <p:nvPr/>
        </p:nvSpPr>
        <p:spPr>
          <a:xfrm>
            <a:off x="6042660" y="922020"/>
            <a:ext cx="4457700" cy="4001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xternal </a:t>
            </a:r>
            <a:r>
              <a:rPr kumimoji="0" lang="de-CH" sz="20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calibration</a:t>
            </a:r>
            <a:r>
              <a:rPr kumimoji="0" lang="de-CH"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lab</a:t>
            </a:r>
          </a:p>
        </p:txBody>
      </p:sp>
      <p:pic>
        <p:nvPicPr>
          <p:cNvPr id="10" name="Picture 10" descr="Elpro Libero PDF Datalogger | TQC Sheen">
            <a:extLst>
              <a:ext uri="{FF2B5EF4-FFF2-40B4-BE49-F238E27FC236}">
                <a16:creationId xmlns:a16="http://schemas.microsoft.com/office/drawing/2014/main" id="{1AEDE8BE-733A-4C69-C4DF-A066C4DCFD8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20942861">
            <a:off x="14048602" y="1851190"/>
            <a:ext cx="1666163" cy="166616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ow The NIST Privacy Framework Will Help Manage Data Safely">
            <a:extLst>
              <a:ext uri="{FF2B5EF4-FFF2-40B4-BE49-F238E27FC236}">
                <a16:creationId xmlns:a16="http://schemas.microsoft.com/office/drawing/2014/main" id="{B8137BB7-D0D5-9334-942C-2410491E320B}"/>
              </a:ext>
            </a:extLst>
          </p:cNvPr>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40313" y1="42917" x2="39219" y2="49167"/>
                      </a14:backgroundRemoval>
                    </a14:imgEffect>
                  </a14:imgLayer>
                </a14:imgProps>
              </a:ext>
              <a:ext uri="{28A0092B-C50C-407E-A947-70E740481C1C}">
                <a14:useLocalDpi xmlns:a14="http://schemas.microsoft.com/office/drawing/2010/main" val="0"/>
              </a:ext>
            </a:extLst>
          </a:blip>
          <a:srcRect l="15849" t="34159" r="11879" b="35838"/>
          <a:stretch/>
        </p:blipFill>
        <p:spPr bwMode="auto">
          <a:xfrm>
            <a:off x="15468080" y="4233699"/>
            <a:ext cx="389790" cy="12136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SO logo usage after Certification | ISOCertificateonline |">
            <a:extLst>
              <a:ext uri="{FF2B5EF4-FFF2-40B4-BE49-F238E27FC236}">
                <a16:creationId xmlns:a16="http://schemas.microsoft.com/office/drawing/2014/main" id="{8B64A36E-8E03-21CA-1427-17F3520921BC}"/>
              </a:ext>
            </a:extLst>
          </p:cNvPr>
          <p:cNvPicPr>
            <a:picLocks noChangeAspect="1" noChangeArrowheads="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6485429" y="1100282"/>
            <a:ext cx="505009" cy="41801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picture containing electronics&#10;&#10;Description automatically generated">
            <a:extLst>
              <a:ext uri="{FF2B5EF4-FFF2-40B4-BE49-F238E27FC236}">
                <a16:creationId xmlns:a16="http://schemas.microsoft.com/office/drawing/2014/main" id="{3FC5BD51-775E-18F2-2DC3-EF4E7ECCB53B}"/>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4959" b="94215" l="5417" r="93542">
                        <a14:foregroundMark x1="5417" y1="34298" x2="9583" y2="38430"/>
                        <a14:foregroundMark x1="51875" y1="11364" x2="56875" y2="8058"/>
                        <a14:foregroundMark x1="60625" y1="7438" x2="60208" y2="5165"/>
                        <a14:foregroundMark x1="42292" y1="87603" x2="40625" y2="90909"/>
                        <a14:foregroundMark x1="38125" y1="93802" x2="38125" y2="94421"/>
                        <a14:foregroundMark x1="86875" y1="50620" x2="90625" y2="52686"/>
                        <a14:foregroundMark x1="93333" y1="59917" x2="93542" y2="58678"/>
                      </a14:backgroundRemoval>
                    </a14:imgEffect>
                  </a14:imgLayer>
                </a14:imgProps>
              </a:ext>
            </a:extLst>
          </a:blip>
          <a:stretch>
            <a:fillRect/>
          </a:stretch>
        </p:blipFill>
        <p:spPr>
          <a:xfrm>
            <a:off x="839788" y="1637230"/>
            <a:ext cx="1143695" cy="1153226"/>
          </a:xfrm>
          <a:prstGeom prst="rect">
            <a:avLst/>
          </a:prstGeom>
          <a:effectLst/>
        </p:spPr>
      </p:pic>
      <p:sp>
        <p:nvSpPr>
          <p:cNvPr id="24" name="TextBox 23">
            <a:extLst>
              <a:ext uri="{FF2B5EF4-FFF2-40B4-BE49-F238E27FC236}">
                <a16:creationId xmlns:a16="http://schemas.microsoft.com/office/drawing/2014/main" id="{7DD6CECA-8FB8-452A-E33A-FAC30B08D17E}"/>
              </a:ext>
            </a:extLst>
          </p:cNvPr>
          <p:cNvSpPr txBox="1"/>
          <p:nvPr/>
        </p:nvSpPr>
        <p:spPr>
          <a:xfrm>
            <a:off x="0" y="5935980"/>
            <a:ext cx="12192000" cy="4001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nsirion </a:t>
            </a:r>
            <a:r>
              <a:rPr kumimoji="0" lang="de-CH"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became</a:t>
            </a: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de-CH"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the</a:t>
            </a: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de-CH"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first</a:t>
            </a: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ISO17025 </a:t>
            </a:r>
            <a:r>
              <a:rPr kumimoji="0" lang="de-CH"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accredited</a:t>
            </a: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de-CH"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semiconductor</a:t>
            </a: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de-CH"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company</a:t>
            </a: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in </a:t>
            </a:r>
            <a:r>
              <a:rPr kumimoji="0" lang="de-CH"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the</a:t>
            </a: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de-CH"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world</a:t>
            </a:r>
            <a:r>
              <a:rPr kumimoji="0" lang="de-CH"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
        <p:nvSpPr>
          <p:cNvPr id="28" name="Title 3">
            <a:extLst>
              <a:ext uri="{FF2B5EF4-FFF2-40B4-BE49-F238E27FC236}">
                <a16:creationId xmlns:a16="http://schemas.microsoft.com/office/drawing/2014/main" id="{9029C3F6-26E3-27F4-AA42-0905BA5788B6}"/>
              </a:ext>
            </a:extLst>
          </p:cNvPr>
          <p:cNvSpPr>
            <a:spLocks noGrp="1"/>
          </p:cNvSpPr>
          <p:nvPr>
            <p:ph type="title"/>
          </p:nvPr>
        </p:nvSpPr>
        <p:spPr>
          <a:xfrm>
            <a:off x="839787" y="283464"/>
            <a:ext cx="10512000" cy="505939"/>
          </a:xfrm>
        </p:spPr>
        <p:txBody>
          <a:bodyPr/>
          <a:lstStyle/>
          <a:p>
            <a:r>
              <a:rPr lang="de-CH" b="0" dirty="0" err="1">
                <a:latin typeface="Segoe UI Semibold" panose="020B0702040204020203" pitchFamily="34" charset="0"/>
                <a:cs typeface="Segoe UI Semibold" panose="020B0702040204020203" pitchFamily="34" charset="0"/>
              </a:rPr>
              <a:t>Trusting</a:t>
            </a:r>
            <a:r>
              <a:rPr lang="de-CH" b="0" dirty="0">
                <a:latin typeface="Segoe UI Semibold" panose="020B0702040204020203" pitchFamily="34" charset="0"/>
                <a:cs typeface="Segoe UI Semibold" panose="020B0702040204020203" pitchFamily="34" charset="0"/>
              </a:rPr>
              <a:t> </a:t>
            </a:r>
            <a:r>
              <a:rPr lang="de-CH" b="0" dirty="0" err="1">
                <a:latin typeface="Segoe UI Semibold" panose="020B0702040204020203" pitchFamily="34" charset="0"/>
                <a:cs typeface="Segoe UI Semibold" panose="020B0702040204020203" pitchFamily="34" charset="0"/>
              </a:rPr>
              <a:t>is</a:t>
            </a:r>
            <a:r>
              <a:rPr lang="de-CH" b="0" dirty="0">
                <a:latin typeface="Segoe UI Semibold" panose="020B0702040204020203" pitchFamily="34" charset="0"/>
                <a:cs typeface="Segoe UI Semibold" panose="020B0702040204020203" pitchFamily="34" charset="0"/>
              </a:rPr>
              <a:t> Hard… </a:t>
            </a:r>
            <a:r>
              <a:rPr lang="de-CH" b="0" dirty="0" err="1">
                <a:latin typeface="Segoe UI Semibold" panose="020B0702040204020203" pitchFamily="34" charset="0"/>
                <a:cs typeface="Segoe UI Semibold" panose="020B0702040204020203" pitchFamily="34" charset="0"/>
              </a:rPr>
              <a:t>Knowing</a:t>
            </a:r>
            <a:r>
              <a:rPr lang="de-CH" b="0" dirty="0">
                <a:latin typeface="Segoe UI Semibold" panose="020B0702040204020203" pitchFamily="34" charset="0"/>
                <a:cs typeface="Segoe UI Semibold" panose="020B0702040204020203" pitchFamily="34" charset="0"/>
              </a:rPr>
              <a:t> Who </a:t>
            </a:r>
            <a:r>
              <a:rPr lang="de-CH" b="0" dirty="0" err="1">
                <a:latin typeface="Segoe UI Semibold" panose="020B0702040204020203" pitchFamily="34" charset="0"/>
                <a:cs typeface="Segoe UI Semibold" panose="020B0702040204020203" pitchFamily="34" charset="0"/>
              </a:rPr>
              <a:t>to</a:t>
            </a:r>
            <a:r>
              <a:rPr lang="de-CH" b="0" dirty="0">
                <a:latin typeface="Segoe UI Semibold" panose="020B0702040204020203" pitchFamily="34" charset="0"/>
                <a:cs typeface="Segoe UI Semibold" panose="020B0702040204020203" pitchFamily="34" charset="0"/>
              </a:rPr>
              <a:t> Trust Even Harder</a:t>
            </a:r>
            <a:endParaRPr lang="de-CH" dirty="0"/>
          </a:p>
        </p:txBody>
      </p:sp>
      <p:grpSp>
        <p:nvGrpSpPr>
          <p:cNvPr id="34" name="Group 33">
            <a:extLst>
              <a:ext uri="{FF2B5EF4-FFF2-40B4-BE49-F238E27FC236}">
                <a16:creationId xmlns:a16="http://schemas.microsoft.com/office/drawing/2014/main" id="{DBCED625-2EA4-D075-3FD7-8139E9802058}"/>
              </a:ext>
            </a:extLst>
          </p:cNvPr>
          <p:cNvGrpSpPr/>
          <p:nvPr/>
        </p:nvGrpSpPr>
        <p:grpSpPr>
          <a:xfrm>
            <a:off x="625425" y="3232428"/>
            <a:ext cx="9953244" cy="2265521"/>
            <a:chOff x="625426" y="3219927"/>
            <a:chExt cx="9953244" cy="2265521"/>
          </a:xfrm>
        </p:grpSpPr>
        <p:grpSp>
          <p:nvGrpSpPr>
            <p:cNvPr id="30" name="Group 29">
              <a:extLst>
                <a:ext uri="{FF2B5EF4-FFF2-40B4-BE49-F238E27FC236}">
                  <a16:creationId xmlns:a16="http://schemas.microsoft.com/office/drawing/2014/main" id="{79D6889F-C184-6526-048E-B03180553B35}"/>
                </a:ext>
              </a:extLst>
            </p:cNvPr>
            <p:cNvGrpSpPr/>
            <p:nvPr/>
          </p:nvGrpSpPr>
          <p:grpSpPr>
            <a:xfrm>
              <a:off x="625426" y="3219927"/>
              <a:ext cx="9953244" cy="2265521"/>
              <a:chOff x="625426" y="3219927"/>
              <a:chExt cx="9953244" cy="2265521"/>
            </a:xfrm>
          </p:grpSpPr>
          <p:grpSp>
            <p:nvGrpSpPr>
              <p:cNvPr id="19" name="Group 18">
                <a:extLst>
                  <a:ext uri="{FF2B5EF4-FFF2-40B4-BE49-F238E27FC236}">
                    <a16:creationId xmlns:a16="http://schemas.microsoft.com/office/drawing/2014/main" id="{80D57B16-92CA-FCD0-D8EF-C408F0A0CCF7}"/>
                  </a:ext>
                </a:extLst>
              </p:cNvPr>
              <p:cNvGrpSpPr/>
              <p:nvPr/>
            </p:nvGrpSpPr>
            <p:grpSpPr>
              <a:xfrm>
                <a:off x="1531506" y="3998700"/>
                <a:ext cx="9047164" cy="1020066"/>
                <a:chOff x="319926" y="3643100"/>
                <a:chExt cx="9047164" cy="1020066"/>
              </a:xfrm>
            </p:grpSpPr>
            <p:graphicFrame>
              <p:nvGraphicFramePr>
                <p:cNvPr id="8" name="Diagram 7">
                  <a:extLst>
                    <a:ext uri="{FF2B5EF4-FFF2-40B4-BE49-F238E27FC236}">
                      <a16:creationId xmlns:a16="http://schemas.microsoft.com/office/drawing/2014/main" id="{E6F0CD85-79D8-DB4F-5B9F-46D4A0A65053}"/>
                    </a:ext>
                  </a:extLst>
                </p:cNvPr>
                <p:cNvGraphicFramePr/>
                <p:nvPr/>
              </p:nvGraphicFramePr>
              <p:xfrm>
                <a:off x="319926" y="3643100"/>
                <a:ext cx="9047164" cy="62687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13" name="Picture 12">
                  <a:extLst>
                    <a:ext uri="{FF2B5EF4-FFF2-40B4-BE49-F238E27FC236}">
                      <a16:creationId xmlns:a16="http://schemas.microsoft.com/office/drawing/2014/main" id="{94D4EF64-61C5-CCFA-5F0D-8EB3E8268646}"/>
                    </a:ext>
                  </a:extLst>
                </p:cNvPr>
                <p:cNvPicPr>
                  <a:picLocks noChangeAspect="1"/>
                </p:cNvPicPr>
                <p:nvPr/>
              </p:nvPicPr>
              <p:blipFill rotWithShape="1">
                <a:blip r:embed="rId18"/>
                <a:srcRect l="1" t="1" r="-1784" b="-17606"/>
                <a:stretch/>
              </p:blipFill>
              <p:spPr>
                <a:xfrm>
                  <a:off x="770336" y="4499884"/>
                  <a:ext cx="1452164" cy="163282"/>
                </a:xfrm>
                <a:prstGeom prst="rect">
                  <a:avLst/>
                </a:prstGeom>
              </p:spPr>
            </p:pic>
            <p:pic>
              <p:nvPicPr>
                <p:cNvPr id="14" name="Picture 13">
                  <a:extLst>
                    <a:ext uri="{FF2B5EF4-FFF2-40B4-BE49-F238E27FC236}">
                      <a16:creationId xmlns:a16="http://schemas.microsoft.com/office/drawing/2014/main" id="{B156CAF6-F728-541A-A3C6-C780AE08ADE6}"/>
                    </a:ext>
                  </a:extLst>
                </p:cNvPr>
                <p:cNvPicPr>
                  <a:picLocks noChangeAspect="1"/>
                </p:cNvPicPr>
                <p:nvPr/>
              </p:nvPicPr>
              <p:blipFill rotWithShape="1">
                <a:blip r:embed="rId18"/>
                <a:srcRect l="1" t="1" r="-1784" b="-17606"/>
                <a:stretch/>
              </p:blipFill>
              <p:spPr>
                <a:xfrm>
                  <a:off x="5220416" y="4499884"/>
                  <a:ext cx="1452164" cy="163282"/>
                </a:xfrm>
                <a:prstGeom prst="rect">
                  <a:avLst/>
                </a:prstGeom>
              </p:spPr>
            </p:pic>
            <p:pic>
              <p:nvPicPr>
                <p:cNvPr id="15" name="Picture 14">
                  <a:extLst>
                    <a:ext uri="{FF2B5EF4-FFF2-40B4-BE49-F238E27FC236}">
                      <a16:creationId xmlns:a16="http://schemas.microsoft.com/office/drawing/2014/main" id="{12A8BAE0-BA49-8F41-4CC3-E6E284CB81FB}"/>
                    </a:ext>
                  </a:extLst>
                </p:cNvPr>
                <p:cNvPicPr>
                  <a:picLocks noChangeAspect="1"/>
                </p:cNvPicPr>
                <p:nvPr/>
              </p:nvPicPr>
              <p:blipFill rotWithShape="1">
                <a:blip r:embed="rId18"/>
                <a:srcRect l="1" t="1" r="-1784" b="-17606"/>
                <a:stretch/>
              </p:blipFill>
              <p:spPr>
                <a:xfrm>
                  <a:off x="7437836" y="4499884"/>
                  <a:ext cx="1452164" cy="163282"/>
                </a:xfrm>
                <a:prstGeom prst="rect">
                  <a:avLst/>
                </a:prstGeom>
              </p:spPr>
            </p:pic>
          </p:grpSp>
          <p:pic>
            <p:nvPicPr>
              <p:cNvPr id="21" name="Picture 2" descr="ISO logo usage after Certification | ISOCertificateonline |">
                <a:extLst>
                  <a:ext uri="{FF2B5EF4-FFF2-40B4-BE49-F238E27FC236}">
                    <a16:creationId xmlns:a16="http://schemas.microsoft.com/office/drawing/2014/main" id="{9FF848A1-63DB-AD06-FBAF-C061A8021BC9}"/>
                  </a:ext>
                </a:extLst>
              </p:cNvPr>
              <p:cNvPicPr>
                <a:picLocks noChangeAspect="1" noChangeArrowheads="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5926987" y="4900920"/>
                <a:ext cx="505009" cy="41801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SO logo usage after Certification | ISOCertificateonline |">
                <a:extLst>
                  <a:ext uri="{FF2B5EF4-FFF2-40B4-BE49-F238E27FC236}">
                    <a16:creationId xmlns:a16="http://schemas.microsoft.com/office/drawing/2014/main" id="{AE72CE2B-DFDC-9FC1-E593-FA722C780D95}"/>
                  </a:ext>
                </a:extLst>
              </p:cNvPr>
              <p:cNvPicPr>
                <a:picLocks noChangeAspect="1" noChangeArrowheads="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8144407" y="4903638"/>
                <a:ext cx="505009" cy="41801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A picture containing electronics&#10;&#10;Description automatically generated">
                <a:extLst>
                  <a:ext uri="{FF2B5EF4-FFF2-40B4-BE49-F238E27FC236}">
                    <a16:creationId xmlns:a16="http://schemas.microsoft.com/office/drawing/2014/main" id="{CC19D6DB-645B-DB69-B861-6D30373F507D}"/>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4959" b="94215" l="5417" r="93542">
                            <a14:foregroundMark x1="5417" y1="34298" x2="9583" y2="38430"/>
                            <a14:foregroundMark x1="51875" y1="11364" x2="56875" y2="8058"/>
                            <a14:foregroundMark x1="60625" y1="7438" x2="60208" y2="5165"/>
                            <a14:foregroundMark x1="42292" y1="87603" x2="40625" y2="90909"/>
                            <a14:foregroundMark x1="38125" y1="93802" x2="38125" y2="94421"/>
                            <a14:foregroundMark x1="86875" y1="50620" x2="90625" y2="52686"/>
                            <a14:foregroundMark x1="93333" y1="59917" x2="93542" y2="58678"/>
                          </a14:backgroundRemoval>
                        </a14:imgEffect>
                      </a14:imgLayer>
                    </a14:imgProps>
                  </a:ext>
                </a:extLst>
              </a:blip>
              <a:stretch>
                <a:fillRect/>
              </a:stretch>
            </p:blipFill>
            <p:spPr>
              <a:xfrm>
                <a:off x="625426" y="3219927"/>
                <a:ext cx="1143695" cy="1153226"/>
              </a:xfrm>
              <a:prstGeom prst="rect">
                <a:avLst/>
              </a:prstGeom>
              <a:effectLst/>
            </p:spPr>
          </p:pic>
          <p:pic>
            <p:nvPicPr>
              <p:cNvPr id="26" name="Picture 25" descr="Graphical user interface, application, table&#10;&#10;Description automatically generated">
                <a:extLst>
                  <a:ext uri="{FF2B5EF4-FFF2-40B4-BE49-F238E27FC236}">
                    <a16:creationId xmlns:a16="http://schemas.microsoft.com/office/drawing/2014/main" id="{B13C18CB-4040-556D-A0D9-C356B9957966}"/>
                  </a:ext>
                </a:extLst>
              </p:cNvPr>
              <p:cNvPicPr>
                <a:picLocks noChangeAspect="1"/>
              </p:cNvPicPr>
              <p:nvPr/>
            </p:nvPicPr>
            <p:blipFill rotWithShape="1">
              <a:blip r:embed="rId19"/>
              <a:srcRect t="655" r="50499" b="1378"/>
              <a:stretch/>
            </p:blipFill>
            <p:spPr>
              <a:xfrm>
                <a:off x="780209" y="3995609"/>
                <a:ext cx="1071584" cy="1489839"/>
              </a:xfrm>
              <a:prstGeom prst="rect">
                <a:avLst/>
              </a:prstGeom>
              <a:noFill/>
              <a:ln>
                <a:solidFill>
                  <a:schemeClr val="tx1"/>
                </a:solidFill>
              </a:ln>
            </p:spPr>
          </p:pic>
        </p:grpSp>
        <p:cxnSp>
          <p:nvCxnSpPr>
            <p:cNvPr id="33" name="Straight Arrow Connector 32">
              <a:extLst>
                <a:ext uri="{FF2B5EF4-FFF2-40B4-BE49-F238E27FC236}">
                  <a16:creationId xmlns:a16="http://schemas.microsoft.com/office/drawing/2014/main" id="{E57E103F-2416-BF76-551B-1B5E958B2145}"/>
                </a:ext>
              </a:extLst>
            </p:cNvPr>
            <p:cNvCxnSpPr/>
            <p:nvPr/>
          </p:nvCxnSpPr>
          <p:spPr>
            <a:xfrm flipH="1">
              <a:off x="7094608" y="3596561"/>
              <a:ext cx="129211" cy="348791"/>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3776FD79-9CC2-9CAB-0E05-4510AFB06BD5}"/>
              </a:ext>
            </a:extLst>
          </p:cNvPr>
          <p:cNvSpPr txBox="1"/>
          <p:nvPr/>
        </p:nvSpPr>
        <p:spPr>
          <a:xfrm>
            <a:off x="2378514" y="2572692"/>
            <a:ext cx="3234886" cy="4001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2000" b="1"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B</a:t>
            </a:r>
            <a:r>
              <a:rPr kumimoji="0" lang="de-CH" sz="2000" b="0"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elive-</a:t>
            </a:r>
            <a:r>
              <a:rPr kumimoji="0" lang="de-CH" sz="2000" b="1"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m</a:t>
            </a:r>
            <a:r>
              <a:rPr kumimoji="0" lang="de-CH" sz="2000" b="0"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e-</a:t>
            </a:r>
            <a:r>
              <a:rPr kumimoji="0" lang="de-CH" sz="2000" b="1"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i</a:t>
            </a:r>
            <a:r>
              <a:rPr kumimoji="0" lang="de-CH" sz="2000" b="0"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t’s-</a:t>
            </a:r>
            <a:r>
              <a:rPr kumimoji="0" lang="de-CH" sz="2000" b="1"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t</a:t>
            </a:r>
            <a:r>
              <a:rPr kumimoji="0" lang="de-CH" sz="2000" b="0"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rue</a:t>
            </a:r>
            <a:r>
              <a:rPr kumimoji="0" lang="de-CH" sz="2000" b="0" i="0" u="none" strike="noStrike" kern="120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rPr>
              <a:t> (BMIT)</a:t>
            </a:r>
          </a:p>
        </p:txBody>
      </p:sp>
      <p:sp>
        <p:nvSpPr>
          <p:cNvPr id="3" name="TextBox 2">
            <a:extLst>
              <a:ext uri="{FF2B5EF4-FFF2-40B4-BE49-F238E27FC236}">
                <a16:creationId xmlns:a16="http://schemas.microsoft.com/office/drawing/2014/main" id="{1AB6BCC4-D2A3-07D8-4672-F9F0C7DA581B}"/>
              </a:ext>
            </a:extLst>
          </p:cNvPr>
          <p:cNvSpPr txBox="1"/>
          <p:nvPr/>
        </p:nvSpPr>
        <p:spPr>
          <a:xfrm>
            <a:off x="213493" y="1256990"/>
            <a:ext cx="1638300" cy="4001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Some</a:t>
            </a:r>
            <a:r>
              <a:rPr kumimoji="0" lang="de-CH" sz="2000" b="0" i="0" u="none" strike="noStrike" kern="120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rPr>
              <a:t> </a:t>
            </a:r>
            <a:r>
              <a:rPr kumimoji="0" lang="de-CH" sz="2000" b="0" i="0" u="none" strike="noStrike" kern="1200" cap="none" spc="0" normalizeH="0" baseline="0" noProof="0" dirty="0" err="1">
                <a:ln>
                  <a:noFill/>
                </a:ln>
                <a:solidFill>
                  <a:srgbClr val="C00000"/>
                </a:solidFill>
                <a:effectLst/>
                <a:uLnTx/>
                <a:uFillTx/>
                <a:latin typeface="Segoe UI" panose="020B0502040204020203" pitchFamily="34" charset="0"/>
                <a:ea typeface="+mn-ea"/>
                <a:cs typeface="Segoe UI" panose="020B0502040204020203" pitchFamily="34" charset="0"/>
              </a:rPr>
              <a:t>sensor</a:t>
            </a:r>
            <a:endParaRPr kumimoji="0" lang="de-CH" sz="2000" b="0" i="0" u="none" strike="noStrike" kern="120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97585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09001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E324A-2E67-4591-94DF-45E9DB277058}"/>
              </a:ext>
            </a:extLst>
          </p:cNvPr>
          <p:cNvSpPr>
            <a:spLocks noGrp="1"/>
          </p:cNvSpPr>
          <p:nvPr>
            <p:ph type="title"/>
          </p:nvPr>
        </p:nvSpPr>
        <p:spPr/>
        <p:txBody>
          <a:bodyPr/>
          <a:lstStyle/>
          <a:p>
            <a:r>
              <a:rPr lang="en-US" b="0" dirty="0">
                <a:latin typeface="Segoe UI Semibold" panose="020B0702040204020203" pitchFamily="34" charset="0"/>
                <a:cs typeface="Segoe UI Semibold" panose="020B0702040204020203" pitchFamily="34" charset="0"/>
              </a:rPr>
              <a:t>Roadmap – SHT43</a:t>
            </a:r>
          </a:p>
        </p:txBody>
      </p:sp>
      <p:sp>
        <p:nvSpPr>
          <p:cNvPr id="4" name="Slide Number Placeholder 3">
            <a:extLst>
              <a:ext uri="{FF2B5EF4-FFF2-40B4-BE49-F238E27FC236}">
                <a16:creationId xmlns:a16="http://schemas.microsoft.com/office/drawing/2014/main" id="{3422C334-0C50-4CEA-AEC1-87E02DEFABC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82950B1-C7CF-425D-9A48-9AE722F4F236}" type="slidenum">
              <a:rPr kumimoji="0" lang="en-US" sz="1100" b="0" i="0" u="none" strike="noStrike" kern="1200" cap="none" spc="0" normalizeH="0" baseline="0" noProof="0" smtClean="0">
                <a:ln>
                  <a:noFill/>
                </a:ln>
                <a:solidFill>
                  <a:srgbClr val="000000"/>
                </a:solidFill>
                <a:effectLst/>
                <a:uLnTx/>
                <a:uFillTx/>
                <a:latin typeface="Arial Narrow"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sz="11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9" name="Content Placeholder 2">
            <a:extLst>
              <a:ext uri="{FF2B5EF4-FFF2-40B4-BE49-F238E27FC236}">
                <a16:creationId xmlns:a16="http://schemas.microsoft.com/office/drawing/2014/main" id="{4143E658-6969-7F93-66FE-F1C6D92B5822}"/>
              </a:ext>
            </a:extLst>
          </p:cNvPr>
          <p:cNvSpPr>
            <a:spLocks noGrp="1"/>
          </p:cNvSpPr>
          <p:nvPr>
            <p:ph idx="1"/>
          </p:nvPr>
        </p:nvSpPr>
        <p:spPr>
          <a:xfrm>
            <a:off x="839788" y="908049"/>
            <a:ext cx="10512426" cy="5328000"/>
          </a:xfrm>
        </p:spPr>
        <p:txBody>
          <a:bodyPr/>
          <a:lstStyle/>
          <a:p>
            <a:pPr marL="342900" indent="-342900">
              <a:buFont typeface="Arial" panose="020B0604020202020204" pitchFamily="34" charset="0"/>
              <a:buChar char="•"/>
            </a:pPr>
            <a:r>
              <a:rPr lang="de-CH" dirty="0">
                <a:solidFill>
                  <a:schemeClr val="bg1"/>
                </a:solidFill>
                <a:latin typeface="Segoe UI" panose="020B0502040204020203" pitchFamily="34" charset="0"/>
                <a:cs typeface="Segoe UI" panose="020B0502040204020203" pitchFamily="34" charset="0"/>
              </a:rPr>
              <a:t>Key </a:t>
            </a:r>
            <a:r>
              <a:rPr lang="de-CH" dirty="0" err="1">
                <a:solidFill>
                  <a:schemeClr val="bg1"/>
                </a:solidFill>
                <a:latin typeface="Segoe UI" panose="020B0502040204020203" pitchFamily="34" charset="0"/>
                <a:cs typeface="Segoe UI" panose="020B0502040204020203" pitchFamily="34" charset="0"/>
              </a:rPr>
              <a:t>product</a:t>
            </a:r>
            <a:r>
              <a:rPr lang="de-CH" dirty="0">
                <a:solidFill>
                  <a:schemeClr val="bg1"/>
                </a:solidFill>
                <a:latin typeface="Segoe UI" panose="020B0502040204020203" pitchFamily="34" charset="0"/>
                <a:cs typeface="Segoe UI" panose="020B0502040204020203" pitchFamily="34" charset="0"/>
              </a:rPr>
              <a:t> </a:t>
            </a:r>
            <a:r>
              <a:rPr lang="de-CH" dirty="0" err="1">
                <a:solidFill>
                  <a:schemeClr val="bg1"/>
                </a:solidFill>
                <a:latin typeface="Segoe UI" panose="020B0502040204020203" pitchFamily="34" charset="0"/>
                <a:cs typeface="Segoe UI" panose="020B0502040204020203" pitchFamily="34" charset="0"/>
              </a:rPr>
              <a:t>specs</a:t>
            </a:r>
            <a:endParaRPr lang="de-CH" dirty="0">
              <a:solidFill>
                <a:schemeClr val="bg1"/>
              </a:solidFill>
              <a:latin typeface="Segoe UI" panose="020B0502040204020203" pitchFamily="34" charset="0"/>
              <a:cs typeface="Segoe UI" panose="020B0502040204020203" pitchFamily="34" charset="0"/>
            </a:endParaRPr>
          </a:p>
          <a:p>
            <a:pPr marL="558900" lvl="1" indent="-342900">
              <a:buFont typeface="Arial" panose="020B0604020202020204" pitchFamily="34" charset="0"/>
              <a:buChar char="•"/>
            </a:pPr>
            <a:endParaRPr lang="de-CH" dirty="0">
              <a:solidFill>
                <a:schemeClr val="bg1"/>
              </a:solidFill>
              <a:latin typeface="Segoe UI" panose="020B0502040204020203" pitchFamily="34" charset="0"/>
              <a:cs typeface="Segoe UI" panose="020B0502040204020203" pitchFamily="34" charset="0"/>
            </a:endParaRPr>
          </a:p>
          <a:p>
            <a:pPr marL="558900" lvl="1" indent="-342900">
              <a:buFont typeface="Arial" panose="020B0604020202020204" pitchFamily="34" charset="0"/>
              <a:buChar char="•"/>
            </a:pPr>
            <a:endParaRPr lang="de-CH" dirty="0">
              <a:solidFill>
                <a:schemeClr val="bg1"/>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de-CH" dirty="0">
              <a:solidFill>
                <a:schemeClr val="bg1"/>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de-CH" dirty="0">
              <a:solidFill>
                <a:schemeClr val="bg1"/>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de-CH" dirty="0">
              <a:solidFill>
                <a:schemeClr val="bg1"/>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de-CH" dirty="0">
              <a:solidFill>
                <a:schemeClr val="bg1"/>
              </a:solidFill>
              <a:latin typeface="Segoe UI" panose="020B0502040204020203" pitchFamily="34" charset="0"/>
              <a:cs typeface="Segoe UI" panose="020B0502040204020203" pitchFamily="34" charset="0"/>
            </a:endParaRPr>
          </a:p>
          <a:p>
            <a:endParaRPr lang="de-CH" sz="1000" dirty="0">
              <a:solidFill>
                <a:schemeClr val="bg1"/>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de-CH" dirty="0">
                <a:solidFill>
                  <a:schemeClr val="bg1"/>
                </a:solidFill>
                <a:latin typeface="Segoe UI" panose="020B0502040204020203" pitchFamily="34" charset="0"/>
                <a:cs typeface="Segoe UI" panose="020B0502040204020203" pitchFamily="34" charset="0"/>
              </a:rPr>
              <a:t>Timeline</a:t>
            </a:r>
          </a:p>
        </p:txBody>
      </p:sp>
      <p:grpSp>
        <p:nvGrpSpPr>
          <p:cNvPr id="5" name="Group 4">
            <a:extLst>
              <a:ext uri="{FF2B5EF4-FFF2-40B4-BE49-F238E27FC236}">
                <a16:creationId xmlns:a16="http://schemas.microsoft.com/office/drawing/2014/main" id="{0A39F023-001F-6C17-BE56-FB7C9E454439}"/>
              </a:ext>
            </a:extLst>
          </p:cNvPr>
          <p:cNvGrpSpPr/>
          <p:nvPr/>
        </p:nvGrpSpPr>
        <p:grpSpPr>
          <a:xfrm>
            <a:off x="5672666" y="59132"/>
            <a:ext cx="4779433" cy="741157"/>
            <a:chOff x="5746822" y="728644"/>
            <a:chExt cx="5869072" cy="916689"/>
          </a:xfrm>
        </p:grpSpPr>
        <p:pic>
          <p:nvPicPr>
            <p:cNvPr id="6" name="Picture 2">
              <a:extLst>
                <a:ext uri="{FF2B5EF4-FFF2-40B4-BE49-F238E27FC236}">
                  <a16:creationId xmlns:a16="http://schemas.microsoft.com/office/drawing/2014/main" id="{2B32D1F8-81DB-88F1-9E8B-8FDE2F8F7B28}"/>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3711" b="94727" l="4297" r="94922">
                          <a14:foregroundMark x1="40820" y1="26172" x2="40820" y2="26172"/>
                          <a14:foregroundMark x1="46094" y1="20703" x2="46094" y2="20703"/>
                          <a14:foregroundMark x1="56250" y1="65234" x2="56250" y2="65234"/>
                          <a14:foregroundMark x1="55664" y1="72070" x2="55664" y2="72070"/>
                          <a14:foregroundMark x1="55469" y1="79883" x2="55469" y2="79883"/>
                          <a14:foregroundMark x1="49805" y1="4883" x2="49805" y2="4883"/>
                          <a14:foregroundMark x1="61133" y1="7422" x2="61133" y2="7422"/>
                          <a14:foregroundMark x1="71680" y1="11914" x2="71680" y2="11914"/>
                          <a14:foregroundMark x1="79492" y1="20117" x2="79492" y2="20117"/>
                          <a14:foregroundMark x1="86328" y1="28320" x2="86328" y2="28320"/>
                          <a14:foregroundMark x1="90625" y1="38867" x2="90625" y2="38867"/>
                          <a14:foregroundMark x1="94922" y1="37695" x2="94922" y2="37695"/>
                          <a14:foregroundMark x1="93945" y1="49609" x2="93945" y2="49609"/>
                          <a14:foregroundMark x1="93164" y1="61133" x2="93164" y2="61133"/>
                          <a14:foregroundMark x1="88086" y1="71680" x2="88086" y2="71680"/>
                          <a14:foregroundMark x1="81250" y1="81641" x2="81250" y2="81641"/>
                          <a14:foregroundMark x1="70117" y1="84961" x2="70117" y2="84961"/>
                          <a14:foregroundMark x1="60742" y1="90039" x2="60742" y2="90039"/>
                          <a14:foregroundMark x1="61914" y1="94141" x2="61914" y2="94141"/>
                          <a14:foregroundMark x1="50000" y1="90820" x2="50000" y2="90820"/>
                          <a14:foregroundMark x1="39258" y1="89844" x2="39258" y2="89844"/>
                          <a14:foregroundMark x1="28516" y1="86719" x2="28516" y2="86719"/>
                          <a14:foregroundMark x1="20898" y1="78516" x2="20898" y2="78516"/>
                          <a14:foregroundMark x1="13281" y1="71094" x2="13281" y2="71094"/>
                          <a14:foregroundMark x1="8594" y1="60742" x2="8594" y2="60742"/>
                          <a14:foregroundMark x1="4297" y1="62109" x2="4297" y2="62109"/>
                          <a14:foregroundMark x1="6836" y1="49414" x2="6836" y2="49414"/>
                          <a14:foregroundMark x1="8008" y1="38672" x2="8008" y2="38672"/>
                          <a14:foregroundMark x1="12891" y1="28320" x2="12891" y2="28320"/>
                          <a14:foregroundMark x1="20313" y1="20313" x2="20313" y2="20313"/>
                          <a14:foregroundMark x1="28711" y1="13281" x2="28711" y2="13281"/>
                          <a14:foregroundMark x1="38867" y1="7617" x2="38867" y2="7617"/>
                          <a14:foregroundMark x1="53906" y1="3906" x2="53906" y2="3906"/>
                          <a14:foregroundMark x1="58203" y1="4297" x2="58203" y2="4297"/>
                          <a14:foregroundMark x1="65234" y1="7031" x2="65234" y2="7031"/>
                          <a14:foregroundMark x1="69336" y1="8398" x2="69336" y2="8398"/>
                          <a14:foregroundMark x1="76367" y1="12500" x2="76367" y2="12500"/>
                          <a14:foregroundMark x1="79492" y1="14648" x2="79492" y2="14648"/>
                          <a14:foregroundMark x1="84766" y1="20117" x2="84766" y2="20117"/>
                          <a14:foregroundMark x1="87500" y1="23828" x2="87500" y2="23828"/>
                          <a14:foregroundMark x1="91016" y1="30664" x2="91016" y2="30664"/>
                          <a14:foregroundMark x1="92773" y1="34375" x2="92773" y2="34375"/>
                          <a14:foregroundMark x1="94336" y1="41602" x2="94336" y2="41602"/>
                          <a14:foregroundMark x1="94922" y1="45898" x2="94922" y2="45898"/>
                          <a14:foregroundMark x1="95117" y1="53711" x2="95117" y2="53711"/>
                          <a14:foregroundMark x1="94727" y1="57813" x2="94727" y2="57813"/>
                          <a14:foregroundMark x1="92773" y1="65430" x2="92773" y2="65430"/>
                          <a14:foregroundMark x1="91406" y1="68945" x2="91406" y2="68945"/>
                          <a14:foregroundMark x1="87500" y1="75977" x2="87500" y2="75977"/>
                          <a14:foregroundMark x1="85352" y1="79883" x2="85352" y2="79883"/>
                          <a14:foregroundMark x1="79492" y1="84570" x2="79492" y2="84570"/>
                          <a14:foregroundMark x1="76758" y1="88086" x2="76758" y2="88086"/>
                          <a14:foregroundMark x1="68945" y1="90430" x2="68945" y2="90430"/>
                          <a14:foregroundMark x1="65039" y1="91992" x2="65039" y2="91992"/>
                          <a14:foregroundMark x1="58008" y1="94141" x2="58008" y2="94141"/>
                          <a14:foregroundMark x1="53906" y1="94727" x2="53906" y2="94727"/>
                          <a14:foregroundMark x1="46094" y1="94727" x2="46094" y2="94727"/>
                          <a14:foregroundMark x1="41797" y1="93945" x2="41797" y2="93945"/>
                          <a14:foregroundMark x1="34180" y1="91992" x2="34180" y2="91992"/>
                          <a14:foregroundMark x1="30469" y1="90820" x2="30469" y2="90820"/>
                          <a14:foregroundMark x1="24023" y1="86523" x2="24023" y2="86523"/>
                          <a14:foregroundMark x1="21289" y1="83984" x2="21289" y2="83984"/>
                          <a14:foregroundMark x1="15234" y1="78516" x2="15234" y2="78516"/>
                          <a14:foregroundMark x1="12305" y1="75781" x2="12305" y2="75781"/>
                          <a14:foregroundMark x1="8984" y1="68750" x2="8984" y2="68750"/>
                          <a14:foregroundMark x1="7813" y1="65039" x2="7813" y2="65039"/>
                          <a14:foregroundMark x1="5664" y1="57617" x2="5664" y2="57617"/>
                          <a14:foregroundMark x1="5859" y1="53320" x2="5859" y2="53320"/>
                          <a14:foregroundMark x1="5469" y1="45898" x2="5469" y2="45898"/>
                          <a14:foregroundMark x1="5664" y1="42188" x2="5664" y2="42188"/>
                          <a14:foregroundMark x1="7031" y1="33789" x2="7031" y2="33789"/>
                          <a14:foregroundMark x1="8789" y1="30273" x2="8789" y2="30273"/>
                          <a14:foregroundMark x1="12891" y1="23828" x2="12891" y2="23828"/>
                          <a14:foregroundMark x1="15039" y1="20508" x2="15039" y2="20508"/>
                          <a14:foregroundMark x1="20508" y1="15039" x2="20508" y2="15039"/>
                          <a14:foregroundMark x1="23633" y1="12109" x2="23633" y2="12109"/>
                          <a14:foregroundMark x1="30273" y1="7813" x2="30273" y2="7813"/>
                          <a14:foregroundMark x1="34375" y1="6836" x2="34375" y2="6836"/>
                          <a14:foregroundMark x1="41602" y1="3711" x2="41602" y2="3711"/>
                          <a14:foregroundMark x1="46094" y1="3711" x2="46094" y2="3711"/>
                          <a14:backgroundMark x1="37109" y1="52539" x2="37109" y2="52539"/>
                          <a14:backgroundMark x1="37109" y1="59375" x2="37109" y2="59375"/>
                          <a14:backgroundMark x1="59961" y1="46680" x2="59961" y2="46680"/>
                          <a14:backgroundMark x1="59570" y1="52539" x2="59570" y2="52539"/>
                          <a14:backgroundMark x1="71875" y1="42188" x2="71875" y2="42188"/>
                          <a14:backgroundMark x1="49805" y1="46094" x2="49805" y2="46094"/>
                        </a14:backgroundRemoval>
                      </a14:imgEffect>
                      <a14:imgEffect>
                        <a14:colorTemperature colorTemp="11500"/>
                      </a14:imgEffect>
                      <a14:imgEffect>
                        <a14:brightnessContrast bright="54000" contrast="-40000"/>
                      </a14:imgEffect>
                    </a14:imgLayer>
                  </a14:imgProps>
                </a:ext>
                <a:ext uri="{28A0092B-C50C-407E-A947-70E740481C1C}">
                  <a14:useLocalDpi xmlns:a14="http://schemas.microsoft.com/office/drawing/2010/main" val="0"/>
                </a:ext>
              </a:extLst>
            </a:blip>
            <a:srcRect/>
            <a:stretch>
              <a:fillRect/>
            </a:stretch>
          </p:blipFill>
          <p:spPr bwMode="auto">
            <a:xfrm>
              <a:off x="6853322" y="728644"/>
              <a:ext cx="916689" cy="91668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ow The NIST Privacy Framework Will Help Manage Data Safely">
              <a:extLst>
                <a:ext uri="{FF2B5EF4-FFF2-40B4-BE49-F238E27FC236}">
                  <a16:creationId xmlns:a16="http://schemas.microsoft.com/office/drawing/2014/main" id="{8E18B97A-9044-2C96-33DB-070E49A6FE7D}"/>
                </a:ext>
              </a:extLst>
            </p:cNvPr>
            <p:cNvPicPr>
              <a:picLocks noChangeAspect="1" noChangeArrowheads="1"/>
            </p:cNvPicPr>
            <p:nvPr/>
          </p:nvPicPr>
          <p:blipFill rotWithShape="1">
            <a:blip r:embed="rId5" cstate="print">
              <a:lum bright="70000" contrast="-70000"/>
              <a:extLst>
                <a:ext uri="{BEBA8EAE-BF5A-486C-A8C5-ECC9F3942E4B}">
                  <a14:imgProps xmlns:a14="http://schemas.microsoft.com/office/drawing/2010/main">
                    <a14:imgLayer r:embed="rId6">
                      <a14:imgEffect>
                        <a14:backgroundRemoval t="10000" b="90000" l="10000" r="90000">
                          <a14:foregroundMark x1="40313" y1="42917" x2="39219" y2="49167"/>
                        </a14:backgroundRemoval>
                      </a14:imgEffect>
                    </a14:imgLayer>
                  </a14:imgProps>
                </a:ext>
                <a:ext uri="{28A0092B-C50C-407E-A947-70E740481C1C}">
                  <a14:useLocalDpi xmlns:a14="http://schemas.microsoft.com/office/drawing/2010/main" val="0"/>
                </a:ext>
              </a:extLst>
            </a:blip>
            <a:srcRect l="15849" t="34159" r="11879" b="35838"/>
            <a:stretch/>
          </p:blipFill>
          <p:spPr bwMode="auto">
            <a:xfrm>
              <a:off x="5746822" y="1028885"/>
              <a:ext cx="1015579" cy="31620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Schweizerische Eidgenossenschaft - Crunchbase Company Profile &amp; Funding">
              <a:extLst>
                <a:ext uri="{FF2B5EF4-FFF2-40B4-BE49-F238E27FC236}">
                  <a16:creationId xmlns:a16="http://schemas.microsoft.com/office/drawing/2014/main" id="{50F3F4F8-D5B3-FADB-7CF3-3B55C58A4DBA}"/>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foregroundMark x1="38667" y1="28889" x2="68000" y2="65333"/>
                          <a14:foregroundMark x1="68000" y1="65333" x2="43111" y2="52444"/>
                          <a14:foregroundMark x1="43111" y1="52444" x2="40889" y2="39556"/>
                          <a14:foregroundMark x1="53333" y1="41333" x2="46667" y2="28000"/>
                          <a14:foregroundMark x1="61333" y1="42667" x2="64889" y2="48444"/>
                          <a14:foregroundMark x1="33333" y1="47556" x2="40889" y2="43556"/>
                          <a14:foregroundMark x1="47111" y1="53778" x2="51556" y2="65778"/>
                        </a14:backgroundRemoval>
                      </a14:imgEffect>
                    </a14:imgLayer>
                  </a14:imgProps>
                </a:ext>
                <a:ext uri="{28A0092B-C50C-407E-A947-70E740481C1C}">
                  <a14:useLocalDpi xmlns:a14="http://schemas.microsoft.com/office/drawing/2010/main" val="0"/>
                </a:ext>
              </a:extLst>
            </a:blip>
            <a:srcRect/>
            <a:stretch>
              <a:fillRect/>
            </a:stretch>
          </p:blipFill>
          <p:spPr bwMode="auto">
            <a:xfrm>
              <a:off x="8021596" y="1068970"/>
              <a:ext cx="274136" cy="27413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A37D2F4-39D0-67C8-148A-495206B7ADBF}"/>
                </a:ext>
              </a:extLst>
            </p:cNvPr>
            <p:cNvSpPr txBox="1"/>
            <p:nvPr/>
          </p:nvSpPr>
          <p:spPr>
            <a:xfrm>
              <a:off x="8210007" y="1057379"/>
              <a:ext cx="3405887" cy="25391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ccreditation number: SCS 0158</a:t>
              </a:r>
            </a:p>
          </p:txBody>
        </p:sp>
      </p:grpSp>
      <p:pic>
        <p:nvPicPr>
          <p:cNvPr id="16" name="Picture 15" descr="A picture containing electronics&#10;&#10;Description automatically generated">
            <a:extLst>
              <a:ext uri="{FF2B5EF4-FFF2-40B4-BE49-F238E27FC236}">
                <a16:creationId xmlns:a16="http://schemas.microsoft.com/office/drawing/2014/main" id="{013921C6-4ADB-187A-16ED-7F79F3F8D11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3669" y="-68087"/>
            <a:ext cx="2331719" cy="1458101"/>
          </a:xfrm>
          <a:prstGeom prst="rect">
            <a:avLst/>
          </a:prstGeom>
        </p:spPr>
      </p:pic>
      <p:grpSp>
        <p:nvGrpSpPr>
          <p:cNvPr id="28" name="Group 27">
            <a:extLst>
              <a:ext uri="{FF2B5EF4-FFF2-40B4-BE49-F238E27FC236}">
                <a16:creationId xmlns:a16="http://schemas.microsoft.com/office/drawing/2014/main" id="{7C94FF36-AC1B-8854-A916-E9AE963F220D}"/>
              </a:ext>
            </a:extLst>
          </p:cNvPr>
          <p:cNvGrpSpPr/>
          <p:nvPr/>
        </p:nvGrpSpPr>
        <p:grpSpPr>
          <a:xfrm>
            <a:off x="6770670" y="1108690"/>
            <a:ext cx="5021468" cy="2515182"/>
            <a:chOff x="7650417" y="1394212"/>
            <a:chExt cx="3528504" cy="1758563"/>
          </a:xfrm>
        </p:grpSpPr>
        <p:graphicFrame>
          <p:nvGraphicFramePr>
            <p:cNvPr id="30" name="Chart 29">
              <a:extLst>
                <a:ext uri="{FF2B5EF4-FFF2-40B4-BE49-F238E27FC236}">
                  <a16:creationId xmlns:a16="http://schemas.microsoft.com/office/drawing/2014/main" id="{04BF69BE-38D5-90CF-4F45-564A34E5DB76}"/>
                </a:ext>
              </a:extLst>
            </p:cNvPr>
            <p:cNvGraphicFramePr/>
            <p:nvPr/>
          </p:nvGraphicFramePr>
          <p:xfrm>
            <a:off x="7650417" y="1394212"/>
            <a:ext cx="2391145" cy="1758563"/>
          </p:xfrm>
          <a:graphic>
            <a:graphicData uri="http://schemas.openxmlformats.org/drawingml/2006/chart">
              <c:chart xmlns:c="http://schemas.openxmlformats.org/drawingml/2006/chart" xmlns:r="http://schemas.openxmlformats.org/officeDocument/2006/relationships" r:id="rId10"/>
            </a:graphicData>
          </a:graphic>
        </p:graphicFrame>
        <p:pic>
          <p:nvPicPr>
            <p:cNvPr id="31" name="Picture 30" descr="Graphical user interface, application, table&#10;&#10;Description automatically generated">
              <a:extLst>
                <a:ext uri="{FF2B5EF4-FFF2-40B4-BE49-F238E27FC236}">
                  <a16:creationId xmlns:a16="http://schemas.microsoft.com/office/drawing/2014/main" id="{5EE6F76E-56D9-AF38-CA8F-9FB59EB84005}"/>
                </a:ext>
              </a:extLst>
            </p:cNvPr>
            <p:cNvPicPr>
              <a:picLocks noChangeAspect="1"/>
            </p:cNvPicPr>
            <p:nvPr/>
          </p:nvPicPr>
          <p:blipFill rotWithShape="1">
            <a:blip r:embed="rId11"/>
            <a:srcRect t="655" r="50499" b="1378"/>
            <a:stretch/>
          </p:blipFill>
          <p:spPr>
            <a:xfrm>
              <a:off x="10107337" y="1515507"/>
              <a:ext cx="1071584" cy="1489839"/>
            </a:xfrm>
            <a:prstGeom prst="rect">
              <a:avLst/>
            </a:prstGeom>
            <a:noFill/>
            <a:ln>
              <a:solidFill>
                <a:schemeClr val="tx1"/>
              </a:solidFill>
            </a:ln>
          </p:spPr>
        </p:pic>
        <p:sp>
          <p:nvSpPr>
            <p:cNvPr id="32" name="TextBox 31">
              <a:extLst>
                <a:ext uri="{FF2B5EF4-FFF2-40B4-BE49-F238E27FC236}">
                  <a16:creationId xmlns:a16="http://schemas.microsoft.com/office/drawing/2014/main" id="{C90AD5A5-7941-BE0D-0703-A0860B927CA2}"/>
                </a:ext>
              </a:extLst>
            </p:cNvPr>
            <p:cNvSpPr txBox="1"/>
            <p:nvPr/>
          </p:nvSpPr>
          <p:spPr>
            <a:xfrm>
              <a:off x="8543617" y="1919684"/>
              <a:ext cx="1501809" cy="17753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Narrow"/>
                  <a:ea typeface="+mn-ea"/>
                  <a:cs typeface="Segoe UI" panose="020B0502040204020203" pitchFamily="34" charset="0"/>
                </a:rPr>
                <a:t>calibration temperatures</a:t>
              </a:r>
            </a:p>
          </p:txBody>
        </p:sp>
        <p:sp>
          <p:nvSpPr>
            <p:cNvPr id="33" name="Rectangle 32">
              <a:extLst>
                <a:ext uri="{FF2B5EF4-FFF2-40B4-BE49-F238E27FC236}">
                  <a16:creationId xmlns:a16="http://schemas.microsoft.com/office/drawing/2014/main" id="{2B819D76-64A1-FF23-5D8D-1EDED12AAB35}"/>
                </a:ext>
              </a:extLst>
            </p:cNvPr>
            <p:cNvSpPr/>
            <p:nvPr/>
          </p:nvSpPr>
          <p:spPr>
            <a:xfrm>
              <a:off x="8491896" y="1966466"/>
              <a:ext cx="31308" cy="78119"/>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Narrow"/>
                <a:ea typeface="+mn-ea"/>
                <a:cs typeface="+mn-cs"/>
              </a:endParaRPr>
            </a:p>
          </p:txBody>
        </p:sp>
        <p:sp>
          <p:nvSpPr>
            <p:cNvPr id="34" name="Rectangle 11">
              <a:extLst>
                <a:ext uri="{FF2B5EF4-FFF2-40B4-BE49-F238E27FC236}">
                  <a16:creationId xmlns:a16="http://schemas.microsoft.com/office/drawing/2014/main" id="{B11C06C7-5093-99E4-76B5-AB9E7B80833F}"/>
                </a:ext>
              </a:extLst>
            </p:cNvPr>
            <p:cNvSpPr/>
            <p:nvPr/>
          </p:nvSpPr>
          <p:spPr>
            <a:xfrm flipH="1">
              <a:off x="9871710" y="1513077"/>
              <a:ext cx="241556" cy="1493804"/>
            </a:xfrm>
            <a:custGeom>
              <a:avLst/>
              <a:gdLst>
                <a:gd name="connsiteX0" fmla="*/ 0 w 3828464"/>
                <a:gd name="connsiteY0" fmla="*/ 0 h 2233613"/>
                <a:gd name="connsiteX1" fmla="*/ 3828464 w 3828464"/>
                <a:gd name="connsiteY1" fmla="*/ 0 h 2233613"/>
                <a:gd name="connsiteX2" fmla="*/ 3828464 w 3828464"/>
                <a:gd name="connsiteY2" fmla="*/ 2233613 h 2233613"/>
                <a:gd name="connsiteX3" fmla="*/ 0 w 3828464"/>
                <a:gd name="connsiteY3" fmla="*/ 2233613 h 2233613"/>
                <a:gd name="connsiteX4" fmla="*/ 0 w 3828464"/>
                <a:gd name="connsiteY4" fmla="*/ 0 h 2233613"/>
                <a:gd name="connsiteX0" fmla="*/ 510139 w 3828464"/>
                <a:gd name="connsiteY0" fmla="*/ 0 h 3735154"/>
                <a:gd name="connsiteX1" fmla="*/ 3828464 w 3828464"/>
                <a:gd name="connsiteY1" fmla="*/ 1501541 h 3735154"/>
                <a:gd name="connsiteX2" fmla="*/ 3828464 w 3828464"/>
                <a:gd name="connsiteY2" fmla="*/ 3735154 h 3735154"/>
                <a:gd name="connsiteX3" fmla="*/ 0 w 3828464"/>
                <a:gd name="connsiteY3" fmla="*/ 3735154 h 3735154"/>
                <a:gd name="connsiteX4" fmla="*/ 510139 w 3828464"/>
                <a:gd name="connsiteY4" fmla="*/ 0 h 3735154"/>
                <a:gd name="connsiteX0" fmla="*/ 3888606 w 7206931"/>
                <a:gd name="connsiteY0" fmla="*/ 0 h 3735154"/>
                <a:gd name="connsiteX1" fmla="*/ 7206931 w 7206931"/>
                <a:gd name="connsiteY1" fmla="*/ 1501541 h 3735154"/>
                <a:gd name="connsiteX2" fmla="*/ 7206931 w 7206931"/>
                <a:gd name="connsiteY2" fmla="*/ 3735154 h 3735154"/>
                <a:gd name="connsiteX3" fmla="*/ 0 w 7206931"/>
                <a:gd name="connsiteY3" fmla="*/ 2204737 h 3735154"/>
                <a:gd name="connsiteX4" fmla="*/ 3888606 w 7206931"/>
                <a:gd name="connsiteY4" fmla="*/ 0 h 3735154"/>
                <a:gd name="connsiteX0" fmla="*/ 3888606 w 7206931"/>
                <a:gd name="connsiteY0" fmla="*/ 0 h 2406868"/>
                <a:gd name="connsiteX1" fmla="*/ 7206931 w 7206931"/>
                <a:gd name="connsiteY1" fmla="*/ 1501541 h 2406868"/>
                <a:gd name="connsiteX2" fmla="*/ 5233752 w 7206931"/>
                <a:gd name="connsiteY2" fmla="*/ 2406868 h 2406868"/>
                <a:gd name="connsiteX3" fmla="*/ 0 w 7206931"/>
                <a:gd name="connsiteY3" fmla="*/ 2204737 h 2406868"/>
                <a:gd name="connsiteX4" fmla="*/ 3888606 w 7206931"/>
                <a:gd name="connsiteY4" fmla="*/ 0 h 2406868"/>
                <a:gd name="connsiteX0" fmla="*/ 3888606 w 7206931"/>
                <a:gd name="connsiteY0" fmla="*/ 0 h 2637875"/>
                <a:gd name="connsiteX1" fmla="*/ 7206931 w 7206931"/>
                <a:gd name="connsiteY1" fmla="*/ 1501541 h 2637875"/>
                <a:gd name="connsiteX2" fmla="*/ 5301129 w 7206931"/>
                <a:gd name="connsiteY2" fmla="*/ 2637875 h 2637875"/>
                <a:gd name="connsiteX3" fmla="*/ 0 w 7206931"/>
                <a:gd name="connsiteY3" fmla="*/ 2204737 h 2637875"/>
                <a:gd name="connsiteX4" fmla="*/ 3888606 w 7206931"/>
                <a:gd name="connsiteY4" fmla="*/ 0 h 2637875"/>
                <a:gd name="connsiteX0" fmla="*/ 3888606 w 5301129"/>
                <a:gd name="connsiteY0" fmla="*/ 0 h 2637875"/>
                <a:gd name="connsiteX1" fmla="*/ 5301129 w 5301129"/>
                <a:gd name="connsiteY1" fmla="*/ 2637875 h 2637875"/>
                <a:gd name="connsiteX2" fmla="*/ 0 w 5301129"/>
                <a:gd name="connsiteY2" fmla="*/ 2204737 h 2637875"/>
                <a:gd name="connsiteX3" fmla="*/ 3888606 w 5301129"/>
                <a:gd name="connsiteY3" fmla="*/ 0 h 2637875"/>
                <a:gd name="connsiteX0" fmla="*/ 3844597 w 5301129"/>
                <a:gd name="connsiteY0" fmla="*/ 0 h 2672104"/>
                <a:gd name="connsiteX1" fmla="*/ 5301129 w 5301129"/>
                <a:gd name="connsiteY1" fmla="*/ 2672104 h 2672104"/>
                <a:gd name="connsiteX2" fmla="*/ 0 w 5301129"/>
                <a:gd name="connsiteY2" fmla="*/ 2238966 h 2672104"/>
                <a:gd name="connsiteX3" fmla="*/ 3844597 w 5301129"/>
                <a:gd name="connsiteY3" fmla="*/ 0 h 2672104"/>
                <a:gd name="connsiteX0" fmla="*/ 3795699 w 5252231"/>
                <a:gd name="connsiteY0" fmla="*/ 0 h 2672104"/>
                <a:gd name="connsiteX1" fmla="*/ 5252231 w 5252231"/>
                <a:gd name="connsiteY1" fmla="*/ 2672104 h 2672104"/>
                <a:gd name="connsiteX2" fmla="*/ 0 w 5252231"/>
                <a:gd name="connsiteY2" fmla="*/ 2219406 h 2672104"/>
                <a:gd name="connsiteX3" fmla="*/ 3795699 w 5252231"/>
                <a:gd name="connsiteY3" fmla="*/ 0 h 2672104"/>
                <a:gd name="connsiteX0" fmla="*/ 3805479 w 5252231"/>
                <a:gd name="connsiteY0" fmla="*/ 0 h 2672104"/>
                <a:gd name="connsiteX1" fmla="*/ 5252231 w 5252231"/>
                <a:gd name="connsiteY1" fmla="*/ 2672104 h 2672104"/>
                <a:gd name="connsiteX2" fmla="*/ 0 w 5252231"/>
                <a:gd name="connsiteY2" fmla="*/ 2219406 h 2672104"/>
                <a:gd name="connsiteX3" fmla="*/ 3805479 w 5252231"/>
                <a:gd name="connsiteY3" fmla="*/ 0 h 2672104"/>
                <a:gd name="connsiteX0" fmla="*/ 3834818 w 5252231"/>
                <a:gd name="connsiteY0" fmla="*/ 0 h 2672104"/>
                <a:gd name="connsiteX1" fmla="*/ 5252231 w 5252231"/>
                <a:gd name="connsiteY1" fmla="*/ 2672104 h 2672104"/>
                <a:gd name="connsiteX2" fmla="*/ 0 w 5252231"/>
                <a:gd name="connsiteY2" fmla="*/ 2219406 h 2672104"/>
                <a:gd name="connsiteX3" fmla="*/ 3834818 w 5252231"/>
                <a:gd name="connsiteY3" fmla="*/ 0 h 2672104"/>
                <a:gd name="connsiteX0" fmla="*/ 3818745 w 5252231"/>
                <a:gd name="connsiteY0" fmla="*/ 0 h 2672104"/>
                <a:gd name="connsiteX1" fmla="*/ 5252231 w 5252231"/>
                <a:gd name="connsiteY1" fmla="*/ 2672104 h 2672104"/>
                <a:gd name="connsiteX2" fmla="*/ 0 w 5252231"/>
                <a:gd name="connsiteY2" fmla="*/ 2219406 h 2672104"/>
                <a:gd name="connsiteX3" fmla="*/ 3818745 w 5252231"/>
                <a:gd name="connsiteY3" fmla="*/ 0 h 2672104"/>
                <a:gd name="connsiteX0" fmla="*/ 3829460 w 5262946"/>
                <a:gd name="connsiteY0" fmla="*/ 0 h 2672104"/>
                <a:gd name="connsiteX1" fmla="*/ 5262946 w 5262946"/>
                <a:gd name="connsiteY1" fmla="*/ 2672104 h 2672104"/>
                <a:gd name="connsiteX2" fmla="*/ 0 w 5262946"/>
                <a:gd name="connsiteY2" fmla="*/ 2230122 h 2672104"/>
                <a:gd name="connsiteX3" fmla="*/ 3829460 w 5262946"/>
                <a:gd name="connsiteY3" fmla="*/ 0 h 2672104"/>
                <a:gd name="connsiteX0" fmla="*/ 5154493 w 5262946"/>
                <a:gd name="connsiteY0" fmla="*/ 0 h 2168337"/>
                <a:gd name="connsiteX1" fmla="*/ 5262946 w 5262946"/>
                <a:gd name="connsiteY1" fmla="*/ 2168337 h 2168337"/>
                <a:gd name="connsiteX2" fmla="*/ 0 w 5262946"/>
                <a:gd name="connsiteY2" fmla="*/ 1726355 h 2168337"/>
                <a:gd name="connsiteX3" fmla="*/ 5154493 w 5262946"/>
                <a:gd name="connsiteY3" fmla="*/ 0 h 2168337"/>
                <a:gd name="connsiteX0" fmla="*/ 5146027 w 5262946"/>
                <a:gd name="connsiteY0" fmla="*/ 0 h 2193737"/>
                <a:gd name="connsiteX1" fmla="*/ 5262946 w 5262946"/>
                <a:gd name="connsiteY1" fmla="*/ 2193737 h 2193737"/>
                <a:gd name="connsiteX2" fmla="*/ 0 w 5262946"/>
                <a:gd name="connsiteY2" fmla="*/ 1751755 h 2193737"/>
                <a:gd name="connsiteX3" fmla="*/ 5146027 w 5262946"/>
                <a:gd name="connsiteY3" fmla="*/ 0 h 2193737"/>
                <a:gd name="connsiteX0" fmla="*/ 4807361 w 4924280"/>
                <a:gd name="connsiteY0" fmla="*/ 0 h 2193737"/>
                <a:gd name="connsiteX1" fmla="*/ 4924280 w 4924280"/>
                <a:gd name="connsiteY1" fmla="*/ 2193737 h 2193737"/>
                <a:gd name="connsiteX2" fmla="*/ 0 w 4924280"/>
                <a:gd name="connsiteY2" fmla="*/ 2081955 h 2193737"/>
                <a:gd name="connsiteX3" fmla="*/ 4807361 w 4924280"/>
                <a:gd name="connsiteY3" fmla="*/ 0 h 2193737"/>
                <a:gd name="connsiteX0" fmla="*/ 4811594 w 4924280"/>
                <a:gd name="connsiteY0" fmla="*/ 0 h 2176804"/>
                <a:gd name="connsiteX1" fmla="*/ 4924280 w 4924280"/>
                <a:gd name="connsiteY1" fmla="*/ 2176804 h 2176804"/>
                <a:gd name="connsiteX2" fmla="*/ 0 w 4924280"/>
                <a:gd name="connsiteY2" fmla="*/ 2065022 h 2176804"/>
                <a:gd name="connsiteX3" fmla="*/ 4811594 w 4924280"/>
                <a:gd name="connsiteY3" fmla="*/ 0 h 2176804"/>
                <a:gd name="connsiteX0" fmla="*/ 4811594 w 4924280"/>
                <a:gd name="connsiteY0" fmla="*/ 0 h 2526054"/>
                <a:gd name="connsiteX1" fmla="*/ 4924280 w 4924280"/>
                <a:gd name="connsiteY1" fmla="*/ 2526054 h 2526054"/>
                <a:gd name="connsiteX2" fmla="*/ 0 w 4924280"/>
                <a:gd name="connsiteY2" fmla="*/ 2414272 h 2526054"/>
                <a:gd name="connsiteX3" fmla="*/ 4811594 w 4924280"/>
                <a:gd name="connsiteY3" fmla="*/ 0 h 2526054"/>
                <a:gd name="connsiteX0" fmla="*/ 5160844 w 5273530"/>
                <a:gd name="connsiteY0" fmla="*/ 0 h 2526054"/>
                <a:gd name="connsiteX1" fmla="*/ 5273530 w 5273530"/>
                <a:gd name="connsiteY1" fmla="*/ 2526054 h 2526054"/>
                <a:gd name="connsiteX2" fmla="*/ 0 w 5273530"/>
                <a:gd name="connsiteY2" fmla="*/ 2420622 h 2526054"/>
                <a:gd name="connsiteX3" fmla="*/ 5160844 w 5273530"/>
                <a:gd name="connsiteY3" fmla="*/ 0 h 2526054"/>
                <a:gd name="connsiteX0" fmla="*/ 5160844 w 7076065"/>
                <a:gd name="connsiteY0" fmla="*/ 0 h 2865821"/>
                <a:gd name="connsiteX1" fmla="*/ 7076065 w 7076065"/>
                <a:gd name="connsiteY1" fmla="*/ 2865821 h 2865821"/>
                <a:gd name="connsiteX2" fmla="*/ 0 w 7076065"/>
                <a:gd name="connsiteY2" fmla="*/ 2420622 h 2865821"/>
                <a:gd name="connsiteX3" fmla="*/ 5160844 w 7076065"/>
                <a:gd name="connsiteY3" fmla="*/ 0 h 2865821"/>
                <a:gd name="connsiteX0" fmla="*/ 5141623 w 7076065"/>
                <a:gd name="connsiteY0" fmla="*/ 0 h 2865821"/>
                <a:gd name="connsiteX1" fmla="*/ 7076065 w 7076065"/>
                <a:gd name="connsiteY1" fmla="*/ 2865821 h 2865821"/>
                <a:gd name="connsiteX2" fmla="*/ 0 w 7076065"/>
                <a:gd name="connsiteY2" fmla="*/ 2420622 h 2865821"/>
                <a:gd name="connsiteX3" fmla="*/ 5141623 w 7076065"/>
                <a:gd name="connsiteY3" fmla="*/ 0 h 2865821"/>
                <a:gd name="connsiteX0" fmla="*/ 5141623 w 6960737"/>
                <a:gd name="connsiteY0" fmla="*/ 0 h 2903773"/>
                <a:gd name="connsiteX1" fmla="*/ 6960737 w 6960737"/>
                <a:gd name="connsiteY1" fmla="*/ 2903773 h 2903773"/>
                <a:gd name="connsiteX2" fmla="*/ 0 w 6960737"/>
                <a:gd name="connsiteY2" fmla="*/ 2420622 h 2903773"/>
                <a:gd name="connsiteX3" fmla="*/ 5141623 w 6960737"/>
                <a:gd name="connsiteY3" fmla="*/ 0 h 2903773"/>
                <a:gd name="connsiteX0" fmla="*/ 5141623 w 7076065"/>
                <a:gd name="connsiteY0" fmla="*/ 0 h 2871242"/>
                <a:gd name="connsiteX1" fmla="*/ 7076065 w 7076065"/>
                <a:gd name="connsiteY1" fmla="*/ 2871242 h 2871242"/>
                <a:gd name="connsiteX2" fmla="*/ 0 w 7076065"/>
                <a:gd name="connsiteY2" fmla="*/ 2420622 h 2871242"/>
                <a:gd name="connsiteX3" fmla="*/ 5141623 w 7076065"/>
                <a:gd name="connsiteY3" fmla="*/ 0 h 2871242"/>
                <a:gd name="connsiteX0" fmla="*/ 923178 w 2857620"/>
                <a:gd name="connsiteY0" fmla="*/ 0 h 3027866"/>
                <a:gd name="connsiteX1" fmla="*/ 2857620 w 2857620"/>
                <a:gd name="connsiteY1" fmla="*/ 2871242 h 3027866"/>
                <a:gd name="connsiteX2" fmla="*/ 0 w 2857620"/>
                <a:gd name="connsiteY2" fmla="*/ 3027866 h 3027866"/>
                <a:gd name="connsiteX3" fmla="*/ 923178 w 2857620"/>
                <a:gd name="connsiteY3" fmla="*/ 0 h 3027866"/>
                <a:gd name="connsiteX0" fmla="*/ 5680 w 2857620"/>
                <a:gd name="connsiteY0" fmla="*/ 0 h 1700605"/>
                <a:gd name="connsiteX1" fmla="*/ 2857620 w 2857620"/>
                <a:gd name="connsiteY1" fmla="*/ 1543981 h 1700605"/>
                <a:gd name="connsiteX2" fmla="*/ 0 w 2857620"/>
                <a:gd name="connsiteY2" fmla="*/ 1700605 h 1700605"/>
                <a:gd name="connsiteX3" fmla="*/ 5680 w 2857620"/>
                <a:gd name="connsiteY3" fmla="*/ 0 h 1700605"/>
                <a:gd name="connsiteX0" fmla="*/ 5680 w 2857620"/>
                <a:gd name="connsiteY0" fmla="*/ 0 h 1700605"/>
                <a:gd name="connsiteX1" fmla="*/ 1857553 w 2857620"/>
                <a:gd name="connsiteY1" fmla="*/ 994868 h 1700605"/>
                <a:gd name="connsiteX2" fmla="*/ 2857620 w 2857620"/>
                <a:gd name="connsiteY2" fmla="*/ 1543981 h 1700605"/>
                <a:gd name="connsiteX3" fmla="*/ 0 w 2857620"/>
                <a:gd name="connsiteY3" fmla="*/ 1700605 h 1700605"/>
                <a:gd name="connsiteX4" fmla="*/ 5680 w 2857620"/>
                <a:gd name="connsiteY4" fmla="*/ 0 h 1700605"/>
                <a:gd name="connsiteX0" fmla="*/ 5680 w 2857620"/>
                <a:gd name="connsiteY0" fmla="*/ 0 h 1700605"/>
                <a:gd name="connsiteX1" fmla="*/ 324972 w 2857620"/>
                <a:gd name="connsiteY1" fmla="*/ 205452 h 1700605"/>
                <a:gd name="connsiteX2" fmla="*/ 2857620 w 2857620"/>
                <a:gd name="connsiteY2" fmla="*/ 1543981 h 1700605"/>
                <a:gd name="connsiteX3" fmla="*/ 0 w 2857620"/>
                <a:gd name="connsiteY3" fmla="*/ 1700605 h 1700605"/>
                <a:gd name="connsiteX4" fmla="*/ 5680 w 2857620"/>
                <a:gd name="connsiteY4" fmla="*/ 0 h 1700605"/>
                <a:gd name="connsiteX0" fmla="*/ 5680 w 324972"/>
                <a:gd name="connsiteY0" fmla="*/ 0 h 1700605"/>
                <a:gd name="connsiteX1" fmla="*/ 324972 w 324972"/>
                <a:gd name="connsiteY1" fmla="*/ 205452 h 1700605"/>
                <a:gd name="connsiteX2" fmla="*/ 320403 w 324972"/>
                <a:gd name="connsiteY2" fmla="*/ 1418195 h 1700605"/>
                <a:gd name="connsiteX3" fmla="*/ 0 w 324972"/>
                <a:gd name="connsiteY3" fmla="*/ 1700605 h 1700605"/>
                <a:gd name="connsiteX4" fmla="*/ 5680 w 324972"/>
                <a:gd name="connsiteY4" fmla="*/ 0 h 1700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72" h="1700605">
                  <a:moveTo>
                    <a:pt x="5680" y="0"/>
                  </a:moveTo>
                  <a:lnTo>
                    <a:pt x="324972" y="205452"/>
                  </a:lnTo>
                  <a:lnTo>
                    <a:pt x="320403" y="1418195"/>
                  </a:lnTo>
                  <a:lnTo>
                    <a:pt x="0" y="1700605"/>
                  </a:lnTo>
                  <a:cubicBezTo>
                    <a:pt x="1893" y="1133737"/>
                    <a:pt x="3787" y="566868"/>
                    <a:pt x="5680" y="0"/>
                  </a:cubicBezTo>
                  <a:close/>
                </a:path>
              </a:pathLst>
            </a:custGeom>
            <a:gradFill flip="none" rotWithShape="1">
              <a:gsLst>
                <a:gs pos="1000">
                  <a:schemeClr val="bg1">
                    <a:alpha val="0"/>
                  </a:schemeClr>
                </a:gs>
                <a:gs pos="100000">
                  <a:schemeClr val="bg1">
                    <a:lumMod val="6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2000" b="0" i="0" u="none" strike="noStrike" kern="1200" cap="none" spc="0" normalizeH="0" baseline="0" noProof="0">
                <a:ln>
                  <a:noFill/>
                </a:ln>
                <a:solidFill>
                  <a:srgbClr val="FFFFFF"/>
                </a:solidFill>
                <a:effectLst/>
                <a:uLnTx/>
                <a:uFillTx/>
                <a:latin typeface="Arial Narrow"/>
                <a:ea typeface="+mn-ea"/>
                <a:cs typeface="+mn-cs"/>
              </a:endParaRPr>
            </a:p>
          </p:txBody>
        </p:sp>
        <p:grpSp>
          <p:nvGrpSpPr>
            <p:cNvPr id="35" name="Group 34">
              <a:extLst>
                <a:ext uri="{FF2B5EF4-FFF2-40B4-BE49-F238E27FC236}">
                  <a16:creationId xmlns:a16="http://schemas.microsoft.com/office/drawing/2014/main" id="{CD4C8974-304F-782B-9D56-885067158A9A}"/>
                </a:ext>
              </a:extLst>
            </p:cNvPr>
            <p:cNvGrpSpPr/>
            <p:nvPr/>
          </p:nvGrpSpPr>
          <p:grpSpPr>
            <a:xfrm>
              <a:off x="8070845" y="2426969"/>
              <a:ext cx="1192292" cy="349037"/>
              <a:chOff x="7922250" y="5341940"/>
              <a:chExt cx="1635257" cy="496916"/>
            </a:xfrm>
          </p:grpSpPr>
          <p:sp>
            <p:nvSpPr>
              <p:cNvPr id="36" name="Rectangle 35">
                <a:extLst>
                  <a:ext uri="{FF2B5EF4-FFF2-40B4-BE49-F238E27FC236}">
                    <a16:creationId xmlns:a16="http://schemas.microsoft.com/office/drawing/2014/main" id="{DE8E2376-65D3-0EDF-7A62-B44CE2796A18}"/>
                  </a:ext>
                </a:extLst>
              </p:cNvPr>
              <p:cNvSpPr/>
              <p:nvPr/>
            </p:nvSpPr>
            <p:spPr>
              <a:xfrm>
                <a:off x="7922250" y="5341941"/>
                <a:ext cx="36000" cy="496915"/>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Narrow"/>
                  <a:ea typeface="+mn-ea"/>
                  <a:cs typeface="+mn-cs"/>
                </a:endParaRPr>
              </a:p>
            </p:txBody>
          </p:sp>
          <p:sp>
            <p:nvSpPr>
              <p:cNvPr id="37" name="Rectangle 36">
                <a:extLst>
                  <a:ext uri="{FF2B5EF4-FFF2-40B4-BE49-F238E27FC236}">
                    <a16:creationId xmlns:a16="http://schemas.microsoft.com/office/drawing/2014/main" id="{FF520E40-AAC0-AAFC-70CF-FDFD93DBA6A5}"/>
                  </a:ext>
                </a:extLst>
              </p:cNvPr>
              <p:cNvSpPr/>
              <p:nvPr/>
            </p:nvSpPr>
            <p:spPr>
              <a:xfrm>
                <a:off x="8526145" y="5341941"/>
                <a:ext cx="36000" cy="496915"/>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Narrow"/>
                  <a:ea typeface="+mn-ea"/>
                  <a:cs typeface="+mn-cs"/>
                </a:endParaRPr>
              </a:p>
            </p:txBody>
          </p:sp>
          <p:sp>
            <p:nvSpPr>
              <p:cNvPr id="38" name="Rectangle 37">
                <a:extLst>
                  <a:ext uri="{FF2B5EF4-FFF2-40B4-BE49-F238E27FC236}">
                    <a16:creationId xmlns:a16="http://schemas.microsoft.com/office/drawing/2014/main" id="{A92C4ECC-501E-0339-D625-C3206F870745}"/>
                  </a:ext>
                </a:extLst>
              </p:cNvPr>
              <p:cNvSpPr/>
              <p:nvPr/>
            </p:nvSpPr>
            <p:spPr>
              <a:xfrm>
                <a:off x="9521507" y="5341940"/>
                <a:ext cx="36000" cy="496915"/>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Narrow"/>
                  <a:ea typeface="+mn-ea"/>
                  <a:cs typeface="+mn-cs"/>
                </a:endParaRPr>
              </a:p>
            </p:txBody>
          </p:sp>
        </p:grpSp>
      </p:grpSp>
      <p:graphicFrame>
        <p:nvGraphicFramePr>
          <p:cNvPr id="41" name="Table 41">
            <a:extLst>
              <a:ext uri="{FF2B5EF4-FFF2-40B4-BE49-F238E27FC236}">
                <a16:creationId xmlns:a16="http://schemas.microsoft.com/office/drawing/2014/main" id="{BAFE404A-CBAD-00D9-3486-A35D05CB4713}"/>
              </a:ext>
            </a:extLst>
          </p:cNvPr>
          <p:cNvGraphicFramePr>
            <a:graphicFrameLocks noGrp="1"/>
          </p:cNvGraphicFramePr>
          <p:nvPr/>
        </p:nvGraphicFramePr>
        <p:xfrm>
          <a:off x="1018002" y="1387464"/>
          <a:ext cx="5303098" cy="1828800"/>
        </p:xfrm>
        <a:graphic>
          <a:graphicData uri="http://schemas.openxmlformats.org/drawingml/2006/table">
            <a:tbl>
              <a:tblPr firstRow="1" bandRow="1">
                <a:tableStyleId>{5940675A-B579-460E-94D1-54222C63F5DA}</a:tableStyleId>
              </a:tblPr>
              <a:tblGrid>
                <a:gridCol w="2797253">
                  <a:extLst>
                    <a:ext uri="{9D8B030D-6E8A-4147-A177-3AD203B41FA5}">
                      <a16:colId xmlns:a16="http://schemas.microsoft.com/office/drawing/2014/main" val="1309079652"/>
                    </a:ext>
                  </a:extLst>
                </a:gridCol>
                <a:gridCol w="2505845">
                  <a:extLst>
                    <a:ext uri="{9D8B030D-6E8A-4147-A177-3AD203B41FA5}">
                      <a16:colId xmlns:a16="http://schemas.microsoft.com/office/drawing/2014/main" val="3817880892"/>
                    </a:ext>
                  </a:extLst>
                </a:gridCol>
              </a:tblGrid>
              <a:tr h="243017">
                <a:tc>
                  <a:txBody>
                    <a:bodyPr/>
                    <a:lstStyle/>
                    <a:p>
                      <a:r>
                        <a:rPr lang="de-CH" sz="1400" dirty="0">
                          <a:solidFill>
                            <a:schemeClr val="bg1"/>
                          </a:solidFill>
                          <a:latin typeface="Segoe UI" panose="020B0502040204020203" pitchFamily="34" charset="0"/>
                          <a:cs typeface="Segoe UI" panose="020B0502040204020203" pitchFamily="34" charset="0"/>
                        </a:rPr>
                        <a:t>T </a:t>
                      </a:r>
                      <a:r>
                        <a:rPr lang="de-CH" sz="1400" dirty="0" err="1">
                          <a:solidFill>
                            <a:schemeClr val="bg1"/>
                          </a:solidFill>
                          <a:latin typeface="Segoe UI" panose="020B0502040204020203" pitchFamily="34" charset="0"/>
                          <a:cs typeface="Segoe UI" panose="020B0502040204020203" pitchFamily="34" charset="0"/>
                        </a:rPr>
                        <a:t>acc</a:t>
                      </a:r>
                      <a:r>
                        <a:rPr lang="de-CH" sz="1400" dirty="0">
                          <a:solidFill>
                            <a:schemeClr val="bg1"/>
                          </a:solidFill>
                          <a:latin typeface="Segoe UI" panose="020B0502040204020203" pitchFamily="34" charset="0"/>
                          <a:cs typeface="Segoe UI" panose="020B0502040204020203" pitchFamily="34" charset="0"/>
                        </a:rPr>
                        <a:t> (</a:t>
                      </a:r>
                      <a:r>
                        <a:rPr lang="de-CH" sz="1400" dirty="0" err="1">
                          <a:solidFill>
                            <a:schemeClr val="bg1"/>
                          </a:solidFill>
                          <a:latin typeface="Segoe UI" panose="020B0502040204020203" pitchFamily="34" charset="0"/>
                          <a:cs typeface="Segoe UI" panose="020B0502040204020203" pitchFamily="34" charset="0"/>
                        </a:rPr>
                        <a:t>with</a:t>
                      </a:r>
                      <a:r>
                        <a:rPr lang="de-CH" sz="1400" dirty="0">
                          <a:solidFill>
                            <a:schemeClr val="bg1"/>
                          </a:solidFill>
                          <a:latin typeface="Segoe UI" panose="020B0502040204020203" pitchFamily="34" charset="0"/>
                          <a:cs typeface="Segoe UI" panose="020B0502040204020203" pitchFamily="34" charset="0"/>
                        </a:rPr>
                        <a:t> ISO 17025 </a:t>
                      </a:r>
                      <a:r>
                        <a:rPr lang="de-CH" sz="1400" dirty="0" err="1">
                          <a:solidFill>
                            <a:schemeClr val="bg1"/>
                          </a:solidFill>
                          <a:latin typeface="Segoe UI" panose="020B0502040204020203" pitchFamily="34" charset="0"/>
                          <a:cs typeface="Segoe UI" panose="020B0502040204020203" pitchFamily="34" charset="0"/>
                        </a:rPr>
                        <a:t>certificate</a:t>
                      </a:r>
                      <a:r>
                        <a:rPr lang="de-CH" sz="1400" dirty="0">
                          <a:solidFill>
                            <a:schemeClr val="bg1"/>
                          </a:solidFill>
                          <a:latin typeface="Segoe UI" panose="020B0502040204020203" pitchFamily="34" charset="0"/>
                          <a:cs typeface="Segoe UI" panose="020B0502040204020203" pitchFamily="34" charset="0"/>
                        </a:rPr>
                        <a: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400" dirty="0">
                          <a:solidFill>
                            <a:schemeClr val="bg1"/>
                          </a:solidFill>
                          <a:latin typeface="Segoe UI" panose="020B0502040204020203" pitchFamily="34" charset="0"/>
                          <a:cs typeface="Segoe UI" panose="020B0502040204020203" pitchFamily="34" charset="0"/>
                        </a:rPr>
                        <a:t>±0.48 °C max.</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12939"/>
                  </a:ext>
                </a:extLst>
              </a:tr>
              <a:tr h="243017">
                <a:tc>
                  <a:txBody>
                    <a:bodyPr/>
                    <a:lstStyle/>
                    <a:p>
                      <a:r>
                        <a:rPr lang="de-CH" sz="1400" dirty="0">
                          <a:solidFill>
                            <a:schemeClr val="bg1"/>
                          </a:solidFill>
                          <a:latin typeface="Segoe UI" panose="020B0502040204020203" pitchFamily="34" charset="0"/>
                          <a:cs typeface="Segoe UI" panose="020B0502040204020203" pitchFamily="34" charset="0"/>
                        </a:rPr>
                        <a:t>T </a:t>
                      </a:r>
                      <a:r>
                        <a:rPr lang="de-CH" sz="1400" dirty="0" err="1">
                          <a:solidFill>
                            <a:schemeClr val="bg1"/>
                          </a:solidFill>
                          <a:latin typeface="Segoe UI" panose="020B0502040204020203" pitchFamily="34" charset="0"/>
                          <a:cs typeface="Segoe UI" panose="020B0502040204020203" pitchFamily="34" charset="0"/>
                        </a:rPr>
                        <a:t>drift</a:t>
                      </a:r>
                      <a:endParaRPr lang="de-CH" sz="1400" dirty="0">
                        <a:solidFill>
                          <a:schemeClr val="bg1"/>
                        </a:solidFill>
                        <a:latin typeface="Segoe UI" panose="020B0502040204020203" pitchFamily="34" charset="0"/>
                        <a:cs typeface="Segoe UI" panose="020B0502040204020203" pitchFamily="34" charset="0"/>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400" dirty="0">
                          <a:solidFill>
                            <a:schemeClr val="bg1"/>
                          </a:solidFill>
                          <a:latin typeface="Segoe UI" panose="020B0502040204020203" pitchFamily="34" charset="0"/>
                          <a:cs typeface="Segoe UI" panose="020B0502040204020203" pitchFamily="34" charset="0"/>
                        </a:rPr>
                        <a:t>&lt; 0.01°C / </a:t>
                      </a:r>
                      <a:r>
                        <a:rPr lang="de-CH" sz="1400" dirty="0" err="1">
                          <a:solidFill>
                            <a:schemeClr val="bg1"/>
                          </a:solidFill>
                          <a:latin typeface="Segoe UI" panose="020B0502040204020203" pitchFamily="34" charset="0"/>
                          <a:cs typeface="Segoe UI" panose="020B0502040204020203" pitchFamily="34" charset="0"/>
                        </a:rPr>
                        <a:t>yr</a:t>
                      </a:r>
                      <a:r>
                        <a:rPr lang="de-CH" sz="1400" dirty="0">
                          <a:solidFill>
                            <a:schemeClr val="bg1"/>
                          </a:solidFill>
                          <a:latin typeface="Segoe UI" panose="020B0502040204020203" pitchFamily="34" charset="0"/>
                          <a:cs typeface="Segoe UI" panose="020B0502040204020203" pitchFamily="34" charset="0"/>
                        </a:rPr>
                        <a: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6009010"/>
                  </a:ext>
                </a:extLst>
              </a:tr>
              <a:tr h="243017">
                <a:tc>
                  <a:txBody>
                    <a:bodyPr/>
                    <a:lstStyle/>
                    <a:p>
                      <a:r>
                        <a:rPr lang="de-CH" sz="1400" dirty="0">
                          <a:solidFill>
                            <a:schemeClr val="bg1"/>
                          </a:solidFill>
                          <a:latin typeface="Segoe UI" panose="020B0502040204020203" pitchFamily="34" charset="0"/>
                          <a:cs typeface="Segoe UI" panose="020B0502040204020203" pitchFamily="34" charset="0"/>
                        </a:rPr>
                        <a:t>RH </a:t>
                      </a:r>
                      <a:r>
                        <a:rPr lang="de-CH" sz="1400" dirty="0" err="1">
                          <a:solidFill>
                            <a:schemeClr val="bg1"/>
                          </a:solidFill>
                          <a:latin typeface="Segoe UI" panose="020B0502040204020203" pitchFamily="34" charset="0"/>
                          <a:cs typeface="Segoe UI" panose="020B0502040204020203" pitchFamily="34" charset="0"/>
                        </a:rPr>
                        <a:t>acc</a:t>
                      </a:r>
                      <a:endParaRPr lang="de-CH" sz="1400" dirty="0">
                        <a:solidFill>
                          <a:schemeClr val="bg1"/>
                        </a:solidFill>
                        <a:latin typeface="Segoe UI" panose="020B0502040204020203" pitchFamily="34" charset="0"/>
                        <a:cs typeface="Segoe UI" panose="020B0502040204020203" pitchFamily="34" charset="0"/>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400" dirty="0">
                          <a:solidFill>
                            <a:schemeClr val="bg1"/>
                          </a:solidFill>
                          <a:latin typeface="Segoe UI" panose="020B0502040204020203" pitchFamily="34" charset="0"/>
                          <a:cs typeface="Segoe UI" panose="020B0502040204020203" pitchFamily="34" charset="0"/>
                        </a:rPr>
                        <a:t>1.8%RH (typ), 3.5%RH (</a:t>
                      </a:r>
                      <a:r>
                        <a:rPr lang="de-CH" sz="1400" dirty="0" err="1">
                          <a:solidFill>
                            <a:schemeClr val="bg1"/>
                          </a:solidFill>
                          <a:latin typeface="Segoe UI" panose="020B0502040204020203" pitchFamily="34" charset="0"/>
                          <a:cs typeface="Segoe UI" panose="020B0502040204020203" pitchFamily="34" charset="0"/>
                        </a:rPr>
                        <a:t>max</a:t>
                      </a:r>
                      <a:r>
                        <a:rPr lang="de-CH" sz="1400" dirty="0">
                          <a:solidFill>
                            <a:schemeClr val="bg1"/>
                          </a:solidFill>
                          <a:latin typeface="Segoe UI" panose="020B0502040204020203" pitchFamily="34" charset="0"/>
                          <a:cs typeface="Segoe UI" panose="020B0502040204020203" pitchFamily="34" charset="0"/>
                        </a:rPr>
                        <a: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5542893"/>
                  </a:ext>
                </a:extLst>
              </a:tr>
              <a:tr h="243017">
                <a:tc>
                  <a:txBody>
                    <a:bodyPr/>
                    <a:lstStyle/>
                    <a:p>
                      <a:r>
                        <a:rPr lang="de-CH" sz="1400" dirty="0">
                          <a:solidFill>
                            <a:schemeClr val="bg1"/>
                          </a:solidFill>
                          <a:latin typeface="Segoe UI" panose="020B0502040204020203" pitchFamily="34" charset="0"/>
                          <a:cs typeface="Segoe UI" panose="020B0502040204020203" pitchFamily="34" charset="0"/>
                        </a:rPr>
                        <a:t>Supply </a:t>
                      </a:r>
                      <a:r>
                        <a:rPr lang="de-CH" sz="1400" dirty="0" err="1">
                          <a:solidFill>
                            <a:schemeClr val="bg1"/>
                          </a:solidFill>
                          <a:latin typeface="Segoe UI" panose="020B0502040204020203" pitchFamily="34" charset="0"/>
                          <a:cs typeface="Segoe UI" panose="020B0502040204020203" pitchFamily="34" charset="0"/>
                        </a:rPr>
                        <a:t>voltage</a:t>
                      </a:r>
                      <a:endParaRPr lang="de-CH" sz="1400" dirty="0">
                        <a:solidFill>
                          <a:schemeClr val="bg1"/>
                        </a:solidFill>
                        <a:latin typeface="Segoe UI" panose="020B0502040204020203" pitchFamily="34" charset="0"/>
                        <a:cs typeface="Segoe UI" panose="020B0502040204020203" pitchFamily="34" charset="0"/>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400" dirty="0">
                          <a:solidFill>
                            <a:schemeClr val="bg1"/>
                          </a:solidFill>
                          <a:latin typeface="Segoe UI" panose="020B0502040204020203" pitchFamily="34" charset="0"/>
                          <a:cs typeface="Segoe UI" panose="020B0502040204020203" pitchFamily="34" charset="0"/>
                        </a:rPr>
                        <a:t>1.08 </a:t>
                      </a:r>
                      <a:r>
                        <a:rPr lang="de-CH" sz="1400" dirty="0" err="1">
                          <a:solidFill>
                            <a:schemeClr val="bg1"/>
                          </a:solidFill>
                          <a:latin typeface="Segoe UI" panose="020B0502040204020203" pitchFamily="34" charset="0"/>
                          <a:cs typeface="Segoe UI" panose="020B0502040204020203" pitchFamily="34" charset="0"/>
                        </a:rPr>
                        <a:t>to</a:t>
                      </a:r>
                      <a:r>
                        <a:rPr lang="de-CH" sz="1400" dirty="0">
                          <a:solidFill>
                            <a:schemeClr val="bg1"/>
                          </a:solidFill>
                          <a:latin typeface="Segoe UI" panose="020B0502040204020203" pitchFamily="34" charset="0"/>
                          <a:cs typeface="Segoe UI" panose="020B0502040204020203" pitchFamily="34" charset="0"/>
                        </a:rPr>
                        <a:t> 3.6 V</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285037"/>
                  </a:ext>
                </a:extLst>
              </a:tr>
              <a:tr h="243017">
                <a:tc>
                  <a:txBody>
                    <a:bodyPr/>
                    <a:lstStyle/>
                    <a:p>
                      <a:r>
                        <a:rPr lang="de-CH" sz="1400" dirty="0" err="1">
                          <a:solidFill>
                            <a:schemeClr val="bg1"/>
                          </a:solidFill>
                          <a:latin typeface="Segoe UI" panose="020B0502040204020203" pitchFamily="34" charset="0"/>
                          <a:cs typeface="Segoe UI" panose="020B0502040204020203" pitchFamily="34" charset="0"/>
                        </a:rPr>
                        <a:t>Idle</a:t>
                      </a:r>
                      <a:r>
                        <a:rPr lang="de-CH" sz="1400" dirty="0">
                          <a:solidFill>
                            <a:schemeClr val="bg1"/>
                          </a:solidFill>
                          <a:latin typeface="Segoe UI" panose="020B0502040204020203" pitchFamily="34" charset="0"/>
                          <a:cs typeface="Segoe UI" panose="020B0502040204020203" pitchFamily="34" charset="0"/>
                        </a:rPr>
                        <a:t> </a:t>
                      </a:r>
                      <a:r>
                        <a:rPr lang="de-CH" sz="1400" dirty="0" err="1">
                          <a:solidFill>
                            <a:schemeClr val="bg1"/>
                          </a:solidFill>
                          <a:latin typeface="Segoe UI" panose="020B0502040204020203" pitchFamily="34" charset="0"/>
                          <a:cs typeface="Segoe UI" panose="020B0502040204020203" pitchFamily="34" charset="0"/>
                        </a:rPr>
                        <a:t>Current</a:t>
                      </a:r>
                      <a:endParaRPr lang="de-CH" sz="1400" dirty="0">
                        <a:solidFill>
                          <a:schemeClr val="bg1"/>
                        </a:solidFill>
                        <a:latin typeface="Segoe UI" panose="020B0502040204020203" pitchFamily="34" charset="0"/>
                        <a:cs typeface="Segoe UI" panose="020B0502040204020203" pitchFamily="34" charset="0"/>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400" dirty="0">
                          <a:solidFill>
                            <a:schemeClr val="bg1"/>
                          </a:solidFill>
                          <a:latin typeface="Segoe UI" panose="020B0502040204020203" pitchFamily="34" charset="0"/>
                          <a:cs typeface="Segoe UI" panose="020B0502040204020203" pitchFamily="34" charset="0"/>
                        </a:rPr>
                        <a:t>80 </a:t>
                      </a:r>
                      <a:r>
                        <a:rPr lang="de-CH" sz="1400" dirty="0" err="1">
                          <a:solidFill>
                            <a:schemeClr val="bg1"/>
                          </a:solidFill>
                          <a:latin typeface="Segoe UI" panose="020B0502040204020203" pitchFamily="34" charset="0"/>
                          <a:cs typeface="Segoe UI" panose="020B0502040204020203" pitchFamily="34" charset="0"/>
                        </a:rPr>
                        <a:t>nA</a:t>
                      </a:r>
                      <a:endParaRPr lang="de-CH" sz="1400" dirty="0">
                        <a:solidFill>
                          <a:schemeClr val="bg1"/>
                        </a:solidFill>
                        <a:latin typeface="Segoe UI" panose="020B0502040204020203" pitchFamily="34" charset="0"/>
                        <a:cs typeface="Segoe UI" panose="020B0502040204020203" pitchFamily="34" charset="0"/>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474788"/>
                  </a:ext>
                </a:extLst>
              </a:tr>
              <a:tr h="243017">
                <a:tc>
                  <a:txBody>
                    <a:bodyPr/>
                    <a:lstStyle/>
                    <a:p>
                      <a:r>
                        <a:rPr lang="de-CH" sz="1400" dirty="0" err="1">
                          <a:solidFill>
                            <a:schemeClr val="bg1"/>
                          </a:solidFill>
                          <a:latin typeface="Segoe UI" panose="020B0502040204020203" pitchFamily="34" charset="0"/>
                          <a:cs typeface="Segoe UI" panose="020B0502040204020203" pitchFamily="34" charset="0"/>
                        </a:rPr>
                        <a:t>Av</a:t>
                      </a:r>
                      <a:r>
                        <a:rPr lang="de-CH" sz="1400" dirty="0">
                          <a:solidFill>
                            <a:schemeClr val="bg1"/>
                          </a:solidFill>
                          <a:latin typeface="Segoe UI" panose="020B0502040204020203" pitchFamily="34" charset="0"/>
                          <a:cs typeface="Segoe UI" panose="020B0502040204020203" pitchFamily="34" charset="0"/>
                        </a:rPr>
                        <a:t>. </a:t>
                      </a:r>
                      <a:r>
                        <a:rPr lang="de-CH" sz="1400" dirty="0" err="1">
                          <a:solidFill>
                            <a:schemeClr val="bg1"/>
                          </a:solidFill>
                          <a:latin typeface="Segoe UI" panose="020B0502040204020203" pitchFamily="34" charset="0"/>
                          <a:cs typeface="Segoe UI" panose="020B0502040204020203" pitchFamily="34" charset="0"/>
                        </a:rPr>
                        <a:t>Current</a:t>
                      </a:r>
                      <a:r>
                        <a:rPr lang="de-CH" sz="1400" dirty="0">
                          <a:solidFill>
                            <a:schemeClr val="bg1"/>
                          </a:solidFill>
                          <a:latin typeface="Segoe UI" panose="020B0502040204020203" pitchFamily="34" charset="0"/>
                          <a:cs typeface="Segoe UI" panose="020B0502040204020203" pitchFamily="34" charset="0"/>
                        </a:rPr>
                        <a:t> @ 1 Hz</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400" dirty="0">
                          <a:solidFill>
                            <a:schemeClr val="bg1"/>
                          </a:solidFill>
                          <a:latin typeface="Segoe UI" panose="020B0502040204020203" pitchFamily="34" charset="0"/>
                          <a:cs typeface="Segoe UI" panose="020B0502040204020203" pitchFamily="34" charset="0"/>
                        </a:rPr>
                        <a:t>0.4 µA</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887978"/>
                  </a:ext>
                </a:extLst>
              </a:tr>
            </a:tbl>
          </a:graphicData>
        </a:graphic>
      </p:graphicFrame>
      <p:graphicFrame>
        <p:nvGraphicFramePr>
          <p:cNvPr id="42" name="Table 41">
            <a:extLst>
              <a:ext uri="{FF2B5EF4-FFF2-40B4-BE49-F238E27FC236}">
                <a16:creationId xmlns:a16="http://schemas.microsoft.com/office/drawing/2014/main" id="{5756DDD6-809C-390F-ABA8-249605428FD6}"/>
              </a:ext>
            </a:extLst>
          </p:cNvPr>
          <p:cNvGraphicFramePr>
            <a:graphicFrameLocks noGrp="1"/>
          </p:cNvGraphicFramePr>
          <p:nvPr>
            <p:extLst>
              <p:ext uri="{D42A27DB-BD31-4B8C-83A1-F6EECF244321}">
                <p14:modId xmlns:p14="http://schemas.microsoft.com/office/powerpoint/2010/main" val="374252002"/>
              </p:ext>
            </p:extLst>
          </p:nvPr>
        </p:nvGraphicFramePr>
        <p:xfrm>
          <a:off x="1081764" y="4244141"/>
          <a:ext cx="10414912" cy="2176065"/>
        </p:xfrm>
        <a:graphic>
          <a:graphicData uri="http://schemas.openxmlformats.org/drawingml/2006/table">
            <a:tbl>
              <a:tblPr firstRow="1" bandRow="1">
                <a:tableStyleId>{5940675A-B579-460E-94D1-54222C63F5DA}</a:tableStyleId>
              </a:tblPr>
              <a:tblGrid>
                <a:gridCol w="2733762">
                  <a:extLst>
                    <a:ext uri="{9D8B030D-6E8A-4147-A177-3AD203B41FA5}">
                      <a16:colId xmlns:a16="http://schemas.microsoft.com/office/drawing/2014/main" val="1309079652"/>
                    </a:ext>
                  </a:extLst>
                </a:gridCol>
                <a:gridCol w="7681150">
                  <a:extLst>
                    <a:ext uri="{9D8B030D-6E8A-4147-A177-3AD203B41FA5}">
                      <a16:colId xmlns:a16="http://schemas.microsoft.com/office/drawing/2014/main" val="3817880892"/>
                    </a:ext>
                  </a:extLst>
                </a:gridCol>
              </a:tblGrid>
              <a:tr h="435213">
                <a:tc>
                  <a:txBody>
                    <a:bodyPr/>
                    <a:lstStyle/>
                    <a:p>
                      <a:r>
                        <a:rPr lang="de-CH" sz="1800" dirty="0">
                          <a:solidFill>
                            <a:schemeClr val="bg1"/>
                          </a:solidFill>
                          <a:latin typeface="Segoe UI" panose="020B0502040204020203" pitchFamily="34" charset="0"/>
                          <a:cs typeface="Segoe UI" panose="020B0502040204020203" pitchFamily="34" charset="0"/>
                        </a:rPr>
                        <a:t>Sept. 5th 2022</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800" dirty="0">
                          <a:solidFill>
                            <a:schemeClr val="bg1"/>
                          </a:solidFill>
                          <a:latin typeface="Segoe UI Semibold" panose="020B0702040204020203" pitchFamily="34" charset="0"/>
                          <a:cs typeface="Segoe UI Semibold" panose="020B0702040204020203" pitchFamily="34" charset="0"/>
                        </a:rPr>
                        <a:t>Internal ISO17025 </a:t>
                      </a:r>
                      <a:r>
                        <a:rPr lang="de-CH" sz="1800" dirty="0" err="1">
                          <a:solidFill>
                            <a:schemeClr val="bg1"/>
                          </a:solidFill>
                          <a:latin typeface="Segoe UI Semibold" panose="020B0702040204020203" pitchFamily="34" charset="0"/>
                          <a:cs typeface="Segoe UI Semibold" panose="020B0702040204020203" pitchFamily="34" charset="0"/>
                        </a:rPr>
                        <a:t>audit</a:t>
                      </a:r>
                      <a:r>
                        <a:rPr lang="de-CH" sz="1800" dirty="0">
                          <a:solidFill>
                            <a:schemeClr val="bg1"/>
                          </a:solidFill>
                          <a:latin typeface="Segoe UI Semibold" panose="020B0702040204020203" pitchFamily="34" charset="0"/>
                          <a:cs typeface="Segoe UI Semibold" panose="020B0702040204020203" pitchFamily="34" charset="0"/>
                        </a:rPr>
                        <a:t> </a:t>
                      </a:r>
                      <a:r>
                        <a:rPr lang="de-CH" sz="1800" dirty="0" err="1">
                          <a:solidFill>
                            <a:schemeClr val="bg1"/>
                          </a:solidFill>
                          <a:latin typeface="Segoe UI Semibold" panose="020B0702040204020203" pitchFamily="34" charset="0"/>
                          <a:cs typeface="Segoe UI Semibold" panose="020B0702040204020203" pitchFamily="34" charset="0"/>
                        </a:rPr>
                        <a:t>passed</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up</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to</a:t>
                      </a:r>
                      <a:r>
                        <a:rPr lang="de-CH" sz="1800" dirty="0">
                          <a:solidFill>
                            <a:schemeClr val="bg1"/>
                          </a:solidFill>
                          <a:latin typeface="Segoe UI" panose="020B0502040204020203" pitchFamily="34" charset="0"/>
                          <a:cs typeface="Segoe UI" panose="020B0502040204020203" pitchFamily="34" charset="0"/>
                        </a:rPr>
                        <a:t> 2000 additional </a:t>
                      </a:r>
                      <a:r>
                        <a:rPr lang="de-CH" sz="1800" dirty="0" err="1">
                          <a:solidFill>
                            <a:schemeClr val="bg1"/>
                          </a:solidFill>
                          <a:latin typeface="Segoe UI" panose="020B0502040204020203" pitchFamily="34" charset="0"/>
                          <a:cs typeface="Segoe UI" panose="020B0502040204020203" pitchFamily="34" charset="0"/>
                        </a:rPr>
                        <a:t>samples</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available</a:t>
                      </a:r>
                      <a:r>
                        <a:rPr lang="de-CH" sz="1800" dirty="0">
                          <a:solidFill>
                            <a:schemeClr val="bg1"/>
                          </a:solidFill>
                          <a:latin typeface="Segoe UI" panose="020B0502040204020203" pitchFamily="34" charset="0"/>
                          <a:cs typeface="Segoe UI" panose="020B0502040204020203" pitchFamily="34" charset="0"/>
                        </a:rPr>
                        <a: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12939"/>
                  </a:ext>
                </a:extLst>
              </a:tr>
              <a:tr h="435213">
                <a:tc>
                  <a:txBody>
                    <a:bodyPr/>
                    <a:lstStyle/>
                    <a:p>
                      <a:r>
                        <a:rPr lang="de-CH" sz="1800" dirty="0" err="1">
                          <a:solidFill>
                            <a:schemeClr val="bg1"/>
                          </a:solidFill>
                          <a:latin typeface="Segoe UI" panose="020B0502040204020203" pitchFamily="34" charset="0"/>
                          <a:cs typeface="Segoe UI" panose="020B0502040204020203" pitchFamily="34" charset="0"/>
                        </a:rPr>
                        <a:t>Oct</a:t>
                      </a:r>
                      <a:r>
                        <a:rPr lang="de-CH" sz="1800" dirty="0">
                          <a:solidFill>
                            <a:schemeClr val="bg1"/>
                          </a:solidFill>
                          <a:latin typeface="Segoe UI" panose="020B0502040204020203" pitchFamily="34" charset="0"/>
                          <a:cs typeface="Segoe UI" panose="020B0502040204020203" pitchFamily="34" charset="0"/>
                        </a:rPr>
                        <a:t>. 2022</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800" dirty="0">
                          <a:solidFill>
                            <a:schemeClr val="bg1"/>
                          </a:solidFill>
                          <a:latin typeface="Segoe UI Semibold" panose="020B0702040204020203" pitchFamily="34" charset="0"/>
                          <a:cs typeface="Segoe UI Semibold" panose="020B0702040204020203" pitchFamily="34" charset="0"/>
                        </a:rPr>
                        <a:t>Official ISO17025 </a:t>
                      </a:r>
                      <a:r>
                        <a:rPr lang="de-CH" sz="1800" dirty="0" err="1">
                          <a:solidFill>
                            <a:schemeClr val="bg1"/>
                          </a:solidFill>
                          <a:latin typeface="Segoe UI Semibold" panose="020B0702040204020203" pitchFamily="34" charset="0"/>
                          <a:cs typeface="Segoe UI Semibold" panose="020B0702040204020203" pitchFamily="34" charset="0"/>
                        </a:rPr>
                        <a:t>re</a:t>
                      </a:r>
                      <a:r>
                        <a:rPr lang="de-CH" sz="1800" dirty="0">
                          <a:solidFill>
                            <a:schemeClr val="bg1"/>
                          </a:solidFill>
                          <a:latin typeface="Segoe UI Semibold" panose="020B0702040204020203" pitchFamily="34" charset="0"/>
                          <a:cs typeface="Segoe UI Semibold" panose="020B0702040204020203" pitchFamily="34" charset="0"/>
                        </a:rPr>
                        <a:t>-audit</a:t>
                      </a:r>
                      <a:r>
                        <a:rPr lang="de-CH" sz="1800" dirty="0">
                          <a:solidFill>
                            <a:schemeClr val="bg1"/>
                          </a:solidFill>
                          <a:latin typeface="Segoe UI" panose="020B0502040204020203" pitchFamily="34" charset="0"/>
                          <a:cs typeface="Segoe UI" panose="020B0502040204020203" pitchFamily="34" charset="0"/>
                        </a:rPr>
                        <a:t>. SHT43 </a:t>
                      </a:r>
                      <a:r>
                        <a:rPr lang="de-CH" sz="1800" dirty="0" err="1">
                          <a:solidFill>
                            <a:schemeClr val="bg1"/>
                          </a:solidFill>
                          <a:latin typeface="Segoe UI" panose="020B0502040204020203" pitchFamily="34" charset="0"/>
                          <a:cs typeface="Segoe UI" panose="020B0502040204020203" pitchFamily="34" charset="0"/>
                        </a:rPr>
                        <a:t>process</a:t>
                      </a:r>
                      <a:r>
                        <a:rPr lang="de-CH" sz="1800" dirty="0">
                          <a:solidFill>
                            <a:schemeClr val="bg1"/>
                          </a:solidFill>
                          <a:latin typeface="Segoe UI" panose="020B0502040204020203" pitchFamily="34" charset="0"/>
                          <a:cs typeface="Segoe UI" panose="020B0502040204020203" pitchFamily="34" charset="0"/>
                        </a:rPr>
                        <a:t> final and </a:t>
                      </a:r>
                      <a:r>
                        <a:rPr lang="de-CH" sz="1800" dirty="0" err="1">
                          <a:solidFill>
                            <a:schemeClr val="bg1"/>
                          </a:solidFill>
                          <a:latin typeface="Segoe UI" panose="020B0502040204020203" pitchFamily="34" charset="0"/>
                          <a:cs typeface="Segoe UI" panose="020B0502040204020203" pitchFamily="34" charset="0"/>
                        </a:rPr>
                        <a:t>approved</a:t>
                      </a:r>
                      <a:r>
                        <a:rPr lang="de-CH" sz="1800" dirty="0">
                          <a:solidFill>
                            <a:schemeClr val="bg1"/>
                          </a:solidFill>
                          <a:latin typeface="Segoe UI" panose="020B0502040204020203" pitchFamily="34" charset="0"/>
                          <a:cs typeface="Segoe UI" panose="020B0502040204020203" pitchFamily="34" charset="0"/>
                        </a:rPr>
                        <a: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6009010"/>
                  </a:ext>
                </a:extLst>
              </a:tr>
              <a:tr h="435213">
                <a:tc>
                  <a:txBody>
                    <a:bodyPr/>
                    <a:lstStyle/>
                    <a:p>
                      <a:r>
                        <a:rPr lang="de-CH" sz="1800" dirty="0">
                          <a:solidFill>
                            <a:schemeClr val="bg1"/>
                          </a:solidFill>
                          <a:latin typeface="Segoe UI" panose="020B0502040204020203" pitchFamily="34" charset="0"/>
                          <a:cs typeface="Segoe UI" panose="020B0502040204020203" pitchFamily="34" charset="0"/>
                        </a:rPr>
                        <a:t>Nov. 2022</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800" dirty="0">
                          <a:solidFill>
                            <a:schemeClr val="bg1"/>
                          </a:solidFill>
                          <a:latin typeface="Segoe UI Semibold" panose="020B0702040204020203" pitchFamily="34" charset="0"/>
                          <a:cs typeface="Segoe UI Semibold" panose="020B0702040204020203" pitchFamily="34" charset="0"/>
                        </a:rPr>
                        <a:t>Start </a:t>
                      </a:r>
                      <a:r>
                        <a:rPr lang="de-CH" sz="1800" dirty="0" err="1">
                          <a:solidFill>
                            <a:schemeClr val="bg1"/>
                          </a:solidFill>
                          <a:latin typeface="Segoe UI Semibold" panose="020B0702040204020203" pitchFamily="34" charset="0"/>
                          <a:cs typeface="Segoe UI Semibold" panose="020B0702040204020203" pitchFamily="34" charset="0"/>
                        </a:rPr>
                        <a:t>of</a:t>
                      </a:r>
                      <a:r>
                        <a:rPr lang="de-CH" sz="1800" dirty="0">
                          <a:solidFill>
                            <a:schemeClr val="bg1"/>
                          </a:solidFill>
                          <a:latin typeface="Segoe UI Semibold" panose="020B0702040204020203" pitchFamily="34" charset="0"/>
                          <a:cs typeface="Segoe UI Semibold" panose="020B0702040204020203" pitchFamily="34" charset="0"/>
                        </a:rPr>
                        <a:t> </a:t>
                      </a:r>
                      <a:r>
                        <a:rPr lang="de-CH" sz="1800" dirty="0" err="1">
                          <a:solidFill>
                            <a:schemeClr val="bg1"/>
                          </a:solidFill>
                          <a:latin typeface="Segoe UI Semibold" panose="020B0702040204020203" pitchFamily="34" charset="0"/>
                          <a:cs typeface="Segoe UI Semibold" panose="020B0702040204020203" pitchFamily="34" charset="0"/>
                        </a:rPr>
                        <a:t>production</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up</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to</a:t>
                      </a:r>
                      <a:r>
                        <a:rPr lang="de-CH" sz="1800" dirty="0">
                          <a:solidFill>
                            <a:schemeClr val="bg1"/>
                          </a:solidFill>
                          <a:latin typeface="Segoe UI" panose="020B0502040204020203" pitchFamily="34" charset="0"/>
                          <a:cs typeface="Segoe UI" panose="020B0502040204020203" pitchFamily="34" charset="0"/>
                        </a:rPr>
                        <a:t> 90 </a:t>
                      </a:r>
                      <a:r>
                        <a:rPr lang="de-CH" sz="1800" dirty="0" err="1">
                          <a:solidFill>
                            <a:schemeClr val="bg1"/>
                          </a:solidFill>
                          <a:latin typeface="Segoe UI" panose="020B0502040204020203" pitchFamily="34" charset="0"/>
                          <a:cs typeface="Segoe UI" panose="020B0502040204020203" pitchFamily="34" charset="0"/>
                        </a:rPr>
                        <a:t>kpcs</a:t>
                      </a:r>
                      <a:r>
                        <a:rPr lang="de-CH" sz="1800" dirty="0">
                          <a:solidFill>
                            <a:schemeClr val="bg1"/>
                          </a:solidFill>
                          <a:latin typeface="Segoe UI" panose="020B0502040204020203" pitchFamily="34" charset="0"/>
                          <a:cs typeface="Segoe UI" panose="020B0502040204020203" pitchFamily="34" charset="0"/>
                        </a:rPr>
                        <a:t> final SHT43.</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5542893"/>
                  </a:ext>
                </a:extLst>
              </a:tr>
              <a:tr h="435213">
                <a:tc>
                  <a:txBody>
                    <a:bodyPr/>
                    <a:lstStyle/>
                    <a:p>
                      <a:r>
                        <a:rPr lang="de-CH" sz="1800" dirty="0" err="1">
                          <a:solidFill>
                            <a:schemeClr val="bg1"/>
                          </a:solidFill>
                          <a:latin typeface="Segoe UI" panose="020B0502040204020203" pitchFamily="34" charset="0"/>
                          <a:cs typeface="Segoe UI" panose="020B0502040204020203" pitchFamily="34" charset="0"/>
                        </a:rPr>
                        <a:t>Dec</a:t>
                      </a:r>
                      <a:r>
                        <a:rPr lang="de-CH" sz="1800" dirty="0">
                          <a:solidFill>
                            <a:schemeClr val="bg1"/>
                          </a:solidFill>
                          <a:latin typeface="Segoe UI" panose="020B0502040204020203" pitchFamily="34" charset="0"/>
                          <a:cs typeface="Segoe UI" panose="020B0502040204020203" pitchFamily="34" charset="0"/>
                        </a:rPr>
                        <a:t> 2022</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800" dirty="0">
                          <a:solidFill>
                            <a:schemeClr val="bg1"/>
                          </a:solidFill>
                          <a:latin typeface="Segoe UI Semibold" panose="020B0702040204020203" pitchFamily="34" charset="0"/>
                          <a:cs typeface="Segoe UI Semibold" panose="020B0702040204020203" pitchFamily="34" charset="0"/>
                        </a:rPr>
                        <a:t>Ramp-</a:t>
                      </a:r>
                      <a:r>
                        <a:rPr lang="de-CH" sz="1800" dirty="0" err="1">
                          <a:solidFill>
                            <a:schemeClr val="bg1"/>
                          </a:solidFill>
                          <a:latin typeface="Segoe UI Semibold" panose="020B0702040204020203" pitchFamily="34" charset="0"/>
                          <a:cs typeface="Segoe UI Semibold" panose="020B0702040204020203" pitchFamily="34" charset="0"/>
                        </a:rPr>
                        <a:t>up</a:t>
                      </a:r>
                      <a:r>
                        <a:rPr lang="de-CH" sz="1800" dirty="0">
                          <a:solidFill>
                            <a:schemeClr val="bg1"/>
                          </a:solidFill>
                          <a:latin typeface="Segoe UI Semibold" panose="020B0702040204020203" pitchFamily="34" charset="0"/>
                          <a:cs typeface="Segoe UI Semibold" panose="020B0702040204020203" pitchFamily="34" charset="0"/>
                        </a:rPr>
                        <a:t> </a:t>
                      </a:r>
                      <a:r>
                        <a:rPr lang="de-CH" sz="1800" dirty="0" err="1">
                          <a:solidFill>
                            <a:schemeClr val="bg1"/>
                          </a:solidFill>
                          <a:latin typeface="Segoe UI Semibold" panose="020B0702040204020203" pitchFamily="34" charset="0"/>
                          <a:cs typeface="Segoe UI Semibold" panose="020B0702040204020203" pitchFamily="34" charset="0"/>
                        </a:rPr>
                        <a:t>phase</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up</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to</a:t>
                      </a:r>
                      <a:r>
                        <a:rPr lang="de-CH" sz="1800" dirty="0">
                          <a:solidFill>
                            <a:schemeClr val="bg1"/>
                          </a:solidFill>
                          <a:latin typeface="Segoe UI" panose="020B0502040204020203" pitchFamily="34" charset="0"/>
                          <a:cs typeface="Segoe UI" panose="020B0502040204020203" pitchFamily="34" charset="0"/>
                        </a:rPr>
                        <a:t> 100 </a:t>
                      </a:r>
                      <a:r>
                        <a:rPr lang="de-CH" sz="1800" dirty="0" err="1">
                          <a:solidFill>
                            <a:schemeClr val="bg1"/>
                          </a:solidFill>
                          <a:latin typeface="Segoe UI" panose="020B0502040204020203" pitchFamily="34" charset="0"/>
                          <a:cs typeface="Segoe UI" panose="020B0502040204020203" pitchFamily="34" charset="0"/>
                        </a:rPr>
                        <a:t>kpcs</a:t>
                      </a:r>
                      <a:r>
                        <a:rPr lang="de-CH" sz="1800" dirty="0">
                          <a:solidFill>
                            <a:schemeClr val="bg1"/>
                          </a:solidFill>
                          <a:latin typeface="Segoe UI" panose="020B0502040204020203" pitchFamily="34" charset="0"/>
                          <a:cs typeface="Segoe UI" panose="020B0502040204020203" pitchFamily="34" charset="0"/>
                        </a:rPr>
                        <a:t> final SHT43.</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285037"/>
                  </a:ext>
                </a:extLst>
              </a:tr>
              <a:tr h="435213">
                <a:tc>
                  <a:txBody>
                    <a:bodyPr/>
                    <a:lstStyle/>
                    <a:p>
                      <a:r>
                        <a:rPr lang="de-CH" sz="1800" dirty="0">
                          <a:solidFill>
                            <a:schemeClr val="bg1"/>
                          </a:solidFill>
                          <a:latin typeface="Segoe UI" panose="020B0502040204020203" pitchFamily="34" charset="0"/>
                          <a:cs typeface="Segoe UI" panose="020B0502040204020203" pitchFamily="34" charset="0"/>
                        </a:rPr>
                        <a:t>Feb. 2023</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CH" sz="1800" dirty="0">
                          <a:solidFill>
                            <a:schemeClr val="bg1"/>
                          </a:solidFill>
                          <a:latin typeface="Segoe UI Semibold" panose="020B0702040204020203" pitchFamily="34" charset="0"/>
                          <a:cs typeface="Segoe UI Semibold" panose="020B0702040204020203" pitchFamily="34" charset="0"/>
                        </a:rPr>
                        <a:t>Standard </a:t>
                      </a:r>
                      <a:r>
                        <a:rPr lang="de-CH" sz="1800" dirty="0" err="1">
                          <a:solidFill>
                            <a:schemeClr val="bg1"/>
                          </a:solidFill>
                          <a:latin typeface="Segoe UI Semibold" panose="020B0702040204020203" pitchFamily="34" charset="0"/>
                          <a:cs typeface="Segoe UI Semibold" panose="020B0702040204020203" pitchFamily="34" charset="0"/>
                        </a:rPr>
                        <a:t>production</a:t>
                      </a:r>
                      <a:r>
                        <a:rPr lang="de-CH" sz="1800" dirty="0">
                          <a:solidFill>
                            <a:schemeClr val="bg1"/>
                          </a:solidFill>
                          <a:latin typeface="Segoe UI Semibold" panose="020B0702040204020203" pitchFamily="34" charset="0"/>
                          <a:cs typeface="Segoe UI Semibold" panose="020B0702040204020203" pitchFamily="34" charset="0"/>
                        </a:rPr>
                        <a:t> </a:t>
                      </a:r>
                      <a:r>
                        <a:rPr lang="de-CH" sz="1800" dirty="0" err="1">
                          <a:solidFill>
                            <a:schemeClr val="bg1"/>
                          </a:solidFill>
                          <a:latin typeface="Segoe UI Semibold" panose="020B0702040204020203" pitchFamily="34" charset="0"/>
                          <a:cs typeface="Segoe UI Semibold" panose="020B0702040204020203" pitchFamily="34" charset="0"/>
                        </a:rPr>
                        <a:t>with</a:t>
                      </a:r>
                      <a:r>
                        <a:rPr lang="de-CH" sz="1800" dirty="0">
                          <a:solidFill>
                            <a:schemeClr val="bg1"/>
                          </a:solidFill>
                          <a:latin typeface="Segoe UI Semibold" panose="020B0702040204020203" pitchFamily="34" charset="0"/>
                          <a:cs typeface="Segoe UI Semibold" panose="020B0702040204020203" pitchFamily="34" charset="0"/>
                        </a:rPr>
                        <a:t> </a:t>
                      </a:r>
                      <a:r>
                        <a:rPr lang="de-CH" sz="1800" dirty="0" err="1">
                          <a:solidFill>
                            <a:schemeClr val="bg1"/>
                          </a:solidFill>
                          <a:latin typeface="Segoe UI Semibold" panose="020B0702040204020203" pitchFamily="34" charset="0"/>
                          <a:cs typeface="Segoe UI Semibold" panose="020B0702040204020203" pitchFamily="34" charset="0"/>
                        </a:rPr>
                        <a:t>lead</a:t>
                      </a:r>
                      <a:r>
                        <a:rPr lang="de-CH" sz="1800" dirty="0">
                          <a:solidFill>
                            <a:schemeClr val="bg1"/>
                          </a:solidFill>
                          <a:latin typeface="Segoe UI Semibold" panose="020B0702040204020203" pitchFamily="34" charset="0"/>
                          <a:cs typeface="Segoe UI Semibold" panose="020B0702040204020203" pitchFamily="34" charset="0"/>
                        </a:rPr>
                        <a:t> time</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any</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volume</a:t>
                      </a:r>
                      <a:r>
                        <a:rPr lang="de-CH" sz="1800" dirty="0">
                          <a:solidFill>
                            <a:schemeClr val="bg1"/>
                          </a:solidFill>
                          <a:latin typeface="Segoe UI" panose="020B0502040204020203" pitchFamily="34" charset="0"/>
                          <a:cs typeface="Segoe UI" panose="020B0502040204020203" pitchFamily="34" charset="0"/>
                        </a:rPr>
                        <a:t> </a:t>
                      </a:r>
                      <a:r>
                        <a:rPr lang="de-CH" sz="1800" dirty="0" err="1">
                          <a:solidFill>
                            <a:schemeClr val="bg1"/>
                          </a:solidFill>
                          <a:latin typeface="Segoe UI" panose="020B0502040204020203" pitchFamily="34" charset="0"/>
                          <a:cs typeface="Segoe UI" panose="020B0502040204020203" pitchFamily="34" charset="0"/>
                        </a:rPr>
                        <a:t>available</a:t>
                      </a:r>
                      <a:r>
                        <a:rPr lang="de-CH" sz="1800" dirty="0">
                          <a:solidFill>
                            <a:schemeClr val="bg1"/>
                          </a:solidFill>
                          <a:latin typeface="Segoe UI" panose="020B0502040204020203" pitchFamily="34" charset="0"/>
                          <a:cs typeface="Segoe UI" panose="020B0502040204020203" pitchFamily="34" charset="0"/>
                        </a:rPr>
                        <a:t>.</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474788"/>
                  </a:ext>
                </a:extLst>
              </a:tr>
            </a:tbl>
          </a:graphicData>
        </a:graphic>
      </p:graphicFrame>
    </p:spTree>
    <p:extLst>
      <p:ext uri="{BB962C8B-B14F-4D97-AF65-F5344CB8AC3E}">
        <p14:creationId xmlns:p14="http://schemas.microsoft.com/office/powerpoint/2010/main" val="300076842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48777D2-4832-4EB8-8BCA-AC7C9839369B}"/>
              </a:ext>
            </a:extLst>
          </p:cNvPr>
          <p:cNvGrpSpPr/>
          <p:nvPr/>
        </p:nvGrpSpPr>
        <p:grpSpPr>
          <a:xfrm>
            <a:off x="-216983" y="3828961"/>
            <a:ext cx="3020147" cy="1889270"/>
            <a:chOff x="162469" y="3398636"/>
            <a:chExt cx="3020147" cy="1889270"/>
          </a:xfrm>
        </p:grpSpPr>
        <p:sp>
          <p:nvSpPr>
            <p:cNvPr id="13" name="Oval 12"/>
            <p:cNvSpPr/>
            <p:nvPr/>
          </p:nvSpPr>
          <p:spPr>
            <a:xfrm>
              <a:off x="660172" y="3573636"/>
              <a:ext cx="2024743" cy="1539270"/>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Narrow"/>
                <a:ea typeface="+mn-ea"/>
                <a:cs typeface="+mn-cs"/>
              </a:endParaRPr>
            </a:p>
          </p:txBody>
        </p:sp>
        <p:pic>
          <p:nvPicPr>
            <p:cNvPr id="3076" name="Picture 4">
              <a:extLst>
                <a:ext uri="{FF2B5EF4-FFF2-40B4-BE49-F238E27FC236}">
                  <a16:creationId xmlns:a16="http://schemas.microsoft.com/office/drawing/2014/main" id="{05E431E6-7F8C-478D-A56B-40E4A47BFEC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2469" y="3398636"/>
              <a:ext cx="3020147" cy="188927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nvPr>
        </p:nvSpPr>
        <p:spPr/>
        <p:txBody>
          <a:bodyPr/>
          <a:lstStyle/>
          <a:p>
            <a:r>
              <a:rPr lang="en-US"/>
              <a:t>Why Does </a:t>
            </a:r>
            <a:r>
              <a:rPr lang="en-US" err="1"/>
              <a:t>Sensirion</a:t>
            </a:r>
            <a:r>
              <a:rPr lang="en-US"/>
              <a:t> Win in </a:t>
            </a:r>
            <a:r>
              <a:rPr lang="en-US" err="1"/>
              <a:t>IoT</a:t>
            </a:r>
            <a:r>
              <a:rPr lang="en-US"/>
              <a:t> of Supply Chain ?  </a:t>
            </a:r>
          </a:p>
        </p:txBody>
      </p:sp>
      <p:sp>
        <p:nvSpPr>
          <p:cNvPr id="3" name="Content Placeholder 2"/>
          <p:cNvSpPr>
            <a:spLocks noGrp="1"/>
          </p:cNvSpPr>
          <p:nvPr>
            <p:ph idx="1"/>
          </p:nvPr>
        </p:nvSpPr>
        <p:spPr>
          <a:xfrm>
            <a:off x="839787" y="908049"/>
            <a:ext cx="6025711" cy="2101851"/>
          </a:xfrm>
        </p:spPr>
        <p:txBody>
          <a:bodyPr/>
          <a:lstStyle/>
          <a:p>
            <a:r>
              <a:rPr lang="en-US" b="1"/>
              <a:t>Key Takeaways </a:t>
            </a:r>
          </a:p>
          <a:p>
            <a:pPr marL="342900" indent="-342900">
              <a:buFont typeface="Arial" panose="020B0604020202020204" pitchFamily="34" charset="0"/>
              <a:buChar char="•"/>
            </a:pPr>
            <a:r>
              <a:rPr lang="en-US" sz="1800"/>
              <a:t>ISO17025-calibrated RH/T sensor </a:t>
            </a:r>
          </a:p>
          <a:p>
            <a:pPr marL="558900" lvl="1" indent="-342900">
              <a:buFont typeface="Arial" panose="020B0604020202020204" pitchFamily="34" charset="0"/>
              <a:buChar char="•"/>
            </a:pPr>
            <a:r>
              <a:rPr lang="en-US" sz="1800"/>
              <a:t>NIST traceability </a:t>
            </a:r>
          </a:p>
          <a:p>
            <a:pPr marL="558900" lvl="1" indent="-342900">
              <a:buFont typeface="Arial" panose="020B0604020202020204" pitchFamily="34" charset="0"/>
              <a:buChar char="•"/>
            </a:pPr>
            <a:r>
              <a:rPr lang="en-US" sz="1800"/>
              <a:t>Not beholden to a single EMS </a:t>
            </a:r>
          </a:p>
          <a:p>
            <a:pPr marL="342900" indent="-342900">
              <a:buFont typeface="Arial" panose="020B0604020202020204" pitchFamily="34" charset="0"/>
              <a:buChar char="•"/>
            </a:pPr>
            <a:r>
              <a:rPr lang="en-US" sz="1800"/>
              <a:t>Innovative sensor solutions (high concentration CO2 applications ) </a:t>
            </a:r>
          </a:p>
          <a:p>
            <a:pPr marL="342900" indent="-342900">
              <a:buFont typeface="Arial" panose="020B0604020202020204" pitchFamily="34" charset="0"/>
              <a:buChar char="•"/>
            </a:pPr>
            <a:r>
              <a:rPr lang="en-US" sz="1800"/>
              <a:t>Very competitive pricing for high end data loggers </a:t>
            </a:r>
          </a:p>
          <a:p>
            <a:pPr marL="342900" indent="-342900">
              <a:buFont typeface="Arial" panose="020B0604020202020204" pitchFamily="34" charset="0"/>
              <a:buChar char="•"/>
            </a:pPr>
            <a:r>
              <a:rPr lang="en-US" sz="1800"/>
              <a:t>Top tier application support on a global scale</a:t>
            </a:r>
          </a:p>
          <a:p>
            <a:pPr marL="342900" indent="-342900">
              <a:buFont typeface="Arial" panose="020B0604020202020204" pitchFamily="34" charset="0"/>
              <a:buChar char="•"/>
            </a:pPr>
            <a:r>
              <a:rPr lang="en-US" sz="1800"/>
              <a:t>Benefits other applications incl. Datacenters</a:t>
            </a:r>
          </a:p>
          <a:p>
            <a:endParaRPr lang="en-US" sz="1800"/>
          </a:p>
          <a:p>
            <a:pPr marL="342900" indent="-342900">
              <a:buFont typeface="Arial" panose="020B0604020202020204" pitchFamily="34" charset="0"/>
              <a:buChar char="•"/>
            </a:pPr>
            <a:endParaRPr lang="en-US"/>
          </a:p>
        </p:txBody>
      </p:sp>
      <p:sp>
        <p:nvSpPr>
          <p:cNvPr id="15" name="TextBox 14"/>
          <p:cNvSpPr txBox="1"/>
          <p:nvPr/>
        </p:nvSpPr>
        <p:spPr>
          <a:xfrm>
            <a:off x="2373706" y="3973377"/>
            <a:ext cx="3797419" cy="138499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34" charset="0"/>
                <a:ea typeface="+mn-ea"/>
                <a:cs typeface="Arial" charset="0"/>
              </a:rPr>
              <a:t>Sensirion Humidity and Temp (SHT43/STS33)</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itchFamily="34" charset="0"/>
                <a:ea typeface="+mn-ea"/>
                <a:cs typeface="Arial" charset="0"/>
              </a:rPr>
              <a:t>Shows ambient conditions in real time</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itchFamily="34" charset="0"/>
                <a:ea typeface="+mn-ea"/>
                <a:cs typeface="Arial" charset="0"/>
              </a:rPr>
              <a:t>NIST Traceable </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noProof="0" dirty="0">
                <a:solidFill>
                  <a:srgbClr val="000000"/>
                </a:solidFill>
              </a:rPr>
              <a:t>Digital </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dirty="0">
                <a:ln>
                  <a:noFill/>
                </a:ln>
                <a:solidFill>
                  <a:srgbClr val="000000"/>
                </a:solidFill>
                <a:effectLst/>
                <a:uLnTx/>
                <a:uFillTx/>
                <a:latin typeface="Arial Narrow" pitchFamily="34" charset="0"/>
                <a:ea typeface="+mn-ea"/>
                <a:cs typeface="Arial" charset="0"/>
              </a:rPr>
              <a:t>Fully</a:t>
            </a:r>
            <a:r>
              <a:rPr kumimoji="0" lang="en-US" sz="1400" b="0" i="0" u="none" strike="noStrike" kern="1200" cap="none" spc="0" normalizeH="0" dirty="0">
                <a:ln>
                  <a:noFill/>
                </a:ln>
                <a:solidFill>
                  <a:srgbClr val="000000"/>
                </a:solidFill>
                <a:effectLst/>
                <a:uLnTx/>
                <a:uFillTx/>
                <a:latin typeface="Arial Narrow" pitchFamily="34" charset="0"/>
                <a:ea typeface="+mn-ea"/>
                <a:cs typeface="Arial" charset="0"/>
              </a:rPr>
              <a:t> calibrated </a:t>
            </a:r>
            <a:endParaRPr kumimoji="0" lang="en-US" sz="1400" b="0" i="0" u="none" strike="noStrike" kern="1200" cap="none" spc="0" normalizeH="0" baseline="0" noProof="0" dirty="0">
              <a:ln>
                <a:noFill/>
              </a:ln>
              <a:solidFill>
                <a:srgbClr val="000000"/>
              </a:solidFill>
              <a:effectLst/>
              <a:uLnTx/>
              <a:uFillTx/>
              <a:latin typeface="Arial Narrow" pitchFamily="34" charset="0"/>
              <a:ea typeface="+mn-ea"/>
              <a:cs typeface="Arial" charset="0"/>
            </a:endParaRP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itchFamily="34" charset="0"/>
                <a:ea typeface="+mn-ea"/>
                <a:cs typeface="Arial" charset="0"/>
              </a:rPr>
              <a:t>Best cost/performance ratio</a:t>
            </a:r>
          </a:p>
        </p:txBody>
      </p:sp>
      <p:pic>
        <p:nvPicPr>
          <p:cNvPr id="2050" name="Picture 2" descr="Image result for 18 wheeler on highwa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52510" y="1059781"/>
            <a:ext cx="3434506" cy="230455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pallets on truc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21693" y="3588238"/>
            <a:ext cx="3090897" cy="195499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1BCD0B09-6B05-4090-9FF3-61B156135E04}"/>
              </a:ext>
            </a:extLst>
          </p:cNvPr>
          <p:cNvSpPr txBox="1"/>
          <p:nvPr/>
        </p:nvSpPr>
        <p:spPr>
          <a:xfrm>
            <a:off x="382807" y="5907348"/>
            <a:ext cx="6096000" cy="400110"/>
          </a:xfrm>
          <a:prstGeom prst="rect">
            <a:avLst/>
          </a:prstGeom>
          <a:noFill/>
        </p:spPr>
        <p:txBody>
          <a:bodyPr wrap="square">
            <a:spAutoFit/>
          </a:bodyPr>
          <a:lstStyle/>
          <a:p>
            <a:r>
              <a:rPr lang="en-US">
                <a:hlinkClick r:id="rId5"/>
              </a:rPr>
              <a:t>Transport of pharmaceutical goods (sensirion.com)</a:t>
            </a:r>
            <a:endParaRPr lang="en-US"/>
          </a:p>
        </p:txBody>
      </p:sp>
      <p:pic>
        <p:nvPicPr>
          <p:cNvPr id="3074" name="Picture 2" descr="Datacenter, hosting &amp; cloud industry | Nomios Group">
            <a:extLst>
              <a:ext uri="{FF2B5EF4-FFF2-40B4-BE49-F238E27FC236}">
                <a16:creationId xmlns:a16="http://schemas.microsoft.com/office/drawing/2014/main" id="{5676A000-C9B8-40C8-98C6-3FA57E8939C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21517"/>
          <a:stretch/>
        </p:blipFill>
        <p:spPr bwMode="auto">
          <a:xfrm>
            <a:off x="5635741" y="3588238"/>
            <a:ext cx="2557251" cy="1954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72175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0" name="Connector: Elbow 109">
            <a:extLst>
              <a:ext uri="{FF2B5EF4-FFF2-40B4-BE49-F238E27FC236}">
                <a16:creationId xmlns:a16="http://schemas.microsoft.com/office/drawing/2014/main" id="{900974F1-5AE2-4DAC-9DCC-914983C75CF0}"/>
              </a:ext>
            </a:extLst>
          </p:cNvPr>
          <p:cNvCxnSpPr>
            <a:cxnSpLocks/>
            <a:stCxn id="38" idx="2"/>
            <a:endCxn id="70" idx="1"/>
          </p:cNvCxnSpPr>
          <p:nvPr/>
        </p:nvCxnSpPr>
        <p:spPr>
          <a:xfrm rot="16200000" flipH="1">
            <a:off x="3647653" y="4446234"/>
            <a:ext cx="826592" cy="1150023"/>
          </a:xfrm>
          <a:prstGeom prst="bentConnector2">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4884755" y="3940849"/>
            <a:ext cx="1487211" cy="486233"/>
            <a:chOff x="3036905" y="4721899"/>
            <a:chExt cx="1487211" cy="486233"/>
          </a:xfrm>
        </p:grpSpPr>
        <p:pic>
          <p:nvPicPr>
            <p:cNvPr id="39" name="Grafik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6905" y="4721899"/>
              <a:ext cx="886364" cy="486233"/>
            </a:xfrm>
            <a:prstGeom prst="rect">
              <a:avLst/>
            </a:prstGeom>
          </p:spPr>
        </p:pic>
        <p:sp>
          <p:nvSpPr>
            <p:cNvPr id="55" name="Rechteck 76"/>
            <p:cNvSpPr/>
            <p:nvPr/>
          </p:nvSpPr>
          <p:spPr>
            <a:xfrm>
              <a:off x="3816871" y="4828979"/>
              <a:ext cx="707245" cy="338554"/>
            </a:xfrm>
            <a:prstGeom prst="rect">
              <a:avLst/>
            </a:prstGeom>
          </p:spPr>
          <p:txBody>
            <a:bodyPr wrap="none">
              <a:spAutoFit/>
            </a:bodyPr>
            <a:lstStyle/>
            <a:p>
              <a:r>
                <a:rPr lang="de-CH" sz="1600"/>
                <a:t>SHT85</a:t>
              </a:r>
              <a:endParaRPr lang="de-CH" sz="1600" dirty="0"/>
            </a:p>
          </p:txBody>
        </p:sp>
      </p:grpSp>
      <p:grpSp>
        <p:nvGrpSpPr>
          <p:cNvPr id="99" name="Group 98">
            <a:extLst>
              <a:ext uri="{FF2B5EF4-FFF2-40B4-BE49-F238E27FC236}">
                <a16:creationId xmlns:a16="http://schemas.microsoft.com/office/drawing/2014/main" id="{690DB369-89A7-4BF8-BBEB-1C33AC3353B6}"/>
              </a:ext>
            </a:extLst>
          </p:cNvPr>
          <p:cNvGrpSpPr/>
          <p:nvPr/>
        </p:nvGrpSpPr>
        <p:grpSpPr>
          <a:xfrm>
            <a:off x="4712285" y="3139763"/>
            <a:ext cx="1888756" cy="964612"/>
            <a:chOff x="4686885" y="3489013"/>
            <a:chExt cx="1888756" cy="964612"/>
          </a:xfrm>
        </p:grpSpPr>
        <p:pic>
          <p:nvPicPr>
            <p:cNvPr id="92" name="Picture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86885" y="3489013"/>
              <a:ext cx="1205764" cy="964612"/>
            </a:xfrm>
            <a:prstGeom prst="rect">
              <a:avLst/>
            </a:prstGeom>
          </p:spPr>
        </p:pic>
        <p:sp>
          <p:nvSpPr>
            <p:cNvPr id="74" name="Textfeld 40"/>
            <p:cNvSpPr txBox="1"/>
            <p:nvPr/>
          </p:nvSpPr>
          <p:spPr>
            <a:xfrm>
              <a:off x="5635960" y="3820680"/>
              <a:ext cx="939681" cy="338554"/>
            </a:xfrm>
            <a:prstGeom prst="rect">
              <a:avLst/>
            </a:prstGeom>
            <a:noFill/>
          </p:spPr>
          <p:txBody>
            <a:bodyPr wrap="none" rtlCol="0">
              <a:spAutoFit/>
            </a:bodyPr>
            <a:lstStyle/>
            <a:p>
              <a:r>
                <a:rPr lang="de-CH" sz="1600"/>
                <a:t>SHT41/45</a:t>
              </a:r>
              <a:endParaRPr lang="de-CH" sz="1600" dirty="0"/>
            </a:p>
          </p:txBody>
        </p:sp>
      </p:grpSp>
      <p:grpSp>
        <p:nvGrpSpPr>
          <p:cNvPr id="98" name="Group 97">
            <a:extLst>
              <a:ext uri="{FF2B5EF4-FFF2-40B4-BE49-F238E27FC236}">
                <a16:creationId xmlns:a16="http://schemas.microsoft.com/office/drawing/2014/main" id="{7C7F2395-B7CB-4034-A52D-2CBD6D1B6A49}"/>
              </a:ext>
            </a:extLst>
          </p:cNvPr>
          <p:cNvGrpSpPr/>
          <p:nvPr/>
        </p:nvGrpSpPr>
        <p:grpSpPr>
          <a:xfrm>
            <a:off x="4739359" y="2416825"/>
            <a:ext cx="2273734" cy="962226"/>
            <a:chOff x="4726659" y="2772425"/>
            <a:chExt cx="2273734" cy="962226"/>
          </a:xfrm>
        </p:grpSpPr>
        <p:sp>
          <p:nvSpPr>
            <p:cNvPr id="73" name="Textfeld 40"/>
            <p:cNvSpPr txBox="1"/>
            <p:nvPr/>
          </p:nvSpPr>
          <p:spPr>
            <a:xfrm>
              <a:off x="5677595" y="3100331"/>
              <a:ext cx="1322798" cy="338554"/>
            </a:xfrm>
            <a:prstGeom prst="rect">
              <a:avLst/>
            </a:prstGeom>
            <a:noFill/>
          </p:spPr>
          <p:txBody>
            <a:bodyPr wrap="none" rtlCol="0">
              <a:spAutoFit/>
            </a:bodyPr>
            <a:lstStyle/>
            <a:p>
              <a:r>
                <a:rPr lang="de-CH" sz="1600"/>
                <a:t>SHT4xI-Analog</a:t>
              </a:r>
              <a:endParaRPr lang="de-CH" sz="1600" dirty="0"/>
            </a:p>
          </p:txBody>
        </p:sp>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26659" y="2772425"/>
              <a:ext cx="1202784" cy="962226"/>
            </a:xfrm>
            <a:prstGeom prst="rect">
              <a:avLst/>
            </a:prstGeom>
          </p:spPr>
        </p:pic>
      </p:grpSp>
      <p:sp>
        <p:nvSpPr>
          <p:cNvPr id="103" name="Rounded Rectangle 1">
            <a:extLst>
              <a:ext uri="{FF2B5EF4-FFF2-40B4-BE49-F238E27FC236}">
                <a16:creationId xmlns:a16="http://schemas.microsoft.com/office/drawing/2014/main" id="{449B9CE6-4FA2-4724-8711-73DC1BBFB423}"/>
              </a:ext>
            </a:extLst>
          </p:cNvPr>
          <p:cNvSpPr/>
          <p:nvPr/>
        </p:nvSpPr>
        <p:spPr>
          <a:xfrm>
            <a:off x="6982669" y="970239"/>
            <a:ext cx="4590530" cy="5394702"/>
          </a:xfrm>
          <a:prstGeom prst="roundRect">
            <a:avLst>
              <a:gd name="adj" fmla="val 6122"/>
            </a:avLst>
          </a:prstGeom>
          <a:solidFill>
            <a:schemeClr val="bg1">
              <a:lumMod val="85000"/>
              <a:alpha val="5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a:solidFill>
                <a:schemeClr val="tx1"/>
              </a:solidFill>
            </a:endParaRPr>
          </a:p>
        </p:txBody>
      </p:sp>
      <p:sp>
        <p:nvSpPr>
          <p:cNvPr id="5" name="Flussdiagramm: Verzweigung 4"/>
          <p:cNvSpPr/>
          <p:nvPr/>
        </p:nvSpPr>
        <p:spPr>
          <a:xfrm>
            <a:off x="2261694" y="2659135"/>
            <a:ext cx="2427317" cy="463551"/>
          </a:xfrm>
          <a:prstGeom prst="flowChartDecision">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sz="1600"/>
              <a:t>analog </a:t>
            </a:r>
            <a:r>
              <a:rPr lang="de-CH" sz="1600" dirty="0" err="1"/>
              <a:t>output</a:t>
            </a:r>
            <a:r>
              <a:rPr lang="de-CH" sz="1600" dirty="0"/>
              <a:t>?</a:t>
            </a:r>
          </a:p>
        </p:txBody>
      </p:sp>
      <p:cxnSp>
        <p:nvCxnSpPr>
          <p:cNvPr id="69" name="Gerade Verbindung mit Pfeil 68"/>
          <p:cNvCxnSpPr>
            <a:cxnSpLocks/>
            <a:endCxn id="5" idx="0"/>
          </p:cNvCxnSpPr>
          <p:nvPr/>
        </p:nvCxnSpPr>
        <p:spPr>
          <a:xfrm flipH="1">
            <a:off x="3475353" y="2365824"/>
            <a:ext cx="5292" cy="293311"/>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cxnSpLocks/>
            <a:endCxn id="42" idx="0"/>
          </p:cNvCxnSpPr>
          <p:nvPr/>
        </p:nvCxnSpPr>
        <p:spPr>
          <a:xfrm>
            <a:off x="3480645" y="3090936"/>
            <a:ext cx="3475" cy="295155"/>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85" name="Textfeld 84"/>
          <p:cNvSpPr txBox="1"/>
          <p:nvPr/>
        </p:nvSpPr>
        <p:spPr>
          <a:xfrm>
            <a:off x="3502580" y="3021766"/>
            <a:ext cx="370614" cy="338554"/>
          </a:xfrm>
          <a:prstGeom prst="rect">
            <a:avLst/>
          </a:prstGeom>
          <a:noFill/>
        </p:spPr>
        <p:txBody>
          <a:bodyPr wrap="none" rtlCol="0">
            <a:spAutoFit/>
          </a:bodyPr>
          <a:lstStyle/>
          <a:p>
            <a:r>
              <a:rPr lang="de-CH" sz="1600" dirty="0" err="1"/>
              <a:t>no</a:t>
            </a:r>
            <a:endParaRPr lang="de-CH" sz="1600" dirty="0"/>
          </a:p>
        </p:txBody>
      </p:sp>
      <p:sp>
        <p:nvSpPr>
          <p:cNvPr id="86" name="Textfeld 85"/>
          <p:cNvSpPr txBox="1"/>
          <p:nvPr/>
        </p:nvSpPr>
        <p:spPr>
          <a:xfrm>
            <a:off x="4420447" y="2821871"/>
            <a:ext cx="447558" cy="338554"/>
          </a:xfrm>
          <a:prstGeom prst="rect">
            <a:avLst/>
          </a:prstGeom>
          <a:noFill/>
        </p:spPr>
        <p:txBody>
          <a:bodyPr wrap="none" rtlCol="0">
            <a:spAutoFit/>
          </a:bodyPr>
          <a:lstStyle/>
          <a:p>
            <a:r>
              <a:rPr lang="de-CH" sz="1600" dirty="0" err="1"/>
              <a:t>yes</a:t>
            </a:r>
            <a:endParaRPr lang="de-CH" sz="1600" dirty="0"/>
          </a:p>
        </p:txBody>
      </p:sp>
      <p:cxnSp>
        <p:nvCxnSpPr>
          <p:cNvPr id="87" name="Gerade Verbindung mit Pfeil 86"/>
          <p:cNvCxnSpPr/>
          <p:nvPr/>
        </p:nvCxnSpPr>
        <p:spPr>
          <a:xfrm flipV="1">
            <a:off x="4689011" y="2882503"/>
            <a:ext cx="337538" cy="0"/>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57" name="Rechteck 56"/>
          <p:cNvSpPr/>
          <p:nvPr/>
        </p:nvSpPr>
        <p:spPr>
          <a:xfrm>
            <a:off x="330202" y="2223275"/>
            <a:ext cx="1798368" cy="1169531"/>
          </a:xfrm>
          <a:prstGeom prst="round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800" b="1"/>
              <a:t> Customer’s </a:t>
            </a:r>
          </a:p>
          <a:p>
            <a:pPr algn="ctr"/>
            <a:r>
              <a:rPr lang="de-CH" sz="1800" b="1"/>
              <a:t>Special Requirements?</a:t>
            </a:r>
            <a:endParaRPr lang="de-CH" sz="1800" b="1" dirty="0"/>
          </a:p>
        </p:txBody>
      </p:sp>
      <p:sp>
        <p:nvSpPr>
          <p:cNvPr id="8" name="Flussdiagramm: Verzweigung 7"/>
          <p:cNvSpPr/>
          <p:nvPr/>
        </p:nvSpPr>
        <p:spPr>
          <a:xfrm>
            <a:off x="2261694" y="1191701"/>
            <a:ext cx="2427317" cy="463551"/>
          </a:xfrm>
          <a:prstGeom prst="flowChartDecision">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sz="1600" dirty="0"/>
              <a:t>a</a:t>
            </a:r>
            <a:r>
              <a:rPr lang="de-CH" sz="1600"/>
              <a:t>utomotive</a:t>
            </a:r>
            <a:r>
              <a:rPr lang="de-CH" sz="1600" dirty="0"/>
              <a:t>?</a:t>
            </a:r>
          </a:p>
        </p:txBody>
      </p:sp>
      <p:sp>
        <p:nvSpPr>
          <p:cNvPr id="12" name="Rechteck 11"/>
          <p:cNvSpPr/>
          <p:nvPr/>
        </p:nvSpPr>
        <p:spPr>
          <a:xfrm>
            <a:off x="7055638" y="1239045"/>
            <a:ext cx="4428547" cy="46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85750" indent="-285750">
              <a:buFont typeface="Wingdings" panose="05000000000000000000" pitchFamily="2" charset="2"/>
              <a:buChar char="§"/>
            </a:pPr>
            <a:r>
              <a:rPr lang="de-CH" sz="1600">
                <a:solidFill>
                  <a:srgbClr val="000000"/>
                </a:solidFill>
              </a:rPr>
              <a:t>Most </a:t>
            </a:r>
            <a:r>
              <a:rPr lang="de-CH" sz="1600" err="1">
                <a:solidFill>
                  <a:srgbClr val="000000"/>
                </a:solidFill>
              </a:rPr>
              <a:t>used</a:t>
            </a:r>
            <a:r>
              <a:rPr lang="de-CH" sz="1600">
                <a:solidFill>
                  <a:srgbClr val="000000"/>
                </a:solidFill>
              </a:rPr>
              <a:t> automot. </a:t>
            </a:r>
            <a:r>
              <a:rPr lang="de-CH" sz="1600" dirty="0">
                <a:solidFill>
                  <a:srgbClr val="000000"/>
                </a:solidFill>
              </a:rPr>
              <a:t>RHT </a:t>
            </a:r>
            <a:r>
              <a:rPr lang="de-CH" sz="1600" dirty="0" err="1">
                <a:solidFill>
                  <a:srgbClr val="000000"/>
                </a:solidFill>
              </a:rPr>
              <a:t>component</a:t>
            </a:r>
            <a:r>
              <a:rPr lang="de-CH" sz="1600" dirty="0">
                <a:solidFill>
                  <a:srgbClr val="000000"/>
                </a:solidFill>
              </a:rPr>
              <a:t> in </a:t>
            </a:r>
            <a:r>
              <a:rPr lang="de-CH" sz="1600" dirty="0" err="1">
                <a:solidFill>
                  <a:srgbClr val="000000"/>
                </a:solidFill>
              </a:rPr>
              <a:t>the</a:t>
            </a:r>
            <a:r>
              <a:rPr lang="de-CH" sz="1600" dirty="0">
                <a:solidFill>
                  <a:srgbClr val="000000"/>
                </a:solidFill>
              </a:rPr>
              <a:t> </a:t>
            </a:r>
            <a:r>
              <a:rPr lang="de-CH" sz="1600" dirty="0" err="1">
                <a:solidFill>
                  <a:srgbClr val="000000"/>
                </a:solidFill>
              </a:rPr>
              <a:t>industry</a:t>
            </a:r>
            <a:endParaRPr lang="de-CH" sz="1600" dirty="0">
              <a:solidFill>
                <a:srgbClr val="000000"/>
              </a:solidFill>
            </a:endParaRPr>
          </a:p>
          <a:p>
            <a:pPr marL="285750" indent="-285750">
              <a:buFont typeface="Wingdings" panose="05000000000000000000" pitchFamily="2" charset="2"/>
              <a:buChar char="§"/>
            </a:pPr>
            <a:r>
              <a:rPr lang="de-CH" sz="1600">
                <a:solidFill>
                  <a:srgbClr val="000000"/>
                </a:solidFill>
              </a:rPr>
              <a:t>High reliability </a:t>
            </a:r>
            <a:r>
              <a:rPr lang="de-CH" sz="1600" dirty="0" err="1">
                <a:solidFill>
                  <a:srgbClr val="000000"/>
                </a:solidFill>
              </a:rPr>
              <a:t>with</a:t>
            </a:r>
            <a:r>
              <a:rPr lang="de-CH" sz="1600" dirty="0">
                <a:solidFill>
                  <a:srgbClr val="000000"/>
                </a:solidFill>
              </a:rPr>
              <a:t> </a:t>
            </a:r>
            <a:r>
              <a:rPr lang="de-CH" sz="1600">
                <a:solidFill>
                  <a:srgbClr val="000000"/>
                </a:solidFill>
              </a:rPr>
              <a:t>&gt;10 </a:t>
            </a:r>
            <a:r>
              <a:rPr lang="de-CH" sz="1600" dirty="0" err="1">
                <a:solidFill>
                  <a:srgbClr val="000000"/>
                </a:solidFill>
              </a:rPr>
              <a:t>years</a:t>
            </a:r>
            <a:r>
              <a:rPr lang="de-CH" sz="1600" dirty="0">
                <a:solidFill>
                  <a:srgbClr val="000000"/>
                </a:solidFill>
              </a:rPr>
              <a:t> </a:t>
            </a:r>
            <a:r>
              <a:rPr lang="de-CH" sz="1600" dirty="0" err="1">
                <a:solidFill>
                  <a:srgbClr val="000000"/>
                </a:solidFill>
              </a:rPr>
              <a:t>track</a:t>
            </a:r>
            <a:r>
              <a:rPr lang="de-CH" sz="1600" dirty="0">
                <a:solidFill>
                  <a:srgbClr val="000000"/>
                </a:solidFill>
              </a:rPr>
              <a:t> </a:t>
            </a:r>
            <a:r>
              <a:rPr lang="de-CH" sz="1600" err="1">
                <a:solidFill>
                  <a:srgbClr val="000000"/>
                </a:solidFill>
              </a:rPr>
              <a:t>record</a:t>
            </a:r>
            <a:r>
              <a:rPr lang="de-CH" sz="1600">
                <a:solidFill>
                  <a:srgbClr val="000000"/>
                </a:solidFill>
              </a:rPr>
              <a:t> </a:t>
            </a:r>
            <a:endParaRPr lang="de-CH" sz="1600" dirty="0">
              <a:solidFill>
                <a:srgbClr val="000000"/>
              </a:solidFill>
            </a:endParaRPr>
          </a:p>
        </p:txBody>
      </p:sp>
      <p:cxnSp>
        <p:nvCxnSpPr>
          <p:cNvPr id="75" name="Gerade Verbindung mit Pfeil 74"/>
          <p:cNvCxnSpPr/>
          <p:nvPr/>
        </p:nvCxnSpPr>
        <p:spPr>
          <a:xfrm flipV="1">
            <a:off x="4689011" y="1423458"/>
            <a:ext cx="332308" cy="0"/>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78" name="Textfeld 77"/>
          <p:cNvSpPr txBox="1"/>
          <p:nvPr/>
        </p:nvSpPr>
        <p:spPr>
          <a:xfrm>
            <a:off x="4420447" y="1367621"/>
            <a:ext cx="447558" cy="338554"/>
          </a:xfrm>
          <a:prstGeom prst="rect">
            <a:avLst/>
          </a:prstGeom>
          <a:noFill/>
        </p:spPr>
        <p:txBody>
          <a:bodyPr wrap="none" rtlCol="0">
            <a:spAutoFit/>
          </a:bodyPr>
          <a:lstStyle/>
          <a:p>
            <a:r>
              <a:rPr lang="de-CH" sz="1600" dirty="0" err="1"/>
              <a:t>yes</a:t>
            </a:r>
            <a:endParaRPr lang="de-CH" sz="1600" dirty="0"/>
          </a:p>
        </p:txBody>
      </p:sp>
      <p:sp>
        <p:nvSpPr>
          <p:cNvPr id="79" name="Textfeld 78"/>
          <p:cNvSpPr txBox="1"/>
          <p:nvPr/>
        </p:nvSpPr>
        <p:spPr>
          <a:xfrm>
            <a:off x="3502580" y="1533319"/>
            <a:ext cx="370614" cy="338554"/>
          </a:xfrm>
          <a:prstGeom prst="rect">
            <a:avLst/>
          </a:prstGeom>
          <a:noFill/>
        </p:spPr>
        <p:txBody>
          <a:bodyPr wrap="none" rtlCol="0">
            <a:spAutoFit/>
          </a:bodyPr>
          <a:lstStyle/>
          <a:p>
            <a:r>
              <a:rPr lang="de-CH" sz="1600" dirty="0" err="1"/>
              <a:t>no</a:t>
            </a:r>
            <a:endParaRPr lang="de-CH" sz="1600" dirty="0"/>
          </a:p>
        </p:txBody>
      </p:sp>
      <p:sp>
        <p:nvSpPr>
          <p:cNvPr id="100" name="Ellipse 99"/>
          <p:cNvSpPr>
            <a:spLocks noChangeAspect="1"/>
          </p:cNvSpPr>
          <p:nvPr/>
        </p:nvSpPr>
        <p:spPr>
          <a:xfrm>
            <a:off x="8793370" y="585993"/>
            <a:ext cx="808476" cy="628622"/>
          </a:xfrm>
          <a:prstGeom prst="ellipse">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dirty="0"/>
              <a:t>USP</a:t>
            </a:r>
          </a:p>
        </p:txBody>
      </p:sp>
      <p:sp>
        <p:nvSpPr>
          <p:cNvPr id="4" name="Flussdiagramm: Verzweigung 3"/>
          <p:cNvSpPr/>
          <p:nvPr/>
        </p:nvSpPr>
        <p:spPr>
          <a:xfrm>
            <a:off x="2261694" y="1912399"/>
            <a:ext cx="2427317" cy="463551"/>
          </a:xfrm>
          <a:prstGeom prst="flowChartDecision">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sz="1600" dirty="0"/>
              <a:t>5V VDD?</a:t>
            </a:r>
          </a:p>
        </p:txBody>
      </p:sp>
      <p:cxnSp>
        <p:nvCxnSpPr>
          <p:cNvPr id="66" name="Gerade Verbindung mit Pfeil 65"/>
          <p:cNvCxnSpPr>
            <a:cxnSpLocks/>
            <a:endCxn id="4" idx="0"/>
          </p:cNvCxnSpPr>
          <p:nvPr/>
        </p:nvCxnSpPr>
        <p:spPr>
          <a:xfrm flipH="1">
            <a:off x="3475353" y="1655735"/>
            <a:ext cx="5292" cy="256664"/>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80" name="Textfeld 79"/>
          <p:cNvSpPr txBox="1"/>
          <p:nvPr/>
        </p:nvSpPr>
        <p:spPr>
          <a:xfrm>
            <a:off x="3502580" y="2270040"/>
            <a:ext cx="370614" cy="338554"/>
          </a:xfrm>
          <a:prstGeom prst="rect">
            <a:avLst/>
          </a:prstGeom>
          <a:noFill/>
        </p:spPr>
        <p:txBody>
          <a:bodyPr wrap="none" rtlCol="0">
            <a:spAutoFit/>
          </a:bodyPr>
          <a:lstStyle/>
          <a:p>
            <a:r>
              <a:rPr lang="de-CH" sz="1600" dirty="0" err="1"/>
              <a:t>no</a:t>
            </a:r>
            <a:endParaRPr lang="de-CH" sz="1600" dirty="0"/>
          </a:p>
        </p:txBody>
      </p:sp>
      <p:cxnSp>
        <p:nvCxnSpPr>
          <p:cNvPr id="81" name="Gerade Verbindung mit Pfeil 80"/>
          <p:cNvCxnSpPr/>
          <p:nvPr/>
        </p:nvCxnSpPr>
        <p:spPr>
          <a:xfrm>
            <a:off x="4689011" y="2131475"/>
            <a:ext cx="328289" cy="0"/>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84" name="Textfeld 83"/>
          <p:cNvSpPr txBox="1"/>
          <p:nvPr/>
        </p:nvSpPr>
        <p:spPr>
          <a:xfrm>
            <a:off x="4420447" y="2099209"/>
            <a:ext cx="447558" cy="338554"/>
          </a:xfrm>
          <a:prstGeom prst="rect">
            <a:avLst/>
          </a:prstGeom>
          <a:noFill/>
        </p:spPr>
        <p:txBody>
          <a:bodyPr wrap="none" rtlCol="0">
            <a:spAutoFit/>
          </a:bodyPr>
          <a:lstStyle/>
          <a:p>
            <a:r>
              <a:rPr lang="de-CH" sz="1600" dirty="0" err="1"/>
              <a:t>yes</a:t>
            </a:r>
            <a:endParaRPr lang="de-CH" sz="1600" dirty="0"/>
          </a:p>
        </p:txBody>
      </p:sp>
      <p:sp>
        <p:nvSpPr>
          <p:cNvPr id="102" name="Rechteck 101"/>
          <p:cNvSpPr/>
          <p:nvPr/>
        </p:nvSpPr>
        <p:spPr>
          <a:xfrm>
            <a:off x="7064740" y="1926347"/>
            <a:ext cx="4428548" cy="46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85750" indent="-285750">
              <a:buFont typeface="Wingdings" panose="05000000000000000000" pitchFamily="2" charset="2"/>
              <a:buChar char="§"/>
            </a:pPr>
            <a:r>
              <a:rPr lang="de-CH" sz="1600" dirty="0">
                <a:solidFill>
                  <a:schemeClr val="tx1"/>
                </a:solidFill>
              </a:rPr>
              <a:t>Most </a:t>
            </a:r>
            <a:r>
              <a:rPr lang="de-CH" sz="1600" dirty="0" err="1">
                <a:solidFill>
                  <a:schemeClr val="tx1"/>
                </a:solidFill>
              </a:rPr>
              <a:t>widely</a:t>
            </a:r>
            <a:r>
              <a:rPr lang="de-CH" sz="1600" dirty="0">
                <a:solidFill>
                  <a:schemeClr val="tx1"/>
                </a:solidFill>
              </a:rPr>
              <a:t> </a:t>
            </a:r>
            <a:r>
              <a:rPr lang="de-CH" sz="1600" dirty="0" err="1">
                <a:solidFill>
                  <a:schemeClr val="tx1"/>
                </a:solidFill>
              </a:rPr>
              <a:t>used</a:t>
            </a:r>
            <a:r>
              <a:rPr lang="de-CH" sz="1600" dirty="0">
                <a:solidFill>
                  <a:schemeClr val="tx1"/>
                </a:solidFill>
              </a:rPr>
              <a:t> </a:t>
            </a:r>
            <a:r>
              <a:rPr lang="de-CH" sz="1600">
                <a:solidFill>
                  <a:schemeClr val="tx1"/>
                </a:solidFill>
              </a:rPr>
              <a:t>5V RHT </a:t>
            </a:r>
            <a:r>
              <a:rPr lang="de-CH" sz="1600" dirty="0" err="1">
                <a:solidFill>
                  <a:schemeClr val="tx1"/>
                </a:solidFill>
              </a:rPr>
              <a:t>component</a:t>
            </a:r>
            <a:r>
              <a:rPr lang="de-CH" sz="1600" dirty="0">
                <a:solidFill>
                  <a:schemeClr val="tx1"/>
                </a:solidFill>
              </a:rPr>
              <a:t> in </a:t>
            </a:r>
            <a:r>
              <a:rPr lang="de-CH" sz="1600" dirty="0" err="1">
                <a:solidFill>
                  <a:schemeClr val="tx1"/>
                </a:solidFill>
              </a:rPr>
              <a:t>the</a:t>
            </a:r>
            <a:r>
              <a:rPr lang="de-CH" sz="1600" dirty="0">
                <a:solidFill>
                  <a:schemeClr val="tx1"/>
                </a:solidFill>
              </a:rPr>
              <a:t> </a:t>
            </a:r>
            <a:r>
              <a:rPr lang="de-CH" sz="1600" dirty="0" err="1">
                <a:solidFill>
                  <a:schemeClr val="tx1"/>
                </a:solidFill>
              </a:rPr>
              <a:t>industry</a:t>
            </a:r>
            <a:endParaRPr lang="de-CH" sz="1600" dirty="0">
              <a:solidFill>
                <a:schemeClr val="tx1"/>
              </a:solidFill>
            </a:endParaRPr>
          </a:p>
        </p:txBody>
      </p:sp>
      <p:sp>
        <p:nvSpPr>
          <p:cNvPr id="106" name="Rechteck 105"/>
          <p:cNvSpPr/>
          <p:nvPr/>
        </p:nvSpPr>
        <p:spPr>
          <a:xfrm>
            <a:off x="7078872" y="2546691"/>
            <a:ext cx="4428548" cy="46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85750" lvl="0" indent="-285750">
              <a:buFont typeface="Wingdings" panose="05000000000000000000" pitchFamily="2" charset="2"/>
              <a:buChar char="§"/>
            </a:pPr>
            <a:r>
              <a:rPr lang="de-CH" sz="1600" dirty="0">
                <a:solidFill>
                  <a:srgbClr val="000000"/>
                </a:solidFill>
              </a:rPr>
              <a:t>Most </a:t>
            </a:r>
            <a:r>
              <a:rPr lang="de-CH" sz="1600" dirty="0" err="1">
                <a:solidFill>
                  <a:srgbClr val="000000"/>
                </a:solidFill>
              </a:rPr>
              <a:t>widely</a:t>
            </a:r>
            <a:r>
              <a:rPr lang="de-CH" sz="1600" dirty="0">
                <a:solidFill>
                  <a:srgbClr val="000000"/>
                </a:solidFill>
              </a:rPr>
              <a:t> </a:t>
            </a:r>
            <a:r>
              <a:rPr lang="de-CH" sz="1600" err="1">
                <a:solidFill>
                  <a:srgbClr val="000000"/>
                </a:solidFill>
              </a:rPr>
              <a:t>used</a:t>
            </a:r>
            <a:r>
              <a:rPr lang="de-CH" sz="1600">
                <a:solidFill>
                  <a:srgbClr val="000000"/>
                </a:solidFill>
              </a:rPr>
              <a:t> analog RHT compon. </a:t>
            </a:r>
            <a:r>
              <a:rPr lang="de-CH" sz="1600" dirty="0">
                <a:solidFill>
                  <a:srgbClr val="000000"/>
                </a:solidFill>
              </a:rPr>
              <a:t>in </a:t>
            </a:r>
            <a:r>
              <a:rPr lang="de-CH" sz="1600" err="1">
                <a:solidFill>
                  <a:srgbClr val="000000"/>
                </a:solidFill>
              </a:rPr>
              <a:t>the</a:t>
            </a:r>
            <a:r>
              <a:rPr lang="de-CH" sz="1600">
                <a:solidFill>
                  <a:srgbClr val="000000"/>
                </a:solidFill>
              </a:rPr>
              <a:t> indust.</a:t>
            </a:r>
            <a:endParaRPr lang="de-CH" sz="1600" dirty="0">
              <a:solidFill>
                <a:srgbClr val="000000"/>
              </a:solidFill>
            </a:endParaRPr>
          </a:p>
          <a:p>
            <a:pPr marL="285750" lvl="0" indent="-285750">
              <a:buFont typeface="Wingdings" panose="05000000000000000000" pitchFamily="2" charset="2"/>
              <a:buChar char="§"/>
            </a:pPr>
            <a:r>
              <a:rPr lang="de-CH" sz="1600">
                <a:solidFill>
                  <a:srgbClr val="000000"/>
                </a:solidFill>
              </a:rPr>
              <a:t>Customizeable analog output characteristic</a:t>
            </a:r>
            <a:endParaRPr lang="de-CH" sz="1600" dirty="0">
              <a:solidFill>
                <a:srgbClr val="000000"/>
              </a:solidFill>
            </a:endParaRPr>
          </a:p>
        </p:txBody>
      </p:sp>
      <p:sp>
        <p:nvSpPr>
          <p:cNvPr id="42" name="Flussdiagramm: Verzweigung 61"/>
          <p:cNvSpPr/>
          <p:nvPr/>
        </p:nvSpPr>
        <p:spPr>
          <a:xfrm>
            <a:off x="2270461" y="3386091"/>
            <a:ext cx="2427317" cy="463551"/>
          </a:xfrm>
          <a:prstGeom prst="flowChartDecision">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sz="1600" dirty="0"/>
              <a:t>h</a:t>
            </a:r>
            <a:r>
              <a:rPr lang="de-CH" sz="1600"/>
              <a:t>igh </a:t>
            </a:r>
            <a:r>
              <a:rPr lang="de-CH" sz="1600" dirty="0" err="1"/>
              <a:t>accuracy</a:t>
            </a:r>
            <a:r>
              <a:rPr lang="de-CH" sz="1600" dirty="0"/>
              <a:t>?</a:t>
            </a:r>
          </a:p>
        </p:txBody>
      </p:sp>
      <p:sp>
        <p:nvSpPr>
          <p:cNvPr id="48" name="Textfeld 69"/>
          <p:cNvSpPr txBox="1"/>
          <p:nvPr/>
        </p:nvSpPr>
        <p:spPr>
          <a:xfrm>
            <a:off x="3502580" y="3739068"/>
            <a:ext cx="370614" cy="338554"/>
          </a:xfrm>
          <a:prstGeom prst="rect">
            <a:avLst/>
          </a:prstGeom>
          <a:noFill/>
        </p:spPr>
        <p:txBody>
          <a:bodyPr wrap="none" rtlCol="0">
            <a:spAutoFit/>
          </a:bodyPr>
          <a:lstStyle/>
          <a:p>
            <a:r>
              <a:rPr lang="de-CH" sz="1600" dirty="0" err="1"/>
              <a:t>no</a:t>
            </a:r>
            <a:endParaRPr lang="de-CH" sz="1600" dirty="0"/>
          </a:p>
        </p:txBody>
      </p:sp>
      <p:cxnSp>
        <p:nvCxnSpPr>
          <p:cNvPr id="49" name="Gerade Verbindung mit Pfeil 70"/>
          <p:cNvCxnSpPr/>
          <p:nvPr/>
        </p:nvCxnSpPr>
        <p:spPr>
          <a:xfrm flipV="1">
            <a:off x="4689011" y="3605166"/>
            <a:ext cx="307365" cy="1"/>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50" name="Textfeld 71"/>
          <p:cNvSpPr txBox="1"/>
          <p:nvPr/>
        </p:nvSpPr>
        <p:spPr>
          <a:xfrm>
            <a:off x="4420447" y="3538960"/>
            <a:ext cx="447558" cy="338554"/>
          </a:xfrm>
          <a:prstGeom prst="rect">
            <a:avLst/>
          </a:prstGeom>
          <a:noFill/>
        </p:spPr>
        <p:txBody>
          <a:bodyPr wrap="none" rtlCol="0">
            <a:spAutoFit/>
          </a:bodyPr>
          <a:lstStyle/>
          <a:p>
            <a:r>
              <a:rPr lang="de-CH" sz="1600" dirty="0" err="1"/>
              <a:t>yes</a:t>
            </a:r>
            <a:endParaRPr lang="de-CH" sz="1600" dirty="0"/>
          </a:p>
        </p:txBody>
      </p:sp>
      <p:sp>
        <p:nvSpPr>
          <p:cNvPr id="51" name="Rechteck 72"/>
          <p:cNvSpPr/>
          <p:nvPr/>
        </p:nvSpPr>
        <p:spPr>
          <a:xfrm>
            <a:off x="7100973" y="3344292"/>
            <a:ext cx="4590530" cy="46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85750" indent="-285750">
              <a:buFont typeface="Wingdings" panose="05000000000000000000" pitchFamily="2" charset="2"/>
              <a:buChar char="§"/>
            </a:pPr>
            <a:r>
              <a:rPr lang="de-CH" sz="1600">
                <a:solidFill>
                  <a:schemeClr val="tx1"/>
                </a:solidFill>
              </a:rPr>
              <a:t>Best RH</a:t>
            </a:r>
            <a:r>
              <a:rPr lang="de-CH" sz="1600" dirty="0">
                <a:solidFill>
                  <a:schemeClr val="tx1"/>
                </a:solidFill>
              </a:rPr>
              <a:t>&amp;T </a:t>
            </a:r>
            <a:r>
              <a:rPr lang="de-CH" sz="1600" err="1">
                <a:solidFill>
                  <a:schemeClr val="tx1"/>
                </a:solidFill>
              </a:rPr>
              <a:t>accuracy</a:t>
            </a:r>
            <a:r>
              <a:rPr lang="de-CH" sz="1600">
                <a:solidFill>
                  <a:schemeClr val="tx1"/>
                </a:solidFill>
              </a:rPr>
              <a:t> on the market</a:t>
            </a:r>
            <a:endParaRPr lang="de-CH" sz="1600" dirty="0">
              <a:solidFill>
                <a:schemeClr val="tx1"/>
              </a:solidFill>
            </a:endParaRPr>
          </a:p>
          <a:p>
            <a:pPr marL="285750" indent="-285750">
              <a:buFont typeface="Wingdings" panose="05000000000000000000" pitchFamily="2" charset="2"/>
              <a:buChar char="§"/>
            </a:pPr>
            <a:r>
              <a:rPr lang="de-CH" sz="1600">
                <a:solidFill>
                  <a:schemeClr val="tx1"/>
                </a:solidFill>
              </a:rPr>
              <a:t>&gt;15 y </a:t>
            </a:r>
            <a:r>
              <a:rPr lang="de-CH" sz="1600" dirty="0" err="1">
                <a:solidFill>
                  <a:schemeClr val="tx1"/>
                </a:solidFill>
              </a:rPr>
              <a:t>track</a:t>
            </a:r>
            <a:r>
              <a:rPr lang="de-CH" sz="1600" dirty="0">
                <a:solidFill>
                  <a:schemeClr val="tx1"/>
                </a:solidFill>
              </a:rPr>
              <a:t> </a:t>
            </a:r>
            <a:r>
              <a:rPr lang="de-CH" sz="1600" err="1">
                <a:solidFill>
                  <a:schemeClr val="tx1"/>
                </a:solidFill>
              </a:rPr>
              <a:t>record</a:t>
            </a:r>
            <a:r>
              <a:rPr lang="de-CH" sz="1600">
                <a:solidFill>
                  <a:schemeClr val="tx1"/>
                </a:solidFill>
              </a:rPr>
              <a:t> for accur. &amp; </a:t>
            </a:r>
            <a:r>
              <a:rPr lang="de-CH" sz="1600" dirty="0" err="1">
                <a:solidFill>
                  <a:schemeClr val="tx1"/>
                </a:solidFill>
              </a:rPr>
              <a:t>long</a:t>
            </a:r>
            <a:r>
              <a:rPr lang="de-CH" sz="1600" dirty="0">
                <a:solidFill>
                  <a:schemeClr val="tx1"/>
                </a:solidFill>
              </a:rPr>
              <a:t>-term </a:t>
            </a:r>
            <a:r>
              <a:rPr lang="de-CH" sz="1600" dirty="0" err="1">
                <a:solidFill>
                  <a:schemeClr val="tx1"/>
                </a:solidFill>
              </a:rPr>
              <a:t>stability</a:t>
            </a:r>
            <a:endParaRPr lang="de-CH" sz="1600" dirty="0">
              <a:solidFill>
                <a:schemeClr val="tx1"/>
              </a:solidFill>
            </a:endParaRPr>
          </a:p>
        </p:txBody>
      </p:sp>
      <p:sp>
        <p:nvSpPr>
          <p:cNvPr id="38" name="Flussdiagramm: Verzweigung 29"/>
          <p:cNvSpPr/>
          <p:nvPr/>
        </p:nvSpPr>
        <p:spPr>
          <a:xfrm>
            <a:off x="2272279" y="4144399"/>
            <a:ext cx="2427317" cy="463551"/>
          </a:xfrm>
          <a:prstGeom prst="flowChartDecision">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sz="1600" dirty="0"/>
              <a:t>p</a:t>
            </a:r>
            <a:r>
              <a:rPr lang="de-CH" sz="1600"/>
              <a:t>in </a:t>
            </a:r>
            <a:r>
              <a:rPr lang="de-CH" sz="1600" dirty="0"/>
              <a:t>type </a:t>
            </a:r>
            <a:r>
              <a:rPr lang="de-CH" sz="1600" dirty="0" err="1"/>
              <a:t>package</a:t>
            </a:r>
            <a:r>
              <a:rPr lang="de-CH" sz="1600" dirty="0"/>
              <a:t>?</a:t>
            </a:r>
          </a:p>
        </p:txBody>
      </p:sp>
      <p:cxnSp>
        <p:nvCxnSpPr>
          <p:cNvPr id="47" name="Gerade Verbindung mit Pfeil 68"/>
          <p:cNvCxnSpPr>
            <a:stCxn id="42" idx="2"/>
          </p:cNvCxnSpPr>
          <p:nvPr/>
        </p:nvCxnSpPr>
        <p:spPr>
          <a:xfrm flipH="1">
            <a:off x="3480645" y="3849642"/>
            <a:ext cx="3475" cy="307457"/>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53" name="Rechteck 74"/>
          <p:cNvSpPr/>
          <p:nvPr/>
        </p:nvSpPr>
        <p:spPr>
          <a:xfrm>
            <a:off x="7125347" y="4087575"/>
            <a:ext cx="4490392" cy="463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85750" indent="-285750">
              <a:buFont typeface="Wingdings" panose="05000000000000000000" pitchFamily="2" charset="2"/>
              <a:buChar char="§"/>
            </a:pPr>
            <a:r>
              <a:rPr lang="de-CH" sz="1600">
                <a:solidFill>
                  <a:schemeClr val="tx1"/>
                </a:solidFill>
              </a:rPr>
              <a:t>Mounting option remote from </a:t>
            </a:r>
            <a:r>
              <a:rPr lang="de-CH" sz="1600" dirty="0" err="1">
                <a:solidFill>
                  <a:schemeClr val="tx1"/>
                </a:solidFill>
              </a:rPr>
              <a:t>main</a:t>
            </a:r>
            <a:r>
              <a:rPr lang="de-CH" sz="1600" dirty="0">
                <a:solidFill>
                  <a:schemeClr val="tx1"/>
                </a:solidFill>
              </a:rPr>
              <a:t> </a:t>
            </a:r>
            <a:r>
              <a:rPr lang="de-CH" sz="1600" dirty="0" err="1">
                <a:solidFill>
                  <a:schemeClr val="tx1"/>
                </a:solidFill>
              </a:rPr>
              <a:t>board</a:t>
            </a:r>
            <a:endParaRPr lang="de-CH" sz="1600" dirty="0">
              <a:solidFill>
                <a:schemeClr val="tx1"/>
              </a:solidFill>
            </a:endParaRPr>
          </a:p>
          <a:p>
            <a:pPr marL="285750" indent="-285750">
              <a:buFont typeface="Wingdings" panose="05000000000000000000" pitchFamily="2" charset="2"/>
              <a:buChar char="§"/>
            </a:pPr>
            <a:r>
              <a:rPr lang="de-CH" sz="1600">
                <a:solidFill>
                  <a:schemeClr val="tx1"/>
                </a:solidFill>
              </a:rPr>
              <a:t>Easy design-in &amp; easy </a:t>
            </a:r>
            <a:r>
              <a:rPr lang="de-CH" sz="1600" dirty="0" err="1">
                <a:solidFill>
                  <a:schemeClr val="tx1"/>
                </a:solidFill>
              </a:rPr>
              <a:t>replaceability</a:t>
            </a:r>
            <a:endParaRPr lang="de-CH" sz="1600" dirty="0">
              <a:solidFill>
                <a:schemeClr val="tx1"/>
              </a:solidFill>
            </a:endParaRPr>
          </a:p>
        </p:txBody>
      </p:sp>
      <p:cxnSp>
        <p:nvCxnSpPr>
          <p:cNvPr id="56" name="Gerade Verbindung mit Pfeil 77"/>
          <p:cNvCxnSpPr/>
          <p:nvPr/>
        </p:nvCxnSpPr>
        <p:spPr>
          <a:xfrm flipV="1">
            <a:off x="4689011" y="4374070"/>
            <a:ext cx="307365" cy="1"/>
          </a:xfrm>
          <a:prstGeom prst="straightConnector1">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58" name="Textfeld 78"/>
          <p:cNvSpPr txBox="1"/>
          <p:nvPr/>
        </p:nvSpPr>
        <p:spPr>
          <a:xfrm>
            <a:off x="4411237" y="4308056"/>
            <a:ext cx="447558" cy="338554"/>
          </a:xfrm>
          <a:prstGeom prst="rect">
            <a:avLst/>
          </a:prstGeom>
          <a:noFill/>
        </p:spPr>
        <p:txBody>
          <a:bodyPr wrap="none" rtlCol="0">
            <a:spAutoFit/>
          </a:bodyPr>
          <a:lstStyle/>
          <a:p>
            <a:r>
              <a:rPr lang="de-CH" sz="1600" dirty="0" err="1"/>
              <a:t>yes</a:t>
            </a:r>
            <a:endParaRPr lang="de-CH" sz="1600" dirty="0"/>
          </a:p>
        </p:txBody>
      </p:sp>
      <p:grpSp>
        <p:nvGrpSpPr>
          <p:cNvPr id="22" name="Group 21"/>
          <p:cNvGrpSpPr/>
          <p:nvPr/>
        </p:nvGrpSpPr>
        <p:grpSpPr>
          <a:xfrm>
            <a:off x="4635961" y="4909903"/>
            <a:ext cx="6715826" cy="1049278"/>
            <a:chOff x="2800811" y="5845501"/>
            <a:chExt cx="6715826" cy="1049278"/>
          </a:xfrm>
        </p:grpSpPr>
        <p:sp>
          <p:nvSpPr>
            <p:cNvPr id="64" name="Textfeld 3"/>
            <p:cNvSpPr txBox="1"/>
            <p:nvPr/>
          </p:nvSpPr>
          <p:spPr>
            <a:xfrm>
              <a:off x="3836146" y="6147390"/>
              <a:ext cx="840295" cy="400110"/>
            </a:xfrm>
            <a:prstGeom prst="rect">
              <a:avLst/>
            </a:prstGeom>
            <a:noFill/>
          </p:spPr>
          <p:txBody>
            <a:bodyPr wrap="none" rtlCol="0">
              <a:spAutoFit/>
            </a:bodyPr>
            <a:lstStyle/>
            <a:p>
              <a:r>
                <a:rPr lang="de-CH" b="1"/>
                <a:t>SHT40</a:t>
              </a:r>
              <a:endParaRPr lang="de-CH" b="1" dirty="0"/>
            </a:p>
          </p:txBody>
        </p:sp>
        <p:sp>
          <p:nvSpPr>
            <p:cNvPr id="65" name="Rechteck 36"/>
            <p:cNvSpPr/>
            <p:nvPr/>
          </p:nvSpPr>
          <p:spPr>
            <a:xfrm>
              <a:off x="5287144" y="6059365"/>
              <a:ext cx="4229493" cy="62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85750" indent="-285750">
                <a:buFont typeface="Wingdings" panose="05000000000000000000" pitchFamily="2" charset="2"/>
                <a:buChar char="§"/>
              </a:pPr>
              <a:r>
                <a:rPr lang="de-CH" sz="1600">
                  <a:solidFill>
                    <a:schemeClr val="tx1"/>
                  </a:solidFill>
                </a:rPr>
                <a:t>1.08 - 3.6V </a:t>
              </a:r>
              <a:r>
                <a:rPr lang="de-CH" sz="1600" dirty="0" err="1">
                  <a:solidFill>
                    <a:schemeClr val="tx1"/>
                  </a:solidFill>
                </a:rPr>
                <a:t>voltage</a:t>
              </a:r>
              <a:r>
                <a:rPr lang="de-CH" sz="1600" dirty="0">
                  <a:solidFill>
                    <a:schemeClr val="tx1"/>
                  </a:solidFill>
                </a:rPr>
                <a:t> </a:t>
              </a:r>
              <a:r>
                <a:rPr lang="de-CH" sz="1600" dirty="0" err="1">
                  <a:solidFill>
                    <a:schemeClr val="tx1"/>
                  </a:solidFill>
                </a:rPr>
                <a:t>range</a:t>
              </a:r>
              <a:endParaRPr lang="de-CH" sz="1600" dirty="0">
                <a:solidFill>
                  <a:schemeClr val="tx1"/>
                </a:solidFill>
              </a:endParaRPr>
            </a:p>
            <a:p>
              <a:pPr marL="285750" indent="-285750">
                <a:buFont typeface="Wingdings" panose="05000000000000000000" pitchFamily="2" charset="2"/>
                <a:buChar char="§"/>
              </a:pPr>
              <a:r>
                <a:rPr lang="de-CH" sz="1600" dirty="0">
                  <a:solidFill>
                    <a:schemeClr val="tx1"/>
                  </a:solidFill>
                </a:rPr>
                <a:t>Low power </a:t>
              </a:r>
              <a:r>
                <a:rPr lang="de-CH" sz="1600" err="1">
                  <a:solidFill>
                    <a:schemeClr val="tx1"/>
                  </a:solidFill>
                </a:rPr>
                <a:t>consumption</a:t>
              </a:r>
              <a:r>
                <a:rPr lang="de-CH" sz="1600">
                  <a:solidFill>
                    <a:schemeClr val="tx1"/>
                  </a:solidFill>
                </a:rPr>
                <a:t> </a:t>
              </a:r>
            </a:p>
            <a:p>
              <a:pPr marL="285750" indent="-285750">
                <a:buFont typeface="Wingdings" panose="05000000000000000000" pitchFamily="2" charset="2"/>
                <a:buChar char="§"/>
              </a:pPr>
              <a:r>
                <a:rPr lang="de-CH" sz="1600">
                  <a:solidFill>
                    <a:schemeClr val="tx1"/>
                  </a:solidFill>
                </a:rPr>
                <a:t>High </a:t>
              </a:r>
              <a:r>
                <a:rPr lang="de-CH" sz="1600" dirty="0" err="1">
                  <a:solidFill>
                    <a:schemeClr val="tx1"/>
                  </a:solidFill>
                </a:rPr>
                <a:t>accuracy</a:t>
              </a:r>
              <a:r>
                <a:rPr lang="de-CH" sz="1600" dirty="0">
                  <a:solidFill>
                    <a:schemeClr val="tx1"/>
                  </a:solidFill>
                </a:rPr>
                <a:t> </a:t>
              </a:r>
              <a:r>
                <a:rPr lang="de-CH" sz="1600" dirty="0" err="1">
                  <a:solidFill>
                    <a:schemeClr val="tx1"/>
                  </a:solidFill>
                </a:rPr>
                <a:t>over</a:t>
              </a:r>
              <a:r>
                <a:rPr lang="de-CH" sz="1600" dirty="0">
                  <a:solidFill>
                    <a:schemeClr val="tx1"/>
                  </a:solidFill>
                </a:rPr>
                <a:t> a </a:t>
              </a:r>
              <a:r>
                <a:rPr lang="de-CH" sz="1600" dirty="0" err="1">
                  <a:solidFill>
                    <a:schemeClr val="tx1"/>
                  </a:solidFill>
                </a:rPr>
                <a:t>wide</a:t>
              </a:r>
              <a:r>
                <a:rPr lang="de-CH" sz="1600" dirty="0">
                  <a:solidFill>
                    <a:schemeClr val="tx1"/>
                  </a:solidFill>
                </a:rPr>
                <a:t> RHT </a:t>
              </a:r>
              <a:r>
                <a:rPr lang="de-CH" sz="1600" err="1">
                  <a:solidFill>
                    <a:schemeClr val="tx1"/>
                  </a:solidFill>
                </a:rPr>
                <a:t>range</a:t>
              </a:r>
              <a:r>
                <a:rPr lang="de-CH" sz="1600">
                  <a:solidFill>
                    <a:schemeClr val="tx1"/>
                  </a:solidFill>
                </a:rPr>
                <a:t> </a:t>
              </a:r>
            </a:p>
            <a:p>
              <a:pPr marL="285750" indent="-285750">
                <a:buFont typeface="Wingdings" panose="05000000000000000000" pitchFamily="2" charset="2"/>
                <a:buChar char="§"/>
              </a:pPr>
              <a:r>
                <a:rPr lang="de-CH" sz="1600">
                  <a:solidFill>
                    <a:schemeClr val="tx1"/>
                  </a:solidFill>
                </a:rPr>
                <a:t>Proven </a:t>
              </a:r>
              <a:r>
                <a:rPr lang="de-CH" sz="1600" dirty="0" err="1">
                  <a:solidFill>
                    <a:schemeClr val="tx1"/>
                  </a:solidFill>
                </a:rPr>
                <a:t>SHTxx</a:t>
              </a:r>
              <a:r>
                <a:rPr lang="de-CH" sz="1600" dirty="0">
                  <a:solidFill>
                    <a:schemeClr val="tx1"/>
                  </a:solidFill>
                </a:rPr>
                <a:t> </a:t>
              </a:r>
              <a:r>
                <a:rPr lang="de-CH" sz="1600" dirty="0" err="1">
                  <a:solidFill>
                    <a:schemeClr val="tx1"/>
                  </a:solidFill>
                </a:rPr>
                <a:t>robustness</a:t>
              </a:r>
              <a:r>
                <a:rPr lang="de-CH" sz="1600" dirty="0">
                  <a:solidFill>
                    <a:schemeClr val="tx1"/>
                  </a:solidFill>
                </a:rPr>
                <a:t> </a:t>
              </a:r>
              <a:r>
                <a:rPr lang="de-CH" sz="1600" dirty="0" err="1">
                  <a:solidFill>
                    <a:schemeClr val="tx1"/>
                  </a:solidFill>
                </a:rPr>
                <a:t>and</a:t>
              </a:r>
              <a:r>
                <a:rPr lang="de-CH" sz="1600" dirty="0">
                  <a:solidFill>
                    <a:schemeClr val="tx1"/>
                  </a:solidFill>
                </a:rPr>
                <a:t> </a:t>
              </a:r>
              <a:r>
                <a:rPr lang="de-CH" sz="1600" dirty="0" err="1">
                  <a:solidFill>
                    <a:schemeClr val="tx1"/>
                  </a:solidFill>
                </a:rPr>
                <a:t>long</a:t>
              </a:r>
              <a:r>
                <a:rPr lang="de-CH" sz="1600" dirty="0">
                  <a:solidFill>
                    <a:schemeClr val="tx1"/>
                  </a:solidFill>
                </a:rPr>
                <a:t>-term </a:t>
              </a:r>
              <a:r>
                <a:rPr lang="de-CH" sz="1600" dirty="0" err="1">
                  <a:solidFill>
                    <a:schemeClr val="tx1"/>
                  </a:solidFill>
                </a:rPr>
                <a:t>stability</a:t>
              </a:r>
              <a:endParaRPr lang="de-CH" sz="1600" dirty="0">
                <a:solidFill>
                  <a:schemeClr val="tx1"/>
                </a:solidFill>
              </a:endParaRPr>
            </a:p>
            <a:p>
              <a:pPr marL="285750" indent="-285750">
                <a:buFont typeface="Wingdings" panose="05000000000000000000" pitchFamily="2" charset="2"/>
                <a:buChar char="§"/>
              </a:pPr>
              <a:r>
                <a:rPr lang="de-CH" sz="1600">
                  <a:solidFill>
                    <a:schemeClr val="tx1"/>
                  </a:solidFill>
                </a:rPr>
                <a:t>1.5x1.5x0.5 </a:t>
              </a:r>
              <a:r>
                <a:rPr lang="de-CH" sz="1600" dirty="0">
                  <a:solidFill>
                    <a:schemeClr val="tx1"/>
                  </a:solidFill>
                </a:rPr>
                <a:t>mm</a:t>
              </a:r>
              <a:r>
                <a:rPr lang="de-CH" sz="1600" baseline="30000" dirty="0">
                  <a:solidFill>
                    <a:schemeClr val="tx1"/>
                  </a:solidFill>
                </a:rPr>
                <a:t>3</a:t>
              </a:r>
              <a:r>
                <a:rPr lang="de-CH" sz="1600" dirty="0">
                  <a:solidFill>
                    <a:schemeClr val="tx1"/>
                  </a:solidFill>
                </a:rPr>
                <a:t> DFN </a:t>
              </a:r>
              <a:r>
                <a:rPr lang="de-CH" sz="1600" dirty="0" err="1">
                  <a:solidFill>
                    <a:schemeClr val="tx1"/>
                  </a:solidFill>
                </a:rPr>
                <a:t>package</a:t>
              </a:r>
              <a:endParaRPr lang="de-CH" sz="1600" dirty="0">
                <a:solidFill>
                  <a:schemeClr val="tx1"/>
                </a:solidFill>
              </a:endParaRPr>
            </a:p>
          </p:txBody>
        </p:sp>
        <p:pic>
          <p:nvPicPr>
            <p:cNvPr id="70" name="Picture 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811" y="5845501"/>
              <a:ext cx="1311596" cy="1049278"/>
            </a:xfrm>
            <a:prstGeom prst="rect">
              <a:avLst/>
            </a:prstGeom>
          </p:spPr>
        </p:pic>
      </p:grpSp>
      <p:sp>
        <p:nvSpPr>
          <p:cNvPr id="71" name="Textfeld 69"/>
          <p:cNvSpPr txBox="1"/>
          <p:nvPr/>
        </p:nvSpPr>
        <p:spPr>
          <a:xfrm>
            <a:off x="3547730" y="4705558"/>
            <a:ext cx="370614" cy="338554"/>
          </a:xfrm>
          <a:prstGeom prst="rect">
            <a:avLst/>
          </a:prstGeom>
          <a:noFill/>
        </p:spPr>
        <p:txBody>
          <a:bodyPr wrap="none" rtlCol="0">
            <a:spAutoFit/>
          </a:bodyPr>
          <a:lstStyle/>
          <a:p>
            <a:r>
              <a:rPr lang="de-CH" sz="1600" dirty="0" err="1"/>
              <a:t>no</a:t>
            </a:r>
            <a:endParaRPr lang="de-CH" sz="1600" dirty="0"/>
          </a:p>
        </p:txBody>
      </p:sp>
      <p:grpSp>
        <p:nvGrpSpPr>
          <p:cNvPr id="91" name="Group 90">
            <a:extLst>
              <a:ext uri="{FF2B5EF4-FFF2-40B4-BE49-F238E27FC236}">
                <a16:creationId xmlns:a16="http://schemas.microsoft.com/office/drawing/2014/main" id="{DCA40F82-F88A-414F-A08E-45B53CCA3C30}"/>
              </a:ext>
            </a:extLst>
          </p:cNvPr>
          <p:cNvGrpSpPr/>
          <p:nvPr/>
        </p:nvGrpSpPr>
        <p:grpSpPr>
          <a:xfrm>
            <a:off x="4761943" y="1016353"/>
            <a:ext cx="1720794" cy="952798"/>
            <a:chOff x="4856657" y="1359234"/>
            <a:chExt cx="1720794" cy="952798"/>
          </a:xfrm>
        </p:grpSpPr>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56657" y="1359234"/>
              <a:ext cx="1190994" cy="952798"/>
            </a:xfrm>
            <a:prstGeom prst="rect">
              <a:avLst/>
            </a:prstGeom>
          </p:spPr>
        </p:pic>
        <p:sp>
          <p:nvSpPr>
            <p:cNvPr id="62" name="Textfeld 40"/>
            <p:cNvSpPr txBox="1"/>
            <p:nvPr/>
          </p:nvSpPr>
          <p:spPr>
            <a:xfrm>
              <a:off x="5766010" y="1688830"/>
              <a:ext cx="811441" cy="338554"/>
            </a:xfrm>
            <a:prstGeom prst="rect">
              <a:avLst/>
            </a:prstGeom>
            <a:noFill/>
          </p:spPr>
          <p:txBody>
            <a:bodyPr wrap="square" rtlCol="0">
              <a:spAutoFit/>
            </a:bodyPr>
            <a:lstStyle/>
            <a:p>
              <a:r>
                <a:rPr lang="de-CH" sz="1600"/>
                <a:t>SHT4xA</a:t>
              </a:r>
              <a:endParaRPr lang="de-CH" sz="1600" dirty="0"/>
            </a:p>
          </p:txBody>
        </p:sp>
      </p:grpSp>
      <p:grpSp>
        <p:nvGrpSpPr>
          <p:cNvPr id="95" name="Group 94">
            <a:extLst>
              <a:ext uri="{FF2B5EF4-FFF2-40B4-BE49-F238E27FC236}">
                <a16:creationId xmlns:a16="http://schemas.microsoft.com/office/drawing/2014/main" id="{FA2CCF8A-8A9A-49FC-99EE-91566C9291D6}"/>
              </a:ext>
            </a:extLst>
          </p:cNvPr>
          <p:cNvGrpSpPr/>
          <p:nvPr/>
        </p:nvGrpSpPr>
        <p:grpSpPr>
          <a:xfrm>
            <a:off x="4751122" y="1693826"/>
            <a:ext cx="2184104" cy="991912"/>
            <a:chOff x="4751122" y="2043076"/>
            <a:chExt cx="2184104" cy="991912"/>
          </a:xfrm>
        </p:grpSpPr>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51122" y="2043076"/>
              <a:ext cx="1239896" cy="991912"/>
            </a:xfrm>
            <a:prstGeom prst="rect">
              <a:avLst/>
            </a:prstGeom>
          </p:spPr>
        </p:pic>
        <p:sp>
          <p:nvSpPr>
            <p:cNvPr id="68" name="Textfeld 40"/>
            <p:cNvSpPr txBox="1"/>
            <p:nvPr/>
          </p:nvSpPr>
          <p:spPr>
            <a:xfrm>
              <a:off x="5668533" y="2373886"/>
              <a:ext cx="1266693" cy="338554"/>
            </a:xfrm>
            <a:prstGeom prst="rect">
              <a:avLst/>
            </a:prstGeom>
            <a:noFill/>
          </p:spPr>
          <p:txBody>
            <a:bodyPr wrap="none" rtlCol="0">
              <a:spAutoFit/>
            </a:bodyPr>
            <a:lstStyle/>
            <a:p>
              <a:r>
                <a:rPr lang="de-CH" sz="1600"/>
                <a:t>SHT4xI-Digital</a:t>
              </a:r>
              <a:endParaRPr lang="de-CH" sz="1600" dirty="0"/>
            </a:p>
          </p:txBody>
        </p:sp>
      </p:grpSp>
      <p:sp>
        <p:nvSpPr>
          <p:cNvPr id="17" name="Title 16"/>
          <p:cNvSpPr>
            <a:spLocks noGrp="1"/>
          </p:cNvSpPr>
          <p:nvPr>
            <p:ph type="title"/>
          </p:nvPr>
        </p:nvSpPr>
        <p:spPr/>
        <p:txBody>
          <a:bodyPr/>
          <a:lstStyle/>
          <a:p>
            <a:r>
              <a:rPr lang="de-DE" dirty="0" err="1"/>
              <a:t>What‘s</a:t>
            </a:r>
            <a:r>
              <a:rPr lang="de-DE" dirty="0"/>
              <a:t> </a:t>
            </a:r>
            <a:r>
              <a:rPr lang="de-DE" dirty="0" err="1"/>
              <a:t>the</a:t>
            </a:r>
            <a:r>
              <a:rPr lang="de-DE" dirty="0"/>
              <a:t> Right SHT4xX </a:t>
            </a:r>
            <a:r>
              <a:rPr lang="de-DE" dirty="0" err="1"/>
              <a:t>for</a:t>
            </a:r>
            <a:r>
              <a:rPr lang="de-DE" dirty="0"/>
              <a:t> </a:t>
            </a:r>
            <a:r>
              <a:rPr lang="de-DE" dirty="0" err="1"/>
              <a:t>my</a:t>
            </a:r>
            <a:r>
              <a:rPr lang="de-DE" dirty="0"/>
              <a:t> Customer?	         		</a:t>
            </a:r>
            <a:endParaRPr lang="en-US" dirty="0"/>
          </a:p>
        </p:txBody>
      </p:sp>
      <p:grpSp>
        <p:nvGrpSpPr>
          <p:cNvPr id="35" name="Group 34"/>
          <p:cNvGrpSpPr/>
          <p:nvPr/>
        </p:nvGrpSpPr>
        <p:grpSpPr>
          <a:xfrm>
            <a:off x="4922535" y="4290800"/>
            <a:ext cx="1460626" cy="725423"/>
            <a:chOff x="3068173" y="4982374"/>
            <a:chExt cx="1460626" cy="725423"/>
          </a:xfrm>
        </p:grpSpPr>
        <p:pic>
          <p:nvPicPr>
            <p:cNvPr id="40" name="Grafik 38"/>
            <p:cNvPicPr>
              <a:picLocks noChangeAspect="1"/>
            </p:cNvPicPr>
            <p:nvPr/>
          </p:nvPicPr>
          <p:blipFill rotWithShape="1">
            <a:blip r:embed="rId6" cstate="print">
              <a:extLst>
                <a:ext uri="{28A0092B-C50C-407E-A947-70E740481C1C}">
                  <a14:useLocalDpi xmlns:a14="http://schemas.microsoft.com/office/drawing/2010/main" val="0"/>
                </a:ext>
              </a:extLst>
            </a:blip>
            <a:srcRect l="24220" r="20693"/>
            <a:stretch/>
          </p:blipFill>
          <p:spPr>
            <a:xfrm>
              <a:off x="3068173" y="4982374"/>
              <a:ext cx="799231" cy="725423"/>
            </a:xfrm>
            <a:prstGeom prst="rect">
              <a:avLst/>
            </a:prstGeom>
          </p:spPr>
        </p:pic>
        <p:sp>
          <p:nvSpPr>
            <p:cNvPr id="30" name="Rectangle 29"/>
            <p:cNvSpPr/>
            <p:nvPr/>
          </p:nvSpPr>
          <p:spPr>
            <a:xfrm>
              <a:off x="3802318" y="5175808"/>
              <a:ext cx="726481" cy="338554"/>
            </a:xfrm>
            <a:prstGeom prst="rect">
              <a:avLst/>
            </a:prstGeom>
          </p:spPr>
          <p:txBody>
            <a:bodyPr wrap="none">
              <a:spAutoFit/>
            </a:bodyPr>
            <a:lstStyle/>
            <a:p>
              <a:r>
                <a:rPr lang="de-CH" sz="1600"/>
                <a:t>SCC30</a:t>
              </a:r>
              <a:endParaRPr lang="de-CH" sz="1600" dirty="0"/>
            </a:p>
          </p:txBody>
        </p:sp>
      </p:grpSp>
      <p:cxnSp>
        <p:nvCxnSpPr>
          <p:cNvPr id="9" name="Connector: Elbow 8">
            <a:extLst>
              <a:ext uri="{FF2B5EF4-FFF2-40B4-BE49-F238E27FC236}">
                <a16:creationId xmlns:a16="http://schemas.microsoft.com/office/drawing/2014/main" id="{DCAA13AC-30EB-495A-83F2-B26909985C5E}"/>
              </a:ext>
            </a:extLst>
          </p:cNvPr>
          <p:cNvCxnSpPr>
            <a:cxnSpLocks/>
            <a:stCxn id="57" idx="0"/>
            <a:endCxn id="8" idx="0"/>
          </p:cNvCxnSpPr>
          <p:nvPr/>
        </p:nvCxnSpPr>
        <p:spPr>
          <a:xfrm rot="5400000" flipH="1" flipV="1">
            <a:off x="1836582" y="584505"/>
            <a:ext cx="1031574" cy="2245967"/>
          </a:xfrm>
          <a:prstGeom prst="bentConnector3">
            <a:avLst>
              <a:gd name="adj1" fmla="val 122160"/>
            </a:avLst>
          </a:prstGeom>
          <a:ln w="28575">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8800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hteck 21"/>
          <p:cNvSpPr/>
          <p:nvPr/>
        </p:nvSpPr>
        <p:spPr>
          <a:xfrm>
            <a:off x="1000" y="5667124"/>
            <a:ext cx="12191000" cy="640080"/>
          </a:xfrm>
          <a:prstGeom prst="rect">
            <a:avLst/>
          </a:prstGeom>
          <a:solidFill>
            <a:srgbClr val="66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mn-ea"/>
              <a:cs typeface="+mn-cs"/>
            </a:endParaRPr>
          </a:p>
        </p:txBody>
      </p:sp>
      <p:sp>
        <p:nvSpPr>
          <p:cNvPr id="38" name="Rechteck 37"/>
          <p:cNvSpPr/>
          <p:nvPr/>
        </p:nvSpPr>
        <p:spPr>
          <a:xfrm>
            <a:off x="0" y="5795493"/>
            <a:ext cx="12192000" cy="331265"/>
          </a:xfrm>
          <a:prstGeom prst="rect">
            <a:avLst/>
          </a:prstGeom>
          <a:noFill/>
        </p:spPr>
        <p:txBody>
          <a:bodyPr wrap="square" lIns="27000" tIns="0" rIns="67500" bIns="67500" rtlCol="0" anchor="t">
            <a:noAutofit/>
          </a:bodyPr>
          <a:lstStyle/>
          <a:p>
            <a:pPr marL="17780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sz="2400" b="1" i="0" u="none" strike="noStrike" kern="1200" cap="none" spc="0" normalizeH="0" baseline="0" noProof="0" dirty="0">
                <a:ln>
                  <a:noFill/>
                </a:ln>
                <a:solidFill>
                  <a:srgbClr val="FFFFFF"/>
                </a:solidFill>
                <a:effectLst/>
                <a:uLnTx/>
                <a:uFillTx/>
                <a:latin typeface="+mn-lt"/>
                <a:cs typeface="Segoe UI" panose="020B0502040204020203" pitchFamily="34" charset="0"/>
              </a:rPr>
              <a:t>You probably own or use </a:t>
            </a:r>
            <a:r>
              <a:rPr lang="en-US" sz="2400" b="1" dirty="0">
                <a:solidFill>
                  <a:srgbClr val="FFFFFF"/>
                </a:solidFill>
                <a:latin typeface="+mn-lt"/>
                <a:cs typeface="Segoe UI" panose="020B0502040204020203" pitchFamily="34" charset="0"/>
              </a:rPr>
              <a:t>a product with </a:t>
            </a:r>
            <a:r>
              <a:rPr kumimoji="0" lang="en-US" sz="2400" b="1" i="0" u="none" strike="noStrike" kern="1200" cap="none" spc="0" normalizeH="0" baseline="0" noProof="0" dirty="0">
                <a:ln>
                  <a:noFill/>
                </a:ln>
                <a:solidFill>
                  <a:srgbClr val="FFFFFF"/>
                </a:solidFill>
                <a:effectLst/>
                <a:uLnTx/>
                <a:uFillTx/>
                <a:latin typeface="+mn-lt"/>
                <a:cs typeface="Segoe UI" panose="020B0502040204020203" pitchFamily="34" charset="0"/>
              </a:rPr>
              <a:t>one (or more) of our sensors inside!</a:t>
            </a:r>
          </a:p>
        </p:txBody>
      </p:sp>
      <p:sp>
        <p:nvSpPr>
          <p:cNvPr id="20" name="Rectangle: Rounded Corners 49">
            <a:extLst>
              <a:ext uri="{FF2B5EF4-FFF2-40B4-BE49-F238E27FC236}">
                <a16:creationId xmlns:a16="http://schemas.microsoft.com/office/drawing/2014/main" id="{63F3C7B5-3180-7142-9828-F07E79A46991}"/>
              </a:ext>
            </a:extLst>
          </p:cNvPr>
          <p:cNvSpPr/>
          <p:nvPr/>
        </p:nvSpPr>
        <p:spPr>
          <a:xfrm>
            <a:off x="1158436" y="962276"/>
            <a:ext cx="10184674" cy="640080"/>
          </a:xfrm>
          <a:prstGeom prst="roundRect">
            <a:avLst>
              <a:gd name="adj" fmla="val 6649"/>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a:extLst>
              <a:ext uri="{FF2B5EF4-FFF2-40B4-BE49-F238E27FC236}">
                <a16:creationId xmlns:a16="http://schemas.microsoft.com/office/drawing/2014/main" id="{94BA0540-EF74-4A02-9D51-63AD2B163A2A}"/>
              </a:ext>
            </a:extLst>
          </p:cNvPr>
          <p:cNvGrpSpPr>
            <a:grpSpLocks noChangeAspect="1"/>
          </p:cNvGrpSpPr>
          <p:nvPr/>
        </p:nvGrpSpPr>
        <p:grpSpPr>
          <a:xfrm>
            <a:off x="839787" y="870836"/>
            <a:ext cx="822960" cy="822960"/>
            <a:chOff x="6661431" y="2189755"/>
            <a:chExt cx="640080" cy="640080"/>
          </a:xfrm>
        </p:grpSpPr>
        <p:sp>
          <p:nvSpPr>
            <p:cNvPr id="35" name="Oval 34">
              <a:extLst>
                <a:ext uri="{FF2B5EF4-FFF2-40B4-BE49-F238E27FC236}">
                  <a16:creationId xmlns:a16="http://schemas.microsoft.com/office/drawing/2014/main" id="{B63ABA7E-7A3A-42FF-A361-FB482E4B47BB}"/>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89AB6A65-3EB3-4E31-82CA-D40CAA3AA80C}"/>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6" name="Rectangle: Rounded Corners 49">
            <a:extLst>
              <a:ext uri="{FF2B5EF4-FFF2-40B4-BE49-F238E27FC236}">
                <a16:creationId xmlns:a16="http://schemas.microsoft.com/office/drawing/2014/main" id="{4F3830BD-5FAF-42C0-A510-69FFE5800376}"/>
              </a:ext>
            </a:extLst>
          </p:cNvPr>
          <p:cNvSpPr/>
          <p:nvPr/>
        </p:nvSpPr>
        <p:spPr>
          <a:xfrm>
            <a:off x="1158436" y="1916552"/>
            <a:ext cx="10184674" cy="640080"/>
          </a:xfrm>
          <a:prstGeom prst="roundRect">
            <a:avLst>
              <a:gd name="adj" fmla="val 6649"/>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7" name="Group 76">
            <a:extLst>
              <a:ext uri="{FF2B5EF4-FFF2-40B4-BE49-F238E27FC236}">
                <a16:creationId xmlns:a16="http://schemas.microsoft.com/office/drawing/2014/main" id="{763D34FF-E173-445A-9B1B-88863C108710}"/>
              </a:ext>
            </a:extLst>
          </p:cNvPr>
          <p:cNvGrpSpPr>
            <a:grpSpLocks noChangeAspect="1"/>
          </p:cNvGrpSpPr>
          <p:nvPr/>
        </p:nvGrpSpPr>
        <p:grpSpPr>
          <a:xfrm>
            <a:off x="839787" y="1825112"/>
            <a:ext cx="822960" cy="822960"/>
            <a:chOff x="6661431" y="2189755"/>
            <a:chExt cx="640080" cy="640080"/>
          </a:xfrm>
        </p:grpSpPr>
        <p:sp>
          <p:nvSpPr>
            <p:cNvPr id="78" name="Oval 77">
              <a:extLst>
                <a:ext uri="{FF2B5EF4-FFF2-40B4-BE49-F238E27FC236}">
                  <a16:creationId xmlns:a16="http://schemas.microsoft.com/office/drawing/2014/main" id="{0B148B19-3C07-4008-B817-D1ACFE258509}"/>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2669FD7-79F6-463D-8EDA-048C25203AAF}"/>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1" name="Rectangle: Rounded Corners 49">
            <a:extLst>
              <a:ext uri="{FF2B5EF4-FFF2-40B4-BE49-F238E27FC236}">
                <a16:creationId xmlns:a16="http://schemas.microsoft.com/office/drawing/2014/main" id="{DD1A2F9D-A15C-4BEF-BECE-DAA74C87A748}"/>
              </a:ext>
            </a:extLst>
          </p:cNvPr>
          <p:cNvSpPr/>
          <p:nvPr/>
        </p:nvSpPr>
        <p:spPr>
          <a:xfrm>
            <a:off x="1158436" y="2870828"/>
            <a:ext cx="10184674" cy="640080"/>
          </a:xfrm>
          <a:prstGeom prst="roundRect">
            <a:avLst>
              <a:gd name="adj" fmla="val 6649"/>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2" name="Group 81">
            <a:extLst>
              <a:ext uri="{FF2B5EF4-FFF2-40B4-BE49-F238E27FC236}">
                <a16:creationId xmlns:a16="http://schemas.microsoft.com/office/drawing/2014/main" id="{5A509475-1675-4959-B8E4-17A08C878235}"/>
              </a:ext>
            </a:extLst>
          </p:cNvPr>
          <p:cNvGrpSpPr>
            <a:grpSpLocks noChangeAspect="1"/>
          </p:cNvGrpSpPr>
          <p:nvPr/>
        </p:nvGrpSpPr>
        <p:grpSpPr>
          <a:xfrm>
            <a:off x="839787" y="2779388"/>
            <a:ext cx="822960" cy="822960"/>
            <a:chOff x="6661431" y="2189755"/>
            <a:chExt cx="640080" cy="640080"/>
          </a:xfrm>
        </p:grpSpPr>
        <p:sp>
          <p:nvSpPr>
            <p:cNvPr id="83" name="Oval 82">
              <a:extLst>
                <a:ext uri="{FF2B5EF4-FFF2-40B4-BE49-F238E27FC236}">
                  <a16:creationId xmlns:a16="http://schemas.microsoft.com/office/drawing/2014/main" id="{6C848799-AB4F-4766-9DB2-DBFA3A70FEEB}"/>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ACC022A9-F305-4C44-8FAC-823D56D0F697}"/>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6" name="Rectangle: Rounded Corners 49">
            <a:extLst>
              <a:ext uri="{FF2B5EF4-FFF2-40B4-BE49-F238E27FC236}">
                <a16:creationId xmlns:a16="http://schemas.microsoft.com/office/drawing/2014/main" id="{767F1410-1561-43BE-9035-2EC1703AD719}"/>
              </a:ext>
            </a:extLst>
          </p:cNvPr>
          <p:cNvSpPr/>
          <p:nvPr/>
        </p:nvSpPr>
        <p:spPr>
          <a:xfrm>
            <a:off x="1158436" y="3825105"/>
            <a:ext cx="10184674" cy="640080"/>
          </a:xfrm>
          <a:prstGeom prst="roundRect">
            <a:avLst>
              <a:gd name="adj" fmla="val 6649"/>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7" name="Group 86">
            <a:extLst>
              <a:ext uri="{FF2B5EF4-FFF2-40B4-BE49-F238E27FC236}">
                <a16:creationId xmlns:a16="http://schemas.microsoft.com/office/drawing/2014/main" id="{5842975A-66FF-4857-99B8-CAFFED1B8D18}"/>
              </a:ext>
            </a:extLst>
          </p:cNvPr>
          <p:cNvGrpSpPr>
            <a:grpSpLocks noChangeAspect="1"/>
          </p:cNvGrpSpPr>
          <p:nvPr/>
        </p:nvGrpSpPr>
        <p:grpSpPr>
          <a:xfrm>
            <a:off x="839787" y="3733665"/>
            <a:ext cx="822960" cy="822960"/>
            <a:chOff x="6661431" y="2189755"/>
            <a:chExt cx="640080" cy="640080"/>
          </a:xfrm>
        </p:grpSpPr>
        <p:sp>
          <p:nvSpPr>
            <p:cNvPr id="88" name="Oval 87">
              <a:extLst>
                <a:ext uri="{FF2B5EF4-FFF2-40B4-BE49-F238E27FC236}">
                  <a16:creationId xmlns:a16="http://schemas.microsoft.com/office/drawing/2014/main" id="{7421109B-18B8-47FC-BEBA-B6B101053794}"/>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4EA74ECD-A603-4A53-8293-3469282129B2}"/>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0" name="Grafik 2">
            <a:extLst>
              <a:ext uri="{FF2B5EF4-FFF2-40B4-BE49-F238E27FC236}">
                <a16:creationId xmlns:a16="http://schemas.microsoft.com/office/drawing/2014/main" id="{84F1FF76-2FF2-4759-A806-AFFC453624FC}"/>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73338" y="1174514"/>
            <a:ext cx="612648" cy="236268"/>
          </a:xfrm>
          <a:prstGeom prst="rect">
            <a:avLst/>
          </a:prstGeom>
        </p:spPr>
      </p:pic>
      <p:pic>
        <p:nvPicPr>
          <p:cNvPr id="91" name="Picture 2" descr="Ähnliches Foto">
            <a:extLst>
              <a:ext uri="{FF2B5EF4-FFF2-40B4-BE49-F238E27FC236}">
                <a16:creationId xmlns:a16="http://schemas.microsoft.com/office/drawing/2014/main" id="{240A4FDD-9812-4D2A-B679-2E8AC1E19CA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7720745" y="1150087"/>
            <a:ext cx="730078" cy="264459"/>
          </a:xfrm>
          <a:prstGeom prst="rect">
            <a:avLst/>
          </a:prstGeom>
          <a:noFill/>
          <a:extLst>
            <a:ext uri="{909E8E84-426E-40DD-AFC4-6F175D3DCCD1}">
              <a14:hiddenFill xmlns:a14="http://schemas.microsoft.com/office/drawing/2010/main">
                <a:solidFill>
                  <a:srgbClr val="FFFFFF"/>
                </a:solidFill>
              </a14:hiddenFill>
            </a:ext>
          </a:extLst>
        </p:spPr>
      </p:pic>
      <p:pic>
        <p:nvPicPr>
          <p:cNvPr id="92" name="Grafik 4">
            <a:extLst>
              <a:ext uri="{FF2B5EF4-FFF2-40B4-BE49-F238E27FC236}">
                <a16:creationId xmlns:a16="http://schemas.microsoft.com/office/drawing/2014/main" id="{52E9CF56-CAF1-4AE0-AEEA-05C3A45C7BFF}"/>
              </a:ext>
            </a:extLst>
          </p:cNvPr>
          <p:cNvPicPr>
            <a:picLocks noChangeAspect="1"/>
          </p:cNvPicPr>
          <p:nvPr/>
        </p:nvPicPr>
        <p:blipFill rotWithShape="1">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336181" y="1190876"/>
            <a:ext cx="803748" cy="182880"/>
          </a:xfrm>
          <a:prstGeom prst="rect">
            <a:avLst/>
          </a:prstGeom>
        </p:spPr>
      </p:pic>
      <p:pic>
        <p:nvPicPr>
          <p:cNvPr id="93" name="Picture 54" descr="Bildergebnis für netatmo  logo">
            <a:extLst>
              <a:ext uri="{FF2B5EF4-FFF2-40B4-BE49-F238E27FC236}">
                <a16:creationId xmlns:a16="http://schemas.microsoft.com/office/drawing/2014/main" id="{C787350E-3418-4C5B-BE3E-4F1A77D0134E}"/>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43899" y="1224917"/>
            <a:ext cx="685800" cy="114799"/>
          </a:xfrm>
          <a:prstGeom prst="rect">
            <a:avLst/>
          </a:prstGeom>
          <a:noFill/>
          <a:extLst>
            <a:ext uri="{909E8E84-426E-40DD-AFC4-6F175D3DCCD1}">
              <a14:hiddenFill xmlns:a14="http://schemas.microsoft.com/office/drawing/2010/main">
                <a:solidFill>
                  <a:srgbClr val="FFFFFF"/>
                </a:solidFill>
              </a14:hiddenFill>
            </a:ext>
          </a:extLst>
        </p:spPr>
      </p:pic>
      <p:pic>
        <p:nvPicPr>
          <p:cNvPr id="94" name="Grafik 6">
            <a:extLst>
              <a:ext uri="{FF2B5EF4-FFF2-40B4-BE49-F238E27FC236}">
                <a16:creationId xmlns:a16="http://schemas.microsoft.com/office/drawing/2014/main" id="{7B0D1D6E-81DD-4D68-8594-9A4CF73D7C1F}"/>
              </a:ext>
            </a:extLst>
          </p:cNvPr>
          <p:cNvPicPr>
            <a:picLocks noChangeAspect="1"/>
          </p:cNvPicPr>
          <p:nvPr/>
        </p:nvPicPr>
        <p:blipFill>
          <a:blip r:embed="rId7" cstate="hqprint">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711343" y="1188655"/>
            <a:ext cx="548640" cy="207987"/>
          </a:xfrm>
          <a:prstGeom prst="rect">
            <a:avLst/>
          </a:prstGeom>
        </p:spPr>
      </p:pic>
      <p:pic>
        <p:nvPicPr>
          <p:cNvPr id="95" name="Grafik 7">
            <a:extLst>
              <a:ext uri="{FF2B5EF4-FFF2-40B4-BE49-F238E27FC236}">
                <a16:creationId xmlns:a16="http://schemas.microsoft.com/office/drawing/2014/main" id="{A90BED5E-F857-4763-A459-9A055B9E523B}"/>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8911585" y="1193931"/>
            <a:ext cx="640080" cy="176770"/>
          </a:xfrm>
          <a:prstGeom prst="rect">
            <a:avLst/>
          </a:prstGeom>
        </p:spPr>
      </p:pic>
      <p:pic>
        <p:nvPicPr>
          <p:cNvPr id="96" name="Picture 10" descr="https://www.seagate.com/files/www-content/about-seagate/_shared/images/presskit/hi-res/seagate-green-horizontal.jpg">
            <a:extLst>
              <a:ext uri="{FF2B5EF4-FFF2-40B4-BE49-F238E27FC236}">
                <a16:creationId xmlns:a16="http://schemas.microsoft.com/office/drawing/2014/main" id="{B2043A13-9318-46A0-A214-09C0FDB40067}"/>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0012428" y="1150087"/>
            <a:ext cx="1097746" cy="264459"/>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 descr="Quellbild anzeigen">
            <a:extLst>
              <a:ext uri="{FF2B5EF4-FFF2-40B4-BE49-F238E27FC236}">
                <a16:creationId xmlns:a16="http://schemas.microsoft.com/office/drawing/2014/main" id="{48E9BF33-655D-4D01-9173-612ABBB15F39}"/>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030682" y="1177340"/>
            <a:ext cx="695953" cy="292608"/>
          </a:xfrm>
          <a:prstGeom prst="rect">
            <a:avLst/>
          </a:prstGeom>
          <a:noFill/>
          <a:extLst>
            <a:ext uri="{909E8E84-426E-40DD-AFC4-6F175D3DCCD1}">
              <a14:hiddenFill xmlns:a14="http://schemas.microsoft.com/office/drawing/2010/main">
                <a:solidFill>
                  <a:srgbClr val="FFFFFF"/>
                </a:solidFill>
              </a14:hiddenFill>
            </a:ext>
          </a:extLst>
        </p:spPr>
      </p:pic>
      <p:pic>
        <p:nvPicPr>
          <p:cNvPr id="98" name="Grafik 9">
            <a:extLst>
              <a:ext uri="{FF2B5EF4-FFF2-40B4-BE49-F238E27FC236}">
                <a16:creationId xmlns:a16="http://schemas.microsoft.com/office/drawing/2014/main" id="{DEAF8AF0-22B2-4155-9F2C-129E52A65D64}"/>
              </a:ext>
            </a:extLst>
          </p:cNvPr>
          <p:cNvPicPr>
            <a:picLocks noChangeAspect="1"/>
          </p:cNvPicPr>
          <p:nvPr/>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73338" y="2136008"/>
            <a:ext cx="416685" cy="201168"/>
          </a:xfrm>
          <a:prstGeom prst="rect">
            <a:avLst/>
          </a:prstGeom>
        </p:spPr>
      </p:pic>
      <p:pic>
        <p:nvPicPr>
          <p:cNvPr id="99" name="Grafik 10">
            <a:extLst>
              <a:ext uri="{FF2B5EF4-FFF2-40B4-BE49-F238E27FC236}">
                <a16:creationId xmlns:a16="http://schemas.microsoft.com/office/drawing/2014/main" id="{AEB80906-CFFF-46AD-98BE-7EDD47B7E96C}"/>
              </a:ext>
            </a:extLst>
          </p:cNvPr>
          <p:cNvPicPr>
            <a:picLocks noChangeAspect="1"/>
          </p:cNvPicPr>
          <p:nvPr/>
        </p:nvPicPr>
        <p:blipFill rotWithShape="1">
          <a:blip r:embed="rId12" cstate="hqprint">
            <a:clrChange>
              <a:clrFrom>
                <a:srgbClr val="FFFFFF"/>
              </a:clrFrom>
              <a:clrTo>
                <a:srgbClr val="FFFFFF">
                  <a:alpha val="0"/>
                </a:srgbClr>
              </a:clrTo>
            </a:clrChange>
            <a:extLst>
              <a:ext uri="{28A0092B-C50C-407E-A947-70E740481C1C}">
                <a14:useLocalDpi xmlns:a14="http://schemas.microsoft.com/office/drawing/2010/main"/>
              </a:ext>
            </a:extLst>
          </a:blip>
          <a:srcRect l="-1"/>
          <a:stretch/>
        </p:blipFill>
        <p:spPr>
          <a:xfrm>
            <a:off x="2837388" y="2136008"/>
            <a:ext cx="599688" cy="201168"/>
          </a:xfrm>
          <a:prstGeom prst="rect">
            <a:avLst/>
          </a:prstGeom>
        </p:spPr>
      </p:pic>
      <p:pic>
        <p:nvPicPr>
          <p:cNvPr id="100" name="Grafik 11">
            <a:extLst>
              <a:ext uri="{FF2B5EF4-FFF2-40B4-BE49-F238E27FC236}">
                <a16:creationId xmlns:a16="http://schemas.microsoft.com/office/drawing/2014/main" id="{ACFC8B11-507A-424D-A53E-1EFA1E9B7BD1}"/>
              </a:ext>
            </a:extLst>
          </p:cNvPr>
          <p:cNvPicPr>
            <a:picLocks noChangeAspect="1"/>
          </p:cNvPicPr>
          <p:nvPr/>
        </p:nvPicPr>
        <p:blipFill>
          <a:blip r:embed="rId1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84441" y="2158585"/>
            <a:ext cx="822960" cy="156014"/>
          </a:xfrm>
          <a:prstGeom prst="rect">
            <a:avLst/>
          </a:prstGeom>
        </p:spPr>
      </p:pic>
      <p:pic>
        <p:nvPicPr>
          <p:cNvPr id="101" name="Picture 6" descr="https://logos-download.com/wp-content/uploads/2016/05/Midea_logo.png">
            <a:extLst>
              <a:ext uri="{FF2B5EF4-FFF2-40B4-BE49-F238E27FC236}">
                <a16:creationId xmlns:a16="http://schemas.microsoft.com/office/drawing/2014/main" id="{29BE189A-63CD-434C-8581-A0266B9E95CB}"/>
              </a:ext>
            </a:extLst>
          </p:cNvPr>
          <p:cNvPicPr>
            <a:picLocks noChangeAspect="1" noChangeArrowheads="1"/>
          </p:cNvPicPr>
          <p:nvPr/>
        </p:nvPicPr>
        <p:blipFill>
          <a:blip r:embed="rId14" cstate="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5154766" y="2136008"/>
            <a:ext cx="529390" cy="201168"/>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36" descr="Bildergebnis für daikin logo">
            <a:extLst>
              <a:ext uri="{FF2B5EF4-FFF2-40B4-BE49-F238E27FC236}">
                <a16:creationId xmlns:a16="http://schemas.microsoft.com/office/drawing/2014/main" id="{E7D3632C-90A5-403C-BF1A-E5C19DC7155E}"/>
              </a:ext>
            </a:extLst>
          </p:cNvPr>
          <p:cNvPicPr>
            <a:picLocks noChangeAspect="1" noChangeArrowheads="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361276" y="2156030"/>
            <a:ext cx="731520" cy="16112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32" descr="Bildergebnis für honeywell logo">
            <a:extLst>
              <a:ext uri="{FF2B5EF4-FFF2-40B4-BE49-F238E27FC236}">
                <a16:creationId xmlns:a16="http://schemas.microsoft.com/office/drawing/2014/main" id="{9E1B19DD-E16E-436D-A24A-4CE213E64E67}"/>
              </a:ext>
            </a:extLst>
          </p:cNvPr>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131521" y="2148573"/>
            <a:ext cx="731520" cy="17603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34" descr="https://www.socag.ch/wp-content/uploads/2018/09/siemens.png">
            <a:extLst>
              <a:ext uri="{FF2B5EF4-FFF2-40B4-BE49-F238E27FC236}">
                <a16:creationId xmlns:a16="http://schemas.microsoft.com/office/drawing/2014/main" id="{969B4E6F-2CB2-4DE7-926B-472E28405B97}"/>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7310406" y="2136008"/>
            <a:ext cx="603505" cy="20116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52" descr="Bildergebnis für trane  logo">
            <a:extLst>
              <a:ext uri="{FF2B5EF4-FFF2-40B4-BE49-F238E27FC236}">
                <a16:creationId xmlns:a16="http://schemas.microsoft.com/office/drawing/2014/main" id="{73DAC3BD-1114-4CD0-BB68-AD1941925A33}"/>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9540161" y="2124392"/>
            <a:ext cx="640080" cy="22440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40" descr="Bildergebnis für logo haier">
            <a:extLst>
              <a:ext uri="{FF2B5EF4-FFF2-40B4-BE49-F238E27FC236}">
                <a16:creationId xmlns:a16="http://schemas.microsoft.com/office/drawing/2014/main" id="{1EB4A2E1-58B0-4720-89E1-BCD4589F4445}"/>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0627608" y="2172584"/>
            <a:ext cx="412289" cy="128016"/>
          </a:xfrm>
          <a:prstGeom prst="rect">
            <a:avLst/>
          </a:prstGeom>
          <a:noFill/>
          <a:extLst>
            <a:ext uri="{909E8E84-426E-40DD-AFC4-6F175D3DCCD1}">
              <a14:hiddenFill xmlns:a14="http://schemas.microsoft.com/office/drawing/2010/main">
                <a:solidFill>
                  <a:srgbClr val="FFFFFF"/>
                </a:solidFill>
              </a14:hiddenFill>
            </a:ext>
          </a:extLst>
        </p:spPr>
      </p:pic>
      <p:pic>
        <p:nvPicPr>
          <p:cNvPr id="107" name="Grafik 14">
            <a:extLst>
              <a:ext uri="{FF2B5EF4-FFF2-40B4-BE49-F238E27FC236}">
                <a16:creationId xmlns:a16="http://schemas.microsoft.com/office/drawing/2014/main" id="{D4204801-95D5-4760-AE32-EF0661DA3BBE}"/>
              </a:ext>
            </a:extLst>
          </p:cNvPr>
          <p:cNvPicPr>
            <a:picLocks noChangeAspect="1"/>
          </p:cNvPicPr>
          <p:nvPr/>
        </p:nvPicPr>
        <p:blipFill>
          <a:blip r:embed="rId20"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82826" y="3106444"/>
            <a:ext cx="731520" cy="168849"/>
          </a:xfrm>
          <a:prstGeom prst="rect">
            <a:avLst/>
          </a:prstGeom>
        </p:spPr>
      </p:pic>
      <p:pic>
        <p:nvPicPr>
          <p:cNvPr id="108" name="Grafik 15">
            <a:extLst>
              <a:ext uri="{FF2B5EF4-FFF2-40B4-BE49-F238E27FC236}">
                <a16:creationId xmlns:a16="http://schemas.microsoft.com/office/drawing/2014/main" id="{5EE20741-A9D1-41C1-B003-B22E9C8C7183}"/>
              </a:ext>
            </a:extLst>
          </p:cNvPr>
          <p:cNvPicPr>
            <a:picLocks noChangeAspect="1"/>
          </p:cNvPicPr>
          <p:nvPr/>
        </p:nvPicPr>
        <p:blipFill>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12010" y="3110895"/>
            <a:ext cx="731520" cy="159947"/>
          </a:xfrm>
          <a:prstGeom prst="rect">
            <a:avLst/>
          </a:prstGeom>
        </p:spPr>
      </p:pic>
      <p:pic>
        <p:nvPicPr>
          <p:cNvPr id="109" name="Picture 38" descr="Bildergebnis für denso logo">
            <a:extLst>
              <a:ext uri="{FF2B5EF4-FFF2-40B4-BE49-F238E27FC236}">
                <a16:creationId xmlns:a16="http://schemas.microsoft.com/office/drawing/2014/main" id="{7129F1A2-7118-4A09-A92C-44C2A005F6A7}"/>
              </a:ext>
            </a:extLst>
          </p:cNvPr>
          <p:cNvPicPr>
            <a:picLocks noChangeAspect="1" noChangeArrowheads="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392314" y="3107478"/>
            <a:ext cx="640080" cy="166781"/>
          </a:xfrm>
          <a:prstGeom prst="rect">
            <a:avLst/>
          </a:prstGeom>
          <a:noFill/>
          <a:extLst>
            <a:ext uri="{909E8E84-426E-40DD-AFC4-6F175D3DCCD1}">
              <a14:hiddenFill xmlns:a14="http://schemas.microsoft.com/office/drawing/2010/main">
                <a:solidFill>
                  <a:srgbClr val="FFFFFF"/>
                </a:solidFill>
              </a14:hiddenFill>
            </a:ext>
          </a:extLst>
        </p:spPr>
      </p:pic>
      <p:pic>
        <p:nvPicPr>
          <p:cNvPr id="110" name="Grafik 17">
            <a:extLst>
              <a:ext uri="{FF2B5EF4-FFF2-40B4-BE49-F238E27FC236}">
                <a16:creationId xmlns:a16="http://schemas.microsoft.com/office/drawing/2014/main" id="{34A351D9-35D5-49DF-8A7A-619181F585F2}"/>
              </a:ext>
            </a:extLst>
          </p:cNvPr>
          <p:cNvPicPr>
            <a:picLocks noChangeAspect="1"/>
          </p:cNvPicPr>
          <p:nvPr/>
        </p:nvPicPr>
        <p:blipFill>
          <a:blip r:embed="rId2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21498" y="3099428"/>
            <a:ext cx="408915" cy="182880"/>
          </a:xfrm>
          <a:prstGeom prst="rect">
            <a:avLst/>
          </a:prstGeom>
        </p:spPr>
      </p:pic>
      <p:pic>
        <p:nvPicPr>
          <p:cNvPr id="111" name="Picture 24" descr="Bildergebnis für hella logo">
            <a:extLst>
              <a:ext uri="{FF2B5EF4-FFF2-40B4-BE49-F238E27FC236}">
                <a16:creationId xmlns:a16="http://schemas.microsoft.com/office/drawing/2014/main" id="{E2760253-743E-4CFD-9247-D8E9F4EB55EE}"/>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7370837" y="3058639"/>
            <a:ext cx="363205" cy="264459"/>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2" descr="Bildergebnis für logo hitachi">
            <a:extLst>
              <a:ext uri="{FF2B5EF4-FFF2-40B4-BE49-F238E27FC236}">
                <a16:creationId xmlns:a16="http://schemas.microsoft.com/office/drawing/2014/main" id="{AA6CBEC9-A97A-4B92-BE32-69B68FCF8E56}"/>
              </a:ext>
            </a:extLst>
          </p:cNvPr>
          <p:cNvPicPr>
            <a:picLocks noChangeAspect="1" noChangeArrowheads="1"/>
          </p:cNvPicPr>
          <p:nvPr/>
        </p:nvPicPr>
        <p:blipFill rotWithShape="1">
          <a:blip r:embed="rId25" cstate="print">
            <a:extLst>
              <a:ext uri="{28A0092B-C50C-407E-A947-70E740481C1C}">
                <a14:useLocalDpi xmlns:a14="http://schemas.microsoft.com/office/drawing/2010/main"/>
              </a:ext>
            </a:extLst>
          </a:blip>
          <a:srcRect l="19978" t="39313" r="18909" b="40740"/>
          <a:stretch/>
        </p:blipFill>
        <p:spPr bwMode="auto">
          <a:xfrm>
            <a:off x="5510362" y="3112525"/>
            <a:ext cx="640080" cy="156686"/>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4" descr="https://wl3-cdn.landsec.com/sites/default/files/images/shops/logos/tesla_0.png">
            <a:extLst>
              <a:ext uri="{FF2B5EF4-FFF2-40B4-BE49-F238E27FC236}">
                <a16:creationId xmlns:a16="http://schemas.microsoft.com/office/drawing/2014/main" id="{4579FF12-DBD3-4C8D-8191-8D3D3816544F}"/>
              </a:ext>
            </a:extLst>
          </p:cNvPr>
          <p:cNvPicPr>
            <a:picLocks noChangeAspect="1" noChangeArrowheads="1"/>
          </p:cNvPicPr>
          <p:nvPr/>
        </p:nvPicPr>
        <p:blipFill rotWithShape="1">
          <a:blip r:embed="rId26" cstate="print">
            <a:extLst>
              <a:ext uri="{28A0092B-C50C-407E-A947-70E740481C1C}">
                <a14:useLocalDpi xmlns:a14="http://schemas.microsoft.com/office/drawing/2010/main"/>
              </a:ext>
            </a:extLst>
          </a:blip>
          <a:srcRect t="37126" b="39883"/>
          <a:stretch/>
        </p:blipFill>
        <p:spPr bwMode="auto">
          <a:xfrm>
            <a:off x="1973338" y="3106775"/>
            <a:ext cx="731520" cy="168187"/>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50" descr="Amphenol Logo png">
            <a:extLst>
              <a:ext uri="{FF2B5EF4-FFF2-40B4-BE49-F238E27FC236}">
                <a16:creationId xmlns:a16="http://schemas.microsoft.com/office/drawing/2014/main" id="{D0BC3F1A-20F9-49D7-8BAC-EC0740058ACA}"/>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10308377" y="3121374"/>
            <a:ext cx="731520" cy="138989"/>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4" descr="Bildergebnis für zf logo">
            <a:extLst>
              <a:ext uri="{FF2B5EF4-FFF2-40B4-BE49-F238E27FC236}">
                <a16:creationId xmlns:a16="http://schemas.microsoft.com/office/drawing/2014/main" id="{14C16FEB-7D07-47B5-9252-440D892125DC}"/>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28410" y="3058639"/>
            <a:ext cx="264459" cy="264459"/>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2" descr="Bildergebnis für resmed logo">
            <a:extLst>
              <a:ext uri="{FF2B5EF4-FFF2-40B4-BE49-F238E27FC236}">
                <a16:creationId xmlns:a16="http://schemas.microsoft.com/office/drawing/2014/main" id="{315C3C91-5A67-413F-9E3B-67ED1F4489C2}"/>
              </a:ext>
            </a:extLst>
          </p:cNvPr>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763724" y="3930036"/>
            <a:ext cx="573200" cy="416277"/>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Bildergebnis für ge medical logo">
            <a:extLst>
              <a:ext uri="{FF2B5EF4-FFF2-40B4-BE49-F238E27FC236}">
                <a16:creationId xmlns:a16="http://schemas.microsoft.com/office/drawing/2014/main" id="{212F3B72-A5CE-4EDE-B3B4-08FDEA8D02B5}"/>
              </a:ext>
            </a:extLst>
          </p:cNvPr>
          <p:cNvPicPr>
            <a:picLocks noChangeAspect="1" noChangeArrowheads="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552957" y="4012557"/>
            <a:ext cx="730223" cy="26517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4" descr="Bildergebnis für dräge logo">
            <a:extLst>
              <a:ext uri="{FF2B5EF4-FFF2-40B4-BE49-F238E27FC236}">
                <a16:creationId xmlns:a16="http://schemas.microsoft.com/office/drawing/2014/main" id="{40B29914-D663-411B-BC83-1FEDD0716307}"/>
              </a:ext>
            </a:extLst>
          </p:cNvPr>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9012081" y="4053705"/>
            <a:ext cx="439088" cy="18288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0" descr="Bildergebnis für mindray logo">
            <a:extLst>
              <a:ext uri="{FF2B5EF4-FFF2-40B4-BE49-F238E27FC236}">
                <a16:creationId xmlns:a16="http://schemas.microsoft.com/office/drawing/2014/main" id="{DE336E5A-3BBF-4105-8596-45F691F5E9BB}"/>
              </a:ext>
            </a:extLst>
          </p:cNvPr>
          <p:cNvPicPr>
            <a:picLocks noChangeAspect="1" noChangeArrowheads="1"/>
          </p:cNvPicPr>
          <p:nvPr/>
        </p:nvPicPr>
        <p:blipFill rotWithShape="1">
          <a:blip r:embed="rId3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831099" y="4050022"/>
            <a:ext cx="640080" cy="161473"/>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Bildergebnis für maquet logo">
            <a:extLst>
              <a:ext uri="{FF2B5EF4-FFF2-40B4-BE49-F238E27FC236}">
                <a16:creationId xmlns:a16="http://schemas.microsoft.com/office/drawing/2014/main" id="{7B15EF19-5EBC-4751-A5CD-2325E3554353}"/>
              </a:ext>
            </a:extLst>
          </p:cNvPr>
          <p:cNvPicPr>
            <a:picLocks noChangeAspect="1" noChangeArrowheads="1"/>
          </p:cNvPicPr>
          <p:nvPr/>
        </p:nvPicPr>
        <p:blipFill rotWithShape="1">
          <a:blip r:embed="rId33" cstate="print">
            <a:extLst>
              <a:ext uri="{28A0092B-C50C-407E-A947-70E740481C1C}">
                <a14:useLocalDpi xmlns:a14="http://schemas.microsoft.com/office/drawing/2010/main"/>
              </a:ext>
            </a:extLst>
          </a:blip>
          <a:srcRect/>
          <a:stretch/>
        </p:blipFill>
        <p:spPr bwMode="auto">
          <a:xfrm>
            <a:off x="8022276" y="4084208"/>
            <a:ext cx="548640" cy="121875"/>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4">
            <a:extLst>
              <a:ext uri="{FF2B5EF4-FFF2-40B4-BE49-F238E27FC236}">
                <a16:creationId xmlns:a16="http://schemas.microsoft.com/office/drawing/2014/main" id="{4E436F2C-9104-4328-8093-63DB82E5FF2E}"/>
              </a:ext>
            </a:extLst>
          </p:cNvPr>
          <p:cNvPicPr>
            <a:picLocks noChangeAspect="1" noChangeArrowheads="1"/>
          </p:cNvPicPr>
          <p:nvPr/>
        </p:nvPicPr>
        <p:blipFill rotWithShape="1">
          <a:blip r:embed="rId34" cstate="print">
            <a:clrChange>
              <a:clrFrom>
                <a:srgbClr val="FFFFFF"/>
              </a:clrFrom>
              <a:clrTo>
                <a:srgbClr val="FFFFFF">
                  <a:alpha val="0"/>
                </a:srgbClr>
              </a:clrTo>
            </a:clrChange>
            <a:extLst>
              <a:ext uri="{28A0092B-C50C-407E-A947-70E740481C1C}">
                <a14:useLocalDpi xmlns:a14="http://schemas.microsoft.com/office/drawing/2010/main"/>
              </a:ext>
            </a:extLst>
          </a:blip>
          <a:srcRect t="29910" b="27917"/>
          <a:stretch/>
        </p:blipFill>
        <p:spPr bwMode="auto">
          <a:xfrm>
            <a:off x="3134260" y="4048074"/>
            <a:ext cx="1032481" cy="241906"/>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12">
            <a:extLst>
              <a:ext uri="{FF2B5EF4-FFF2-40B4-BE49-F238E27FC236}">
                <a16:creationId xmlns:a16="http://schemas.microsoft.com/office/drawing/2014/main" id="{3E6FC570-716D-4F1A-B0BF-31B2785134FF}"/>
              </a:ext>
            </a:extLst>
          </p:cNvPr>
          <p:cNvPicPr>
            <a:picLocks noChangeAspect="1"/>
          </p:cNvPicPr>
          <p:nvPr/>
        </p:nvPicPr>
        <p:blipFill>
          <a:blip r:embed="rId35" cstate="print">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1050099" y="3943977"/>
            <a:ext cx="402336" cy="402336"/>
          </a:xfrm>
          <a:prstGeom prst="rect">
            <a:avLst/>
          </a:prstGeom>
        </p:spPr>
      </p:pic>
      <p:pic>
        <p:nvPicPr>
          <p:cNvPr id="16" name="Graphic 15">
            <a:extLst>
              <a:ext uri="{FF2B5EF4-FFF2-40B4-BE49-F238E27FC236}">
                <a16:creationId xmlns:a16="http://schemas.microsoft.com/office/drawing/2014/main" id="{67A9C117-56D8-4AAA-BAA3-041A721B8761}"/>
              </a:ext>
            </a:extLst>
          </p:cNvPr>
          <p:cNvPicPr>
            <a:picLocks noChangeAspect="1"/>
          </p:cNvPicPr>
          <p:nvPr/>
        </p:nvPicPr>
        <p:blipFill>
          <a:blip r:embed="rId37" cstate="print">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1050099" y="1081148"/>
            <a:ext cx="402336" cy="402336"/>
          </a:xfrm>
          <a:prstGeom prst="rect">
            <a:avLst/>
          </a:prstGeom>
        </p:spPr>
      </p:pic>
      <p:pic>
        <p:nvPicPr>
          <p:cNvPr id="18" name="Graphic 17">
            <a:extLst>
              <a:ext uri="{FF2B5EF4-FFF2-40B4-BE49-F238E27FC236}">
                <a16:creationId xmlns:a16="http://schemas.microsoft.com/office/drawing/2014/main" id="{A74C8C60-CF60-4840-89D3-7FEA8B15EBCF}"/>
              </a:ext>
            </a:extLst>
          </p:cNvPr>
          <p:cNvPicPr>
            <a:picLocks noChangeAspect="1"/>
          </p:cNvPicPr>
          <p:nvPr/>
        </p:nvPicPr>
        <p:blipFill>
          <a:blip r:embed="rId39" cstate="print">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050099" y="2035424"/>
            <a:ext cx="402336" cy="402336"/>
          </a:xfrm>
          <a:prstGeom prst="rect">
            <a:avLst/>
          </a:prstGeom>
        </p:spPr>
      </p:pic>
      <p:pic>
        <p:nvPicPr>
          <p:cNvPr id="123" name="Graphic 122">
            <a:extLst>
              <a:ext uri="{FF2B5EF4-FFF2-40B4-BE49-F238E27FC236}">
                <a16:creationId xmlns:a16="http://schemas.microsoft.com/office/drawing/2014/main" id="{5A0D06AA-AB07-4846-96ED-F67624D237AB}"/>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1050099" y="2989700"/>
            <a:ext cx="402336" cy="402336"/>
          </a:xfrm>
          <a:prstGeom prst="rect">
            <a:avLst/>
          </a:prstGeom>
        </p:spPr>
      </p:pic>
      <p:pic>
        <p:nvPicPr>
          <p:cNvPr id="4" name="Picture 3">
            <a:extLst>
              <a:ext uri="{FF2B5EF4-FFF2-40B4-BE49-F238E27FC236}">
                <a16:creationId xmlns:a16="http://schemas.microsoft.com/office/drawing/2014/main" id="{8403C4CC-9ACE-4F93-880A-AE27504555A3}"/>
              </a:ext>
            </a:extLst>
          </p:cNvPr>
          <p:cNvPicPr>
            <a:picLocks noChangeAspect="1"/>
          </p:cNvPicPr>
          <p:nvPr/>
        </p:nvPicPr>
        <p:blipFill>
          <a:blip r:embed="rId43"/>
          <a:stretch>
            <a:fillRect/>
          </a:stretch>
        </p:blipFill>
        <p:spPr>
          <a:xfrm>
            <a:off x="9945344" y="4024352"/>
            <a:ext cx="888408" cy="265627"/>
          </a:xfrm>
          <a:prstGeom prst="rect">
            <a:avLst/>
          </a:prstGeom>
        </p:spPr>
      </p:pic>
      <p:sp>
        <p:nvSpPr>
          <p:cNvPr id="59" name="Rectangle: Rounded Corners 49">
            <a:extLst>
              <a:ext uri="{FF2B5EF4-FFF2-40B4-BE49-F238E27FC236}">
                <a16:creationId xmlns:a16="http://schemas.microsoft.com/office/drawing/2014/main" id="{3E9F787B-8040-43FA-979F-FC9430098953}"/>
              </a:ext>
            </a:extLst>
          </p:cNvPr>
          <p:cNvSpPr/>
          <p:nvPr/>
        </p:nvSpPr>
        <p:spPr>
          <a:xfrm>
            <a:off x="1158436" y="4785177"/>
            <a:ext cx="10184674" cy="640080"/>
          </a:xfrm>
          <a:prstGeom prst="roundRect">
            <a:avLst>
              <a:gd name="adj" fmla="val 6649"/>
            </a:avLst>
          </a:prstGeom>
          <a:solidFill>
            <a:schemeClr val="bg1"/>
          </a:solidFill>
          <a:ln w="28575">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0" name="Group 59">
            <a:extLst>
              <a:ext uri="{FF2B5EF4-FFF2-40B4-BE49-F238E27FC236}">
                <a16:creationId xmlns:a16="http://schemas.microsoft.com/office/drawing/2014/main" id="{67721138-E0DA-441F-958D-52D9E97DE9D3}"/>
              </a:ext>
            </a:extLst>
          </p:cNvPr>
          <p:cNvGrpSpPr>
            <a:grpSpLocks noChangeAspect="1"/>
          </p:cNvGrpSpPr>
          <p:nvPr/>
        </p:nvGrpSpPr>
        <p:grpSpPr>
          <a:xfrm>
            <a:off x="839787" y="4693737"/>
            <a:ext cx="822960" cy="822960"/>
            <a:chOff x="6661431" y="2189755"/>
            <a:chExt cx="640080" cy="640080"/>
          </a:xfrm>
        </p:grpSpPr>
        <p:sp>
          <p:nvSpPr>
            <p:cNvPr id="61" name="Oval 60">
              <a:extLst>
                <a:ext uri="{FF2B5EF4-FFF2-40B4-BE49-F238E27FC236}">
                  <a16:creationId xmlns:a16="http://schemas.microsoft.com/office/drawing/2014/main" id="{121765B1-548D-40D5-8792-4B7DA27AEBD9}"/>
                </a:ext>
              </a:extLst>
            </p:cNvPr>
            <p:cNvSpPr/>
            <p:nvPr/>
          </p:nvSpPr>
          <p:spPr>
            <a:xfrm>
              <a:off x="6661431" y="2189755"/>
              <a:ext cx="640080" cy="640080"/>
            </a:xfrm>
            <a:prstGeom prst="ellipse">
              <a:avLst/>
            </a:prstGeom>
            <a:solidFill>
              <a:srgbClr val="66CC33"/>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4445602E-BF90-4B50-9706-53C6EA7F5F7E}"/>
                </a:ext>
              </a:extLst>
            </p:cNvPr>
            <p:cNvSpPr>
              <a:spLocks noChangeAspect="1"/>
            </p:cNvSpPr>
            <p:nvPr/>
          </p:nvSpPr>
          <p:spPr>
            <a:xfrm>
              <a:off x="6693471" y="2221794"/>
              <a:ext cx="576000" cy="576000"/>
            </a:xfrm>
            <a:prstGeom prst="ellipse">
              <a:avLst/>
            </a:prstGeom>
            <a:solidFill>
              <a:schemeClr val="bg1"/>
            </a:solidFill>
            <a:ln>
              <a:noFill/>
            </a:ln>
            <a:effectLst>
              <a:outerShdw blurRad="317500" sx="102000" sy="102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Graphic 4" descr="Factory with solid fill">
            <a:extLst>
              <a:ext uri="{FF2B5EF4-FFF2-40B4-BE49-F238E27FC236}">
                <a16:creationId xmlns:a16="http://schemas.microsoft.com/office/drawing/2014/main" id="{71A1BA79-EB65-4C4A-A967-18BC6A270993}"/>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975917" y="4798492"/>
            <a:ext cx="550697" cy="550697"/>
          </a:xfrm>
          <a:prstGeom prst="rect">
            <a:avLst/>
          </a:prstGeom>
        </p:spPr>
      </p:pic>
      <p:pic>
        <p:nvPicPr>
          <p:cNvPr id="2066" name="Picture 18" descr="Tokyo Electron Ltd.">
            <a:extLst>
              <a:ext uri="{FF2B5EF4-FFF2-40B4-BE49-F238E27FC236}">
                <a16:creationId xmlns:a16="http://schemas.microsoft.com/office/drawing/2014/main" id="{1860756D-2564-4316-B9E8-D2DACC3A47B8}"/>
              </a:ext>
            </a:extLst>
          </p:cNvPr>
          <p:cNvPicPr>
            <a:picLocks noChangeAspect="1" noChangeArrowheads="1"/>
          </p:cNvPicPr>
          <p:nvPr/>
        </p:nvPicPr>
        <p:blipFill rotWithShape="1">
          <a:blip r:embed="rId46" cstate="print">
            <a:extLst>
              <a:ext uri="{28A0092B-C50C-407E-A947-70E740481C1C}">
                <a14:useLocalDpi xmlns:a14="http://schemas.microsoft.com/office/drawing/2010/main" val="0"/>
              </a:ext>
            </a:extLst>
          </a:blip>
          <a:srcRect l="25977" t="28259" r="23182" b="29308"/>
          <a:stretch/>
        </p:blipFill>
        <p:spPr bwMode="auto">
          <a:xfrm>
            <a:off x="2926694" y="4911316"/>
            <a:ext cx="892575" cy="391112"/>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Samsung Semiconductor, Inc. (SSI) - Industrial IoT Supplier Profile | IoT  ONE Digital Transformation Advisors">
            <a:extLst>
              <a:ext uri="{FF2B5EF4-FFF2-40B4-BE49-F238E27FC236}">
                <a16:creationId xmlns:a16="http://schemas.microsoft.com/office/drawing/2014/main" id="{819F5A91-5DD6-4058-A4B9-2092AD200D71}"/>
              </a:ext>
            </a:extLst>
          </p:cNvPr>
          <p:cNvPicPr>
            <a:picLocks noChangeAspect="1" noChangeArrowheads="1"/>
          </p:cNvPicPr>
          <p:nvPr/>
        </p:nvPicPr>
        <p:blipFill rotWithShape="1">
          <a:blip r:embed="rId47" cstate="print">
            <a:extLst>
              <a:ext uri="{28A0092B-C50C-407E-A947-70E740481C1C}">
                <a14:useLocalDpi xmlns:a14="http://schemas.microsoft.com/office/drawing/2010/main" val="0"/>
              </a:ext>
            </a:extLst>
          </a:blip>
          <a:srcRect t="26087" b="24176"/>
          <a:stretch/>
        </p:blipFill>
        <p:spPr bwMode="auto">
          <a:xfrm>
            <a:off x="1932756" y="4901585"/>
            <a:ext cx="845603" cy="42058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Metering Archive - Sit">
            <a:extLst>
              <a:ext uri="{FF2B5EF4-FFF2-40B4-BE49-F238E27FC236}">
                <a16:creationId xmlns:a16="http://schemas.microsoft.com/office/drawing/2014/main" id="{4A63483E-4E3D-4EF8-82A5-A9599A81E2B5}"/>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7333597" y="4952524"/>
            <a:ext cx="917672" cy="23653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oldcard Smart Group Co., Ltd_cases-HUAWEI CLOUD">
            <a:extLst>
              <a:ext uri="{FF2B5EF4-FFF2-40B4-BE49-F238E27FC236}">
                <a16:creationId xmlns:a16="http://schemas.microsoft.com/office/drawing/2014/main" id="{12370256-0517-463C-B1FF-4C99155F1EF1}"/>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6072581" y="4973276"/>
            <a:ext cx="984319" cy="17507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CURE METERS LIMITED - Enlit Africa">
            <a:extLst>
              <a:ext uri="{FF2B5EF4-FFF2-40B4-BE49-F238E27FC236}">
                <a16:creationId xmlns:a16="http://schemas.microsoft.com/office/drawing/2014/main" id="{F1E9AA07-B1E7-41B9-9A18-4E22E3CCFA16}"/>
              </a:ext>
            </a:extLst>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8475851" y="4898793"/>
            <a:ext cx="963067" cy="2658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B2F3B6BC-5881-4B0C-BB47-C21BD243BB56}"/>
              </a:ext>
            </a:extLst>
          </p:cNvPr>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b="41962"/>
          <a:stretch/>
        </p:blipFill>
        <p:spPr bwMode="auto">
          <a:xfrm>
            <a:off x="3907132" y="5021022"/>
            <a:ext cx="1023171" cy="12457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Perkinelmer Logo Vectors Free Download">
            <a:extLst>
              <a:ext uri="{FF2B5EF4-FFF2-40B4-BE49-F238E27FC236}">
                <a16:creationId xmlns:a16="http://schemas.microsoft.com/office/drawing/2014/main" id="{E3A0C4C3-3FB4-4D29-B801-ED1946335C2A}"/>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5091079" y="4899761"/>
            <a:ext cx="843373" cy="35032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A picture containing text, clipart&#10;&#10;Description automatically generated">
            <a:extLst>
              <a:ext uri="{FF2B5EF4-FFF2-40B4-BE49-F238E27FC236}">
                <a16:creationId xmlns:a16="http://schemas.microsoft.com/office/drawing/2014/main" id="{1AA7B060-3DD2-3F58-7D88-3064232D11A9}"/>
              </a:ext>
            </a:extLst>
          </p:cNvPr>
          <p:cNvPicPr>
            <a:picLocks noChangeAspect="1"/>
          </p:cNvPicPr>
          <p:nvPr/>
        </p:nvPicPr>
        <p:blipFill>
          <a:blip r:embed="rId53"/>
          <a:stretch>
            <a:fillRect/>
          </a:stretch>
        </p:blipFill>
        <p:spPr>
          <a:xfrm>
            <a:off x="9641580" y="5034114"/>
            <a:ext cx="1219200" cy="111308"/>
          </a:xfrm>
          <a:prstGeom prst="rect">
            <a:avLst/>
          </a:prstGeom>
        </p:spPr>
      </p:pic>
      <p:pic>
        <p:nvPicPr>
          <p:cNvPr id="73" name="Picture 16" descr="https://logos-download.com/wp-content/uploads/2016/03/Philips_logo_logotype_emblem.png">
            <a:extLst>
              <a:ext uri="{FF2B5EF4-FFF2-40B4-BE49-F238E27FC236}">
                <a16:creationId xmlns:a16="http://schemas.microsoft.com/office/drawing/2014/main" id="{56973AE5-2F57-9CD4-1629-981A4D5AE23B}"/>
              </a:ext>
            </a:extLst>
          </p:cNvPr>
          <p:cNvPicPr>
            <a:picLocks noChangeAspect="1" noChangeArrowheads="1"/>
          </p:cNvPicPr>
          <p:nvPr/>
        </p:nvPicPr>
        <p:blipFill>
          <a:blip r:embed="rId54" cstate="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1966777" y="4076656"/>
            <a:ext cx="805839" cy="1468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A01B791A-9471-B427-4481-18A7F6AFBBA0}"/>
              </a:ext>
            </a:extLst>
          </p:cNvPr>
          <p:cNvSpPr>
            <a:spLocks noGrp="1"/>
          </p:cNvSpPr>
          <p:nvPr>
            <p:ph type="title"/>
          </p:nvPr>
        </p:nvSpPr>
        <p:spPr>
          <a:xfrm>
            <a:off x="839788" y="284163"/>
            <a:ext cx="10537825" cy="504825"/>
          </a:xfrm>
        </p:spPr>
        <p:txBody>
          <a:bodyPr/>
          <a:lstStyle/>
          <a:p>
            <a:r>
              <a:rPr lang="en-US" dirty="0"/>
              <a:t>Our Key Customers are catalyst to our innovation</a:t>
            </a:r>
          </a:p>
        </p:txBody>
      </p:sp>
    </p:spTree>
    <p:extLst>
      <p:ext uri="{BB962C8B-B14F-4D97-AF65-F5344CB8AC3E}">
        <p14:creationId xmlns:p14="http://schemas.microsoft.com/office/powerpoint/2010/main" val="6555914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4D7D7-39EB-3A9D-9AAF-C511729C1646}"/>
              </a:ext>
            </a:extLst>
          </p:cNvPr>
          <p:cNvSpPr>
            <a:spLocks noGrp="1"/>
          </p:cNvSpPr>
          <p:nvPr>
            <p:ph type="title"/>
          </p:nvPr>
        </p:nvSpPr>
        <p:spPr/>
        <p:txBody>
          <a:bodyPr/>
          <a:lstStyle/>
          <a:p>
            <a:r>
              <a:rPr lang="en-US" dirty="0"/>
              <a:t>Migrate Customers to SHT4x Family</a:t>
            </a:r>
          </a:p>
        </p:txBody>
      </p:sp>
      <p:pic>
        <p:nvPicPr>
          <p:cNvPr id="1026" name="Picture 2">
            <a:extLst>
              <a:ext uri="{FF2B5EF4-FFF2-40B4-BE49-F238E27FC236}">
                <a16:creationId xmlns:a16="http://schemas.microsoft.com/office/drawing/2014/main" id="{072DDD05-6CC9-FA22-4085-2875E3B21B0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263306" y="920161"/>
            <a:ext cx="9665388" cy="532765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31EB280-CF28-6D23-6173-0FED6913607A}"/>
              </a:ext>
            </a:extLst>
          </p:cNvPr>
          <p:cNvSpPr txBox="1"/>
          <p:nvPr/>
        </p:nvSpPr>
        <p:spPr>
          <a:xfrm>
            <a:off x="9048750" y="911678"/>
            <a:ext cx="1428750" cy="503464"/>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293264664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Rounded Corners 49">
            <a:extLst>
              <a:ext uri="{FF2B5EF4-FFF2-40B4-BE49-F238E27FC236}">
                <a16:creationId xmlns:a16="http://schemas.microsoft.com/office/drawing/2014/main" id="{63CEA330-BFA5-6B13-80CD-5494351CB7D5}"/>
              </a:ext>
            </a:extLst>
          </p:cNvPr>
          <p:cNvSpPr/>
          <p:nvPr/>
        </p:nvSpPr>
        <p:spPr>
          <a:xfrm>
            <a:off x="843921" y="3123691"/>
            <a:ext cx="5580494" cy="3191867"/>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ttps://www.youtube.com/watch?v=ZWgm5ve_lsY</a:t>
            </a:r>
          </a:p>
        </p:txBody>
      </p:sp>
      <p:sp>
        <p:nvSpPr>
          <p:cNvPr id="73" name="Rectangle: Rounded Corners 49">
            <a:extLst>
              <a:ext uri="{FF2B5EF4-FFF2-40B4-BE49-F238E27FC236}">
                <a16:creationId xmlns:a16="http://schemas.microsoft.com/office/drawing/2014/main" id="{BE64514B-8FBD-FF39-CC7F-19AADB24616C}"/>
              </a:ext>
            </a:extLst>
          </p:cNvPr>
          <p:cNvSpPr/>
          <p:nvPr/>
        </p:nvSpPr>
        <p:spPr>
          <a:xfrm>
            <a:off x="847428" y="902310"/>
            <a:ext cx="5580494" cy="2008654"/>
          </a:xfrm>
          <a:prstGeom prst="roundRect">
            <a:avLst>
              <a:gd name="adj" fmla="val 8138"/>
            </a:avLst>
          </a:prstGeom>
          <a:solidFill>
            <a:schemeClr val="bg1"/>
          </a:solidFill>
          <a:ln>
            <a:noFill/>
          </a:ln>
          <a:effectLst>
            <a:outerShdw blurRad="190500" dir="270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80EC6FE9-91E5-C9FB-AE43-FDD87EB2F0DC}"/>
              </a:ext>
            </a:extLst>
          </p:cNvPr>
          <p:cNvSpPr txBox="1"/>
          <p:nvPr/>
        </p:nvSpPr>
        <p:spPr>
          <a:xfrm>
            <a:off x="8353614" y="2020346"/>
            <a:ext cx="395093" cy="246221"/>
          </a:xfrm>
          <a:prstGeom prst="rect">
            <a:avLst/>
          </a:prstGeom>
          <a:noFill/>
        </p:spPr>
        <p:txBody>
          <a:bodyPr wrap="square" rtlCol="0">
            <a:spAutoFit/>
          </a:bodyPr>
          <a:lstStyle/>
          <a:p>
            <a:r>
              <a:rPr lang="en-US" sz="1000" b="1"/>
              <a:t>yes</a:t>
            </a:r>
          </a:p>
        </p:txBody>
      </p:sp>
      <p:sp>
        <p:nvSpPr>
          <p:cNvPr id="2" name="Title 1">
            <a:extLst>
              <a:ext uri="{FF2B5EF4-FFF2-40B4-BE49-F238E27FC236}">
                <a16:creationId xmlns:a16="http://schemas.microsoft.com/office/drawing/2014/main" id="{78FE974C-CC84-9412-9840-21168DAAD584}"/>
              </a:ext>
            </a:extLst>
          </p:cNvPr>
          <p:cNvSpPr>
            <a:spLocks noGrp="1"/>
          </p:cNvSpPr>
          <p:nvPr>
            <p:ph type="title"/>
          </p:nvPr>
        </p:nvSpPr>
        <p:spPr/>
        <p:txBody>
          <a:bodyPr/>
          <a:lstStyle/>
          <a:p>
            <a:r>
              <a:rPr lang="en-US"/>
              <a:t>SHT4x – Market Leading Humidity &amp; Temperature Sensor</a:t>
            </a:r>
          </a:p>
        </p:txBody>
      </p:sp>
      <p:sp>
        <p:nvSpPr>
          <p:cNvPr id="16" name="Flowchart: Decision 15">
            <a:extLst>
              <a:ext uri="{FF2B5EF4-FFF2-40B4-BE49-F238E27FC236}">
                <a16:creationId xmlns:a16="http://schemas.microsoft.com/office/drawing/2014/main" id="{0F4E3E8C-1030-46D4-5593-D1E88F01E597}"/>
              </a:ext>
            </a:extLst>
          </p:cNvPr>
          <p:cNvSpPr/>
          <p:nvPr/>
        </p:nvSpPr>
        <p:spPr>
          <a:xfrm>
            <a:off x="6979962" y="2007663"/>
            <a:ext cx="1440000" cy="493486"/>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rPr>
              <a:t>VDD=5V</a:t>
            </a:r>
            <a:endParaRPr lang="en-US" sz="1200" baseline="-25000">
              <a:solidFill>
                <a:schemeClr val="tx1"/>
              </a:solidFill>
            </a:endParaRPr>
          </a:p>
        </p:txBody>
      </p:sp>
      <p:cxnSp>
        <p:nvCxnSpPr>
          <p:cNvPr id="50" name="Straight Arrow Connector 49">
            <a:extLst>
              <a:ext uri="{FF2B5EF4-FFF2-40B4-BE49-F238E27FC236}">
                <a16:creationId xmlns:a16="http://schemas.microsoft.com/office/drawing/2014/main" id="{75A61F65-23B9-271D-D9EE-A05E862E4DD9}"/>
              </a:ext>
            </a:extLst>
          </p:cNvPr>
          <p:cNvCxnSpPr>
            <a:cxnSpLocks/>
            <a:endCxn id="16" idx="0"/>
          </p:cNvCxnSpPr>
          <p:nvPr/>
        </p:nvCxnSpPr>
        <p:spPr>
          <a:xfrm>
            <a:off x="7699962" y="1503854"/>
            <a:ext cx="0" cy="503809"/>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C69340B9-4888-FA08-6AE5-D6DA232E8C3B}"/>
              </a:ext>
            </a:extLst>
          </p:cNvPr>
          <p:cNvCxnSpPr>
            <a:cxnSpLocks/>
            <a:stCxn id="16" idx="3"/>
            <a:endCxn id="71" idx="1"/>
          </p:cNvCxnSpPr>
          <p:nvPr/>
        </p:nvCxnSpPr>
        <p:spPr>
          <a:xfrm>
            <a:off x="8419962" y="2254406"/>
            <a:ext cx="468824"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E853DD27-42BA-0490-194B-CD561706D449}"/>
              </a:ext>
            </a:extLst>
          </p:cNvPr>
          <p:cNvSpPr txBox="1"/>
          <p:nvPr/>
        </p:nvSpPr>
        <p:spPr>
          <a:xfrm>
            <a:off x="7662613" y="2491050"/>
            <a:ext cx="395093" cy="246221"/>
          </a:xfrm>
          <a:prstGeom prst="rect">
            <a:avLst/>
          </a:prstGeom>
          <a:noFill/>
        </p:spPr>
        <p:txBody>
          <a:bodyPr wrap="square" rtlCol="0">
            <a:spAutoFit/>
          </a:bodyPr>
          <a:lstStyle/>
          <a:p>
            <a:r>
              <a:rPr lang="en-US" sz="1000" b="1"/>
              <a:t>no</a:t>
            </a:r>
          </a:p>
        </p:txBody>
      </p:sp>
      <p:pic>
        <p:nvPicPr>
          <p:cNvPr id="31" name="Content Placeholder 8" descr="A picture containing text, electronics&#10;&#10;Description automatically generated">
            <a:extLst>
              <a:ext uri="{FF2B5EF4-FFF2-40B4-BE49-F238E27FC236}">
                <a16:creationId xmlns:a16="http://schemas.microsoft.com/office/drawing/2014/main" id="{350AFB5F-C0D7-56D9-AE7C-17B0F37B67D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763" t="10710" r="11257" b="10601"/>
          <a:stretch/>
        </p:blipFill>
        <p:spPr>
          <a:xfrm>
            <a:off x="8959059" y="3227782"/>
            <a:ext cx="720000" cy="466051"/>
          </a:xfrm>
          <a:prstGeom prst="rect">
            <a:avLst/>
          </a:prstGeom>
        </p:spPr>
      </p:pic>
      <p:sp>
        <p:nvSpPr>
          <p:cNvPr id="71" name="TextBox 70">
            <a:extLst>
              <a:ext uri="{FF2B5EF4-FFF2-40B4-BE49-F238E27FC236}">
                <a16:creationId xmlns:a16="http://schemas.microsoft.com/office/drawing/2014/main" id="{1D59C507-B482-D356-AA31-5D545C05DC7A}"/>
              </a:ext>
            </a:extLst>
          </p:cNvPr>
          <p:cNvSpPr txBox="1"/>
          <p:nvPr/>
        </p:nvSpPr>
        <p:spPr>
          <a:xfrm>
            <a:off x="8888786" y="1823519"/>
            <a:ext cx="2308984" cy="861774"/>
          </a:xfrm>
          <a:prstGeom prst="rect">
            <a:avLst/>
          </a:prstGeom>
          <a:solidFill>
            <a:schemeClr val="bg1"/>
          </a:solidFill>
          <a:effectLst>
            <a:outerShdw blurRad="63500" sx="102000" sy="102000" algn="ctr" rotWithShape="0">
              <a:prstClr val="black">
                <a:alpha val="40000"/>
              </a:prstClr>
            </a:outerShdw>
          </a:effectLst>
        </p:spPr>
        <p:txBody>
          <a:bodyPr wrap="square" rtlCol="0" anchor="t">
            <a:noAutofit/>
          </a:bodyPr>
          <a:lstStyle/>
          <a:p>
            <a:pPr indent="-149850"/>
            <a:r>
              <a:rPr lang="en-US" sz="1000" b="1"/>
              <a:t>SHT40I-Digital: </a:t>
            </a:r>
            <a:endParaRPr lang="en-US" sz="1000"/>
          </a:p>
          <a:p>
            <a:pPr marL="936000" lvl="2" indent="-171450">
              <a:buFont typeface="Symbol" panose="05050102010706020507" pitchFamily="18" charset="2"/>
              <a:buChar char="-"/>
            </a:pPr>
            <a:r>
              <a:rPr lang="en-US" sz="1000"/>
              <a:t>RH &amp; T</a:t>
            </a:r>
          </a:p>
          <a:p>
            <a:pPr marL="936000" lvl="2" indent="-171450">
              <a:buFont typeface="Symbol" panose="05050102010706020507" pitchFamily="18" charset="2"/>
              <a:buChar char="-"/>
            </a:pPr>
            <a:r>
              <a:rPr lang="en-US" sz="1000"/>
              <a:t>± 2%RH, ± 0.2°C</a:t>
            </a:r>
          </a:p>
          <a:p>
            <a:pPr marL="936000" lvl="2" indent="-171450">
              <a:buFont typeface="Symbol" panose="05050102010706020507" pitchFamily="18" charset="2"/>
              <a:buChar char="-"/>
            </a:pPr>
            <a:r>
              <a:rPr lang="en-US" sz="1000"/>
              <a:t>High ESD robustness</a:t>
            </a:r>
          </a:p>
        </p:txBody>
      </p:sp>
      <p:sp>
        <p:nvSpPr>
          <p:cNvPr id="76" name="TextBox 75">
            <a:extLst>
              <a:ext uri="{FF2B5EF4-FFF2-40B4-BE49-F238E27FC236}">
                <a16:creationId xmlns:a16="http://schemas.microsoft.com/office/drawing/2014/main" id="{A89B3558-62C9-1123-17E2-71FF4893E2A7}"/>
              </a:ext>
            </a:extLst>
          </p:cNvPr>
          <p:cNvSpPr txBox="1"/>
          <p:nvPr/>
        </p:nvSpPr>
        <p:spPr>
          <a:xfrm>
            <a:off x="8888786" y="2869136"/>
            <a:ext cx="2308984" cy="861774"/>
          </a:xfrm>
          <a:prstGeom prst="rect">
            <a:avLst/>
          </a:prstGeom>
          <a:solidFill>
            <a:schemeClr val="bg1"/>
          </a:solidFill>
          <a:effectLst>
            <a:outerShdw blurRad="63500" sx="102000" sy="102000" algn="ctr" rotWithShape="0">
              <a:prstClr val="black">
                <a:alpha val="40000"/>
              </a:prstClr>
            </a:outerShdw>
          </a:effectLst>
        </p:spPr>
        <p:txBody>
          <a:bodyPr wrap="square" rtlCol="0" anchor="t">
            <a:noAutofit/>
          </a:bodyPr>
          <a:lstStyle/>
          <a:p>
            <a:pPr indent="-149850"/>
            <a:r>
              <a:rPr lang="en-US" sz="1000" b="1"/>
              <a:t>SHT45: </a:t>
            </a:r>
            <a:endParaRPr lang="en-US" sz="1000"/>
          </a:p>
          <a:p>
            <a:pPr marL="936000" lvl="2" indent="-171450">
              <a:buFont typeface="Symbol" panose="05050102010706020507" pitchFamily="18" charset="2"/>
              <a:buChar char="-"/>
            </a:pPr>
            <a:r>
              <a:rPr lang="en-US" sz="1000"/>
              <a:t>RH &amp; T</a:t>
            </a:r>
          </a:p>
          <a:p>
            <a:pPr marL="936000" lvl="2" indent="-171450">
              <a:buFont typeface="Symbol" panose="05050102010706020507" pitchFamily="18" charset="2"/>
              <a:buChar char="-"/>
            </a:pPr>
            <a:r>
              <a:rPr lang="en-US" sz="1000"/>
              <a:t>± 1%RH, ± 0.1°C</a:t>
            </a:r>
          </a:p>
          <a:p>
            <a:pPr marL="936000" lvl="2" indent="-171450">
              <a:buFont typeface="Symbol" panose="05050102010706020507" pitchFamily="18" charset="2"/>
              <a:buChar char="-"/>
            </a:pPr>
            <a:r>
              <a:rPr lang="en-US" sz="1000"/>
              <a:t>Sub-µW power</a:t>
            </a:r>
          </a:p>
        </p:txBody>
      </p:sp>
      <p:sp>
        <p:nvSpPr>
          <p:cNvPr id="120" name="TextBox 119">
            <a:extLst>
              <a:ext uri="{FF2B5EF4-FFF2-40B4-BE49-F238E27FC236}">
                <a16:creationId xmlns:a16="http://schemas.microsoft.com/office/drawing/2014/main" id="{39362DD2-34F5-5AB3-EA8C-775418827D9E}"/>
              </a:ext>
            </a:extLst>
          </p:cNvPr>
          <p:cNvSpPr txBox="1"/>
          <p:nvPr/>
        </p:nvSpPr>
        <p:spPr>
          <a:xfrm>
            <a:off x="853161" y="3195962"/>
            <a:ext cx="5405596" cy="2400657"/>
          </a:xfrm>
          <a:prstGeom prst="rect">
            <a:avLst/>
          </a:prstGeom>
          <a:noFill/>
        </p:spPr>
        <p:txBody>
          <a:bodyPr wrap="square" rtlCol="0">
            <a:spAutoFit/>
          </a:bodyPr>
          <a:lstStyle/>
          <a:p>
            <a:pPr algn="ctr"/>
            <a:r>
              <a:rPr lang="en-US" b="1">
                <a:solidFill>
                  <a:srgbClr val="66CC33"/>
                </a:solidFill>
              </a:rPr>
              <a:t>How to Evaluate</a:t>
            </a:r>
          </a:p>
          <a:p>
            <a:pPr algn="ctr"/>
            <a:endParaRPr lang="en-US" b="1">
              <a:solidFill>
                <a:srgbClr val="66CC33"/>
              </a:solidFill>
            </a:endParaRPr>
          </a:p>
          <a:p>
            <a:pPr algn="ctr"/>
            <a:endParaRPr lang="en-US" b="1">
              <a:solidFill>
                <a:srgbClr val="66CC33"/>
              </a:solidFill>
            </a:endParaRPr>
          </a:p>
          <a:p>
            <a:pPr algn="ctr"/>
            <a:endParaRPr lang="en-US" b="1">
              <a:solidFill>
                <a:srgbClr val="66CC33"/>
              </a:solidFill>
            </a:endParaRPr>
          </a:p>
          <a:p>
            <a:pPr algn="ctr"/>
            <a:endParaRPr lang="en-US" sz="1000" b="1">
              <a:solidFill>
                <a:srgbClr val="66CC33"/>
              </a:solidFill>
            </a:endParaRPr>
          </a:p>
          <a:p>
            <a:pPr algn="ctr"/>
            <a:endParaRPr lang="en-US" b="1">
              <a:solidFill>
                <a:srgbClr val="66CC33"/>
              </a:solidFill>
            </a:endParaRPr>
          </a:p>
          <a:p>
            <a:pPr algn="ctr"/>
            <a:r>
              <a:rPr lang="en-US" b="1">
                <a:solidFill>
                  <a:srgbClr val="66CC33"/>
                </a:solidFill>
              </a:rPr>
              <a:t>Useful Links</a:t>
            </a:r>
          </a:p>
          <a:p>
            <a:pPr algn="ctr"/>
            <a:endParaRPr lang="en-US" b="1">
              <a:solidFill>
                <a:srgbClr val="66CC33"/>
              </a:solidFill>
            </a:endParaRPr>
          </a:p>
        </p:txBody>
      </p:sp>
      <p:sp>
        <p:nvSpPr>
          <p:cNvPr id="124" name="TextBox 123">
            <a:extLst>
              <a:ext uri="{FF2B5EF4-FFF2-40B4-BE49-F238E27FC236}">
                <a16:creationId xmlns:a16="http://schemas.microsoft.com/office/drawing/2014/main" id="{23EA3926-47DB-571E-6F94-F87B1915E32B}"/>
              </a:ext>
            </a:extLst>
          </p:cNvPr>
          <p:cNvSpPr txBox="1"/>
          <p:nvPr/>
        </p:nvSpPr>
        <p:spPr>
          <a:xfrm>
            <a:off x="1114901" y="4924566"/>
            <a:ext cx="2943762" cy="1384995"/>
          </a:xfrm>
          <a:prstGeom prst="rect">
            <a:avLst/>
          </a:prstGeom>
          <a:noFill/>
        </p:spPr>
        <p:txBody>
          <a:bodyPr wrap="square" numCol="1"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Narrow"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Narrow" pitchFamily="34" charset="0"/>
                <a:ea typeface="+mn-ea"/>
                <a:cs typeface="Arial" charset="0"/>
              </a:rPr>
              <a:t>Basic Documen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4"/>
              </a:rPr>
              <a:t>Datasheet SHT4x</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5"/>
              </a:rPr>
              <a:t>Datasheet SHT4xI-Digital</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6"/>
              </a:rPr>
              <a:t>SHT Handling Instructions</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7"/>
              </a:rPr>
              <a:t>SHT Design-In Guide</a:t>
            </a:r>
            <a:endParaRPr lang="en-US" sz="1400">
              <a:solidFill>
                <a:srgbClr val="000000"/>
              </a:solidFill>
            </a:endParaRPr>
          </a:p>
        </p:txBody>
      </p:sp>
      <p:sp>
        <p:nvSpPr>
          <p:cNvPr id="74" name="TextBox 73">
            <a:extLst>
              <a:ext uri="{FF2B5EF4-FFF2-40B4-BE49-F238E27FC236}">
                <a16:creationId xmlns:a16="http://schemas.microsoft.com/office/drawing/2014/main" id="{A6DD742A-B5D9-FFC5-4C7A-6FBF34BFC4A8}"/>
              </a:ext>
            </a:extLst>
          </p:cNvPr>
          <p:cNvSpPr txBox="1"/>
          <p:nvPr/>
        </p:nvSpPr>
        <p:spPr>
          <a:xfrm>
            <a:off x="4003273" y="5131761"/>
            <a:ext cx="2526464" cy="954107"/>
          </a:xfrm>
          <a:prstGeom prst="rect">
            <a:avLst/>
          </a:prstGeom>
          <a:noFill/>
        </p:spPr>
        <p:txBody>
          <a:bodyPr wrap="square">
            <a:spAutoFit/>
          </a:bodyPr>
          <a:lstStyle/>
          <a:p>
            <a:pPr marR="0" lvl="0" algn="l" defTabSz="914400" rtl="0" eaLnBrk="1" fontAlgn="base" latinLnBrk="0" hangingPunct="1">
              <a:lnSpc>
                <a:spcPct val="100000"/>
              </a:lnSpc>
              <a:spcBef>
                <a:spcPct val="0"/>
              </a:spcBef>
              <a:spcAft>
                <a:spcPct val="0"/>
              </a:spcAft>
              <a:buClrTx/>
              <a:buSzTx/>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rPr>
              <a:t>Drivers &amp; Tool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hlinkClick r:id="rId8"/>
              </a:rPr>
              <a:t>Embedded Drivers SHT</a:t>
            </a: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rgbClr val="000000"/>
                </a:solidFill>
                <a:hlinkClick r:id="rId9"/>
              </a:rPr>
              <a:t>SW ControlCenter</a:t>
            </a:r>
            <a:endParaRPr lang="en-US" sz="1400">
              <a:solidFill>
                <a:srgbClr val="000000"/>
              </a:solidFill>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strike="noStrike" kern="1200" cap="none" spc="0" normalizeH="0" baseline="0" noProof="0">
              <a:ln>
                <a:noFill/>
              </a:ln>
              <a:solidFill>
                <a:srgbClr val="000000"/>
              </a:solidFill>
              <a:effectLst/>
              <a:uLnTx/>
              <a:uFillTx/>
              <a:latin typeface="Arial Narrow" pitchFamily="34" charset="0"/>
              <a:ea typeface="+mn-ea"/>
              <a:cs typeface="Arial" charset="0"/>
            </a:endParaRPr>
          </a:p>
        </p:txBody>
      </p:sp>
      <p:cxnSp>
        <p:nvCxnSpPr>
          <p:cNvPr id="20" name="Connector: Elbow 19">
            <a:extLst>
              <a:ext uri="{FF2B5EF4-FFF2-40B4-BE49-F238E27FC236}">
                <a16:creationId xmlns:a16="http://schemas.microsoft.com/office/drawing/2014/main" id="{185A8F9B-93B0-98B7-7D1A-82DAB921FD3B}"/>
              </a:ext>
            </a:extLst>
          </p:cNvPr>
          <p:cNvCxnSpPr>
            <a:cxnSpLocks/>
          </p:cNvCxnSpPr>
          <p:nvPr/>
        </p:nvCxnSpPr>
        <p:spPr>
          <a:xfrm rot="16200000" flipH="1">
            <a:off x="7886798" y="2326996"/>
            <a:ext cx="802770" cy="1176442"/>
          </a:xfrm>
          <a:prstGeom prst="bentConnector2">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A4E37E7-CEDF-470E-A7BE-1421E94308A8}"/>
              </a:ext>
            </a:extLst>
          </p:cNvPr>
          <p:cNvSpPr txBox="1"/>
          <p:nvPr/>
        </p:nvSpPr>
        <p:spPr>
          <a:xfrm>
            <a:off x="3211015" y="1145274"/>
            <a:ext cx="3144008" cy="1461939"/>
          </a:xfrm>
          <a:prstGeom prst="rect">
            <a:avLst/>
          </a:prstGeom>
          <a:noFill/>
        </p:spPr>
        <p:txBody>
          <a:bodyPr wrap="square" rtlCol="0">
            <a:spAutoFit/>
          </a:bodyPr>
          <a:lstStyle/>
          <a:p>
            <a:r>
              <a:rPr lang="en-US" sz="1400" b="1"/>
              <a:t>SHT4x</a:t>
            </a:r>
          </a:p>
          <a:p>
            <a:endParaRPr lang="en-US" sz="500" b="1"/>
          </a:p>
          <a:p>
            <a:r>
              <a:rPr lang="en-US" sz="1400" u="sng"/>
              <a:t>Unique Selling Points</a:t>
            </a:r>
          </a:p>
          <a:p>
            <a:pPr marL="285750" indent="-285750">
              <a:buFont typeface="Wingdings" panose="05000000000000000000" pitchFamily="2" charset="2"/>
              <a:buChar char="§"/>
            </a:pPr>
            <a:r>
              <a:rPr lang="en-US" sz="1400"/>
              <a:t>Technology and Market leader for 20 yrs.</a:t>
            </a:r>
          </a:p>
          <a:p>
            <a:pPr marL="285750" indent="-285750">
              <a:buFont typeface="Wingdings" panose="05000000000000000000" pitchFamily="2" charset="2"/>
              <a:buChar char="§"/>
            </a:pPr>
            <a:r>
              <a:rPr lang="en-US" sz="1400"/>
              <a:t>Lowest power consumption</a:t>
            </a:r>
          </a:p>
          <a:p>
            <a:pPr marL="285750" indent="-285750">
              <a:buFont typeface="Wingdings" panose="05000000000000000000" pitchFamily="2" charset="2"/>
              <a:buChar char="§"/>
            </a:pPr>
            <a:r>
              <a:rPr lang="en-US" sz="1400"/>
              <a:t>Specialized product variants for various markets &amp; applications</a:t>
            </a:r>
          </a:p>
        </p:txBody>
      </p:sp>
      <p:sp>
        <p:nvSpPr>
          <p:cNvPr id="26" name="TextBox 25">
            <a:extLst>
              <a:ext uri="{FF2B5EF4-FFF2-40B4-BE49-F238E27FC236}">
                <a16:creationId xmlns:a16="http://schemas.microsoft.com/office/drawing/2014/main" id="{B36A0F8B-3237-5420-F15F-6FF1B4D72A35}"/>
              </a:ext>
            </a:extLst>
          </p:cNvPr>
          <p:cNvSpPr txBox="1"/>
          <p:nvPr/>
        </p:nvSpPr>
        <p:spPr>
          <a:xfrm>
            <a:off x="8067527" y="5131760"/>
            <a:ext cx="3060683" cy="954107"/>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u="none" strike="noStrike" kern="1200" cap="none" spc="0" normalizeH="0" baseline="0" noProof="0">
                <a:ln>
                  <a:noFill/>
                </a:ln>
                <a:solidFill>
                  <a:srgbClr val="000000"/>
                </a:solidFill>
                <a:effectLst/>
                <a:uLnTx/>
                <a:uFillTx/>
                <a:latin typeface="Arial Narrow" pitchFamily="34" charset="0"/>
                <a:ea typeface="+mn-ea"/>
                <a:cs typeface="Arial" charset="0"/>
              </a:rPr>
              <a:t>SHT4x: </a:t>
            </a:r>
            <a:r>
              <a:rPr kumimoji="0" lang="en-US" sz="1400" b="0" i="1" u="none" strike="noStrike" kern="1200" cap="none" spc="0" normalizeH="0" baseline="0" noProof="0">
                <a:ln>
                  <a:noFill/>
                </a:ln>
                <a:solidFill>
                  <a:srgbClr val="000000"/>
                </a:solidFill>
                <a:effectLst/>
                <a:uLnTx/>
                <a:uFillTx/>
                <a:latin typeface="Arial Narrow" pitchFamily="34" charset="0"/>
                <a:ea typeface="+mn-ea"/>
                <a:cs typeface="Arial" charset="0"/>
              </a:rPr>
              <a:t>“mature 4</a:t>
            </a:r>
            <a:r>
              <a:rPr kumimoji="0" lang="en-US" sz="1400" b="0" i="1" u="none" strike="noStrike" kern="1200" cap="none" spc="0" normalizeH="0" baseline="30000" noProof="0">
                <a:ln>
                  <a:noFill/>
                </a:ln>
                <a:solidFill>
                  <a:srgbClr val="000000"/>
                </a:solidFill>
                <a:effectLst/>
                <a:uLnTx/>
                <a:uFillTx/>
                <a:latin typeface="Arial Narrow" pitchFamily="34" charset="0"/>
                <a:ea typeface="+mn-ea"/>
                <a:cs typeface="Arial" charset="0"/>
              </a:rPr>
              <a:t>th</a:t>
            </a:r>
            <a:r>
              <a:rPr kumimoji="0" lang="en-US" sz="1400" b="0" i="1" u="none" strike="noStrike" kern="1200" cap="none" spc="0" normalizeH="0" baseline="0" noProof="0">
                <a:ln>
                  <a:noFill/>
                </a:ln>
                <a:solidFill>
                  <a:srgbClr val="000000"/>
                </a:solidFill>
                <a:effectLst/>
                <a:uLnTx/>
                <a:uFillTx/>
                <a:latin typeface="Arial Narrow" pitchFamily="34" charset="0"/>
                <a:ea typeface="+mn-ea"/>
                <a:cs typeface="Arial" charset="0"/>
              </a:rPr>
              <a:t> generation, highest volume technology </a:t>
            </a:r>
            <a:r>
              <a:rPr kumimoji="0" lang="en-US" sz="1400" b="0" i="1" u="none" strike="noStrike" kern="1200" cap="none" spc="0" normalizeH="0" baseline="0" noProof="0">
                <a:ln>
                  <a:noFill/>
                </a:ln>
                <a:solidFill>
                  <a:schemeClr val="accent1"/>
                </a:solidFill>
                <a:effectLst/>
                <a:uLnTx/>
                <a:uFillTx/>
                <a:latin typeface="Arial Narrow" pitchFamily="34" charset="0"/>
                <a:ea typeface="+mn-ea"/>
                <a:cs typeface="Arial" charset="0"/>
              </a:rPr>
              <a:t>from market leader</a:t>
            </a:r>
            <a:r>
              <a:rPr kumimoji="0" lang="en-US" sz="1400" b="0" i="1" u="none" strike="noStrike" kern="1200" cap="none" spc="0" normalizeH="0" baseline="0" noProof="0">
                <a:ln>
                  <a:noFill/>
                </a:ln>
                <a:solidFill>
                  <a:srgbClr val="000000"/>
                </a:solidFill>
                <a:effectLst/>
                <a:uLnTx/>
                <a:uFillTx/>
                <a:latin typeface="Arial Narrow" pitchFamily="34" charset="0"/>
                <a:ea typeface="+mn-ea"/>
                <a:cs typeface="Arial" charset="0"/>
              </a:rPr>
              <a:t>. Available in different accuracy gradings, delivering </a:t>
            </a:r>
            <a:r>
              <a:rPr kumimoji="0" lang="en-US" sz="1400" b="0" i="1" u="none" strike="noStrike" kern="1200" cap="none" spc="0" normalizeH="0" baseline="0" noProof="0">
                <a:ln>
                  <a:noFill/>
                </a:ln>
                <a:solidFill>
                  <a:schemeClr val="accent1"/>
                </a:solidFill>
                <a:effectLst/>
                <a:uLnTx/>
                <a:uFillTx/>
                <a:latin typeface="Arial Narrow" pitchFamily="34" charset="0"/>
                <a:ea typeface="+mn-ea"/>
                <a:cs typeface="Arial" charset="0"/>
              </a:rPr>
              <a:t>sub-µW power consumption.”</a:t>
            </a:r>
          </a:p>
        </p:txBody>
      </p:sp>
      <p:pic>
        <p:nvPicPr>
          <p:cNvPr id="6" name="Picture 5" descr="A picture containing text, electronics&#10;&#10;Description automatically generated">
            <a:extLst>
              <a:ext uri="{FF2B5EF4-FFF2-40B4-BE49-F238E27FC236}">
                <a16:creationId xmlns:a16="http://schemas.microsoft.com/office/drawing/2014/main" id="{A186CB6B-765C-5D72-90C3-BF15AC6C397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42166" y="1263983"/>
            <a:ext cx="1974111" cy="1272900"/>
          </a:xfrm>
          <a:prstGeom prst="rect">
            <a:avLst/>
          </a:prstGeom>
        </p:spPr>
      </p:pic>
      <p:sp>
        <p:nvSpPr>
          <p:cNvPr id="29" name="Flowchart: Decision 28">
            <a:extLst>
              <a:ext uri="{FF2B5EF4-FFF2-40B4-BE49-F238E27FC236}">
                <a16:creationId xmlns:a16="http://schemas.microsoft.com/office/drawing/2014/main" id="{C9B0781B-EF2E-C10A-8730-7BC64F4FB7FD}"/>
              </a:ext>
            </a:extLst>
          </p:cNvPr>
          <p:cNvSpPr/>
          <p:nvPr/>
        </p:nvSpPr>
        <p:spPr>
          <a:xfrm>
            <a:off x="6979962" y="3069859"/>
            <a:ext cx="1440000" cy="493486"/>
          </a:xfrm>
          <a:prstGeom prst="flowChartDecision">
            <a:avLst/>
          </a:prstGeom>
          <a:solidFill>
            <a:schemeClr val="bg1"/>
          </a:solidFill>
          <a:ln>
            <a:solidFill>
              <a:srgbClr val="66CC33"/>
            </a:solidFill>
          </a:ln>
          <a:effectLst>
            <a:glow rad="50800">
              <a:srgbClr val="66CC3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p>
            <a:pPr algn="ctr"/>
            <a:r>
              <a:rPr lang="en-US" sz="1200">
                <a:solidFill>
                  <a:schemeClr val="tx1"/>
                </a:solidFill>
              </a:rPr>
              <a:t>High-accuracy</a:t>
            </a:r>
            <a:endParaRPr lang="en-US" sz="1200" baseline="-25000">
              <a:solidFill>
                <a:schemeClr val="tx1"/>
              </a:solidFill>
            </a:endParaRPr>
          </a:p>
        </p:txBody>
      </p:sp>
      <p:sp>
        <p:nvSpPr>
          <p:cNvPr id="30" name="TextBox 29">
            <a:extLst>
              <a:ext uri="{FF2B5EF4-FFF2-40B4-BE49-F238E27FC236}">
                <a16:creationId xmlns:a16="http://schemas.microsoft.com/office/drawing/2014/main" id="{9227E3F5-2E92-1CEE-2FF8-843CCFEAA6F6}"/>
              </a:ext>
            </a:extLst>
          </p:cNvPr>
          <p:cNvSpPr txBox="1"/>
          <p:nvPr/>
        </p:nvSpPr>
        <p:spPr>
          <a:xfrm>
            <a:off x="8353614" y="3072001"/>
            <a:ext cx="395093" cy="246221"/>
          </a:xfrm>
          <a:prstGeom prst="rect">
            <a:avLst/>
          </a:prstGeom>
          <a:noFill/>
        </p:spPr>
        <p:txBody>
          <a:bodyPr wrap="square" rtlCol="0">
            <a:spAutoFit/>
          </a:bodyPr>
          <a:lstStyle/>
          <a:p>
            <a:r>
              <a:rPr lang="en-US" sz="1000" b="1"/>
              <a:t>yes</a:t>
            </a:r>
          </a:p>
        </p:txBody>
      </p:sp>
      <p:sp>
        <p:nvSpPr>
          <p:cNvPr id="32" name="TextBox 31">
            <a:extLst>
              <a:ext uri="{FF2B5EF4-FFF2-40B4-BE49-F238E27FC236}">
                <a16:creationId xmlns:a16="http://schemas.microsoft.com/office/drawing/2014/main" id="{F6439202-A1F6-39A0-D22A-792481023614}"/>
              </a:ext>
            </a:extLst>
          </p:cNvPr>
          <p:cNvSpPr txBox="1"/>
          <p:nvPr/>
        </p:nvSpPr>
        <p:spPr>
          <a:xfrm>
            <a:off x="7662612" y="3563345"/>
            <a:ext cx="395093" cy="246221"/>
          </a:xfrm>
          <a:prstGeom prst="rect">
            <a:avLst/>
          </a:prstGeom>
          <a:noFill/>
        </p:spPr>
        <p:txBody>
          <a:bodyPr wrap="square" rtlCol="0">
            <a:spAutoFit/>
          </a:bodyPr>
          <a:lstStyle/>
          <a:p>
            <a:r>
              <a:rPr lang="en-US" sz="1000" b="1"/>
              <a:t>no</a:t>
            </a:r>
          </a:p>
        </p:txBody>
      </p:sp>
      <p:cxnSp>
        <p:nvCxnSpPr>
          <p:cNvPr id="33" name="Connector: Elbow 32">
            <a:extLst>
              <a:ext uri="{FF2B5EF4-FFF2-40B4-BE49-F238E27FC236}">
                <a16:creationId xmlns:a16="http://schemas.microsoft.com/office/drawing/2014/main" id="{5BB5CF22-468F-C1EB-499E-D99950DA714D}"/>
              </a:ext>
            </a:extLst>
          </p:cNvPr>
          <p:cNvCxnSpPr>
            <a:cxnSpLocks/>
          </p:cNvCxnSpPr>
          <p:nvPr/>
        </p:nvCxnSpPr>
        <p:spPr>
          <a:xfrm rot="16200000" flipH="1">
            <a:off x="7886798" y="3389191"/>
            <a:ext cx="802770" cy="1176442"/>
          </a:xfrm>
          <a:prstGeom prst="bentConnector2">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BD7CA65-D9B4-7256-C851-F98165274121}"/>
              </a:ext>
            </a:extLst>
          </p:cNvPr>
          <p:cNvSpPr txBox="1"/>
          <p:nvPr/>
        </p:nvSpPr>
        <p:spPr>
          <a:xfrm>
            <a:off x="10561938" y="2406195"/>
            <a:ext cx="632453"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sp>
        <p:nvSpPr>
          <p:cNvPr id="36" name="TextBox 35">
            <a:extLst>
              <a:ext uri="{FF2B5EF4-FFF2-40B4-BE49-F238E27FC236}">
                <a16:creationId xmlns:a16="http://schemas.microsoft.com/office/drawing/2014/main" id="{9E263809-95C6-A564-4B60-74680AA204F3}"/>
              </a:ext>
            </a:extLst>
          </p:cNvPr>
          <p:cNvSpPr txBox="1"/>
          <p:nvPr/>
        </p:nvSpPr>
        <p:spPr>
          <a:xfrm>
            <a:off x="10560530" y="3460807"/>
            <a:ext cx="632453"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sp>
        <p:nvSpPr>
          <p:cNvPr id="37" name="TextBox 36">
            <a:extLst>
              <a:ext uri="{FF2B5EF4-FFF2-40B4-BE49-F238E27FC236}">
                <a16:creationId xmlns:a16="http://schemas.microsoft.com/office/drawing/2014/main" id="{FF6BB99E-9FDC-48D8-4212-21AED718390B}"/>
              </a:ext>
            </a:extLst>
          </p:cNvPr>
          <p:cNvSpPr txBox="1"/>
          <p:nvPr/>
        </p:nvSpPr>
        <p:spPr>
          <a:xfrm>
            <a:off x="8888786" y="3914753"/>
            <a:ext cx="2308984" cy="861774"/>
          </a:xfrm>
          <a:prstGeom prst="rect">
            <a:avLst/>
          </a:prstGeom>
          <a:solidFill>
            <a:schemeClr val="bg1"/>
          </a:solidFill>
          <a:effectLst>
            <a:outerShdw blurRad="63500" sx="102000" sy="102000" algn="ctr" rotWithShape="0">
              <a:prstClr val="black">
                <a:alpha val="40000"/>
              </a:prstClr>
            </a:outerShdw>
          </a:effectLst>
        </p:spPr>
        <p:txBody>
          <a:bodyPr wrap="square" rtlCol="0" anchor="t">
            <a:noAutofit/>
          </a:bodyPr>
          <a:lstStyle/>
          <a:p>
            <a:pPr indent="-149850"/>
            <a:r>
              <a:rPr lang="en-US" sz="1000" b="1"/>
              <a:t>SHT40:</a:t>
            </a:r>
          </a:p>
          <a:p>
            <a:pPr marL="936000" lvl="2" indent="-171450">
              <a:buFont typeface="Symbol" panose="05050102010706020507" pitchFamily="18" charset="2"/>
              <a:buChar char="-"/>
            </a:pPr>
            <a:r>
              <a:rPr lang="en-US" sz="1000"/>
              <a:t>RH &amp; T</a:t>
            </a:r>
          </a:p>
          <a:p>
            <a:pPr marL="936000" lvl="2" indent="-171450">
              <a:buFont typeface="Symbol" panose="05050102010706020507" pitchFamily="18" charset="2"/>
              <a:buChar char="-"/>
            </a:pPr>
            <a:r>
              <a:rPr lang="en-US" sz="1000"/>
              <a:t>± 1.8%RH, ± 0.2°C</a:t>
            </a:r>
          </a:p>
          <a:p>
            <a:pPr marL="936000" lvl="2" indent="-171450">
              <a:buFont typeface="Symbol" panose="05050102010706020507" pitchFamily="18" charset="2"/>
              <a:buChar char="-"/>
            </a:pPr>
            <a:r>
              <a:rPr lang="en-US" sz="1000"/>
              <a:t>Sub-µW power</a:t>
            </a:r>
          </a:p>
        </p:txBody>
      </p:sp>
      <p:sp>
        <p:nvSpPr>
          <p:cNvPr id="38" name="TextBox 37">
            <a:extLst>
              <a:ext uri="{FF2B5EF4-FFF2-40B4-BE49-F238E27FC236}">
                <a16:creationId xmlns:a16="http://schemas.microsoft.com/office/drawing/2014/main" id="{D9C0CBA8-0DC3-BDD4-046A-09617237F1AB}"/>
              </a:ext>
            </a:extLst>
          </p:cNvPr>
          <p:cNvSpPr txBox="1"/>
          <p:nvPr/>
        </p:nvSpPr>
        <p:spPr>
          <a:xfrm>
            <a:off x="10560530" y="4506424"/>
            <a:ext cx="632453" cy="276999"/>
          </a:xfrm>
          <a:prstGeom prst="rect">
            <a:avLst/>
          </a:prstGeom>
          <a:noFill/>
        </p:spPr>
        <p:txBody>
          <a:bodyPr wrap="square" rtlCol="0">
            <a:spAutoFit/>
          </a:bodyPr>
          <a:lstStyle/>
          <a:p>
            <a:pPr algn="r"/>
            <a:r>
              <a:rPr lang="en-US" sz="1200" b="1">
                <a:latin typeface="Arial Black" panose="020B0A04020102020204" pitchFamily="34" charset="0"/>
              </a:rPr>
              <a:t>$</a:t>
            </a:r>
            <a:endParaRPr lang="en-US" b="1">
              <a:latin typeface="Arial Black" panose="020B0A04020102020204" pitchFamily="34" charset="0"/>
            </a:endParaRPr>
          </a:p>
        </p:txBody>
      </p:sp>
      <p:pic>
        <p:nvPicPr>
          <p:cNvPr id="39" name="Picture 38" descr="A picture containing text, electronics&#10;&#10;Description automatically generated">
            <a:extLst>
              <a:ext uri="{FF2B5EF4-FFF2-40B4-BE49-F238E27FC236}">
                <a16:creationId xmlns:a16="http://schemas.microsoft.com/office/drawing/2014/main" id="{591FB4FF-6B36-40AA-512F-4D975A0D45DF}"/>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3866" t="3566" r="13932" b="6684"/>
          <a:stretch/>
        </p:blipFill>
        <p:spPr>
          <a:xfrm>
            <a:off x="9018900" y="3072001"/>
            <a:ext cx="614887" cy="551602"/>
          </a:xfrm>
          <a:prstGeom prst="rect">
            <a:avLst/>
          </a:prstGeom>
        </p:spPr>
      </p:pic>
      <p:pic>
        <p:nvPicPr>
          <p:cNvPr id="41" name="Picture 40" descr="A picture containing text, electronics&#10;&#10;Description automatically generated">
            <a:extLst>
              <a:ext uri="{FF2B5EF4-FFF2-40B4-BE49-F238E27FC236}">
                <a16:creationId xmlns:a16="http://schemas.microsoft.com/office/drawing/2014/main" id="{2834567E-E92E-1F68-94CA-5094343CB932}"/>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3866" t="3566" r="13932" b="6684"/>
          <a:stretch/>
        </p:blipFill>
        <p:spPr>
          <a:xfrm>
            <a:off x="9017606" y="4148326"/>
            <a:ext cx="614887" cy="551602"/>
          </a:xfrm>
          <a:prstGeom prst="rect">
            <a:avLst/>
          </a:prstGeom>
        </p:spPr>
      </p:pic>
      <p:pic>
        <p:nvPicPr>
          <p:cNvPr id="9" name="Picture 8" descr="A picture containing text, electronics&#10;&#10;Description automatically generated">
            <a:extLst>
              <a:ext uri="{FF2B5EF4-FFF2-40B4-BE49-F238E27FC236}">
                <a16:creationId xmlns:a16="http://schemas.microsoft.com/office/drawing/2014/main" id="{22DEE801-772F-598E-25F6-AE27D5FCA2B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61622" y="2094061"/>
            <a:ext cx="536247" cy="486197"/>
          </a:xfrm>
          <a:prstGeom prst="rect">
            <a:avLst/>
          </a:prstGeom>
        </p:spPr>
      </p:pic>
      <p:sp>
        <p:nvSpPr>
          <p:cNvPr id="47" name="TextBox 46">
            <a:extLst>
              <a:ext uri="{FF2B5EF4-FFF2-40B4-BE49-F238E27FC236}">
                <a16:creationId xmlns:a16="http://schemas.microsoft.com/office/drawing/2014/main" id="{0F3BC6BE-1DE4-52A3-C1EE-4978643A3D70}"/>
              </a:ext>
            </a:extLst>
          </p:cNvPr>
          <p:cNvSpPr txBox="1"/>
          <p:nvPr/>
        </p:nvSpPr>
        <p:spPr>
          <a:xfrm>
            <a:off x="2471125" y="3820558"/>
            <a:ext cx="801819" cy="246221"/>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hlinkClick r:id="rId13"/>
              </a:rPr>
              <a:t>SEK-SHT40</a:t>
            </a:r>
            <a:endPar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pic>
        <p:nvPicPr>
          <p:cNvPr id="2050" name="Picture 2">
            <a:extLst>
              <a:ext uri="{FF2B5EF4-FFF2-40B4-BE49-F238E27FC236}">
                <a16:creationId xmlns:a16="http://schemas.microsoft.com/office/drawing/2014/main" id="{AB2A1A60-2B1C-01C2-03CA-CF6C165D5C72}"/>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3669" t="17641" r="3879" b="17327"/>
          <a:stretch/>
        </p:blipFill>
        <p:spPr bwMode="auto">
          <a:xfrm>
            <a:off x="3466063" y="3911584"/>
            <a:ext cx="728017" cy="512088"/>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A98CDEAF-C900-BD5C-D50D-A47BCFF0DCA7}"/>
              </a:ext>
            </a:extLst>
          </p:cNvPr>
          <p:cNvSpPr txBox="1"/>
          <p:nvPr/>
        </p:nvSpPr>
        <p:spPr>
          <a:xfrm>
            <a:off x="2410202" y="4582158"/>
            <a:ext cx="3957955" cy="246221"/>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rPr>
              <a:t>Breakout Boards:      </a:t>
            </a:r>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hlinkClick r:id="rId15"/>
              </a:rPr>
              <a:t>Adafruit SHT40</a:t>
            </a:r>
            <a:endPar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51" name="TextBox 50">
            <a:extLst>
              <a:ext uri="{FF2B5EF4-FFF2-40B4-BE49-F238E27FC236}">
                <a16:creationId xmlns:a16="http://schemas.microsoft.com/office/drawing/2014/main" id="{D1BE4896-32D1-6F86-AFA6-8714E38FCB27}"/>
              </a:ext>
            </a:extLst>
          </p:cNvPr>
          <p:cNvSpPr txBox="1"/>
          <p:nvPr/>
        </p:nvSpPr>
        <p:spPr>
          <a:xfrm>
            <a:off x="4395241" y="4584434"/>
            <a:ext cx="2102155" cy="246221"/>
          </a:xfrm>
          <a:prstGeom prst="rect">
            <a:avLst/>
          </a:prstGeom>
          <a:noFill/>
        </p:spPr>
        <p:txBody>
          <a:bodyPr wrap="square">
            <a:spAutoFit/>
          </a:bodyPr>
          <a:lstStyle/>
          <a:p>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hlinkClick r:id="rId16"/>
              </a:rPr>
              <a:t>MikroElektronika Temp&amp;Hum 15 Click </a:t>
            </a:r>
            <a:endParaRPr lang="en-US" sz="1000"/>
          </a:p>
        </p:txBody>
      </p:sp>
      <p:pic>
        <p:nvPicPr>
          <p:cNvPr id="2052" name="Picture 4">
            <a:extLst>
              <a:ext uri="{FF2B5EF4-FFF2-40B4-BE49-F238E27FC236}">
                <a16:creationId xmlns:a16="http://schemas.microsoft.com/office/drawing/2014/main" id="{63EE2BC2-F472-F6DE-AC93-37AB66BD672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025709" y="3855724"/>
            <a:ext cx="614845" cy="61484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2DFFF156-7868-43D0-B67C-7553DD783996}"/>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21011" t="20048" r="20023" b="22025"/>
          <a:stretch/>
        </p:blipFill>
        <p:spPr bwMode="auto">
          <a:xfrm>
            <a:off x="1013202" y="3810394"/>
            <a:ext cx="755227" cy="4637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9EA73A4D-89FD-5D24-7941-99288844AA3B}"/>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24318" t="18431" r="23017" b="14972"/>
          <a:stretch/>
        </p:blipFill>
        <p:spPr bwMode="auto">
          <a:xfrm>
            <a:off x="1900786" y="3616235"/>
            <a:ext cx="651987" cy="515290"/>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2046714B-9D5D-5648-A905-92B3A59C663B}"/>
              </a:ext>
            </a:extLst>
          </p:cNvPr>
          <p:cNvSpPr txBox="1"/>
          <p:nvPr/>
        </p:nvSpPr>
        <p:spPr>
          <a:xfrm>
            <a:off x="820820" y="4581150"/>
            <a:ext cx="1063149" cy="246221"/>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hlinkClick r:id="rId20"/>
              </a:rPr>
              <a:t>SEK-Sensorbridge</a:t>
            </a:r>
            <a:endPar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pic>
        <p:nvPicPr>
          <p:cNvPr id="56" name="Picture 8">
            <a:extLst>
              <a:ext uri="{FF2B5EF4-FFF2-40B4-BE49-F238E27FC236}">
                <a16:creationId xmlns:a16="http://schemas.microsoft.com/office/drawing/2014/main" id="{5BBAEABB-5FB9-5425-FE3C-4B9A2D0C6C53}"/>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24318" t="18431" r="23017" b="14972"/>
          <a:stretch/>
        </p:blipFill>
        <p:spPr bwMode="auto">
          <a:xfrm>
            <a:off x="1867455" y="4106193"/>
            <a:ext cx="651987" cy="515290"/>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a:extLst>
              <a:ext uri="{FF2B5EF4-FFF2-40B4-BE49-F238E27FC236}">
                <a16:creationId xmlns:a16="http://schemas.microsoft.com/office/drawing/2014/main" id="{5E5BB1A5-4246-6810-33C9-6F64CB83A0CE}"/>
              </a:ext>
            </a:extLst>
          </p:cNvPr>
          <p:cNvSpPr txBox="1"/>
          <p:nvPr/>
        </p:nvSpPr>
        <p:spPr>
          <a:xfrm>
            <a:off x="2498586" y="4302437"/>
            <a:ext cx="801819" cy="246221"/>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hlinkClick r:id="rId21"/>
              </a:rPr>
              <a:t>SEK-SHT40I</a:t>
            </a:r>
            <a:endParaRPr kumimoji="0" lang="en-US" sz="1000" b="0" i="0" u="none" strike="noStrike" kern="1200" cap="none" spc="0" normalizeH="0" baseline="0" noProof="0">
              <a:ln>
                <a:noFill/>
              </a:ln>
              <a:solidFill>
                <a:srgbClr val="000000"/>
              </a:solidFill>
              <a:effectLst/>
              <a:uLnTx/>
              <a:uFillTx/>
              <a:latin typeface="Arial Narrow" pitchFamily="34" charset="0"/>
              <a:ea typeface="+mn-ea"/>
              <a:cs typeface="Arial" charset="0"/>
            </a:endParaRPr>
          </a:p>
        </p:txBody>
      </p:sp>
      <p:sp>
        <p:nvSpPr>
          <p:cNvPr id="42" name="Rectangle 41">
            <a:extLst>
              <a:ext uri="{FF2B5EF4-FFF2-40B4-BE49-F238E27FC236}">
                <a16:creationId xmlns:a16="http://schemas.microsoft.com/office/drawing/2014/main" id="{74D770B3-2B69-46FF-5AE9-77C367F9D8C1}"/>
              </a:ext>
            </a:extLst>
          </p:cNvPr>
          <p:cNvSpPr/>
          <p:nvPr/>
        </p:nvSpPr>
        <p:spPr>
          <a:xfrm rot="1492307">
            <a:off x="10310910" y="1663629"/>
            <a:ext cx="1131692" cy="425231"/>
          </a:xfrm>
          <a:custGeom>
            <a:avLst/>
            <a:gdLst>
              <a:gd name="connsiteX0" fmla="*/ 0 w 1131692"/>
              <a:gd name="connsiteY0" fmla="*/ 0 h 425231"/>
              <a:gd name="connsiteX1" fmla="*/ 577163 w 1131692"/>
              <a:gd name="connsiteY1" fmla="*/ 0 h 425231"/>
              <a:gd name="connsiteX2" fmla="*/ 1131692 w 1131692"/>
              <a:gd name="connsiteY2" fmla="*/ 0 h 425231"/>
              <a:gd name="connsiteX3" fmla="*/ 1131692 w 1131692"/>
              <a:gd name="connsiteY3" fmla="*/ 425231 h 425231"/>
              <a:gd name="connsiteX4" fmla="*/ 577163 w 1131692"/>
              <a:gd name="connsiteY4" fmla="*/ 425231 h 425231"/>
              <a:gd name="connsiteX5" fmla="*/ 0 w 1131692"/>
              <a:gd name="connsiteY5" fmla="*/ 425231 h 425231"/>
              <a:gd name="connsiteX6" fmla="*/ 0 w 1131692"/>
              <a:gd name="connsiteY6" fmla="*/ 0 h 425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1692" h="425231" fill="none" extrusionOk="0">
                <a:moveTo>
                  <a:pt x="0" y="0"/>
                </a:moveTo>
                <a:cubicBezTo>
                  <a:pt x="265649" y="-42217"/>
                  <a:pt x="391055" y="64385"/>
                  <a:pt x="577163" y="0"/>
                </a:cubicBezTo>
                <a:cubicBezTo>
                  <a:pt x="763271" y="-64385"/>
                  <a:pt x="858403" y="17158"/>
                  <a:pt x="1131692" y="0"/>
                </a:cubicBezTo>
                <a:cubicBezTo>
                  <a:pt x="1152568" y="142503"/>
                  <a:pt x="1087438" y="316334"/>
                  <a:pt x="1131692" y="425231"/>
                </a:cubicBezTo>
                <a:cubicBezTo>
                  <a:pt x="867974" y="469126"/>
                  <a:pt x="791881" y="403323"/>
                  <a:pt x="577163" y="425231"/>
                </a:cubicBezTo>
                <a:cubicBezTo>
                  <a:pt x="362445" y="447139"/>
                  <a:pt x="131493" y="356768"/>
                  <a:pt x="0" y="425231"/>
                </a:cubicBezTo>
                <a:cubicBezTo>
                  <a:pt x="-37155" y="240944"/>
                  <a:pt x="43526" y="128971"/>
                  <a:pt x="0" y="0"/>
                </a:cubicBezTo>
                <a:close/>
              </a:path>
              <a:path w="1131692" h="425231" stroke="0" extrusionOk="0">
                <a:moveTo>
                  <a:pt x="0" y="0"/>
                </a:moveTo>
                <a:cubicBezTo>
                  <a:pt x="214795" y="-1958"/>
                  <a:pt x="454353" y="58410"/>
                  <a:pt x="588480" y="0"/>
                </a:cubicBezTo>
                <a:cubicBezTo>
                  <a:pt x="722607" y="-58410"/>
                  <a:pt x="895105" y="32841"/>
                  <a:pt x="1131692" y="0"/>
                </a:cubicBezTo>
                <a:cubicBezTo>
                  <a:pt x="1158085" y="105723"/>
                  <a:pt x="1109558" y="295851"/>
                  <a:pt x="1131692" y="425231"/>
                </a:cubicBezTo>
                <a:cubicBezTo>
                  <a:pt x="931932" y="426417"/>
                  <a:pt x="764615" y="413477"/>
                  <a:pt x="554529" y="425231"/>
                </a:cubicBezTo>
                <a:cubicBezTo>
                  <a:pt x="344443" y="436985"/>
                  <a:pt x="184493" y="371397"/>
                  <a:pt x="0" y="425231"/>
                </a:cubicBezTo>
                <a:cubicBezTo>
                  <a:pt x="-6891" y="222693"/>
                  <a:pt x="42971" y="142325"/>
                  <a:pt x="0" y="0"/>
                </a:cubicBezTo>
                <a:close/>
              </a:path>
            </a:pathLst>
          </a:custGeom>
          <a:solidFill>
            <a:schemeClr val="bg1"/>
          </a:solidFill>
          <a:ln w="19050">
            <a:solidFill>
              <a:schemeClr val="accent2">
                <a:lumMod val="75000"/>
              </a:schemeClr>
            </a:solidFill>
            <a:extLst>
              <a:ext uri="{C807C97D-BFC1-408E-A445-0C87EB9F89A2}">
                <ask:lineSketchStyleProps xmlns:ask="http://schemas.microsoft.com/office/drawing/2018/sketchyshapes" sd="2832874897">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rPr>
              <a:t>Analog version available </a:t>
            </a:r>
          </a:p>
        </p:txBody>
      </p:sp>
    </p:spTree>
    <p:extLst>
      <p:ext uri="{BB962C8B-B14F-4D97-AF65-F5344CB8AC3E}">
        <p14:creationId xmlns:p14="http://schemas.microsoft.com/office/powerpoint/2010/main" val="266083532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Gas Flow Sensors</a:t>
            </a:r>
          </a:p>
        </p:txBody>
      </p:sp>
    </p:spTree>
    <p:extLst>
      <p:ext uri="{BB962C8B-B14F-4D97-AF65-F5344CB8AC3E}">
        <p14:creationId xmlns:p14="http://schemas.microsoft.com/office/powerpoint/2010/main" val="8774421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D62DF32B-ACB6-4A3B-995F-DEBF19C94A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6319" y="2327766"/>
            <a:ext cx="3565215" cy="2228259"/>
          </a:xfrm>
          <a:prstGeom prst="rect">
            <a:avLst/>
          </a:prstGeom>
          <a:noFill/>
          <a:extLst>
            <a:ext uri="{909E8E84-426E-40DD-AFC4-6F175D3DCCD1}">
              <a14:hiddenFill xmlns:a14="http://schemas.microsoft.com/office/drawing/2010/main">
                <a:solidFill>
                  <a:srgbClr val="FFFFFF"/>
                </a:solidFill>
              </a14:hiddenFill>
            </a:ext>
          </a:extLst>
        </p:spPr>
      </p:pic>
      <p:sp>
        <p:nvSpPr>
          <p:cNvPr id="71" name="Text Placeholder 2"/>
          <p:cNvSpPr txBox="1">
            <a:spLocks/>
          </p:cNvSpPr>
          <p:nvPr/>
        </p:nvSpPr>
        <p:spPr>
          <a:xfrm>
            <a:off x="6367363" y="918000"/>
            <a:ext cx="4827969" cy="5320093"/>
          </a:xfrm>
          <a:prstGeom prst="rect">
            <a:avLst/>
          </a:prstGeo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4488" lvl="1" indent="-342900" fontAlgn="auto">
              <a:spcBef>
                <a:spcPts val="1100"/>
              </a:spcBef>
              <a:spcAft>
                <a:spcPts val="0"/>
              </a:spcAft>
              <a:buSzPct val="105000"/>
              <a:tabLst>
                <a:tab pos="0" algn="l"/>
                <a:tab pos="654050" algn="l"/>
                <a:tab pos="927100" algn="l"/>
                <a:tab pos="1174750" algn="l"/>
              </a:tabLst>
              <a:defRPr/>
            </a:pPr>
            <a:r>
              <a:rPr lang="en-US" kern="0"/>
              <a:t>CPAP</a:t>
            </a:r>
          </a:p>
          <a:p>
            <a:pPr marL="344488" lvl="1" indent="-342900" fontAlgn="auto">
              <a:spcBef>
                <a:spcPts val="1100"/>
              </a:spcBef>
              <a:spcAft>
                <a:spcPts val="0"/>
              </a:spcAft>
              <a:buSzPct val="105000"/>
              <a:tabLst>
                <a:tab pos="0" algn="l"/>
                <a:tab pos="654050" algn="l"/>
                <a:tab pos="927100" algn="l"/>
                <a:tab pos="1174750" algn="l"/>
              </a:tabLst>
              <a:defRPr/>
            </a:pPr>
            <a:endParaRPr lang="en-US" kern="0"/>
          </a:p>
          <a:p>
            <a:pPr marL="344488" lvl="1" indent="-342900" fontAlgn="auto">
              <a:spcBef>
                <a:spcPts val="1100"/>
              </a:spcBef>
              <a:spcAft>
                <a:spcPts val="0"/>
              </a:spcAft>
              <a:buSzPct val="105000"/>
              <a:tabLst>
                <a:tab pos="0" algn="l"/>
                <a:tab pos="654050" algn="l"/>
                <a:tab pos="927100" algn="l"/>
                <a:tab pos="1174750" algn="l"/>
              </a:tabLst>
              <a:defRPr/>
            </a:pPr>
            <a:endParaRPr lang="en-US" kern="0"/>
          </a:p>
          <a:p>
            <a:pPr marL="344488" lvl="1" indent="-342900" fontAlgn="auto">
              <a:spcBef>
                <a:spcPts val="1100"/>
              </a:spcBef>
              <a:spcAft>
                <a:spcPts val="0"/>
              </a:spcAft>
              <a:buSzPct val="105000"/>
              <a:tabLst>
                <a:tab pos="0" algn="l"/>
                <a:tab pos="654050" algn="l"/>
                <a:tab pos="927100" algn="l"/>
                <a:tab pos="1174750" algn="l"/>
              </a:tabLst>
              <a:defRPr/>
            </a:pPr>
            <a:endParaRPr lang="en-US" kern="0"/>
          </a:p>
          <a:p>
            <a:pPr marL="1588" lvl="1" indent="0" fontAlgn="auto">
              <a:spcBef>
                <a:spcPts val="1100"/>
              </a:spcBef>
              <a:spcAft>
                <a:spcPts val="0"/>
              </a:spcAft>
              <a:buSzPct val="105000"/>
              <a:buNone/>
              <a:tabLst>
                <a:tab pos="0" algn="l"/>
                <a:tab pos="654050" algn="l"/>
                <a:tab pos="927100" algn="l"/>
                <a:tab pos="1174750" algn="l"/>
              </a:tabLst>
              <a:defRPr/>
            </a:pPr>
            <a:endParaRPr lang="en-US" sz="1000" kern="0"/>
          </a:p>
          <a:p>
            <a:pPr marL="344488" lvl="1" indent="-342900" fontAlgn="auto">
              <a:spcBef>
                <a:spcPts val="1100"/>
              </a:spcBef>
              <a:spcAft>
                <a:spcPts val="0"/>
              </a:spcAft>
              <a:buSzPct val="105000"/>
              <a:tabLst>
                <a:tab pos="0" algn="l"/>
                <a:tab pos="654050" algn="l"/>
                <a:tab pos="927100" algn="l"/>
                <a:tab pos="1174750" algn="l"/>
              </a:tabLst>
              <a:defRPr/>
            </a:pPr>
            <a:r>
              <a:rPr lang="en-US" kern="0"/>
              <a:t>Versatile solutions:</a:t>
            </a:r>
          </a:p>
          <a:p>
            <a:pPr marL="1588" lvl="1" indent="0" fontAlgn="auto">
              <a:spcBef>
                <a:spcPts val="1100"/>
              </a:spcBef>
              <a:spcAft>
                <a:spcPts val="0"/>
              </a:spcAft>
              <a:buSzPct val="105000"/>
              <a:buNone/>
              <a:tabLst>
                <a:tab pos="0" algn="l"/>
                <a:tab pos="654050" algn="l"/>
                <a:tab pos="927100" algn="l"/>
                <a:tab pos="1174750" algn="l"/>
              </a:tabLst>
              <a:defRPr/>
            </a:pPr>
            <a:endParaRPr lang="en-US" kern="0"/>
          </a:p>
        </p:txBody>
      </p:sp>
      <p:sp>
        <p:nvSpPr>
          <p:cNvPr id="3" name="Title 2"/>
          <p:cNvSpPr>
            <a:spLocks noGrp="1"/>
          </p:cNvSpPr>
          <p:nvPr>
            <p:ph type="title"/>
          </p:nvPr>
        </p:nvSpPr>
        <p:spPr/>
        <p:txBody>
          <a:bodyPr/>
          <a:lstStyle/>
          <a:p>
            <a:r>
              <a:rPr lang="en-US"/>
              <a:t>Our Gas Flow Sensor Family (</a:t>
            </a:r>
            <a:r>
              <a:rPr lang="en-US" err="1"/>
              <a:t>SFMxx</a:t>
            </a:r>
            <a:r>
              <a:rPr lang="en-US"/>
              <a:t> / </a:t>
            </a:r>
            <a:r>
              <a:rPr lang="en-US" err="1"/>
              <a:t>SDPxx</a:t>
            </a:r>
            <a:r>
              <a:rPr lang="en-US"/>
              <a:t> / </a:t>
            </a:r>
            <a:r>
              <a:rPr lang="en-US" err="1"/>
              <a:t>SFCxx</a:t>
            </a:r>
            <a:r>
              <a:rPr lang="en-US"/>
              <a:t>)</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91044" y="1692000"/>
            <a:ext cx="752009" cy="791553"/>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3668" y="1368000"/>
            <a:ext cx="1379791" cy="1080000"/>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80804" y="1368000"/>
            <a:ext cx="1134454" cy="1080000"/>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35619" y="3627609"/>
            <a:ext cx="1476922" cy="1440000"/>
          </a:xfrm>
          <a:prstGeom prst="rect">
            <a:avLst/>
          </a:prstGeom>
        </p:spPr>
      </p:pic>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35054" y="2992690"/>
            <a:ext cx="1847872" cy="1277724"/>
          </a:xfrm>
          <a:prstGeom prst="rect">
            <a:avLst/>
          </a:prstGeom>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7071" y="4262270"/>
            <a:ext cx="2524674" cy="1851428"/>
          </a:xfrm>
          <a:prstGeom prst="rect">
            <a:avLst/>
          </a:prstGeom>
        </p:spPr>
      </p:pic>
      <p:pic>
        <p:nvPicPr>
          <p:cNvPr id="10" name="Picture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84572" y="4222535"/>
            <a:ext cx="1887671" cy="1618678"/>
          </a:xfrm>
          <a:prstGeom prst="rect">
            <a:avLst/>
          </a:prstGeom>
        </p:spPr>
      </p:pic>
      <p:pic>
        <p:nvPicPr>
          <p:cNvPr id="13" name="Picture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17573" y="1424391"/>
            <a:ext cx="1684215" cy="1341757"/>
          </a:xfrm>
          <a:prstGeom prst="rect">
            <a:avLst/>
          </a:prstGeom>
        </p:spPr>
      </p:pic>
      <p:pic>
        <p:nvPicPr>
          <p:cNvPr id="26" name="Picture 2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90501" y="1555270"/>
            <a:ext cx="1721116" cy="1080000"/>
          </a:xfrm>
          <a:prstGeom prst="rect">
            <a:avLst/>
          </a:prstGeom>
        </p:spPr>
      </p:pic>
      <p:sp>
        <p:nvSpPr>
          <p:cNvPr id="29" name="Text Placeholder 2"/>
          <p:cNvSpPr txBox="1">
            <a:spLocks/>
          </p:cNvSpPr>
          <p:nvPr/>
        </p:nvSpPr>
        <p:spPr>
          <a:xfrm>
            <a:off x="848931" y="917195"/>
            <a:ext cx="4827969" cy="5320093"/>
          </a:xfrm>
          <a:prstGeom prst="rect">
            <a:avLst/>
          </a:prstGeom>
        </p:spPr>
        <p:txBody>
          <a:bodyPr/>
          <a:lstStyle>
            <a:lvl1pPr marL="0" marR="0" indent="0" algn="l" defTabSz="900000" rtl="0" eaLnBrk="1" fontAlgn="auto" latinLnBrk="0" hangingPunct="1">
              <a:lnSpc>
                <a:spcPct val="100000"/>
              </a:lnSpc>
              <a:spcBef>
                <a:spcPts val="600"/>
              </a:spcBef>
              <a:spcAft>
                <a:spcPts val="0"/>
              </a:spcAft>
              <a:buClrTx/>
              <a:buSzPct val="105000"/>
              <a:buFontTx/>
              <a:buNone/>
              <a:tabLst/>
              <a:defRPr sz="2000" kern="1200">
                <a:solidFill>
                  <a:schemeClr val="tx1"/>
                </a:solidFill>
                <a:latin typeface="Arial Narrow" panose="020B0606020202030204" pitchFamily="34" charset="0"/>
                <a:ea typeface="+mn-ea"/>
                <a:cs typeface="+mn-cs"/>
              </a:defRPr>
            </a:lvl1pPr>
            <a:lvl2pPr marL="216000" indent="-216000" algn="l" defTabSz="914400" rtl="0" eaLnBrk="1" latinLnBrk="0" hangingPunct="1">
              <a:lnSpc>
                <a:spcPct val="100000"/>
              </a:lnSpc>
              <a:spcBef>
                <a:spcPts val="900"/>
              </a:spcBef>
              <a:buSzPct val="10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2pPr>
            <a:lvl3pPr marL="720000" indent="-216000" algn="l" defTabSz="914400" rtl="0" eaLnBrk="1" latinLnBrk="0" hangingPunct="1">
              <a:lnSpc>
                <a:spcPct val="100000"/>
              </a:lnSpc>
              <a:spcBef>
                <a:spcPts val="900"/>
              </a:spcBef>
              <a:buSzPct val="90000"/>
              <a:buFont typeface="Wingdings" panose="05000000000000000000" pitchFamily="2" charset="2"/>
              <a:buChar char="§"/>
              <a:defRPr sz="2000" kern="1200" baseline="0">
                <a:solidFill>
                  <a:schemeClr val="tx1"/>
                </a:solidFill>
                <a:latin typeface="Arial Narrow" panose="020B0606020202030204" pitchFamily="34" charset="0"/>
                <a:ea typeface="+mn-ea"/>
                <a:cs typeface="+mn-cs"/>
              </a:defRPr>
            </a:lvl3pPr>
            <a:lvl4pPr marL="1080000" indent="-216000" algn="l" defTabSz="914400" rtl="0" eaLnBrk="1" latinLnBrk="0" hangingPunct="1">
              <a:lnSpc>
                <a:spcPct val="100000"/>
              </a:lnSpc>
              <a:spcBef>
                <a:spcPts val="900"/>
              </a:spcBef>
              <a:buSzPct val="8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4pPr>
            <a:lvl5pPr marL="1440000" indent="-216000" algn="l" defTabSz="914400" rtl="0" eaLnBrk="1" latinLnBrk="0" hangingPunct="1">
              <a:lnSpc>
                <a:spcPct val="100000"/>
              </a:lnSpc>
              <a:spcBef>
                <a:spcPts val="900"/>
              </a:spcBef>
              <a:buSzPct val="70000"/>
              <a:buFont typeface="Wingdings" panose="05000000000000000000" pitchFamily="2" charset="2"/>
              <a:buChar char="§"/>
              <a:defRPr sz="20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4488" lvl="1" indent="-342900" fontAlgn="auto">
              <a:spcBef>
                <a:spcPts val="1100"/>
              </a:spcBef>
              <a:spcAft>
                <a:spcPts val="0"/>
              </a:spcAft>
              <a:buSzPct val="105000"/>
              <a:tabLst>
                <a:tab pos="0" algn="l"/>
                <a:tab pos="654050" algn="l"/>
                <a:tab pos="927100" algn="l"/>
                <a:tab pos="1174750" algn="l"/>
              </a:tabLst>
              <a:defRPr/>
            </a:pPr>
            <a:r>
              <a:rPr lang="en-US" kern="0"/>
              <a:t>Ventilation and Anesthesia</a:t>
            </a:r>
          </a:p>
          <a:p>
            <a:pPr marL="1588" lvl="1" indent="0" fontAlgn="auto">
              <a:spcBef>
                <a:spcPts val="1100"/>
              </a:spcBef>
              <a:spcAft>
                <a:spcPts val="0"/>
              </a:spcAft>
              <a:buSzPct val="105000"/>
              <a:buNone/>
              <a:tabLst>
                <a:tab pos="0" algn="l"/>
                <a:tab pos="654050" algn="l"/>
                <a:tab pos="927100" algn="l"/>
                <a:tab pos="1174750" algn="l"/>
              </a:tabLst>
              <a:defRPr/>
            </a:pPr>
            <a:endParaRPr lang="en-US" kern="0"/>
          </a:p>
        </p:txBody>
      </p:sp>
      <p:grpSp>
        <p:nvGrpSpPr>
          <p:cNvPr id="42" name="Group 41"/>
          <p:cNvGrpSpPr/>
          <p:nvPr/>
        </p:nvGrpSpPr>
        <p:grpSpPr>
          <a:xfrm>
            <a:off x="936000" y="2592000"/>
            <a:ext cx="4278037" cy="108000"/>
            <a:chOff x="1173561" y="2355638"/>
            <a:chExt cx="4278037" cy="108000"/>
          </a:xfrm>
        </p:grpSpPr>
        <p:cxnSp>
          <p:nvCxnSpPr>
            <p:cNvPr id="17" name="Straight Connector 16"/>
            <p:cNvCxnSpPr/>
            <p:nvPr/>
          </p:nvCxnSpPr>
          <p:spPr>
            <a:xfrm>
              <a:off x="1173561" y="2458115"/>
              <a:ext cx="4169494"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30" name="Isosceles Triangle 29"/>
            <p:cNvSpPr/>
            <p:nvPr/>
          </p:nvSpPr>
          <p:spPr>
            <a:xfrm rot="8580000">
              <a:off x="5163598" y="2355638"/>
              <a:ext cx="288000" cy="108000"/>
            </a:xfrm>
            <a:prstGeom prst="triangle">
              <a:avLst/>
            </a:prstGeom>
            <a:solidFill>
              <a:srgbClr val="66CC33"/>
            </a:solidFill>
            <a:ln>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TextBox 33"/>
          <p:cNvSpPr txBox="1"/>
          <p:nvPr/>
        </p:nvSpPr>
        <p:spPr>
          <a:xfrm>
            <a:off x="4860000" y="2088000"/>
            <a:ext cx="947695" cy="307777"/>
          </a:xfrm>
          <a:prstGeom prst="rect">
            <a:avLst/>
          </a:prstGeom>
          <a:noFill/>
        </p:spPr>
        <p:txBody>
          <a:bodyPr wrap="none" rtlCol="0">
            <a:spAutoFit/>
          </a:bodyPr>
          <a:lstStyle/>
          <a:p>
            <a:pPr algn="ctr"/>
            <a:r>
              <a:rPr lang="en-US" sz="1400" b="1">
                <a:solidFill>
                  <a:srgbClr val="66CC33"/>
                </a:solidFill>
              </a:rPr>
              <a:t>Inspiratory</a:t>
            </a:r>
          </a:p>
        </p:txBody>
      </p:sp>
      <p:grpSp>
        <p:nvGrpSpPr>
          <p:cNvPr id="53" name="Group 52"/>
          <p:cNvGrpSpPr/>
          <p:nvPr/>
        </p:nvGrpSpPr>
        <p:grpSpPr>
          <a:xfrm>
            <a:off x="2874690" y="4090476"/>
            <a:ext cx="2339347" cy="108000"/>
            <a:chOff x="2874690" y="4032000"/>
            <a:chExt cx="2339347" cy="108000"/>
          </a:xfrm>
        </p:grpSpPr>
        <p:cxnSp>
          <p:nvCxnSpPr>
            <p:cNvPr id="44" name="Straight Connector 43"/>
            <p:cNvCxnSpPr/>
            <p:nvPr/>
          </p:nvCxnSpPr>
          <p:spPr>
            <a:xfrm>
              <a:off x="2874690" y="4134477"/>
              <a:ext cx="2230804"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45" name="Isosceles Triangle 44"/>
            <p:cNvSpPr/>
            <p:nvPr/>
          </p:nvSpPr>
          <p:spPr>
            <a:xfrm rot="8580000">
              <a:off x="4926037" y="4032000"/>
              <a:ext cx="288000" cy="108000"/>
            </a:xfrm>
            <a:prstGeom prst="triangle">
              <a:avLst/>
            </a:prstGeom>
            <a:solidFill>
              <a:srgbClr val="66CC33"/>
            </a:solidFill>
            <a:ln>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Group 45"/>
          <p:cNvGrpSpPr/>
          <p:nvPr/>
        </p:nvGrpSpPr>
        <p:grpSpPr>
          <a:xfrm>
            <a:off x="936000" y="6012000"/>
            <a:ext cx="4278037" cy="108000"/>
            <a:chOff x="1173561" y="2355638"/>
            <a:chExt cx="4278037" cy="108000"/>
          </a:xfrm>
        </p:grpSpPr>
        <p:cxnSp>
          <p:nvCxnSpPr>
            <p:cNvPr id="47" name="Straight Connector 46"/>
            <p:cNvCxnSpPr/>
            <p:nvPr/>
          </p:nvCxnSpPr>
          <p:spPr>
            <a:xfrm>
              <a:off x="1173561" y="2458115"/>
              <a:ext cx="4169494"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48" name="Isosceles Triangle 47"/>
            <p:cNvSpPr/>
            <p:nvPr/>
          </p:nvSpPr>
          <p:spPr>
            <a:xfrm rot="8580000">
              <a:off x="5163598" y="2355638"/>
              <a:ext cx="288000" cy="108000"/>
            </a:xfrm>
            <a:prstGeom prst="triangle">
              <a:avLst/>
            </a:prstGeom>
            <a:solidFill>
              <a:srgbClr val="66CC33"/>
            </a:solidFill>
            <a:ln>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9" name="TextBox 48"/>
          <p:cNvSpPr txBox="1"/>
          <p:nvPr/>
        </p:nvSpPr>
        <p:spPr>
          <a:xfrm>
            <a:off x="2035636" y="2377202"/>
            <a:ext cx="684803" cy="261610"/>
          </a:xfrm>
          <a:prstGeom prst="rect">
            <a:avLst/>
          </a:prstGeom>
          <a:noFill/>
        </p:spPr>
        <p:txBody>
          <a:bodyPr wrap="none" rtlCol="0">
            <a:spAutoFit/>
          </a:bodyPr>
          <a:lstStyle/>
          <a:p>
            <a:r>
              <a:rPr lang="en-US" sz="1100"/>
              <a:t>SFM3000</a:t>
            </a:r>
            <a:endParaRPr lang="en-US" sz="1200"/>
          </a:p>
        </p:txBody>
      </p:sp>
      <p:sp>
        <p:nvSpPr>
          <p:cNvPr id="50" name="TextBox 49"/>
          <p:cNvSpPr txBox="1"/>
          <p:nvPr/>
        </p:nvSpPr>
        <p:spPr>
          <a:xfrm>
            <a:off x="3976693" y="2376000"/>
            <a:ext cx="684803" cy="261610"/>
          </a:xfrm>
          <a:prstGeom prst="rect">
            <a:avLst/>
          </a:prstGeom>
          <a:noFill/>
        </p:spPr>
        <p:txBody>
          <a:bodyPr wrap="none" rtlCol="0">
            <a:spAutoFit/>
          </a:bodyPr>
          <a:lstStyle/>
          <a:p>
            <a:r>
              <a:rPr lang="en-US" sz="1100"/>
              <a:t>SFM3100</a:t>
            </a:r>
            <a:endParaRPr lang="en-US" sz="1200"/>
          </a:p>
        </p:txBody>
      </p:sp>
      <p:sp>
        <p:nvSpPr>
          <p:cNvPr id="52" name="TextBox 51"/>
          <p:cNvSpPr txBox="1"/>
          <p:nvPr/>
        </p:nvSpPr>
        <p:spPr>
          <a:xfrm>
            <a:off x="4972007" y="3370476"/>
            <a:ext cx="652744" cy="523220"/>
          </a:xfrm>
          <a:prstGeom prst="rect">
            <a:avLst/>
          </a:prstGeom>
          <a:noFill/>
        </p:spPr>
        <p:txBody>
          <a:bodyPr wrap="none" rtlCol="0">
            <a:spAutoFit/>
          </a:bodyPr>
          <a:lstStyle/>
          <a:p>
            <a:pPr algn="ctr"/>
            <a:r>
              <a:rPr lang="en-US" sz="1400" b="1">
                <a:solidFill>
                  <a:srgbClr val="66CC33"/>
                </a:solidFill>
              </a:rPr>
              <a:t>Gas</a:t>
            </a:r>
          </a:p>
          <a:p>
            <a:pPr algn="ctr"/>
            <a:r>
              <a:rPr lang="en-US" sz="1400" b="1">
                <a:solidFill>
                  <a:srgbClr val="66CC33"/>
                </a:solidFill>
              </a:rPr>
              <a:t>Mixing</a:t>
            </a:r>
          </a:p>
        </p:txBody>
      </p:sp>
      <p:grpSp>
        <p:nvGrpSpPr>
          <p:cNvPr id="87" name="Group 86"/>
          <p:cNvGrpSpPr/>
          <p:nvPr/>
        </p:nvGrpSpPr>
        <p:grpSpPr>
          <a:xfrm>
            <a:off x="828192" y="2995932"/>
            <a:ext cx="2164881" cy="108000"/>
            <a:chOff x="828192" y="2995932"/>
            <a:chExt cx="2164881" cy="108000"/>
          </a:xfrm>
        </p:grpSpPr>
        <p:cxnSp>
          <p:nvCxnSpPr>
            <p:cNvPr id="55" name="Straight Connector 54"/>
            <p:cNvCxnSpPr/>
            <p:nvPr/>
          </p:nvCxnSpPr>
          <p:spPr>
            <a:xfrm>
              <a:off x="936000" y="2999183"/>
              <a:ext cx="2057073"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56" name="Isosceles Triangle 55"/>
            <p:cNvSpPr/>
            <p:nvPr/>
          </p:nvSpPr>
          <p:spPr>
            <a:xfrm rot="19440000">
              <a:off x="828192" y="2995932"/>
              <a:ext cx="288000" cy="108000"/>
            </a:xfrm>
            <a:prstGeom prst="triangle">
              <a:avLst/>
            </a:prstGeom>
            <a:solidFill>
              <a:srgbClr val="66CC33"/>
            </a:solidFill>
            <a:ln>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2" name="TextBox 61"/>
          <p:cNvSpPr txBox="1"/>
          <p:nvPr/>
        </p:nvSpPr>
        <p:spPr>
          <a:xfrm>
            <a:off x="357756" y="3298476"/>
            <a:ext cx="914033" cy="307777"/>
          </a:xfrm>
          <a:prstGeom prst="rect">
            <a:avLst/>
          </a:prstGeom>
          <a:noFill/>
        </p:spPr>
        <p:txBody>
          <a:bodyPr wrap="none" rtlCol="0">
            <a:spAutoFit/>
          </a:bodyPr>
          <a:lstStyle/>
          <a:p>
            <a:pPr algn="ctr"/>
            <a:r>
              <a:rPr lang="en-US" sz="1400" b="1">
                <a:solidFill>
                  <a:srgbClr val="66CC33"/>
                </a:solidFill>
              </a:rPr>
              <a:t>Expiratory</a:t>
            </a:r>
          </a:p>
        </p:txBody>
      </p:sp>
      <p:sp>
        <p:nvSpPr>
          <p:cNvPr id="63" name="TextBox 62"/>
          <p:cNvSpPr txBox="1"/>
          <p:nvPr/>
        </p:nvSpPr>
        <p:spPr>
          <a:xfrm>
            <a:off x="934892" y="3081319"/>
            <a:ext cx="909223" cy="261610"/>
          </a:xfrm>
          <a:prstGeom prst="rect">
            <a:avLst/>
          </a:prstGeom>
          <a:noFill/>
        </p:spPr>
        <p:txBody>
          <a:bodyPr wrap="none" rtlCol="0">
            <a:spAutoFit/>
          </a:bodyPr>
          <a:lstStyle/>
          <a:p>
            <a:r>
              <a:rPr lang="en-US" sz="1100"/>
              <a:t>SFM3200-AW</a:t>
            </a:r>
            <a:endParaRPr lang="en-US" sz="1200"/>
          </a:p>
        </p:txBody>
      </p:sp>
      <p:sp>
        <p:nvSpPr>
          <p:cNvPr id="64" name="TextBox 63"/>
          <p:cNvSpPr txBox="1"/>
          <p:nvPr/>
        </p:nvSpPr>
        <p:spPr>
          <a:xfrm>
            <a:off x="3983206" y="3889627"/>
            <a:ext cx="684803" cy="261610"/>
          </a:xfrm>
          <a:prstGeom prst="rect">
            <a:avLst/>
          </a:prstGeom>
          <a:noFill/>
        </p:spPr>
        <p:txBody>
          <a:bodyPr wrap="none" rtlCol="0">
            <a:spAutoFit/>
          </a:bodyPr>
          <a:lstStyle/>
          <a:p>
            <a:r>
              <a:rPr lang="en-US" sz="1100"/>
              <a:t>SFM4300</a:t>
            </a:r>
            <a:endParaRPr lang="en-US" sz="1200"/>
          </a:p>
        </p:txBody>
      </p:sp>
      <p:sp>
        <p:nvSpPr>
          <p:cNvPr id="67" name="TextBox 66"/>
          <p:cNvSpPr txBox="1"/>
          <p:nvPr/>
        </p:nvSpPr>
        <p:spPr>
          <a:xfrm>
            <a:off x="4855992" y="5508000"/>
            <a:ext cx="808235" cy="307777"/>
          </a:xfrm>
          <a:prstGeom prst="rect">
            <a:avLst/>
          </a:prstGeom>
          <a:noFill/>
        </p:spPr>
        <p:txBody>
          <a:bodyPr wrap="none" rtlCol="0">
            <a:spAutoFit/>
          </a:bodyPr>
          <a:lstStyle/>
          <a:p>
            <a:pPr algn="ctr"/>
            <a:r>
              <a:rPr lang="en-US" sz="1400" b="1">
                <a:solidFill>
                  <a:srgbClr val="66CC33"/>
                </a:solidFill>
              </a:rPr>
              <a:t>Proximal</a:t>
            </a:r>
          </a:p>
        </p:txBody>
      </p:sp>
      <p:sp>
        <p:nvSpPr>
          <p:cNvPr id="68" name="TextBox 67"/>
          <p:cNvSpPr txBox="1"/>
          <p:nvPr/>
        </p:nvSpPr>
        <p:spPr>
          <a:xfrm>
            <a:off x="556441" y="5467757"/>
            <a:ext cx="1024639" cy="430887"/>
          </a:xfrm>
          <a:prstGeom prst="rect">
            <a:avLst/>
          </a:prstGeom>
          <a:noFill/>
        </p:spPr>
        <p:txBody>
          <a:bodyPr wrap="none" rtlCol="0">
            <a:spAutoFit/>
          </a:bodyPr>
          <a:lstStyle/>
          <a:p>
            <a:pPr algn="ctr"/>
            <a:r>
              <a:rPr lang="en-US" sz="1100" i="1"/>
              <a:t>Adults</a:t>
            </a:r>
          </a:p>
          <a:p>
            <a:r>
              <a:rPr lang="en-US" sz="1100"/>
              <a:t>SFM3300-AW/D</a:t>
            </a:r>
            <a:endParaRPr lang="en-US" sz="1200"/>
          </a:p>
        </p:txBody>
      </p:sp>
      <p:sp>
        <p:nvSpPr>
          <p:cNvPr id="70" name="TextBox 69"/>
          <p:cNvSpPr txBox="1"/>
          <p:nvPr/>
        </p:nvSpPr>
        <p:spPr>
          <a:xfrm>
            <a:off x="3347360" y="5617629"/>
            <a:ext cx="1024639" cy="430887"/>
          </a:xfrm>
          <a:prstGeom prst="rect">
            <a:avLst/>
          </a:prstGeom>
          <a:noFill/>
        </p:spPr>
        <p:txBody>
          <a:bodyPr wrap="none" rtlCol="0">
            <a:spAutoFit/>
          </a:bodyPr>
          <a:lstStyle/>
          <a:p>
            <a:pPr algn="ctr"/>
            <a:r>
              <a:rPr lang="en-US" sz="1100" i="1"/>
              <a:t>Neonates</a:t>
            </a:r>
          </a:p>
          <a:p>
            <a:r>
              <a:rPr lang="en-US" sz="1100"/>
              <a:t>SFM3400-AW/D</a:t>
            </a:r>
            <a:endParaRPr lang="en-US" sz="1200"/>
          </a:p>
        </p:txBody>
      </p:sp>
      <p:grpSp>
        <p:nvGrpSpPr>
          <p:cNvPr id="72" name="Group 71"/>
          <p:cNvGrpSpPr/>
          <p:nvPr/>
        </p:nvGrpSpPr>
        <p:grpSpPr>
          <a:xfrm>
            <a:off x="6480000" y="2592000"/>
            <a:ext cx="4278037" cy="108000"/>
            <a:chOff x="1173561" y="2355638"/>
            <a:chExt cx="4278037" cy="108000"/>
          </a:xfrm>
        </p:grpSpPr>
        <p:cxnSp>
          <p:nvCxnSpPr>
            <p:cNvPr id="73" name="Straight Connector 72"/>
            <p:cNvCxnSpPr/>
            <p:nvPr/>
          </p:nvCxnSpPr>
          <p:spPr>
            <a:xfrm>
              <a:off x="1173561" y="2458115"/>
              <a:ext cx="4169494"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74" name="Isosceles Triangle 73"/>
            <p:cNvSpPr/>
            <p:nvPr/>
          </p:nvSpPr>
          <p:spPr>
            <a:xfrm rot="8580000">
              <a:off x="5163598" y="2355638"/>
              <a:ext cx="288000" cy="108000"/>
            </a:xfrm>
            <a:prstGeom prst="triangle">
              <a:avLst/>
            </a:prstGeom>
            <a:solidFill>
              <a:srgbClr val="66CC33"/>
            </a:solidFill>
            <a:ln>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TextBox 74"/>
          <p:cNvSpPr txBox="1"/>
          <p:nvPr/>
        </p:nvSpPr>
        <p:spPr>
          <a:xfrm>
            <a:off x="10427786" y="1853982"/>
            <a:ext cx="957313" cy="523220"/>
          </a:xfrm>
          <a:prstGeom prst="rect">
            <a:avLst/>
          </a:prstGeom>
          <a:noFill/>
        </p:spPr>
        <p:txBody>
          <a:bodyPr wrap="none" rtlCol="0">
            <a:spAutoFit/>
          </a:bodyPr>
          <a:lstStyle/>
          <a:p>
            <a:pPr algn="ctr"/>
            <a:r>
              <a:rPr lang="en-US" sz="1400" b="1">
                <a:solidFill>
                  <a:srgbClr val="66CC33"/>
                </a:solidFill>
              </a:rPr>
              <a:t>Differential</a:t>
            </a:r>
          </a:p>
          <a:p>
            <a:pPr algn="ctr"/>
            <a:r>
              <a:rPr lang="en-US" sz="1400" b="1">
                <a:solidFill>
                  <a:srgbClr val="66CC33"/>
                </a:solidFill>
              </a:rPr>
              <a:t>pressure</a:t>
            </a:r>
          </a:p>
        </p:txBody>
      </p:sp>
      <p:sp>
        <p:nvSpPr>
          <p:cNvPr id="76" name="TextBox 75"/>
          <p:cNvSpPr txBox="1"/>
          <p:nvPr/>
        </p:nvSpPr>
        <p:spPr>
          <a:xfrm>
            <a:off x="7010704" y="2376000"/>
            <a:ext cx="614271" cy="261610"/>
          </a:xfrm>
          <a:prstGeom prst="rect">
            <a:avLst/>
          </a:prstGeom>
          <a:noFill/>
        </p:spPr>
        <p:txBody>
          <a:bodyPr wrap="none" rtlCol="0">
            <a:spAutoFit/>
          </a:bodyPr>
          <a:lstStyle/>
          <a:p>
            <a:r>
              <a:rPr lang="en-US" sz="1100"/>
              <a:t>SDP800</a:t>
            </a:r>
            <a:endParaRPr lang="en-US" sz="1200"/>
          </a:p>
        </p:txBody>
      </p:sp>
      <p:sp>
        <p:nvSpPr>
          <p:cNvPr id="77" name="TextBox 76"/>
          <p:cNvSpPr txBox="1"/>
          <p:nvPr/>
        </p:nvSpPr>
        <p:spPr>
          <a:xfrm>
            <a:off x="8448512" y="2376000"/>
            <a:ext cx="614271" cy="261610"/>
          </a:xfrm>
          <a:prstGeom prst="rect">
            <a:avLst/>
          </a:prstGeom>
          <a:noFill/>
        </p:spPr>
        <p:txBody>
          <a:bodyPr wrap="none" rtlCol="0">
            <a:spAutoFit/>
          </a:bodyPr>
          <a:lstStyle/>
          <a:p>
            <a:r>
              <a:rPr lang="en-US" sz="1100"/>
              <a:t>SDP810</a:t>
            </a:r>
            <a:endParaRPr lang="en-US" sz="1200"/>
          </a:p>
        </p:txBody>
      </p:sp>
      <p:sp>
        <p:nvSpPr>
          <p:cNvPr id="78" name="TextBox 77"/>
          <p:cNvSpPr txBox="1"/>
          <p:nvPr/>
        </p:nvSpPr>
        <p:spPr>
          <a:xfrm>
            <a:off x="9696561" y="2376000"/>
            <a:ext cx="543739" cy="261610"/>
          </a:xfrm>
          <a:prstGeom prst="rect">
            <a:avLst/>
          </a:prstGeom>
          <a:noFill/>
        </p:spPr>
        <p:txBody>
          <a:bodyPr wrap="none" rtlCol="0">
            <a:spAutoFit/>
          </a:bodyPr>
          <a:lstStyle/>
          <a:p>
            <a:r>
              <a:rPr lang="en-US" sz="1100"/>
              <a:t>SDP3x</a:t>
            </a:r>
            <a:endParaRPr lang="en-US" sz="1200"/>
          </a:p>
        </p:txBody>
      </p:sp>
      <p:pic>
        <p:nvPicPr>
          <p:cNvPr id="79" name="Picture 7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39488" y="4091724"/>
            <a:ext cx="2350381" cy="1800000"/>
          </a:xfrm>
          <a:prstGeom prst="rect">
            <a:avLst/>
          </a:prstGeom>
        </p:spPr>
      </p:pic>
      <p:grpSp>
        <p:nvGrpSpPr>
          <p:cNvPr id="81" name="Group 80"/>
          <p:cNvGrpSpPr/>
          <p:nvPr/>
        </p:nvGrpSpPr>
        <p:grpSpPr>
          <a:xfrm>
            <a:off x="6480000" y="6012000"/>
            <a:ext cx="4278037" cy="108000"/>
            <a:chOff x="1173561" y="2355638"/>
            <a:chExt cx="4278037" cy="108000"/>
          </a:xfrm>
        </p:grpSpPr>
        <p:cxnSp>
          <p:nvCxnSpPr>
            <p:cNvPr id="82" name="Straight Connector 81"/>
            <p:cNvCxnSpPr/>
            <p:nvPr/>
          </p:nvCxnSpPr>
          <p:spPr>
            <a:xfrm>
              <a:off x="1173561" y="2458115"/>
              <a:ext cx="4169494" cy="0"/>
            </a:xfrm>
            <a:prstGeom prst="line">
              <a:avLst/>
            </a:prstGeom>
            <a:ln w="12700">
              <a:solidFill>
                <a:srgbClr val="66CC33"/>
              </a:solidFill>
            </a:ln>
          </p:spPr>
          <p:style>
            <a:lnRef idx="1">
              <a:schemeClr val="accent1"/>
            </a:lnRef>
            <a:fillRef idx="0">
              <a:schemeClr val="accent1"/>
            </a:fillRef>
            <a:effectRef idx="0">
              <a:schemeClr val="accent1"/>
            </a:effectRef>
            <a:fontRef idx="minor">
              <a:schemeClr val="tx1"/>
            </a:fontRef>
          </p:style>
        </p:cxnSp>
        <p:sp>
          <p:nvSpPr>
            <p:cNvPr id="83" name="Isosceles Triangle 82"/>
            <p:cNvSpPr/>
            <p:nvPr/>
          </p:nvSpPr>
          <p:spPr>
            <a:xfrm rot="8580000">
              <a:off x="5163598" y="2355638"/>
              <a:ext cx="288000" cy="108000"/>
            </a:xfrm>
            <a:prstGeom prst="triangle">
              <a:avLst/>
            </a:prstGeom>
            <a:solidFill>
              <a:srgbClr val="66CC33"/>
            </a:solidFill>
            <a:ln>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4" name="TextBox 83"/>
          <p:cNvSpPr txBox="1"/>
          <p:nvPr/>
        </p:nvSpPr>
        <p:spPr>
          <a:xfrm>
            <a:off x="10407059" y="5292000"/>
            <a:ext cx="1447832" cy="523220"/>
          </a:xfrm>
          <a:prstGeom prst="rect">
            <a:avLst/>
          </a:prstGeom>
          <a:noFill/>
        </p:spPr>
        <p:txBody>
          <a:bodyPr wrap="none" rtlCol="0">
            <a:spAutoFit/>
          </a:bodyPr>
          <a:lstStyle/>
          <a:p>
            <a:pPr algn="ctr"/>
            <a:r>
              <a:rPr lang="en-US" sz="1400" b="1">
                <a:solidFill>
                  <a:srgbClr val="66CC33"/>
                </a:solidFill>
              </a:rPr>
              <a:t>Mass Flow Meters</a:t>
            </a:r>
          </a:p>
          <a:p>
            <a:pPr algn="ctr"/>
            <a:r>
              <a:rPr lang="en-US" sz="1400" b="1">
                <a:solidFill>
                  <a:srgbClr val="66CC33"/>
                </a:solidFill>
              </a:rPr>
              <a:t>and Controllers</a:t>
            </a:r>
          </a:p>
        </p:txBody>
      </p:sp>
      <p:sp>
        <p:nvSpPr>
          <p:cNvPr id="85" name="TextBox 84"/>
          <p:cNvSpPr txBox="1"/>
          <p:nvPr/>
        </p:nvSpPr>
        <p:spPr>
          <a:xfrm>
            <a:off x="6859385" y="5156715"/>
            <a:ext cx="934871" cy="846386"/>
          </a:xfrm>
          <a:prstGeom prst="rect">
            <a:avLst/>
          </a:prstGeom>
          <a:noFill/>
        </p:spPr>
        <p:txBody>
          <a:bodyPr wrap="none" rtlCol="0">
            <a:spAutoFit/>
          </a:bodyPr>
          <a:lstStyle/>
          <a:p>
            <a:pPr algn="ctr"/>
            <a:r>
              <a:rPr lang="en-US" sz="1100" i="1"/>
              <a:t>Flow meter</a:t>
            </a:r>
          </a:p>
          <a:p>
            <a:pPr algn="ctr"/>
            <a:r>
              <a:rPr lang="en-US" sz="1100"/>
              <a:t>SFM5300</a:t>
            </a:r>
          </a:p>
          <a:p>
            <a:pPr algn="ctr"/>
            <a:endParaRPr lang="en-US" sz="500"/>
          </a:p>
          <a:p>
            <a:pPr algn="ctr"/>
            <a:r>
              <a:rPr lang="en-US" sz="1100" i="1"/>
              <a:t>Flow controller</a:t>
            </a:r>
          </a:p>
          <a:p>
            <a:pPr algn="ctr"/>
            <a:r>
              <a:rPr lang="en-US" sz="1100"/>
              <a:t>SFC5300</a:t>
            </a:r>
            <a:endParaRPr lang="en-US" sz="1200"/>
          </a:p>
        </p:txBody>
      </p:sp>
      <p:sp>
        <p:nvSpPr>
          <p:cNvPr id="86" name="TextBox 85"/>
          <p:cNvSpPr txBox="1"/>
          <p:nvPr/>
        </p:nvSpPr>
        <p:spPr>
          <a:xfrm>
            <a:off x="9717582" y="3704201"/>
            <a:ext cx="1217000" cy="846386"/>
          </a:xfrm>
          <a:prstGeom prst="rect">
            <a:avLst/>
          </a:prstGeom>
          <a:noFill/>
        </p:spPr>
        <p:txBody>
          <a:bodyPr wrap="none" rtlCol="0">
            <a:spAutoFit/>
          </a:bodyPr>
          <a:lstStyle/>
          <a:p>
            <a:pPr algn="ctr"/>
            <a:r>
              <a:rPr lang="en-US" sz="1100" i="1"/>
              <a:t>Flow meter</a:t>
            </a:r>
          </a:p>
          <a:p>
            <a:pPr algn="ctr"/>
            <a:r>
              <a:rPr lang="en-US" sz="1100"/>
              <a:t>SFM5400/SFM5500</a:t>
            </a:r>
          </a:p>
          <a:p>
            <a:pPr algn="ctr"/>
            <a:endParaRPr lang="en-US" sz="500"/>
          </a:p>
          <a:p>
            <a:pPr algn="ctr"/>
            <a:r>
              <a:rPr lang="en-US" sz="1100" i="1"/>
              <a:t>Flow controller</a:t>
            </a:r>
          </a:p>
          <a:p>
            <a:pPr algn="ctr"/>
            <a:r>
              <a:rPr lang="en-US" sz="1100"/>
              <a:t>SFC5400/SFC5500</a:t>
            </a:r>
            <a:endParaRPr lang="en-US" sz="1200"/>
          </a:p>
        </p:txBody>
      </p:sp>
      <p:sp>
        <p:nvSpPr>
          <p:cNvPr id="51" name="Rectangle 50">
            <a:extLst>
              <a:ext uri="{FF2B5EF4-FFF2-40B4-BE49-F238E27FC236}">
                <a16:creationId xmlns:a16="http://schemas.microsoft.com/office/drawing/2014/main" id="{CF11B032-AAE6-42D5-9B80-8C1F5DD6B245}"/>
              </a:ext>
            </a:extLst>
          </p:cNvPr>
          <p:cNvSpPr/>
          <p:nvPr/>
        </p:nvSpPr>
        <p:spPr>
          <a:xfrm>
            <a:off x="10750731" y="1"/>
            <a:ext cx="1441269" cy="1436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35612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err="1"/>
              <a:t>Sensirion’s</a:t>
            </a:r>
            <a:r>
              <a:rPr lang="en-US"/>
              <a:t> Gas Flow Sensor - Applications</a:t>
            </a:r>
          </a:p>
        </p:txBody>
      </p:sp>
      <p:sp>
        <p:nvSpPr>
          <p:cNvPr id="3" name="Rechteck 2"/>
          <p:cNvSpPr/>
          <p:nvPr/>
        </p:nvSpPr>
        <p:spPr>
          <a:xfrm>
            <a:off x="872285" y="967598"/>
            <a:ext cx="10504799" cy="641404"/>
          </a:xfrm>
          <a:prstGeom prst="rect">
            <a:avLst/>
          </a:prstGeom>
          <a:solidFill>
            <a:srgbClr val="66CC33"/>
          </a:solidFill>
          <a:ln w="25400">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 name="Rechteck 53"/>
          <p:cNvSpPr/>
          <p:nvPr/>
        </p:nvSpPr>
        <p:spPr>
          <a:xfrm>
            <a:off x="877602" y="1631903"/>
            <a:ext cx="10504800" cy="4170955"/>
          </a:xfrm>
          <a:prstGeom prst="rect">
            <a:avLst/>
          </a:prstGeom>
          <a:solidFill>
            <a:schemeClr val="bg1"/>
          </a:solidFill>
          <a:ln w="25400">
            <a:solidFill>
              <a:srgbClr val="66C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8"/>
          <p:cNvSpPr/>
          <p:nvPr/>
        </p:nvSpPr>
        <p:spPr>
          <a:xfrm>
            <a:off x="1363230" y="1112554"/>
            <a:ext cx="7003332" cy="351173"/>
          </a:xfrm>
          <a:prstGeom prst="rect">
            <a:avLst/>
          </a:prstGeom>
          <a:noFill/>
        </p:spPr>
        <p:txBody>
          <a:bodyPr wrap="square" lIns="0" tIns="0" rIns="0" bIns="0" rtlCol="0" anchor="t">
            <a:noAutofit/>
          </a:bodyPr>
          <a:lstStyle/>
          <a:p>
            <a:pPr>
              <a:spcBef>
                <a:spcPct val="50000"/>
              </a:spcBef>
              <a:buClr>
                <a:schemeClr val="bg1"/>
              </a:buClr>
            </a:pPr>
            <a:r>
              <a:rPr lang="en-US" sz="2400" b="1">
                <a:solidFill>
                  <a:schemeClr val="bg1"/>
                </a:solidFill>
              </a:rPr>
              <a:t>Other Application Ideas </a:t>
            </a:r>
            <a:endParaRPr lang="en-US" sz="2400" b="1">
              <a:solidFill>
                <a:schemeClr val="bg1"/>
              </a:solidFill>
              <a:latin typeface="Arial Narrow" panose="020B0606020202030204" pitchFamily="34" charset="0"/>
            </a:endParaRPr>
          </a:p>
        </p:txBody>
      </p:sp>
      <p:sp>
        <p:nvSpPr>
          <p:cNvPr id="18" name="TextBox 17">
            <a:hlinkClick r:id="" action="ppaction://noaction"/>
          </p:cNvPr>
          <p:cNvSpPr txBox="1"/>
          <p:nvPr/>
        </p:nvSpPr>
        <p:spPr>
          <a:xfrm>
            <a:off x="4193358" y="3015738"/>
            <a:ext cx="1757084" cy="307777"/>
          </a:xfrm>
          <a:prstGeom prst="rect">
            <a:avLst/>
          </a:prstGeom>
          <a:noFill/>
        </p:spPr>
        <p:txBody>
          <a:bodyPr wrap="square" rtlCol="0">
            <a:spAutoFit/>
          </a:bodyPr>
          <a:lstStyle/>
          <a:p>
            <a:pPr algn="ctr"/>
            <a:r>
              <a:rPr lang="de-CH" sz="1400" b="1">
                <a:latin typeface="+mn-lt"/>
              </a:rPr>
              <a:t>High</a:t>
            </a:r>
            <a:r>
              <a:rPr lang="de-CH" sz="1400" b="1">
                <a:solidFill>
                  <a:schemeClr val="bg1"/>
                </a:solidFill>
                <a:latin typeface="+mn-lt"/>
              </a:rPr>
              <a:t> </a:t>
            </a:r>
            <a:r>
              <a:rPr lang="de-CH" sz="1400" b="1">
                <a:latin typeface="+mn-lt"/>
              </a:rPr>
              <a:t>Flow</a:t>
            </a:r>
            <a:r>
              <a:rPr lang="de-CH" sz="1400" b="1">
                <a:solidFill>
                  <a:schemeClr val="bg1"/>
                </a:solidFill>
                <a:latin typeface="+mn-lt"/>
              </a:rPr>
              <a:t> </a:t>
            </a:r>
            <a:r>
              <a:rPr lang="de-CH" sz="1400" b="1">
                <a:latin typeface="+mn-lt"/>
              </a:rPr>
              <a:t>Ventilation</a:t>
            </a:r>
            <a:r>
              <a:rPr lang="de-CH" sz="1400" b="1">
                <a:solidFill>
                  <a:schemeClr val="bg1"/>
                </a:solidFill>
                <a:latin typeface="+mn-lt"/>
              </a:rPr>
              <a:t> </a:t>
            </a:r>
          </a:p>
        </p:txBody>
      </p:sp>
      <p:pic>
        <p:nvPicPr>
          <p:cNvPr id="19" name="Picture 18"/>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t="14041" r="12350" b="11511"/>
          <a:stretch/>
        </p:blipFill>
        <p:spPr>
          <a:xfrm>
            <a:off x="4308832" y="1873630"/>
            <a:ext cx="1411493" cy="1198880"/>
          </a:xfrm>
          <a:prstGeom prst="rect">
            <a:avLst/>
          </a:prstGeom>
        </p:spPr>
      </p:pic>
      <p:pic>
        <p:nvPicPr>
          <p:cNvPr id="20" name="Picture 19"/>
          <p:cNvPicPr>
            <a:picLocks noChangeAspect="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rot="771186">
            <a:off x="6914292" y="1759410"/>
            <a:ext cx="1138736" cy="1455685"/>
          </a:xfrm>
          <a:prstGeom prst="rect">
            <a:avLst/>
          </a:prstGeom>
        </p:spPr>
      </p:pic>
      <p:sp>
        <p:nvSpPr>
          <p:cNvPr id="21" name="TextBox 20">
            <a:hlinkClick r:id="" action="ppaction://noaction"/>
          </p:cNvPr>
          <p:cNvSpPr txBox="1"/>
          <p:nvPr/>
        </p:nvSpPr>
        <p:spPr>
          <a:xfrm>
            <a:off x="6866777" y="2977779"/>
            <a:ext cx="1275312" cy="307777"/>
          </a:xfrm>
          <a:prstGeom prst="rect">
            <a:avLst/>
          </a:prstGeom>
          <a:noFill/>
        </p:spPr>
        <p:txBody>
          <a:bodyPr wrap="square" rtlCol="0">
            <a:spAutoFit/>
          </a:bodyPr>
          <a:lstStyle/>
          <a:p>
            <a:pPr algn="ctr"/>
            <a:r>
              <a:rPr lang="de-CH" sz="1400" b="1">
                <a:latin typeface="+mn-lt"/>
              </a:rPr>
              <a:t>Nebulizer</a:t>
            </a:r>
          </a:p>
        </p:txBody>
      </p:sp>
      <p:pic>
        <p:nvPicPr>
          <p:cNvPr id="22" name="Picture 21"/>
          <p:cNvPicPr>
            <a:picLocks noChangeAspect="1"/>
          </p:cNvPicPr>
          <p:nvPr/>
        </p:nvPicPr>
        <p:blipFill rotWithShape="1">
          <a:blip r:embed="rId5" cstate="print">
            <a:extLst>
              <a:ext uri="{28A0092B-C50C-407E-A947-70E740481C1C}">
                <a14:useLocalDpi xmlns:a14="http://schemas.microsoft.com/office/drawing/2010/main" val="0"/>
              </a:ext>
            </a:extLst>
          </a:blip>
          <a:srcRect l="26211" r="19739"/>
          <a:stretch/>
        </p:blipFill>
        <p:spPr>
          <a:xfrm rot="20474319">
            <a:off x="9430589" y="1804177"/>
            <a:ext cx="1147307" cy="1178712"/>
          </a:xfrm>
          <a:prstGeom prst="rect">
            <a:avLst/>
          </a:prstGeom>
        </p:spPr>
      </p:pic>
      <p:sp>
        <p:nvSpPr>
          <p:cNvPr id="23" name="TextBox 22">
            <a:hlinkClick r:id="" action="ppaction://noaction"/>
          </p:cNvPr>
          <p:cNvSpPr txBox="1"/>
          <p:nvPr/>
        </p:nvSpPr>
        <p:spPr>
          <a:xfrm>
            <a:off x="9573611" y="3016612"/>
            <a:ext cx="1008112" cy="307777"/>
          </a:xfrm>
          <a:prstGeom prst="rect">
            <a:avLst/>
          </a:prstGeom>
          <a:noFill/>
        </p:spPr>
        <p:txBody>
          <a:bodyPr wrap="square" rtlCol="0">
            <a:spAutoFit/>
          </a:bodyPr>
          <a:lstStyle/>
          <a:p>
            <a:pPr algn="ctr"/>
            <a:r>
              <a:rPr lang="de-CH" sz="1400" b="1">
                <a:latin typeface="+mn-lt"/>
              </a:rPr>
              <a:t>Nitric</a:t>
            </a:r>
            <a:r>
              <a:rPr lang="de-CH" sz="1400" b="1">
                <a:solidFill>
                  <a:schemeClr val="bg1"/>
                </a:solidFill>
                <a:latin typeface="+mn-lt"/>
              </a:rPr>
              <a:t> </a:t>
            </a:r>
            <a:r>
              <a:rPr lang="de-CH" sz="1400" b="1">
                <a:latin typeface="+mn-lt"/>
              </a:rPr>
              <a:t>Oxide</a:t>
            </a:r>
          </a:p>
        </p:txBody>
      </p:sp>
      <p:sp>
        <p:nvSpPr>
          <p:cNvPr id="26" name="Rechteck 8"/>
          <p:cNvSpPr/>
          <p:nvPr/>
        </p:nvSpPr>
        <p:spPr>
          <a:xfrm>
            <a:off x="1363230" y="3816746"/>
            <a:ext cx="7003332" cy="351173"/>
          </a:xfrm>
          <a:prstGeom prst="rect">
            <a:avLst/>
          </a:prstGeom>
          <a:noFill/>
        </p:spPr>
        <p:txBody>
          <a:bodyPr wrap="square" lIns="0" tIns="0" rIns="0" bIns="0" rtlCol="0" anchor="t">
            <a:noAutofit/>
          </a:bodyPr>
          <a:lstStyle/>
          <a:p>
            <a:pPr>
              <a:spcBef>
                <a:spcPct val="50000"/>
              </a:spcBef>
              <a:buClr>
                <a:schemeClr val="bg1"/>
              </a:buClr>
            </a:pPr>
            <a:r>
              <a:rPr lang="en-US" sz="2400" b="1">
                <a:solidFill>
                  <a:schemeClr val="bg1"/>
                </a:solidFill>
              </a:rPr>
              <a:t>Potential Future High-Volume Applications </a:t>
            </a:r>
            <a:endParaRPr lang="en-US" sz="2400" b="1">
              <a:solidFill>
                <a:schemeClr val="bg1"/>
              </a:solidFill>
              <a:latin typeface="Arial Narrow" panose="020B0606020202030204" pitchFamily="34" charset="0"/>
            </a:endParaRPr>
          </a:p>
        </p:txBody>
      </p:sp>
      <p:pic>
        <p:nvPicPr>
          <p:cNvPr id="36" name="Picture 35"/>
          <p:cNvPicPr>
            <a:picLocks noChangeAspect="1"/>
          </p:cNvPicPr>
          <p:nvPr/>
        </p:nvPicPr>
        <p:blipFill rotWithShape="1">
          <a:blip r:embed="rId6">
            <a:duotone>
              <a:schemeClr val="accent5">
                <a:shade val="45000"/>
                <a:satMod val="135000"/>
              </a:schemeClr>
              <a:prstClr val="white"/>
            </a:duotone>
            <a:extLst>
              <a:ext uri="{BEBA8EAE-BF5A-486C-A8C5-ECC9F3942E4B}">
                <a14:imgProps xmlns:a14="http://schemas.microsoft.com/office/drawing/2010/main">
                  <a14:imgLayer r:embed="rId7">
                    <a14:imgEffect>
                      <a14:saturation sat="33000"/>
                    </a14:imgEffect>
                    <a14:imgEffect>
                      <a14:brightnessContrast bright="20000" contrast="-40000"/>
                    </a14:imgEffect>
                  </a14:imgLayer>
                </a14:imgProps>
              </a:ext>
              <a:ext uri="{28A0092B-C50C-407E-A947-70E740481C1C}">
                <a14:useLocalDpi xmlns:a14="http://schemas.microsoft.com/office/drawing/2010/main" val="0"/>
              </a:ext>
            </a:extLst>
          </a:blip>
          <a:srcRect r="56656" b="5533"/>
          <a:stretch/>
        </p:blipFill>
        <p:spPr>
          <a:xfrm rot="20051506">
            <a:off x="1765798" y="3733344"/>
            <a:ext cx="1011239" cy="1240510"/>
          </a:xfrm>
          <a:prstGeom prst="rect">
            <a:avLst/>
          </a:prstGeom>
        </p:spPr>
      </p:pic>
      <p:sp>
        <p:nvSpPr>
          <p:cNvPr id="37" name="TextBox 36">
            <a:hlinkClick r:id="" action="ppaction://noaction"/>
          </p:cNvPr>
          <p:cNvSpPr txBox="1"/>
          <p:nvPr/>
        </p:nvSpPr>
        <p:spPr>
          <a:xfrm>
            <a:off x="1751649" y="5066001"/>
            <a:ext cx="1275312" cy="307777"/>
          </a:xfrm>
          <a:prstGeom prst="rect">
            <a:avLst/>
          </a:prstGeom>
          <a:noFill/>
        </p:spPr>
        <p:txBody>
          <a:bodyPr wrap="square" rtlCol="0">
            <a:spAutoFit/>
          </a:bodyPr>
          <a:lstStyle/>
          <a:p>
            <a:pPr algn="ctr"/>
            <a:r>
              <a:rPr lang="de-CH" sz="1400" b="1">
                <a:latin typeface="+mn-lt"/>
              </a:rPr>
              <a:t>Smart Inhaler</a:t>
            </a:r>
          </a:p>
        </p:txBody>
      </p:sp>
      <p:pic>
        <p:nvPicPr>
          <p:cNvPr id="38" name="Picture 37"/>
          <p:cNvPicPr>
            <a:picLocks noChangeAspect="1"/>
          </p:cNvPicPr>
          <p:nvPr/>
        </p:nvPicPr>
        <p:blipFill rotWithShape="1">
          <a:blip r:embed="rId8" cstate="print">
            <a:extLst>
              <a:ext uri="{28A0092B-C50C-407E-A947-70E740481C1C}">
                <a14:useLocalDpi xmlns:a14="http://schemas.microsoft.com/office/drawing/2010/main" val="0"/>
              </a:ext>
            </a:extLst>
          </a:blip>
          <a:srcRect l="24128" t="11880" r="17482" b="8085"/>
          <a:stretch/>
        </p:blipFill>
        <p:spPr>
          <a:xfrm>
            <a:off x="1854891" y="1818623"/>
            <a:ext cx="989525" cy="1258676"/>
          </a:xfrm>
          <a:prstGeom prst="rect">
            <a:avLst/>
          </a:prstGeom>
        </p:spPr>
      </p:pic>
      <p:sp>
        <p:nvSpPr>
          <p:cNvPr id="39" name="TextBox 38">
            <a:hlinkClick r:id="" action="ppaction://noaction"/>
          </p:cNvPr>
          <p:cNvSpPr txBox="1"/>
          <p:nvPr/>
        </p:nvSpPr>
        <p:spPr>
          <a:xfrm>
            <a:off x="1510763" y="3038072"/>
            <a:ext cx="1757084" cy="307777"/>
          </a:xfrm>
          <a:prstGeom prst="rect">
            <a:avLst/>
          </a:prstGeom>
          <a:noFill/>
        </p:spPr>
        <p:txBody>
          <a:bodyPr wrap="square" rtlCol="0">
            <a:spAutoFit/>
          </a:bodyPr>
          <a:lstStyle/>
          <a:p>
            <a:pPr algn="ctr"/>
            <a:r>
              <a:rPr lang="de-CH" sz="1400" b="1">
                <a:latin typeface="+mn-lt"/>
              </a:rPr>
              <a:t>Heart Lung Machine</a:t>
            </a:r>
            <a:endParaRPr lang="de-CH" sz="1400" b="1">
              <a:solidFill>
                <a:schemeClr val="bg1"/>
              </a:solidFill>
              <a:latin typeface="+mn-lt"/>
            </a:endParaRPr>
          </a:p>
        </p:txBody>
      </p:sp>
      <p:sp>
        <p:nvSpPr>
          <p:cNvPr id="41" name="TextBox 40">
            <a:hlinkClick r:id="" action="ppaction://noaction"/>
          </p:cNvPr>
          <p:cNvSpPr txBox="1"/>
          <p:nvPr/>
        </p:nvSpPr>
        <p:spPr>
          <a:xfrm>
            <a:off x="6522558" y="5066000"/>
            <a:ext cx="2079661" cy="307777"/>
          </a:xfrm>
          <a:prstGeom prst="rect">
            <a:avLst/>
          </a:prstGeom>
          <a:noFill/>
        </p:spPr>
        <p:txBody>
          <a:bodyPr wrap="square" rtlCol="0">
            <a:spAutoFit/>
          </a:bodyPr>
          <a:lstStyle/>
          <a:p>
            <a:pPr algn="ctr"/>
            <a:r>
              <a:rPr lang="de-CH" sz="1400" b="1">
                <a:latin typeface="+mn-lt"/>
              </a:rPr>
              <a:t>Hospital </a:t>
            </a:r>
            <a:r>
              <a:rPr lang="de-CH" sz="1400" b="1" err="1">
                <a:latin typeface="+mn-lt"/>
              </a:rPr>
              <a:t>Beds</a:t>
            </a:r>
            <a:endParaRPr lang="de-CH" sz="1400" b="1">
              <a:latin typeface="+mn-lt"/>
            </a:endParaRPr>
          </a:p>
        </p:txBody>
      </p:sp>
      <p:sp>
        <p:nvSpPr>
          <p:cNvPr id="16" name="TextBox 15">
            <a:hlinkClick r:id="" action="ppaction://noaction"/>
          </p:cNvPr>
          <p:cNvSpPr txBox="1"/>
          <p:nvPr/>
        </p:nvSpPr>
        <p:spPr>
          <a:xfrm>
            <a:off x="4535478" y="5066000"/>
            <a:ext cx="1072843" cy="307777"/>
          </a:xfrm>
          <a:prstGeom prst="rect">
            <a:avLst/>
          </a:prstGeom>
          <a:noFill/>
        </p:spPr>
        <p:txBody>
          <a:bodyPr wrap="square" rtlCol="0">
            <a:spAutoFit/>
          </a:bodyPr>
          <a:lstStyle/>
          <a:p>
            <a:pPr algn="ctr"/>
            <a:r>
              <a:rPr lang="de-CH" sz="1400" b="1">
                <a:latin typeface="+mn-lt"/>
              </a:rPr>
              <a:t>Ambu Bag</a:t>
            </a:r>
          </a:p>
        </p:txBody>
      </p:sp>
      <p:pic>
        <p:nvPicPr>
          <p:cNvPr id="17" name="Picture 16"/>
          <p:cNvPicPr>
            <a:picLocks noChangeAspect="1"/>
          </p:cNvPicPr>
          <p:nvPr/>
        </p:nvPicPr>
        <p:blipFill>
          <a:blip r:embed="rId9">
            <a:duotone>
              <a:schemeClr val="accent5">
                <a:shade val="45000"/>
                <a:satMod val="135000"/>
              </a:schemeClr>
              <a:prstClr val="white"/>
            </a:duotone>
            <a:extLst>
              <a:ext uri="{BEBA8EAE-BF5A-486C-A8C5-ECC9F3942E4B}">
                <a14:imgProps xmlns:a14="http://schemas.microsoft.com/office/drawing/2010/main">
                  <a14:imgLayer r:embed="rId10">
                    <a14:imgEffect>
                      <a14:saturation sat="200000"/>
                    </a14:imgEffect>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4451647" y="3943750"/>
            <a:ext cx="1262160" cy="906166"/>
          </a:xfrm>
          <a:prstGeom prst="rect">
            <a:avLst/>
          </a:prstGeom>
        </p:spPr>
      </p:pic>
      <p:pic>
        <p:nvPicPr>
          <p:cNvPr id="1026" name="Picture 2" descr="https://cdn-assets-eu.frontify.com/local/sensirion/h_lNxVXLqrDqb2kyrixW3lMmUl7n-aBRzJUzyvzD7_9FDJq2VsmfgKWOkBV6ivquTtqfPs8nsySjys___XEagE5H12qVdEV5o6NMWZKUoTmekagV_OrE7ksiZ7DbJYmn?width=240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57549" y="3831171"/>
            <a:ext cx="1809681" cy="1044856"/>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hlinkClick r:id="" action="ppaction://noaction"/>
          </p:cNvPr>
          <p:cNvSpPr txBox="1"/>
          <p:nvPr/>
        </p:nvSpPr>
        <p:spPr>
          <a:xfrm>
            <a:off x="8964411" y="5065999"/>
            <a:ext cx="2079661" cy="307777"/>
          </a:xfrm>
          <a:prstGeom prst="rect">
            <a:avLst/>
          </a:prstGeom>
          <a:noFill/>
        </p:spPr>
        <p:txBody>
          <a:bodyPr wrap="square" rtlCol="0">
            <a:spAutoFit/>
          </a:bodyPr>
          <a:lstStyle/>
          <a:p>
            <a:pPr algn="ctr"/>
            <a:r>
              <a:rPr lang="de-CH" sz="1400" b="1">
                <a:latin typeface="+mn-lt"/>
              </a:rPr>
              <a:t>Point </a:t>
            </a:r>
            <a:r>
              <a:rPr lang="de-CH" sz="1400" b="1" err="1">
                <a:latin typeface="+mn-lt"/>
              </a:rPr>
              <a:t>of</a:t>
            </a:r>
            <a:r>
              <a:rPr lang="de-CH" sz="1400" b="1">
                <a:latin typeface="+mn-lt"/>
              </a:rPr>
              <a:t> Care</a:t>
            </a:r>
          </a:p>
        </p:txBody>
      </p:sp>
      <p:pic>
        <p:nvPicPr>
          <p:cNvPr id="1028" name="Picture 4" descr="Image result for sequencing machine illustration black white outline"/>
          <p:cNvPicPr>
            <a:picLocks noChangeAspect="1" noChangeArrowheads="1"/>
          </p:cNvPicPr>
          <p:nvPr/>
        </p:nvPicPr>
        <p:blipFill>
          <a:blip r:embed="rId12" cstate="print">
            <a:duotone>
              <a:schemeClr val="accent6">
                <a:shade val="45000"/>
                <a:satMod val="135000"/>
              </a:schemeClr>
              <a:prstClr val="white"/>
            </a:duotone>
            <a:extLst>
              <a:ext uri="{BEBA8EAE-BF5A-486C-A8C5-ECC9F3942E4B}">
                <a14:imgProps xmlns:a14="http://schemas.microsoft.com/office/drawing/2010/main">
                  <a14:imgLayer r:embed="rId13">
                    <a14:imgEffect>
                      <a14:colorTemperature colorTemp="5856"/>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501091" y="3816746"/>
            <a:ext cx="1006300" cy="100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610166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BC50AD5-49C3-4434-9DD7-1D26AC1BCA56}"/>
              </a:ext>
            </a:extLst>
          </p:cNvPr>
          <p:cNvSpPr/>
          <p:nvPr/>
        </p:nvSpPr>
        <p:spPr>
          <a:xfrm>
            <a:off x="10750731" y="1"/>
            <a:ext cx="1441269" cy="1436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38492" y="1167900"/>
            <a:ext cx="4713295" cy="2160000"/>
          </a:xfrm>
          <a:prstGeom prst="rect">
            <a:avLst/>
          </a:prstGeom>
        </p:spPr>
      </p:pic>
      <p:sp>
        <p:nvSpPr>
          <p:cNvPr id="4" name="Title 3"/>
          <p:cNvSpPr>
            <a:spLocks noGrp="1"/>
          </p:cNvSpPr>
          <p:nvPr>
            <p:ph type="title"/>
          </p:nvPr>
        </p:nvSpPr>
        <p:spPr/>
        <p:txBody>
          <a:bodyPr/>
          <a:lstStyle/>
          <a:p>
            <a:r>
              <a:rPr lang="en-US"/>
              <a:t>Our Strengths in Ventilation</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9787" y="1167900"/>
            <a:ext cx="4712941" cy="2160000"/>
          </a:xfrm>
          <a:prstGeom prst="rect">
            <a:avLst/>
          </a:prstGeom>
        </p:spPr>
      </p:pic>
      <p:sp>
        <p:nvSpPr>
          <p:cNvPr id="12" name="TextBox 11"/>
          <p:cNvSpPr txBox="1"/>
          <p:nvPr/>
        </p:nvSpPr>
        <p:spPr>
          <a:xfrm>
            <a:off x="839787" y="1167901"/>
            <a:ext cx="3380846" cy="538132"/>
          </a:xfrm>
          <a:prstGeom prst="rect">
            <a:avLst/>
          </a:prstGeom>
          <a:noFill/>
        </p:spPr>
        <p:txBody>
          <a:bodyPr wrap="square" lIns="0" tIns="0" rIns="0" bIns="0" rtlCol="0" anchor="ctr" anchorCtr="1">
            <a:noAutofit/>
          </a:bodyPr>
          <a:lstStyle/>
          <a:p>
            <a:r>
              <a:rPr lang="en-US" sz="2200" b="1">
                <a:solidFill>
                  <a:schemeClr val="accent3">
                    <a:lumMod val="25000"/>
                  </a:schemeClr>
                </a:solidFill>
              </a:rPr>
              <a:t>Digital and Patient-Centric</a:t>
            </a:r>
            <a:endParaRPr lang="en-US" sz="2200" i="1">
              <a:solidFill>
                <a:schemeClr val="accent3">
                  <a:lumMod val="25000"/>
                </a:schemeClr>
              </a:solidFill>
            </a:endParaRPr>
          </a:p>
        </p:txBody>
      </p:sp>
      <p:sp>
        <p:nvSpPr>
          <p:cNvPr id="14" name="TextBox 13"/>
          <p:cNvSpPr txBox="1"/>
          <p:nvPr/>
        </p:nvSpPr>
        <p:spPr>
          <a:xfrm>
            <a:off x="6638492" y="1167900"/>
            <a:ext cx="2878041" cy="538132"/>
          </a:xfrm>
          <a:prstGeom prst="rect">
            <a:avLst/>
          </a:prstGeom>
          <a:noFill/>
        </p:spPr>
        <p:txBody>
          <a:bodyPr wrap="square" lIns="0" tIns="0" rIns="0" bIns="0" rtlCol="0" anchor="ctr" anchorCtr="1">
            <a:noAutofit/>
          </a:bodyPr>
          <a:lstStyle/>
          <a:p>
            <a:r>
              <a:rPr lang="en-US" sz="2200" b="1">
                <a:solidFill>
                  <a:schemeClr val="bg1"/>
                </a:solidFill>
              </a:rPr>
              <a:t>Broad Sensor Portfolio</a:t>
            </a:r>
            <a:endParaRPr lang="en-US" sz="2200" i="1">
              <a:solidFill>
                <a:schemeClr val="bg1"/>
              </a:solidFill>
            </a:endParaRP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787" y="3837630"/>
            <a:ext cx="4711743" cy="2160000"/>
          </a:xfrm>
          <a:prstGeom prst="rect">
            <a:avLst/>
          </a:prstGeom>
        </p:spPr>
      </p:pic>
      <p:sp>
        <p:nvSpPr>
          <p:cNvPr id="16" name="TextBox 15"/>
          <p:cNvSpPr txBox="1"/>
          <p:nvPr/>
        </p:nvSpPr>
        <p:spPr>
          <a:xfrm>
            <a:off x="846931" y="3837630"/>
            <a:ext cx="1674813" cy="538132"/>
          </a:xfrm>
          <a:prstGeom prst="rect">
            <a:avLst/>
          </a:prstGeom>
          <a:noFill/>
        </p:spPr>
        <p:txBody>
          <a:bodyPr wrap="square" lIns="0" tIns="0" rIns="0" bIns="0" rtlCol="0" anchor="ctr" anchorCtr="1">
            <a:noAutofit/>
          </a:bodyPr>
          <a:lstStyle/>
          <a:p>
            <a:r>
              <a:rPr lang="en-US" sz="2200" b="1">
                <a:solidFill>
                  <a:schemeClr val="accent3">
                    <a:lumMod val="25000"/>
                  </a:schemeClr>
                </a:solidFill>
              </a:rPr>
              <a:t>Robustness</a:t>
            </a:r>
            <a:endParaRPr lang="en-US" sz="2200" i="1">
              <a:solidFill>
                <a:schemeClr val="accent3">
                  <a:lumMod val="25000"/>
                </a:schemeClr>
              </a:solidFill>
            </a:endParaRPr>
          </a:p>
        </p:txBody>
      </p:sp>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38492" y="3837630"/>
            <a:ext cx="4711944" cy="2160000"/>
          </a:xfrm>
          <a:prstGeom prst="rect">
            <a:avLst/>
          </a:prstGeom>
        </p:spPr>
      </p:pic>
      <p:sp>
        <p:nvSpPr>
          <p:cNvPr id="18" name="TextBox 17"/>
          <p:cNvSpPr txBox="1"/>
          <p:nvPr/>
        </p:nvSpPr>
        <p:spPr>
          <a:xfrm>
            <a:off x="8928101" y="3837630"/>
            <a:ext cx="2413000" cy="538132"/>
          </a:xfrm>
          <a:prstGeom prst="rect">
            <a:avLst/>
          </a:prstGeom>
          <a:noFill/>
        </p:spPr>
        <p:txBody>
          <a:bodyPr wrap="square" lIns="0" tIns="0" rIns="0" bIns="0" rtlCol="0" anchor="ctr" anchorCtr="1">
            <a:noAutofit/>
          </a:bodyPr>
          <a:lstStyle/>
          <a:p>
            <a:r>
              <a:rPr lang="en-US" sz="2200" b="1">
                <a:solidFill>
                  <a:schemeClr val="bg1"/>
                </a:solidFill>
              </a:rPr>
              <a:t>Superior Accuracy</a:t>
            </a:r>
            <a:endParaRPr lang="en-US" sz="2200" i="1">
              <a:solidFill>
                <a:schemeClr val="bg1"/>
              </a:solidFill>
            </a:endParaRPr>
          </a:p>
        </p:txBody>
      </p:sp>
    </p:spTree>
    <p:extLst>
      <p:ext uri="{BB962C8B-B14F-4D97-AF65-F5344CB8AC3E}">
        <p14:creationId xmlns:p14="http://schemas.microsoft.com/office/powerpoint/2010/main" val="115883977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953986" y="933991"/>
            <a:ext cx="9243785" cy="3339141"/>
            <a:chOff x="962845" y="4043437"/>
            <a:chExt cx="7713251" cy="2416821"/>
          </a:xfrm>
        </p:grpSpPr>
        <p:pic>
          <p:nvPicPr>
            <p:cNvPr id="1030" name="Picture 6" descr="Image result for hvac sensir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845" y="4043437"/>
              <a:ext cx="7713251" cy="2416821"/>
            </a:xfrm>
            <a:prstGeom prst="rect">
              <a:avLst/>
            </a:prstGeom>
            <a:noFill/>
            <a:extLst>
              <a:ext uri="{909E8E84-426E-40DD-AFC4-6F175D3DCCD1}">
                <a14:hiddenFill xmlns:a14="http://schemas.microsoft.com/office/drawing/2010/main">
                  <a:solidFill>
                    <a:srgbClr val="FFFFFF"/>
                  </a:solidFill>
                </a14:hiddenFill>
              </a:ext>
            </a:extLst>
          </p:spPr>
        </p:pic>
        <p:sp>
          <p:nvSpPr>
            <p:cNvPr id="11" name="Text Box 8"/>
            <p:cNvSpPr txBox="1">
              <a:spLocks noChangeArrowheads="1"/>
            </p:cNvSpPr>
            <p:nvPr/>
          </p:nvSpPr>
          <p:spPr bwMode="auto">
            <a:xfrm>
              <a:off x="3511054" y="4043437"/>
              <a:ext cx="1836737" cy="668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Narrow" pitchFamily="34" charset="0"/>
                  <a:cs typeface="Arial" charset="0"/>
                </a:defRPr>
              </a:lvl1pPr>
              <a:lvl2pPr marL="742950" indent="-285750" eaLnBrk="0" hangingPunct="0">
                <a:defRPr sz="2000">
                  <a:solidFill>
                    <a:schemeClr val="tx1"/>
                  </a:solidFill>
                  <a:latin typeface="Arial Narrow" pitchFamily="34" charset="0"/>
                  <a:cs typeface="Arial" charset="0"/>
                </a:defRPr>
              </a:lvl2pPr>
              <a:lvl3pPr marL="1143000" indent="-228600" eaLnBrk="0" hangingPunct="0">
                <a:defRPr sz="2000">
                  <a:solidFill>
                    <a:schemeClr val="tx1"/>
                  </a:solidFill>
                  <a:latin typeface="Arial Narrow" pitchFamily="34" charset="0"/>
                  <a:cs typeface="Arial" charset="0"/>
                </a:defRPr>
              </a:lvl3pPr>
              <a:lvl4pPr marL="1600200" indent="-228600" eaLnBrk="0" hangingPunct="0">
                <a:defRPr sz="2000">
                  <a:solidFill>
                    <a:schemeClr val="tx1"/>
                  </a:solidFill>
                  <a:latin typeface="Arial Narrow" pitchFamily="34" charset="0"/>
                  <a:cs typeface="Arial" charset="0"/>
                </a:defRPr>
              </a:lvl4pPr>
              <a:lvl5pPr marL="2057400" indent="-228600" eaLnBrk="0" hangingPunct="0">
                <a:defRPr sz="2000">
                  <a:solidFill>
                    <a:schemeClr val="tx1"/>
                  </a:solidFill>
                  <a:latin typeface="Arial Narrow" pitchFamily="34" charset="0"/>
                  <a:cs typeface="Arial" charset="0"/>
                </a:defRPr>
              </a:lvl5pPr>
              <a:lvl6pPr marL="2514600" indent="-228600" eaLnBrk="0" fontAlgn="base" hangingPunct="0">
                <a:spcBef>
                  <a:spcPct val="0"/>
                </a:spcBef>
                <a:spcAft>
                  <a:spcPct val="0"/>
                </a:spcAft>
                <a:defRPr sz="2000">
                  <a:solidFill>
                    <a:schemeClr val="tx1"/>
                  </a:solidFill>
                  <a:latin typeface="Arial Narrow" pitchFamily="34" charset="0"/>
                  <a:cs typeface="Arial" charset="0"/>
                </a:defRPr>
              </a:lvl6pPr>
              <a:lvl7pPr marL="2971800" indent="-228600" eaLnBrk="0" fontAlgn="base" hangingPunct="0">
                <a:spcBef>
                  <a:spcPct val="0"/>
                </a:spcBef>
                <a:spcAft>
                  <a:spcPct val="0"/>
                </a:spcAft>
                <a:defRPr sz="2000">
                  <a:solidFill>
                    <a:schemeClr val="tx1"/>
                  </a:solidFill>
                  <a:latin typeface="Arial Narrow" pitchFamily="34" charset="0"/>
                  <a:cs typeface="Arial" charset="0"/>
                </a:defRPr>
              </a:lvl7pPr>
              <a:lvl8pPr marL="3429000" indent="-228600" eaLnBrk="0" fontAlgn="base" hangingPunct="0">
                <a:spcBef>
                  <a:spcPct val="0"/>
                </a:spcBef>
                <a:spcAft>
                  <a:spcPct val="0"/>
                </a:spcAft>
                <a:defRPr sz="2000">
                  <a:solidFill>
                    <a:schemeClr val="tx1"/>
                  </a:solidFill>
                  <a:latin typeface="Arial Narrow" pitchFamily="34" charset="0"/>
                  <a:cs typeface="Arial" charset="0"/>
                </a:defRPr>
              </a:lvl8pPr>
              <a:lvl9pPr marL="3886200" indent="-228600" eaLnBrk="0" fontAlgn="base" hangingPunct="0">
                <a:spcBef>
                  <a:spcPct val="0"/>
                </a:spcBef>
                <a:spcAft>
                  <a:spcPct val="0"/>
                </a:spcAft>
                <a:defRPr sz="2000">
                  <a:solidFill>
                    <a:schemeClr val="tx1"/>
                  </a:solidFill>
                  <a:latin typeface="Arial Narrow" pitchFamily="34" charset="0"/>
                  <a:cs typeface="Arial" charset="0"/>
                </a:defRPr>
              </a:lvl9pPr>
            </a:lstStyle>
            <a:p>
              <a:pPr algn="ctr" eaLnBrk="1" hangingPunct="1">
                <a:spcBef>
                  <a:spcPct val="50000"/>
                </a:spcBef>
              </a:pPr>
              <a:r>
                <a:rPr lang="de-DE" sz="2400" b="1"/>
                <a:t>HVAC Systems</a:t>
              </a:r>
            </a:p>
            <a:p>
              <a:pPr algn="r" eaLnBrk="1" hangingPunct="1">
                <a:spcBef>
                  <a:spcPct val="50000"/>
                </a:spcBef>
              </a:pPr>
              <a:endParaRPr lang="de-DE" b="1"/>
            </a:p>
          </p:txBody>
        </p:sp>
      </p:grpSp>
      <p:sp>
        <p:nvSpPr>
          <p:cNvPr id="28674" name="Rectangle 2"/>
          <p:cNvSpPr>
            <a:spLocks noGrp="1" noChangeArrowheads="1"/>
          </p:cNvSpPr>
          <p:nvPr>
            <p:ph type="title"/>
          </p:nvPr>
        </p:nvSpPr>
        <p:spPr/>
        <p:txBody>
          <a:bodyPr/>
          <a:lstStyle/>
          <a:p>
            <a:r>
              <a:rPr lang="en-US"/>
              <a:t>Differential Pressure Sensor Applications </a:t>
            </a:r>
          </a:p>
        </p:txBody>
      </p:sp>
      <p:sp>
        <p:nvSpPr>
          <p:cNvPr id="2" name="Fußzeilenplatzhalter 1"/>
          <p:cNvSpPr>
            <a:spLocks noGrp="1"/>
          </p:cNvSpPr>
          <p:nvPr>
            <p:ph type="ftr" sz="quarter" idx="4294967295"/>
          </p:nvPr>
        </p:nvSpPr>
        <p:spPr>
          <a:xfrm>
            <a:off x="0" y="6381750"/>
            <a:ext cx="3168650" cy="201613"/>
          </a:xfrm>
          <a:prstGeom prst="rect">
            <a:avLst/>
          </a:prstGeom>
        </p:spPr>
        <p:txBody>
          <a:bodyPr/>
          <a:lstStyle/>
          <a:p>
            <a:pPr fontAlgn="base">
              <a:spcBef>
                <a:spcPct val="0"/>
              </a:spcBef>
              <a:spcAft>
                <a:spcPct val="0"/>
              </a:spcAft>
            </a:pPr>
            <a:r>
              <a:rPr lang="en-US">
                <a:solidFill>
                  <a:srgbClr val="000000"/>
                </a:solidFill>
              </a:rPr>
              <a:t>l</a:t>
            </a:r>
          </a:p>
        </p:txBody>
      </p:sp>
      <p:sp>
        <p:nvSpPr>
          <p:cNvPr id="17" name="Text Box 13"/>
          <p:cNvSpPr txBox="1">
            <a:spLocks noChangeArrowheads="1"/>
          </p:cNvSpPr>
          <p:nvPr/>
        </p:nvSpPr>
        <p:spPr bwMode="auto">
          <a:xfrm>
            <a:off x="6786819" y="4305087"/>
            <a:ext cx="24836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Narrow" pitchFamily="34" charset="0"/>
                <a:cs typeface="Arial" charset="0"/>
              </a:defRPr>
            </a:lvl1pPr>
            <a:lvl2pPr marL="742950" indent="-285750" eaLnBrk="0" hangingPunct="0">
              <a:defRPr sz="2000">
                <a:solidFill>
                  <a:schemeClr val="tx1"/>
                </a:solidFill>
                <a:latin typeface="Arial Narrow" pitchFamily="34" charset="0"/>
                <a:cs typeface="Arial" charset="0"/>
              </a:defRPr>
            </a:lvl2pPr>
            <a:lvl3pPr marL="1143000" indent="-228600" eaLnBrk="0" hangingPunct="0">
              <a:defRPr sz="2000">
                <a:solidFill>
                  <a:schemeClr val="tx1"/>
                </a:solidFill>
                <a:latin typeface="Arial Narrow" pitchFamily="34" charset="0"/>
                <a:cs typeface="Arial" charset="0"/>
              </a:defRPr>
            </a:lvl3pPr>
            <a:lvl4pPr marL="1600200" indent="-228600" eaLnBrk="0" hangingPunct="0">
              <a:defRPr sz="2000">
                <a:solidFill>
                  <a:schemeClr val="tx1"/>
                </a:solidFill>
                <a:latin typeface="Arial Narrow" pitchFamily="34" charset="0"/>
                <a:cs typeface="Arial" charset="0"/>
              </a:defRPr>
            </a:lvl4pPr>
            <a:lvl5pPr marL="2057400" indent="-228600" eaLnBrk="0" hangingPunct="0">
              <a:defRPr sz="2000">
                <a:solidFill>
                  <a:schemeClr val="tx1"/>
                </a:solidFill>
                <a:latin typeface="Arial Narrow" pitchFamily="34" charset="0"/>
                <a:cs typeface="Arial" charset="0"/>
              </a:defRPr>
            </a:lvl5pPr>
            <a:lvl6pPr marL="2514600" indent="-228600" eaLnBrk="0" fontAlgn="base" hangingPunct="0">
              <a:spcBef>
                <a:spcPct val="0"/>
              </a:spcBef>
              <a:spcAft>
                <a:spcPct val="0"/>
              </a:spcAft>
              <a:defRPr sz="2000">
                <a:solidFill>
                  <a:schemeClr val="tx1"/>
                </a:solidFill>
                <a:latin typeface="Arial Narrow" pitchFamily="34" charset="0"/>
                <a:cs typeface="Arial" charset="0"/>
              </a:defRPr>
            </a:lvl6pPr>
            <a:lvl7pPr marL="2971800" indent="-228600" eaLnBrk="0" fontAlgn="base" hangingPunct="0">
              <a:spcBef>
                <a:spcPct val="0"/>
              </a:spcBef>
              <a:spcAft>
                <a:spcPct val="0"/>
              </a:spcAft>
              <a:defRPr sz="2000">
                <a:solidFill>
                  <a:schemeClr val="tx1"/>
                </a:solidFill>
                <a:latin typeface="Arial Narrow" pitchFamily="34" charset="0"/>
                <a:cs typeface="Arial" charset="0"/>
              </a:defRPr>
            </a:lvl7pPr>
            <a:lvl8pPr marL="3429000" indent="-228600" eaLnBrk="0" fontAlgn="base" hangingPunct="0">
              <a:spcBef>
                <a:spcPct val="0"/>
              </a:spcBef>
              <a:spcAft>
                <a:spcPct val="0"/>
              </a:spcAft>
              <a:defRPr sz="2000">
                <a:solidFill>
                  <a:schemeClr val="tx1"/>
                </a:solidFill>
                <a:latin typeface="Arial Narrow" pitchFamily="34" charset="0"/>
                <a:cs typeface="Arial" charset="0"/>
              </a:defRPr>
            </a:lvl8pPr>
            <a:lvl9pPr marL="3886200" indent="-228600" eaLnBrk="0" fontAlgn="base" hangingPunct="0">
              <a:spcBef>
                <a:spcPct val="0"/>
              </a:spcBef>
              <a:spcAft>
                <a:spcPct val="0"/>
              </a:spcAft>
              <a:defRPr sz="2000">
                <a:solidFill>
                  <a:schemeClr val="tx1"/>
                </a:solidFill>
                <a:latin typeface="Arial Narrow" pitchFamily="34" charset="0"/>
                <a:cs typeface="Arial" charset="0"/>
              </a:defRPr>
            </a:lvl9pPr>
          </a:lstStyle>
          <a:p>
            <a:pPr algn="r" eaLnBrk="1" fontAlgn="base" hangingPunct="1">
              <a:spcBef>
                <a:spcPct val="50000"/>
              </a:spcBef>
              <a:spcAft>
                <a:spcPct val="0"/>
              </a:spcAft>
            </a:pPr>
            <a:r>
              <a:rPr lang="en-US" sz="2400" b="1">
                <a:solidFill>
                  <a:srgbClr val="000000"/>
                </a:solidFill>
              </a:rPr>
              <a:t>Medical Systems</a:t>
            </a:r>
          </a:p>
        </p:txBody>
      </p:sp>
      <p:pic>
        <p:nvPicPr>
          <p:cNvPr id="5" name="Picture 4"/>
          <p:cNvPicPr>
            <a:picLocks noChangeAspect="1"/>
          </p:cNvPicPr>
          <p:nvPr/>
        </p:nvPicPr>
        <p:blipFill>
          <a:blip r:embed="rId4"/>
          <a:stretch>
            <a:fillRect/>
          </a:stretch>
        </p:blipFill>
        <p:spPr>
          <a:xfrm>
            <a:off x="3519927" y="4795151"/>
            <a:ext cx="2158247" cy="1441246"/>
          </a:xfrm>
          <a:prstGeom prst="rect">
            <a:avLst/>
          </a:prstGeom>
        </p:spPr>
      </p:pic>
      <p:sp>
        <p:nvSpPr>
          <p:cNvPr id="6" name="Rectangle 5"/>
          <p:cNvSpPr/>
          <p:nvPr/>
        </p:nvSpPr>
        <p:spPr>
          <a:xfrm>
            <a:off x="3046889" y="4365119"/>
            <a:ext cx="3061544" cy="461665"/>
          </a:xfrm>
          <a:prstGeom prst="rect">
            <a:avLst/>
          </a:prstGeom>
        </p:spPr>
        <p:txBody>
          <a:bodyPr wrap="none">
            <a:spAutoFit/>
          </a:bodyPr>
          <a:lstStyle/>
          <a:p>
            <a:pPr algn="r" fontAlgn="base">
              <a:spcBef>
                <a:spcPct val="50000"/>
              </a:spcBef>
              <a:spcAft>
                <a:spcPct val="0"/>
              </a:spcAft>
            </a:pPr>
            <a:r>
              <a:rPr lang="en-US" sz="2400" b="1">
                <a:solidFill>
                  <a:srgbClr val="000000"/>
                </a:solidFill>
              </a:rPr>
              <a:t>Directional Wind Meters</a:t>
            </a:r>
          </a:p>
        </p:txBody>
      </p:sp>
      <p:pic>
        <p:nvPicPr>
          <p:cNvPr id="1028" name="Picture 4" descr="Image result for cpap ventilati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12178" y="4826784"/>
            <a:ext cx="2158247" cy="143883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AF7F5C0-8B9C-4973-9E79-1555705AB983}"/>
              </a:ext>
            </a:extLst>
          </p:cNvPr>
          <p:cNvSpPr/>
          <p:nvPr/>
        </p:nvSpPr>
        <p:spPr>
          <a:xfrm>
            <a:off x="10750731" y="1"/>
            <a:ext cx="1441269" cy="1436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7075418"/>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0785" y="3151354"/>
            <a:ext cx="10512000" cy="505939"/>
          </a:xfrm>
        </p:spPr>
        <p:txBody>
          <a:bodyPr anchor="ctr"/>
          <a:lstStyle/>
          <a:p>
            <a:pPr algn="ctr"/>
            <a:r>
              <a:rPr lang="en-US" sz="7200"/>
              <a:t>Liquid Flow Products</a:t>
            </a:r>
          </a:p>
        </p:txBody>
      </p:sp>
    </p:spTree>
    <p:extLst>
      <p:ext uri="{BB962C8B-B14F-4D97-AF65-F5344CB8AC3E}">
        <p14:creationId xmlns:p14="http://schemas.microsoft.com/office/powerpoint/2010/main" val="416283669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F7EAA-B7E4-9826-E9A9-623C394E0DE8}"/>
              </a:ext>
            </a:extLst>
          </p:cNvPr>
          <p:cNvSpPr>
            <a:spLocks noGrp="1"/>
          </p:cNvSpPr>
          <p:nvPr>
            <p:ph type="title"/>
          </p:nvPr>
        </p:nvSpPr>
        <p:spPr/>
        <p:txBody>
          <a:bodyPr/>
          <a:lstStyle/>
          <a:p>
            <a:r>
              <a:rPr lang="en-US" err="1"/>
              <a:t>Sensirion’s</a:t>
            </a:r>
            <a:r>
              <a:rPr lang="en-US"/>
              <a:t> Liquid Flow Sensor Overview</a:t>
            </a:r>
          </a:p>
        </p:txBody>
      </p:sp>
      <p:pic>
        <p:nvPicPr>
          <p:cNvPr id="7" name="Picture 6">
            <a:extLst>
              <a:ext uri="{FF2B5EF4-FFF2-40B4-BE49-F238E27FC236}">
                <a16:creationId xmlns:a16="http://schemas.microsoft.com/office/drawing/2014/main" id="{0719F413-741C-E811-D644-4F8F06455EAC}"/>
              </a:ext>
            </a:extLst>
          </p:cNvPr>
          <p:cNvPicPr>
            <a:picLocks noChangeAspect="1"/>
          </p:cNvPicPr>
          <p:nvPr/>
        </p:nvPicPr>
        <p:blipFill>
          <a:blip r:embed="rId2"/>
          <a:stretch>
            <a:fillRect/>
          </a:stretch>
        </p:blipFill>
        <p:spPr>
          <a:xfrm>
            <a:off x="839490" y="954593"/>
            <a:ext cx="8825341" cy="4830807"/>
          </a:xfrm>
          <a:prstGeom prst="rect">
            <a:avLst/>
          </a:prstGeom>
        </p:spPr>
      </p:pic>
      <p:pic>
        <p:nvPicPr>
          <p:cNvPr id="9" name="Picture 8">
            <a:extLst>
              <a:ext uri="{FF2B5EF4-FFF2-40B4-BE49-F238E27FC236}">
                <a16:creationId xmlns:a16="http://schemas.microsoft.com/office/drawing/2014/main" id="{9FFA5A00-5C9B-E52C-4829-A22A4E379D4D}"/>
              </a:ext>
            </a:extLst>
          </p:cNvPr>
          <p:cNvPicPr>
            <a:picLocks noChangeAspect="1"/>
          </p:cNvPicPr>
          <p:nvPr/>
        </p:nvPicPr>
        <p:blipFill>
          <a:blip r:embed="rId3"/>
          <a:stretch>
            <a:fillRect/>
          </a:stretch>
        </p:blipFill>
        <p:spPr>
          <a:xfrm>
            <a:off x="9952221" y="1259918"/>
            <a:ext cx="995667" cy="537660"/>
          </a:xfrm>
          <a:prstGeom prst="rect">
            <a:avLst/>
          </a:prstGeom>
        </p:spPr>
      </p:pic>
      <p:pic>
        <p:nvPicPr>
          <p:cNvPr id="11" name="Picture 10">
            <a:extLst>
              <a:ext uri="{FF2B5EF4-FFF2-40B4-BE49-F238E27FC236}">
                <a16:creationId xmlns:a16="http://schemas.microsoft.com/office/drawing/2014/main" id="{D07AE831-FEEB-14F4-D219-E13D7195AAFB}"/>
              </a:ext>
            </a:extLst>
          </p:cNvPr>
          <p:cNvPicPr>
            <a:picLocks noChangeAspect="1"/>
          </p:cNvPicPr>
          <p:nvPr/>
        </p:nvPicPr>
        <p:blipFill>
          <a:blip r:embed="rId4"/>
          <a:stretch>
            <a:fillRect/>
          </a:stretch>
        </p:blipFill>
        <p:spPr>
          <a:xfrm>
            <a:off x="9893111" y="1888787"/>
            <a:ext cx="1113887" cy="624452"/>
          </a:xfrm>
          <a:prstGeom prst="rect">
            <a:avLst/>
          </a:prstGeom>
        </p:spPr>
      </p:pic>
      <p:pic>
        <p:nvPicPr>
          <p:cNvPr id="13" name="Picture 12">
            <a:extLst>
              <a:ext uri="{FF2B5EF4-FFF2-40B4-BE49-F238E27FC236}">
                <a16:creationId xmlns:a16="http://schemas.microsoft.com/office/drawing/2014/main" id="{BB3B43B2-C8A5-BAEE-8BF6-EDADB18D381E}"/>
              </a:ext>
            </a:extLst>
          </p:cNvPr>
          <p:cNvPicPr>
            <a:picLocks noChangeAspect="1"/>
          </p:cNvPicPr>
          <p:nvPr/>
        </p:nvPicPr>
        <p:blipFill>
          <a:blip r:embed="rId5"/>
          <a:stretch>
            <a:fillRect/>
          </a:stretch>
        </p:blipFill>
        <p:spPr>
          <a:xfrm>
            <a:off x="9920835" y="2574352"/>
            <a:ext cx="1058438" cy="559698"/>
          </a:xfrm>
          <a:prstGeom prst="rect">
            <a:avLst/>
          </a:prstGeom>
        </p:spPr>
      </p:pic>
      <p:pic>
        <p:nvPicPr>
          <p:cNvPr id="15" name="Picture 14">
            <a:extLst>
              <a:ext uri="{FF2B5EF4-FFF2-40B4-BE49-F238E27FC236}">
                <a16:creationId xmlns:a16="http://schemas.microsoft.com/office/drawing/2014/main" id="{C909769D-39DB-DCD4-1E5F-594CD5F6C771}"/>
              </a:ext>
            </a:extLst>
          </p:cNvPr>
          <p:cNvPicPr>
            <a:picLocks noChangeAspect="1"/>
          </p:cNvPicPr>
          <p:nvPr/>
        </p:nvPicPr>
        <p:blipFill>
          <a:blip r:embed="rId6"/>
          <a:stretch>
            <a:fillRect/>
          </a:stretch>
        </p:blipFill>
        <p:spPr>
          <a:xfrm>
            <a:off x="9941601" y="3235836"/>
            <a:ext cx="1016907" cy="488115"/>
          </a:xfrm>
          <a:prstGeom prst="rect">
            <a:avLst/>
          </a:prstGeom>
        </p:spPr>
      </p:pic>
      <p:sp>
        <p:nvSpPr>
          <p:cNvPr id="16" name="Rectangle 15">
            <a:extLst>
              <a:ext uri="{FF2B5EF4-FFF2-40B4-BE49-F238E27FC236}">
                <a16:creationId xmlns:a16="http://schemas.microsoft.com/office/drawing/2014/main" id="{B9317C9E-FCA3-4E7C-BCAA-71B43E3CF90D}"/>
              </a:ext>
            </a:extLst>
          </p:cNvPr>
          <p:cNvSpPr/>
          <p:nvPr/>
        </p:nvSpPr>
        <p:spPr>
          <a:xfrm>
            <a:off x="883920" y="1288086"/>
            <a:ext cx="10402172" cy="573401"/>
          </a:xfrm>
          <a:prstGeom prst="rect">
            <a:avLst/>
          </a:prstGeom>
          <a:solidFill>
            <a:schemeClr val="bg1">
              <a:lumMod val="75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515A42E-0661-994D-4D29-57B19CB00147}"/>
              </a:ext>
            </a:extLst>
          </p:cNvPr>
          <p:cNvSpPr/>
          <p:nvPr/>
        </p:nvSpPr>
        <p:spPr>
          <a:xfrm>
            <a:off x="883920" y="2627271"/>
            <a:ext cx="10402172" cy="402442"/>
          </a:xfrm>
          <a:prstGeom prst="rect">
            <a:avLst/>
          </a:prstGeom>
          <a:solidFill>
            <a:schemeClr val="bg1">
              <a:lumMod val="75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4FCCC6E4-CF65-DEAD-8109-028E9105CDA4}"/>
              </a:ext>
            </a:extLst>
          </p:cNvPr>
          <p:cNvPicPr>
            <a:picLocks noChangeAspect="1"/>
          </p:cNvPicPr>
          <p:nvPr/>
        </p:nvPicPr>
        <p:blipFill>
          <a:blip r:embed="rId7"/>
          <a:stretch>
            <a:fillRect/>
          </a:stretch>
        </p:blipFill>
        <p:spPr>
          <a:xfrm>
            <a:off x="9815024" y="4164411"/>
            <a:ext cx="1270061" cy="534762"/>
          </a:xfrm>
          <a:prstGeom prst="rect">
            <a:avLst/>
          </a:prstGeom>
        </p:spPr>
      </p:pic>
      <p:sp>
        <p:nvSpPr>
          <p:cNvPr id="18" name="Rectangle 17">
            <a:extLst>
              <a:ext uri="{FF2B5EF4-FFF2-40B4-BE49-F238E27FC236}">
                <a16:creationId xmlns:a16="http://schemas.microsoft.com/office/drawing/2014/main" id="{F8E3A6BD-16A5-946D-E5F8-0621D9E6219B}"/>
              </a:ext>
            </a:extLst>
          </p:cNvPr>
          <p:cNvSpPr/>
          <p:nvPr/>
        </p:nvSpPr>
        <p:spPr>
          <a:xfrm>
            <a:off x="883920" y="3828288"/>
            <a:ext cx="10402172" cy="1207008"/>
          </a:xfrm>
          <a:prstGeom prst="rect">
            <a:avLst/>
          </a:prstGeom>
          <a:solidFill>
            <a:schemeClr val="bg1">
              <a:lumMod val="75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7873D31D-B3DA-3DEF-9044-00F7DA8CBAD8}"/>
              </a:ext>
            </a:extLst>
          </p:cNvPr>
          <p:cNvPicPr>
            <a:picLocks noChangeAspect="1"/>
          </p:cNvPicPr>
          <p:nvPr/>
        </p:nvPicPr>
        <p:blipFill>
          <a:blip r:embed="rId8"/>
          <a:stretch>
            <a:fillRect/>
          </a:stretch>
        </p:blipFill>
        <p:spPr>
          <a:xfrm>
            <a:off x="10215418" y="5152374"/>
            <a:ext cx="469273" cy="421142"/>
          </a:xfrm>
          <a:prstGeom prst="rect">
            <a:avLst/>
          </a:prstGeom>
        </p:spPr>
      </p:pic>
      <p:pic>
        <p:nvPicPr>
          <p:cNvPr id="24" name="Picture 23">
            <a:extLst>
              <a:ext uri="{FF2B5EF4-FFF2-40B4-BE49-F238E27FC236}">
                <a16:creationId xmlns:a16="http://schemas.microsoft.com/office/drawing/2014/main" id="{18784B61-F0A0-621C-13C7-C1D687516780}"/>
              </a:ext>
            </a:extLst>
          </p:cNvPr>
          <p:cNvPicPr>
            <a:picLocks noChangeAspect="1"/>
          </p:cNvPicPr>
          <p:nvPr/>
        </p:nvPicPr>
        <p:blipFill>
          <a:blip r:embed="rId9"/>
          <a:stretch>
            <a:fillRect/>
          </a:stretch>
        </p:blipFill>
        <p:spPr>
          <a:xfrm>
            <a:off x="10079379" y="5131326"/>
            <a:ext cx="741351" cy="421143"/>
          </a:xfrm>
          <a:prstGeom prst="rect">
            <a:avLst/>
          </a:prstGeom>
        </p:spPr>
      </p:pic>
      <p:sp>
        <p:nvSpPr>
          <p:cNvPr id="25" name="Rectangle 24">
            <a:extLst>
              <a:ext uri="{FF2B5EF4-FFF2-40B4-BE49-F238E27FC236}">
                <a16:creationId xmlns:a16="http://schemas.microsoft.com/office/drawing/2014/main" id="{154FA30F-38C0-42F2-0EB6-9CDC6649EFA6}"/>
              </a:ext>
            </a:extLst>
          </p:cNvPr>
          <p:cNvSpPr/>
          <p:nvPr/>
        </p:nvSpPr>
        <p:spPr>
          <a:xfrm>
            <a:off x="883920" y="1013460"/>
            <a:ext cx="10402172" cy="477194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76D1F2A0-18AA-5E9D-023A-A9BECC6B0A27}"/>
              </a:ext>
            </a:extLst>
          </p:cNvPr>
          <p:cNvCxnSpPr>
            <a:cxnSpLocks/>
          </p:cNvCxnSpPr>
          <p:nvPr/>
        </p:nvCxnSpPr>
        <p:spPr>
          <a:xfrm>
            <a:off x="9550400" y="1013460"/>
            <a:ext cx="0" cy="47719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F876733-F67B-D0BC-B2B3-670F8D61633F}"/>
              </a:ext>
            </a:extLst>
          </p:cNvPr>
          <p:cNvCxnSpPr/>
          <p:nvPr/>
        </p:nvCxnSpPr>
        <p:spPr>
          <a:xfrm>
            <a:off x="883920" y="1259918"/>
            <a:ext cx="10402172"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02640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err="1"/>
              <a:t>Sensirion</a:t>
            </a:r>
            <a:r>
              <a:rPr lang="en-US"/>
              <a:t> Liquid Flow Products – Typical Applications</a:t>
            </a:r>
            <a:endParaRPr lang="de-CH"/>
          </a:p>
        </p:txBody>
      </p:sp>
      <p:sp>
        <p:nvSpPr>
          <p:cNvPr id="26" name="TextBox 25"/>
          <p:cNvSpPr txBox="1"/>
          <p:nvPr/>
        </p:nvSpPr>
        <p:spPr>
          <a:xfrm>
            <a:off x="845255" y="2983248"/>
            <a:ext cx="696405" cy="1446550"/>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r>
              <a:rPr lang="de-CH" sz="8800">
                <a:solidFill>
                  <a:schemeClr val="accent3">
                    <a:lumMod val="75000"/>
                  </a:schemeClr>
                </a:solidFill>
              </a:rPr>
              <a:t>2</a:t>
            </a:r>
          </a:p>
        </p:txBody>
      </p:sp>
      <p:sp>
        <p:nvSpPr>
          <p:cNvPr id="28" name="TextBox 27"/>
          <p:cNvSpPr txBox="1"/>
          <p:nvPr/>
        </p:nvSpPr>
        <p:spPr>
          <a:xfrm>
            <a:off x="10692320" y="3678341"/>
            <a:ext cx="696405" cy="1446550"/>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r>
              <a:rPr lang="de-CH" sz="8800">
                <a:solidFill>
                  <a:srgbClr val="85D65C"/>
                </a:solidFill>
              </a:rPr>
              <a:t>4</a:t>
            </a:r>
          </a:p>
        </p:txBody>
      </p:sp>
      <p:sp>
        <p:nvSpPr>
          <p:cNvPr id="31" name="TextBox 30"/>
          <p:cNvSpPr txBox="1"/>
          <p:nvPr/>
        </p:nvSpPr>
        <p:spPr>
          <a:xfrm>
            <a:off x="853436" y="4780398"/>
            <a:ext cx="696405" cy="1446550"/>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r>
              <a:rPr lang="de-CH" sz="8800">
                <a:solidFill>
                  <a:schemeClr val="accent1">
                    <a:lumMod val="60000"/>
                    <a:lumOff val="40000"/>
                  </a:schemeClr>
                </a:solidFill>
              </a:rPr>
              <a:t>3</a:t>
            </a:r>
          </a:p>
        </p:txBody>
      </p:sp>
      <p:sp>
        <p:nvSpPr>
          <p:cNvPr id="33" name="TextBox 32"/>
          <p:cNvSpPr txBox="1"/>
          <p:nvPr/>
        </p:nvSpPr>
        <p:spPr>
          <a:xfrm>
            <a:off x="10780020" y="1536174"/>
            <a:ext cx="696405" cy="1446550"/>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r>
              <a:rPr lang="de-CH" sz="8800">
                <a:solidFill>
                  <a:schemeClr val="accent3">
                    <a:lumMod val="90000"/>
                  </a:schemeClr>
                </a:solidFill>
              </a:rPr>
              <a:t>5</a:t>
            </a:r>
          </a:p>
        </p:txBody>
      </p:sp>
      <p:sp>
        <p:nvSpPr>
          <p:cNvPr id="34" name="TextBox 11"/>
          <p:cNvSpPr txBox="1"/>
          <p:nvPr/>
        </p:nvSpPr>
        <p:spPr>
          <a:xfrm>
            <a:off x="1399064" y="1130181"/>
            <a:ext cx="2084800" cy="1692771"/>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pPr lvl="0">
              <a:lnSpc>
                <a:spcPct val="100000"/>
              </a:lnSpc>
            </a:pPr>
            <a:r>
              <a:rPr lang="en-US" b="1">
                <a:solidFill>
                  <a:schemeClr val="accent1"/>
                </a:solidFill>
              </a:rPr>
              <a:t>Volume and Washing Validation</a:t>
            </a:r>
          </a:p>
          <a:p>
            <a:pPr lvl="0">
              <a:lnSpc>
                <a:spcPct val="100000"/>
              </a:lnSpc>
            </a:pPr>
            <a:r>
              <a:rPr lang="en-US" sz="1600"/>
              <a:t>Validate reagent and sample volumes, as well as washing and flushing cycles.</a:t>
            </a:r>
          </a:p>
        </p:txBody>
      </p:sp>
      <p:sp>
        <p:nvSpPr>
          <p:cNvPr id="35" name="TextBox 18"/>
          <p:cNvSpPr txBox="1"/>
          <p:nvPr/>
        </p:nvSpPr>
        <p:spPr>
          <a:xfrm>
            <a:off x="8586216" y="1738979"/>
            <a:ext cx="2370832" cy="1138773"/>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pPr lvl="0" algn="r">
              <a:lnSpc>
                <a:spcPct val="100000"/>
              </a:lnSpc>
            </a:pPr>
            <a:r>
              <a:rPr lang="en-US" b="1">
                <a:solidFill>
                  <a:schemeClr val="accent3">
                    <a:lumMod val="90000"/>
                  </a:schemeClr>
                </a:solidFill>
              </a:rPr>
              <a:t>Optimized Processes</a:t>
            </a:r>
          </a:p>
          <a:p>
            <a:pPr lvl="0" algn="r">
              <a:lnSpc>
                <a:spcPct val="100000"/>
              </a:lnSpc>
            </a:pPr>
            <a:r>
              <a:rPr lang="en-US" sz="1600"/>
              <a:t>Constant and optimized processes create stable results and peace of mind.</a:t>
            </a:r>
          </a:p>
        </p:txBody>
      </p:sp>
      <p:sp>
        <p:nvSpPr>
          <p:cNvPr id="36" name="TextBox 19"/>
          <p:cNvSpPr txBox="1"/>
          <p:nvPr/>
        </p:nvSpPr>
        <p:spPr>
          <a:xfrm>
            <a:off x="1399064" y="5048253"/>
            <a:ext cx="2149191" cy="892552"/>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pPr lvl="0">
              <a:lnSpc>
                <a:spcPct val="100000"/>
              </a:lnSpc>
            </a:pPr>
            <a:r>
              <a:rPr lang="en-US" b="1">
                <a:solidFill>
                  <a:schemeClr val="accent1">
                    <a:lumMod val="60000"/>
                    <a:lumOff val="40000"/>
                  </a:schemeClr>
                </a:solidFill>
              </a:rPr>
              <a:t>Leak Detection</a:t>
            </a:r>
          </a:p>
          <a:p>
            <a:pPr lvl="0">
              <a:lnSpc>
                <a:spcPct val="100000"/>
              </a:lnSpc>
            </a:pPr>
            <a:r>
              <a:rPr lang="en-US" sz="1600"/>
              <a:t>Detect leaks and air bubbles in fluidic systems.</a:t>
            </a:r>
          </a:p>
        </p:txBody>
      </p:sp>
      <p:sp>
        <p:nvSpPr>
          <p:cNvPr id="37" name="TextBox 20"/>
          <p:cNvSpPr txBox="1"/>
          <p:nvPr/>
        </p:nvSpPr>
        <p:spPr>
          <a:xfrm>
            <a:off x="8348471" y="3888885"/>
            <a:ext cx="2431549" cy="2185214"/>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pPr lvl="0" algn="r">
              <a:lnSpc>
                <a:spcPct val="100000"/>
              </a:lnSpc>
              <a:spcAft>
                <a:spcPts val="0"/>
              </a:spcAft>
            </a:pPr>
            <a:r>
              <a:rPr lang="en-US" b="1">
                <a:solidFill>
                  <a:srgbClr val="85D65C"/>
                </a:solidFill>
              </a:rPr>
              <a:t>Detect Drifts and Occlusions</a:t>
            </a:r>
          </a:p>
          <a:p>
            <a:pPr lvl="0" algn="r">
              <a:lnSpc>
                <a:spcPct val="100000"/>
              </a:lnSpc>
              <a:spcAft>
                <a:spcPts val="0"/>
              </a:spcAft>
            </a:pPr>
            <a:r>
              <a:rPr lang="en-US" sz="1600"/>
              <a:t>Monitor liquid handling steps to avoid long term changes and drifts. Detect partial or complete occlusion. Added security through failure detection.</a:t>
            </a:r>
          </a:p>
        </p:txBody>
      </p:sp>
      <p:sp>
        <p:nvSpPr>
          <p:cNvPr id="38" name="TextBox 21"/>
          <p:cNvSpPr txBox="1"/>
          <p:nvPr/>
        </p:nvSpPr>
        <p:spPr>
          <a:xfrm>
            <a:off x="1399065" y="3216899"/>
            <a:ext cx="2084800" cy="1138773"/>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pPr lvl="0">
              <a:lnSpc>
                <a:spcPct val="100000"/>
              </a:lnSpc>
            </a:pPr>
            <a:r>
              <a:rPr lang="en-US" b="1">
                <a:solidFill>
                  <a:schemeClr val="accent3">
                    <a:lumMod val="75000"/>
                  </a:schemeClr>
                </a:solidFill>
              </a:rPr>
              <a:t>Feedback Loop</a:t>
            </a:r>
          </a:p>
          <a:p>
            <a:pPr lvl="0">
              <a:lnSpc>
                <a:spcPct val="100000"/>
              </a:lnSpc>
            </a:pPr>
            <a:r>
              <a:rPr lang="en-US" sz="1600"/>
              <a:t>Precise flow control, with a sensor and pump feedback loop</a:t>
            </a:r>
          </a:p>
        </p:txBody>
      </p:sp>
      <p:sp>
        <p:nvSpPr>
          <p:cNvPr id="40" name="TextBox 3"/>
          <p:cNvSpPr txBox="1"/>
          <p:nvPr/>
        </p:nvSpPr>
        <p:spPr>
          <a:xfrm>
            <a:off x="839788" y="913616"/>
            <a:ext cx="696405" cy="1446550"/>
          </a:xfrm>
          <a:prstGeom prst="rect">
            <a:avLst/>
          </a:prstGeom>
          <a:noFill/>
        </p:spPr>
        <p:txBody>
          <a:bodyPr wrap="square" rtlCol="0">
            <a:spAutoFit/>
          </a:bodyPr>
          <a:lstStyle>
            <a:defPPr>
              <a:defRPr lang="de-DE"/>
            </a:defPPr>
            <a:lvl1pPr algn="l" rtl="0" fontAlgn="base">
              <a:spcBef>
                <a:spcPct val="0"/>
              </a:spcBef>
              <a:spcAft>
                <a:spcPct val="0"/>
              </a:spcAft>
              <a:defRPr sz="2000" kern="1200">
                <a:solidFill>
                  <a:schemeClr val="tx1"/>
                </a:solidFill>
                <a:latin typeface="Arial Narrow" pitchFamily="34" charset="0"/>
                <a:ea typeface="+mn-ea"/>
                <a:cs typeface="Arial" charset="0"/>
              </a:defRPr>
            </a:lvl1pPr>
            <a:lvl2pPr marL="457200" algn="l" rtl="0" fontAlgn="base">
              <a:spcBef>
                <a:spcPct val="0"/>
              </a:spcBef>
              <a:spcAft>
                <a:spcPct val="0"/>
              </a:spcAft>
              <a:defRPr sz="2000" kern="1200">
                <a:solidFill>
                  <a:schemeClr val="tx1"/>
                </a:solidFill>
                <a:latin typeface="Arial Narrow" pitchFamily="34" charset="0"/>
                <a:ea typeface="+mn-ea"/>
                <a:cs typeface="Arial" charset="0"/>
              </a:defRPr>
            </a:lvl2pPr>
            <a:lvl3pPr marL="914400" algn="l" rtl="0" fontAlgn="base">
              <a:spcBef>
                <a:spcPct val="0"/>
              </a:spcBef>
              <a:spcAft>
                <a:spcPct val="0"/>
              </a:spcAft>
              <a:defRPr sz="2000" kern="1200">
                <a:solidFill>
                  <a:schemeClr val="tx1"/>
                </a:solidFill>
                <a:latin typeface="Arial Narrow" pitchFamily="34" charset="0"/>
                <a:ea typeface="+mn-ea"/>
                <a:cs typeface="Arial" charset="0"/>
              </a:defRPr>
            </a:lvl3pPr>
            <a:lvl4pPr marL="1371600" algn="l" rtl="0" fontAlgn="base">
              <a:spcBef>
                <a:spcPct val="0"/>
              </a:spcBef>
              <a:spcAft>
                <a:spcPct val="0"/>
              </a:spcAft>
              <a:defRPr sz="2000" kern="1200">
                <a:solidFill>
                  <a:schemeClr val="tx1"/>
                </a:solidFill>
                <a:latin typeface="Arial Narrow" pitchFamily="34" charset="0"/>
                <a:ea typeface="+mn-ea"/>
                <a:cs typeface="Arial" charset="0"/>
              </a:defRPr>
            </a:lvl4pPr>
            <a:lvl5pPr marL="1828800" algn="l" rtl="0" fontAlgn="base">
              <a:spcBef>
                <a:spcPct val="0"/>
              </a:spcBef>
              <a:spcAft>
                <a:spcPct val="0"/>
              </a:spcAft>
              <a:defRPr sz="2000" kern="1200">
                <a:solidFill>
                  <a:schemeClr val="tx1"/>
                </a:solidFill>
                <a:latin typeface="Arial Narrow" pitchFamily="34" charset="0"/>
                <a:ea typeface="+mn-ea"/>
                <a:cs typeface="Arial" charset="0"/>
              </a:defRPr>
            </a:lvl5pPr>
            <a:lvl6pPr marL="2286000" algn="l" defTabSz="914400" rtl="0" eaLnBrk="1" latinLnBrk="0" hangingPunct="1">
              <a:defRPr sz="2000" kern="1200">
                <a:solidFill>
                  <a:schemeClr val="tx1"/>
                </a:solidFill>
                <a:latin typeface="Arial Narrow" pitchFamily="34" charset="0"/>
                <a:ea typeface="+mn-ea"/>
                <a:cs typeface="Arial" charset="0"/>
              </a:defRPr>
            </a:lvl6pPr>
            <a:lvl7pPr marL="2743200" algn="l" defTabSz="914400" rtl="0" eaLnBrk="1" latinLnBrk="0" hangingPunct="1">
              <a:defRPr sz="2000" kern="1200">
                <a:solidFill>
                  <a:schemeClr val="tx1"/>
                </a:solidFill>
                <a:latin typeface="Arial Narrow" pitchFamily="34" charset="0"/>
                <a:ea typeface="+mn-ea"/>
                <a:cs typeface="Arial" charset="0"/>
              </a:defRPr>
            </a:lvl7pPr>
            <a:lvl8pPr marL="3200400" algn="l" defTabSz="914400" rtl="0" eaLnBrk="1" latinLnBrk="0" hangingPunct="1">
              <a:defRPr sz="2000" kern="1200">
                <a:solidFill>
                  <a:schemeClr val="tx1"/>
                </a:solidFill>
                <a:latin typeface="Arial Narrow" pitchFamily="34" charset="0"/>
                <a:ea typeface="+mn-ea"/>
                <a:cs typeface="Arial" charset="0"/>
              </a:defRPr>
            </a:lvl8pPr>
            <a:lvl9pPr marL="3657600" algn="l" defTabSz="914400" rtl="0" eaLnBrk="1" latinLnBrk="0" hangingPunct="1">
              <a:defRPr sz="2000" kern="1200">
                <a:solidFill>
                  <a:schemeClr val="tx1"/>
                </a:solidFill>
                <a:latin typeface="Arial Narrow" pitchFamily="34" charset="0"/>
                <a:ea typeface="+mn-ea"/>
                <a:cs typeface="Arial" charset="0"/>
              </a:defRPr>
            </a:lvl9pPr>
          </a:lstStyle>
          <a:p>
            <a:r>
              <a:rPr lang="de-CH" sz="8800">
                <a:solidFill>
                  <a:schemeClr val="accent1"/>
                </a:solidFill>
              </a:rPr>
              <a:t>1</a:t>
            </a:r>
          </a:p>
        </p:txBody>
      </p:sp>
      <p:pic>
        <p:nvPicPr>
          <p:cNvPr id="39" name="Picture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2427" y="1016993"/>
            <a:ext cx="4872015" cy="4824014"/>
          </a:xfrm>
          <a:prstGeom prst="rect">
            <a:avLst/>
          </a:prstGeom>
        </p:spPr>
      </p:pic>
    </p:spTree>
    <p:extLst>
      <p:ext uri="{BB962C8B-B14F-4D97-AF65-F5344CB8AC3E}">
        <p14:creationId xmlns:p14="http://schemas.microsoft.com/office/powerpoint/2010/main" val="4257183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FONTSIZE" val="9"/>
</p:tagLst>
</file>

<file path=ppt/tags/tag10.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00.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1.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2.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3.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4.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5.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6.xml><?xml version="1.0" encoding="utf-8"?>
<p:tagLst xmlns:a="http://schemas.openxmlformats.org/drawingml/2006/main" xmlns:r="http://schemas.openxmlformats.org/officeDocument/2006/relationships" xmlns:p="http://schemas.openxmlformats.org/presentationml/2006/main">
  <p:tag name="EE4P_MAPWIZARD_ID" val="VN"/>
  <p:tag name="EE4P_MAPWIZARD" val="Viet Nam"/>
</p:tagLst>
</file>

<file path=ppt/tags/tag107.xml><?xml version="1.0" encoding="utf-8"?>
<p:tagLst xmlns:a="http://schemas.openxmlformats.org/drawingml/2006/main" xmlns:r="http://schemas.openxmlformats.org/officeDocument/2006/relationships" xmlns:p="http://schemas.openxmlformats.org/presentationml/2006/main">
  <p:tag name="EE4P_MAPWIZARD_ID" val="MY"/>
  <p:tag name="EE4P_MAPWIZARD" val="Malaysia"/>
</p:tagLst>
</file>

<file path=ppt/tags/tag108.xml><?xml version="1.0" encoding="utf-8"?>
<p:tagLst xmlns:a="http://schemas.openxmlformats.org/drawingml/2006/main" xmlns:r="http://schemas.openxmlformats.org/officeDocument/2006/relationships" xmlns:p="http://schemas.openxmlformats.org/presentationml/2006/main">
  <p:tag name="EE4P_MAPWIZARD_ID" val="MY"/>
  <p:tag name="EE4P_MAPWIZARD" val="Malaysia"/>
</p:tagLst>
</file>

<file path=ppt/tags/tag109.xml><?xml version="1.0" encoding="utf-8"?>
<p:tagLst xmlns:a="http://schemas.openxmlformats.org/drawingml/2006/main" xmlns:r="http://schemas.openxmlformats.org/officeDocument/2006/relationships" xmlns:p="http://schemas.openxmlformats.org/presentationml/2006/main">
  <p:tag name="EE4P_MAPWIZARD_ID" val="TH"/>
  <p:tag name="EE4P_MAPWIZARD" val="Thailand"/>
</p:tagLst>
</file>

<file path=ppt/tags/tag11.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10.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1.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2.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3.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4.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5.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6.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7.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8.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9.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20.xml><?xml version="1.0" encoding="utf-8"?>
<p:tagLst xmlns:a="http://schemas.openxmlformats.org/drawingml/2006/main" xmlns:r="http://schemas.openxmlformats.org/officeDocument/2006/relationships" xmlns:p="http://schemas.openxmlformats.org/presentationml/2006/main">
  <p:tag name="EE4P_MAPWIZARD_ID" val="MM"/>
  <p:tag name="EE4P_MAPWIZARD" val="Myanmar"/>
</p:tagLst>
</file>

<file path=ppt/tags/tag121.xml><?xml version="1.0" encoding="utf-8"?>
<p:tagLst xmlns:a="http://schemas.openxmlformats.org/drawingml/2006/main" xmlns:r="http://schemas.openxmlformats.org/officeDocument/2006/relationships" xmlns:p="http://schemas.openxmlformats.org/presentationml/2006/main">
  <p:tag name="EE4P_MAPWIZARD_ID" val="LA"/>
  <p:tag name="EE4P_MAPWIZARD" val="Lao People's Democratic Republic"/>
</p:tagLst>
</file>

<file path=ppt/tags/tag122.xml><?xml version="1.0" encoding="utf-8"?>
<p:tagLst xmlns:a="http://schemas.openxmlformats.org/drawingml/2006/main" xmlns:r="http://schemas.openxmlformats.org/officeDocument/2006/relationships" xmlns:p="http://schemas.openxmlformats.org/presentationml/2006/main">
  <p:tag name="EE4P_MAPWIZARD_ID" val="KH"/>
  <p:tag name="EE4P_MAPWIZARD" val="Cambodia"/>
</p:tagLst>
</file>

<file path=ppt/tags/tag123.xml><?xml version="1.0" encoding="utf-8"?>
<p:tagLst xmlns:a="http://schemas.openxmlformats.org/drawingml/2006/main" xmlns:r="http://schemas.openxmlformats.org/officeDocument/2006/relationships" xmlns:p="http://schemas.openxmlformats.org/presentationml/2006/main">
  <p:tag name="EE4P_MAPWIZARD_ID" val="KR"/>
  <p:tag name="EE4P_MAPWIZARD" val="Korea, Republic of"/>
</p:tagLst>
</file>

<file path=ppt/tags/tag124.xml><?xml version="1.0" encoding="utf-8"?>
<p:tagLst xmlns:a="http://schemas.openxmlformats.org/drawingml/2006/main" xmlns:r="http://schemas.openxmlformats.org/officeDocument/2006/relationships" xmlns:p="http://schemas.openxmlformats.org/presentationml/2006/main">
  <p:tag name="EE4P_MAPWIZARD_ID" val="KP"/>
  <p:tag name="EE4P_MAPWIZARD" val="Korea, Democratic People's Republic of"/>
</p:tagLst>
</file>

<file path=ppt/tags/tag125.xml><?xml version="1.0" encoding="utf-8"?>
<p:tagLst xmlns:a="http://schemas.openxmlformats.org/drawingml/2006/main" xmlns:r="http://schemas.openxmlformats.org/officeDocument/2006/relationships" xmlns:p="http://schemas.openxmlformats.org/presentationml/2006/main">
  <p:tag name="EE4P_MAPWIZARD_ID" val="PK"/>
  <p:tag name="EE4P_MAPWIZARD" val="Pakistan"/>
</p:tagLst>
</file>

<file path=ppt/tags/tag126.xml><?xml version="1.0" encoding="utf-8"?>
<p:tagLst xmlns:a="http://schemas.openxmlformats.org/drawingml/2006/main" xmlns:r="http://schemas.openxmlformats.org/officeDocument/2006/relationships" xmlns:p="http://schemas.openxmlformats.org/presentationml/2006/main">
  <p:tag name="EE4P_MAPWIZARD_ID" val="AF"/>
  <p:tag name="EE4P_MAPWIZARD" val="Afghanistan"/>
</p:tagLst>
</file>

<file path=ppt/tags/tag127.xml><?xml version="1.0" encoding="utf-8"?>
<p:tagLst xmlns:a="http://schemas.openxmlformats.org/drawingml/2006/main" xmlns:r="http://schemas.openxmlformats.org/officeDocument/2006/relationships" xmlns:p="http://schemas.openxmlformats.org/presentationml/2006/main">
  <p:tag name="EE4P_MAPWIZARD_ID" val="AE"/>
  <p:tag name="EE4P_MAPWIZARD" val="United Arab Emirates"/>
</p:tagLst>
</file>

<file path=ppt/tags/tag128.xml><?xml version="1.0" encoding="utf-8"?>
<p:tagLst xmlns:a="http://schemas.openxmlformats.org/drawingml/2006/main" xmlns:r="http://schemas.openxmlformats.org/officeDocument/2006/relationships" xmlns:p="http://schemas.openxmlformats.org/presentationml/2006/main">
  <p:tag name="EE4P_MAPWIZARD_ID" val="OM"/>
  <p:tag name="EE4P_MAPWIZARD" val="Oman"/>
</p:tagLst>
</file>

<file path=ppt/tags/tag129.xml><?xml version="1.0" encoding="utf-8"?>
<p:tagLst xmlns:a="http://schemas.openxmlformats.org/drawingml/2006/main" xmlns:r="http://schemas.openxmlformats.org/officeDocument/2006/relationships" xmlns:p="http://schemas.openxmlformats.org/presentationml/2006/main">
  <p:tag name="EE4P_MAPWIZARD_ID" val="KW"/>
  <p:tag name="EE4P_MAPWIZARD" val="Kuwait"/>
</p:tagLst>
</file>

<file path=ppt/tags/tag13.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30.xml><?xml version="1.0" encoding="utf-8"?>
<p:tagLst xmlns:a="http://schemas.openxmlformats.org/drawingml/2006/main" xmlns:r="http://schemas.openxmlformats.org/officeDocument/2006/relationships" xmlns:p="http://schemas.openxmlformats.org/presentationml/2006/main">
  <p:tag name="EE4P_MAPWIZARD_ID" val="IR"/>
  <p:tag name="EE4P_MAPWIZARD" val="Iran, Islamic Republic of"/>
</p:tagLst>
</file>

<file path=ppt/tags/tag131.xml><?xml version="1.0" encoding="utf-8"?>
<p:tagLst xmlns:a="http://schemas.openxmlformats.org/drawingml/2006/main" xmlns:r="http://schemas.openxmlformats.org/officeDocument/2006/relationships" xmlns:p="http://schemas.openxmlformats.org/presentationml/2006/main">
  <p:tag name="EE4P_MAPWIZARD_ID" val="YE"/>
  <p:tag name="EE4P_MAPWIZARD" val="Yemen"/>
</p:tagLst>
</file>

<file path=ppt/tags/tag132.xml><?xml version="1.0" encoding="utf-8"?>
<p:tagLst xmlns:a="http://schemas.openxmlformats.org/drawingml/2006/main" xmlns:r="http://schemas.openxmlformats.org/officeDocument/2006/relationships" xmlns:p="http://schemas.openxmlformats.org/presentationml/2006/main">
  <p:tag name="EE4P_MAPWIZARD_ID" val="IQ"/>
  <p:tag name="EE4P_MAPWIZARD" val="Iraq"/>
</p:tagLst>
</file>

<file path=ppt/tags/tag133.xml><?xml version="1.0" encoding="utf-8"?>
<p:tagLst xmlns:a="http://schemas.openxmlformats.org/drawingml/2006/main" xmlns:r="http://schemas.openxmlformats.org/officeDocument/2006/relationships" xmlns:p="http://schemas.openxmlformats.org/presentationml/2006/main">
  <p:tag name="EE4P_MAPWIZARD_ID" val="SY"/>
  <p:tag name="EE4P_MAPWIZARD" val="Syrian Arab Republic"/>
</p:tagLst>
</file>

<file path=ppt/tags/tag134.xml><?xml version="1.0" encoding="utf-8"?>
<p:tagLst xmlns:a="http://schemas.openxmlformats.org/drawingml/2006/main" xmlns:r="http://schemas.openxmlformats.org/officeDocument/2006/relationships" xmlns:p="http://schemas.openxmlformats.org/presentationml/2006/main">
  <p:tag name="EE4P_MAPWIZARD_ID" val="LB"/>
  <p:tag name="EE4P_MAPWIZARD" val="Lebanon"/>
</p:tagLst>
</file>

<file path=ppt/tags/tag135.xml><?xml version="1.0" encoding="utf-8"?>
<p:tagLst xmlns:a="http://schemas.openxmlformats.org/drawingml/2006/main" xmlns:r="http://schemas.openxmlformats.org/officeDocument/2006/relationships" xmlns:p="http://schemas.openxmlformats.org/presentationml/2006/main">
  <p:tag name="EE4P_MAPWIZARD_ID" val="JO"/>
  <p:tag name="EE4P_MAPWIZARD" val="Jordan"/>
</p:tagLst>
</file>

<file path=ppt/tags/tag136.xml><?xml version="1.0" encoding="utf-8"?>
<p:tagLst xmlns:a="http://schemas.openxmlformats.org/drawingml/2006/main" xmlns:r="http://schemas.openxmlformats.org/officeDocument/2006/relationships" xmlns:p="http://schemas.openxmlformats.org/presentationml/2006/main">
  <p:tag name="EE4P_MAPWIZARD_ID" val="SA"/>
  <p:tag name="EE4P_MAPWIZARD" val="Saudi Arabia"/>
</p:tagLst>
</file>

<file path=ppt/tags/tag137.xml><?xml version="1.0" encoding="utf-8"?>
<p:tagLst xmlns:a="http://schemas.openxmlformats.org/drawingml/2006/main" xmlns:r="http://schemas.openxmlformats.org/officeDocument/2006/relationships" xmlns:p="http://schemas.openxmlformats.org/presentationml/2006/main">
  <p:tag name="EE4P_MAPWIZARD_ID" val="EG"/>
  <p:tag name="EE4P_MAPWIZARD" val="Egypt"/>
</p:tagLst>
</file>

<file path=ppt/tags/tag138.xml><?xml version="1.0" encoding="utf-8"?>
<p:tagLst xmlns:a="http://schemas.openxmlformats.org/drawingml/2006/main" xmlns:r="http://schemas.openxmlformats.org/officeDocument/2006/relationships" xmlns:p="http://schemas.openxmlformats.org/presentationml/2006/main">
  <p:tag name="EE4P_MAPWIZARD_ID" val="LY"/>
  <p:tag name="EE4P_MAPWIZARD" val="Libya"/>
</p:tagLst>
</file>

<file path=ppt/tags/tag139.xml><?xml version="1.0" encoding="utf-8"?>
<p:tagLst xmlns:a="http://schemas.openxmlformats.org/drawingml/2006/main" xmlns:r="http://schemas.openxmlformats.org/officeDocument/2006/relationships" xmlns:p="http://schemas.openxmlformats.org/presentationml/2006/main">
  <p:tag name="EE4P_MAPWIZARD_ID" val="KG"/>
  <p:tag name="EE4P_MAPWIZARD" val="Kyrgyzstan"/>
</p:tagLst>
</file>

<file path=ppt/tags/tag14.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40.xml><?xml version="1.0" encoding="utf-8"?>
<p:tagLst xmlns:a="http://schemas.openxmlformats.org/drawingml/2006/main" xmlns:r="http://schemas.openxmlformats.org/officeDocument/2006/relationships" xmlns:p="http://schemas.openxmlformats.org/presentationml/2006/main">
  <p:tag name="EE4P_MAPWIZARD_ID" val="TJ"/>
  <p:tag name="EE4P_MAPWIZARD" val="Tajikistan"/>
</p:tagLst>
</file>

<file path=ppt/tags/tag141.xml><?xml version="1.0" encoding="utf-8"?>
<p:tagLst xmlns:a="http://schemas.openxmlformats.org/drawingml/2006/main" xmlns:r="http://schemas.openxmlformats.org/officeDocument/2006/relationships" xmlns:p="http://schemas.openxmlformats.org/presentationml/2006/main">
  <p:tag name="EE4P_MAPWIZARD_ID" val="UZ"/>
  <p:tag name="EE4P_MAPWIZARD" val="Uzbekistan"/>
</p:tagLst>
</file>

<file path=ppt/tags/tag142.xml><?xml version="1.0" encoding="utf-8"?>
<p:tagLst xmlns:a="http://schemas.openxmlformats.org/drawingml/2006/main" xmlns:r="http://schemas.openxmlformats.org/officeDocument/2006/relationships" xmlns:p="http://schemas.openxmlformats.org/presentationml/2006/main">
  <p:tag name="EE4P_MAPWIZARD_ID" val="TM"/>
  <p:tag name="EE4P_MAPWIZARD" val="Turkmenistan"/>
</p:tagLst>
</file>

<file path=ppt/tags/tag143.xml><?xml version="1.0" encoding="utf-8"?>
<p:tagLst xmlns:a="http://schemas.openxmlformats.org/drawingml/2006/main" xmlns:r="http://schemas.openxmlformats.org/officeDocument/2006/relationships" xmlns:p="http://schemas.openxmlformats.org/presentationml/2006/main">
  <p:tag name="EE4P_MAPWIZARD_ID" val="KZ"/>
  <p:tag name="EE4P_MAPWIZARD" val="Kazakhstan"/>
</p:tagLst>
</file>

<file path=ppt/tags/tag144.xml><?xml version="1.0" encoding="utf-8"?>
<p:tagLst xmlns:a="http://schemas.openxmlformats.org/drawingml/2006/main" xmlns:r="http://schemas.openxmlformats.org/officeDocument/2006/relationships" xmlns:p="http://schemas.openxmlformats.org/presentationml/2006/main">
  <p:tag name="EE4P_MAPWIZARD_ID" val="BY"/>
  <p:tag name="EE4P_MAPWIZARD" val="Belarus"/>
</p:tagLst>
</file>

<file path=ppt/tags/tag145.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46.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47.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48.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49.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50.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1.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2.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3.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4.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5.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6.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7.xml><?xml version="1.0" encoding="utf-8"?>
<p:tagLst xmlns:a="http://schemas.openxmlformats.org/drawingml/2006/main" xmlns:r="http://schemas.openxmlformats.org/officeDocument/2006/relationships" xmlns:p="http://schemas.openxmlformats.org/presentationml/2006/main">
  <p:tag name="EE4P_MAPWIZARD_ID" val="AZ"/>
  <p:tag name="EE4P_MAPWIZARD" val="Azerbaijan"/>
</p:tagLst>
</file>

<file path=ppt/tags/tag158.xml><?xml version="1.0" encoding="utf-8"?>
<p:tagLst xmlns:a="http://schemas.openxmlformats.org/drawingml/2006/main" xmlns:r="http://schemas.openxmlformats.org/officeDocument/2006/relationships" xmlns:p="http://schemas.openxmlformats.org/presentationml/2006/main">
  <p:tag name="EE4P_MAPWIZARD_ID" val="AM"/>
  <p:tag name="EE4P_MAPWIZARD" val="Armenia"/>
</p:tagLst>
</file>

<file path=ppt/tags/tag159.xml><?xml version="1.0" encoding="utf-8"?>
<p:tagLst xmlns:a="http://schemas.openxmlformats.org/drawingml/2006/main" xmlns:r="http://schemas.openxmlformats.org/officeDocument/2006/relationships" xmlns:p="http://schemas.openxmlformats.org/presentationml/2006/main">
  <p:tag name="EE4P_MAPWIZARD_ID" val="GE"/>
  <p:tag name="EE4P_MAPWIZARD" val="Georgia"/>
</p:tagLst>
</file>

<file path=ppt/tags/tag16.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60.xml><?xml version="1.0" encoding="utf-8"?>
<p:tagLst xmlns:a="http://schemas.openxmlformats.org/drawingml/2006/main" xmlns:r="http://schemas.openxmlformats.org/officeDocument/2006/relationships" xmlns:p="http://schemas.openxmlformats.org/presentationml/2006/main">
  <p:tag name="EE4P_MAPWIZARD_ID" val="IL"/>
  <p:tag name="EE4P_MAPWIZARD" val="Israel"/>
</p:tagLst>
</file>

<file path=ppt/tags/tag161.xml><?xml version="1.0" encoding="utf-8"?>
<p:tagLst xmlns:a="http://schemas.openxmlformats.org/drawingml/2006/main" xmlns:r="http://schemas.openxmlformats.org/officeDocument/2006/relationships" xmlns:p="http://schemas.openxmlformats.org/presentationml/2006/main">
  <p:tag name="EE4P_MAPWIZARD_ID" val="MD"/>
  <p:tag name="EE4P_MAPWIZARD" val="Moldova, Republic of"/>
</p:tagLst>
</file>

<file path=ppt/tags/tag162.xml><?xml version="1.0" encoding="utf-8"?>
<p:tagLst xmlns:a="http://schemas.openxmlformats.org/drawingml/2006/main" xmlns:r="http://schemas.openxmlformats.org/officeDocument/2006/relationships" xmlns:p="http://schemas.openxmlformats.org/presentationml/2006/main">
  <p:tag name="EE4P_MAPWIZARD_ID" val="TR"/>
  <p:tag name="EE4P_MAPWIZARD" val="Turkey"/>
</p:tagLst>
</file>

<file path=ppt/tags/tag163.xml><?xml version="1.0" encoding="utf-8"?>
<p:tagLst xmlns:a="http://schemas.openxmlformats.org/drawingml/2006/main" xmlns:r="http://schemas.openxmlformats.org/officeDocument/2006/relationships" xmlns:p="http://schemas.openxmlformats.org/presentationml/2006/main">
  <p:tag name="EE4P_MAPWIZARD_ID" val="TR"/>
  <p:tag name="EE4P_MAPWIZARD" val="Turkey"/>
</p:tagLst>
</file>

<file path=ppt/tags/tag164.xml><?xml version="1.0" encoding="utf-8"?>
<p:tagLst xmlns:a="http://schemas.openxmlformats.org/drawingml/2006/main" xmlns:r="http://schemas.openxmlformats.org/officeDocument/2006/relationships" xmlns:p="http://schemas.openxmlformats.org/presentationml/2006/main">
  <p:tag name="EE4P_MAPWIZARD_ID" val="UA"/>
  <p:tag name="EE4P_MAPWIZARD" val="Ukraine"/>
</p:tagLst>
</file>

<file path=ppt/tags/tag165.xml><?xml version="1.0" encoding="utf-8"?>
<p:tagLst xmlns:a="http://schemas.openxmlformats.org/drawingml/2006/main" xmlns:r="http://schemas.openxmlformats.org/officeDocument/2006/relationships" xmlns:p="http://schemas.openxmlformats.org/presentationml/2006/main">
  <p:tag name="EE4P_MAPWIZARD_ID" val="BG"/>
  <p:tag name="EE4P_MAPWIZARD" val="Bulgaria"/>
</p:tagLst>
</file>

<file path=ppt/tags/tag166.xml><?xml version="1.0" encoding="utf-8"?>
<p:tagLst xmlns:a="http://schemas.openxmlformats.org/drawingml/2006/main" xmlns:r="http://schemas.openxmlformats.org/officeDocument/2006/relationships" xmlns:p="http://schemas.openxmlformats.org/presentationml/2006/main">
  <p:tag name="EE4P_MAPWIZARD_ID" val="RO"/>
  <p:tag name="EE4P_MAPWIZARD" val="Romania"/>
</p:tagLst>
</file>

<file path=ppt/tags/tag167.xml><?xml version="1.0" encoding="utf-8"?>
<p:tagLst xmlns:a="http://schemas.openxmlformats.org/drawingml/2006/main" xmlns:r="http://schemas.openxmlformats.org/officeDocument/2006/relationships" xmlns:p="http://schemas.openxmlformats.org/presentationml/2006/main">
  <p:tag name="EE4P_MAPWIZARD_ID" val="RS"/>
  <p:tag name="EE4P_MAPWIZARD" val="Serbia"/>
</p:tagLst>
</file>

<file path=ppt/tags/tag168.xml><?xml version="1.0" encoding="utf-8"?>
<p:tagLst xmlns:a="http://schemas.openxmlformats.org/drawingml/2006/main" xmlns:r="http://schemas.openxmlformats.org/officeDocument/2006/relationships" xmlns:p="http://schemas.openxmlformats.org/presentationml/2006/main">
  <p:tag name="EE4P_MAPWIZARD_ID" val="ME"/>
  <p:tag name="EE4P_MAPWIZARD" val="Montenegro"/>
</p:tagLst>
</file>

<file path=ppt/tags/tag169.xml><?xml version="1.0" encoding="utf-8"?>
<p:tagLst xmlns:a="http://schemas.openxmlformats.org/drawingml/2006/main" xmlns:r="http://schemas.openxmlformats.org/officeDocument/2006/relationships" xmlns:p="http://schemas.openxmlformats.org/presentationml/2006/main">
  <p:tag name="EE4P_MAPWIZARD_ID" val="SK"/>
  <p:tag name="EE4P_MAPWIZARD" val="Slovakia"/>
</p:tagLst>
</file>

<file path=ppt/tags/tag17.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70.xml><?xml version="1.0" encoding="utf-8"?>
<p:tagLst xmlns:a="http://schemas.openxmlformats.org/drawingml/2006/main" xmlns:r="http://schemas.openxmlformats.org/officeDocument/2006/relationships" xmlns:p="http://schemas.openxmlformats.org/presentationml/2006/main">
  <p:tag name="EE4P_MAPWIZARD_ID" val="HU"/>
  <p:tag name="EE4P_MAPWIZARD" val="Hungary"/>
</p:tagLst>
</file>

<file path=ppt/tags/tag171.xml><?xml version="1.0" encoding="utf-8"?>
<p:tagLst xmlns:a="http://schemas.openxmlformats.org/drawingml/2006/main" xmlns:r="http://schemas.openxmlformats.org/officeDocument/2006/relationships" xmlns:p="http://schemas.openxmlformats.org/presentationml/2006/main">
  <p:tag name="EE4P_MAPWIZARD_ID" val="BA"/>
  <p:tag name="EE4P_MAPWIZARD" val="Bosnia and Herzegovina"/>
</p:tagLst>
</file>

<file path=ppt/tags/tag172.xml><?xml version="1.0" encoding="utf-8"?>
<p:tagLst xmlns:a="http://schemas.openxmlformats.org/drawingml/2006/main" xmlns:r="http://schemas.openxmlformats.org/officeDocument/2006/relationships" xmlns:p="http://schemas.openxmlformats.org/presentationml/2006/main">
  <p:tag name="EE4P_MAPWIZARD_ID" val="CZ"/>
  <p:tag name="EE4P_MAPWIZARD" val="Czech Republic"/>
</p:tagLst>
</file>

<file path=ppt/tags/tag173.xml><?xml version="1.0" encoding="utf-8"?>
<p:tagLst xmlns:a="http://schemas.openxmlformats.org/drawingml/2006/main" xmlns:r="http://schemas.openxmlformats.org/officeDocument/2006/relationships" xmlns:p="http://schemas.openxmlformats.org/presentationml/2006/main">
  <p:tag name="EE4P_MAPWIZARD_ID" val="HR"/>
  <p:tag name="EE4P_MAPWIZARD" val="Croatia"/>
</p:tagLst>
</file>

<file path=ppt/tags/tag174.xml><?xml version="1.0" encoding="utf-8"?>
<p:tagLst xmlns:a="http://schemas.openxmlformats.org/drawingml/2006/main" xmlns:r="http://schemas.openxmlformats.org/officeDocument/2006/relationships" xmlns:p="http://schemas.openxmlformats.org/presentationml/2006/main">
  <p:tag name="EE4P_MAPWIZARD_ID" val="SI"/>
  <p:tag name="EE4P_MAPWIZARD" val="Slovenia"/>
</p:tagLst>
</file>

<file path=ppt/tags/tag175.xml><?xml version="1.0" encoding="utf-8"?>
<p:tagLst xmlns:a="http://schemas.openxmlformats.org/drawingml/2006/main" xmlns:r="http://schemas.openxmlformats.org/officeDocument/2006/relationships" xmlns:p="http://schemas.openxmlformats.org/presentationml/2006/main">
  <p:tag name="EE4P_MAPWIZARD_ID" val="AT"/>
  <p:tag name="EE4P_MAPWIZARD" val="Austria"/>
</p:tagLst>
</file>

<file path=ppt/tags/tag176.xml><?xml version="1.0" encoding="utf-8"?>
<p:tagLst xmlns:a="http://schemas.openxmlformats.org/drawingml/2006/main" xmlns:r="http://schemas.openxmlformats.org/officeDocument/2006/relationships" xmlns:p="http://schemas.openxmlformats.org/presentationml/2006/main">
  <p:tag name="EE4P_MAPWIZARD_ID" val="DE"/>
  <p:tag name="EE4P_MAPWIZARD" val="Germany"/>
</p:tagLst>
</file>

<file path=ppt/tags/tag177.xml><?xml version="1.0" encoding="utf-8"?>
<p:tagLst xmlns:a="http://schemas.openxmlformats.org/drawingml/2006/main" xmlns:r="http://schemas.openxmlformats.org/officeDocument/2006/relationships" xmlns:p="http://schemas.openxmlformats.org/presentationml/2006/main">
  <p:tag name="EE4P_MAPWIZARD_ID" val="CH"/>
  <p:tag name="EE4P_MAPWIZARD" val="Switzerland"/>
</p:tagLst>
</file>

<file path=ppt/tags/tag178.xml><?xml version="1.0" encoding="utf-8"?>
<p:tagLst xmlns:a="http://schemas.openxmlformats.org/drawingml/2006/main" xmlns:r="http://schemas.openxmlformats.org/officeDocument/2006/relationships" xmlns:p="http://schemas.openxmlformats.org/presentationml/2006/main">
  <p:tag name="EE4P_MAPWIZARD_ID" val="CY"/>
  <p:tag name="EE4P_MAPWIZARD" val="Cyprus"/>
</p:tagLst>
</file>

<file path=ppt/tags/tag179.xml><?xml version="1.0" encoding="utf-8"?>
<p:tagLst xmlns:a="http://schemas.openxmlformats.org/drawingml/2006/main" xmlns:r="http://schemas.openxmlformats.org/officeDocument/2006/relationships" xmlns:p="http://schemas.openxmlformats.org/presentationml/2006/main">
  <p:tag name="EE4P_MAPWIZARD_ID" val="GR"/>
  <p:tag name="EE4P_MAPWIZARD" val="Greece"/>
</p:tagLst>
</file>

<file path=ppt/tags/tag18.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80.xml><?xml version="1.0" encoding="utf-8"?>
<p:tagLst xmlns:a="http://schemas.openxmlformats.org/drawingml/2006/main" xmlns:r="http://schemas.openxmlformats.org/officeDocument/2006/relationships" xmlns:p="http://schemas.openxmlformats.org/presentationml/2006/main">
  <p:tag name="EE4P_MAPWIZARD_ID" val="GR"/>
  <p:tag name="EE4P_MAPWIZARD" val="Greece"/>
</p:tagLst>
</file>

<file path=ppt/tags/tag181.xml><?xml version="1.0" encoding="utf-8"?>
<p:tagLst xmlns:a="http://schemas.openxmlformats.org/drawingml/2006/main" xmlns:r="http://schemas.openxmlformats.org/officeDocument/2006/relationships" xmlns:p="http://schemas.openxmlformats.org/presentationml/2006/main">
  <p:tag name="EE4P_MAPWIZARD_ID" val="MK"/>
  <p:tag name="EE4P_MAPWIZARD" val="Macedonia, The Former Yugoslav Republic of"/>
</p:tagLst>
</file>

<file path=ppt/tags/tag182.xml><?xml version="1.0" encoding="utf-8"?>
<p:tagLst xmlns:a="http://schemas.openxmlformats.org/drawingml/2006/main" xmlns:r="http://schemas.openxmlformats.org/officeDocument/2006/relationships" xmlns:p="http://schemas.openxmlformats.org/presentationml/2006/main">
  <p:tag name="EE4P_MAPWIZARD_ID" val="AL"/>
  <p:tag name="EE4P_MAPWIZARD" val="Albania"/>
</p:tagLst>
</file>

<file path=ppt/tags/tag183.xml><?xml version="1.0" encoding="utf-8"?>
<p:tagLst xmlns:a="http://schemas.openxmlformats.org/drawingml/2006/main" xmlns:r="http://schemas.openxmlformats.org/officeDocument/2006/relationships" xmlns:p="http://schemas.openxmlformats.org/presentationml/2006/main">
  <p:tag name="EE4P_MAPWIZARD_ID" val="IT"/>
  <p:tag name="EE4P_MAPWIZARD" val="Italy"/>
</p:tagLst>
</file>

<file path=ppt/tags/tag184.xml><?xml version="1.0" encoding="utf-8"?>
<p:tagLst xmlns:a="http://schemas.openxmlformats.org/drawingml/2006/main" xmlns:r="http://schemas.openxmlformats.org/officeDocument/2006/relationships" xmlns:p="http://schemas.openxmlformats.org/presentationml/2006/main">
  <p:tag name="EE4P_MAPWIZARD_ID" val="IT"/>
  <p:tag name="EE4P_MAPWIZARD" val="Italy"/>
</p:tagLst>
</file>

<file path=ppt/tags/tag185.xml><?xml version="1.0" encoding="utf-8"?>
<p:tagLst xmlns:a="http://schemas.openxmlformats.org/drawingml/2006/main" xmlns:r="http://schemas.openxmlformats.org/officeDocument/2006/relationships" xmlns:p="http://schemas.openxmlformats.org/presentationml/2006/main">
  <p:tag name="EE4P_MAPWIZARD_ID" val="BE"/>
  <p:tag name="EE4P_MAPWIZARD" val="Belgium"/>
</p:tagLst>
</file>

<file path=ppt/tags/tag186.xml><?xml version="1.0" encoding="utf-8"?>
<p:tagLst xmlns:a="http://schemas.openxmlformats.org/drawingml/2006/main" xmlns:r="http://schemas.openxmlformats.org/officeDocument/2006/relationships" xmlns:p="http://schemas.openxmlformats.org/presentationml/2006/main">
  <p:tag name="EE4P_MAPWIZARD_ID" val="FR"/>
  <p:tag name="EE4P_MAPWIZARD" val="France"/>
</p:tagLst>
</file>

<file path=ppt/tags/tag187.xml><?xml version="1.0" encoding="utf-8"?>
<p:tagLst xmlns:a="http://schemas.openxmlformats.org/drawingml/2006/main" xmlns:r="http://schemas.openxmlformats.org/officeDocument/2006/relationships" xmlns:p="http://schemas.openxmlformats.org/presentationml/2006/main">
  <p:tag name="EE4P_MAPWIZARD_ID" val="FR"/>
  <p:tag name="EE4P_MAPWIZARD" val="France"/>
</p:tagLst>
</file>

<file path=ppt/tags/tag188.xml><?xml version="1.0" encoding="utf-8"?>
<p:tagLst xmlns:a="http://schemas.openxmlformats.org/drawingml/2006/main" xmlns:r="http://schemas.openxmlformats.org/officeDocument/2006/relationships" xmlns:p="http://schemas.openxmlformats.org/presentationml/2006/main">
  <p:tag name="EE4P_MAPWIZARD_ID" val="PT"/>
  <p:tag name="EE4P_MAPWIZARD" val="Portugal"/>
</p:tagLst>
</file>

<file path=ppt/tags/tag189.xml><?xml version="1.0" encoding="utf-8"?>
<p:tagLst xmlns:a="http://schemas.openxmlformats.org/drawingml/2006/main" xmlns:r="http://schemas.openxmlformats.org/officeDocument/2006/relationships" xmlns:p="http://schemas.openxmlformats.org/presentationml/2006/main">
  <p:tag name="EE4P_MAPWIZARD_ID" val="ES"/>
  <p:tag name="EE4P_MAPWIZARD" val="Spain"/>
</p:tagLst>
</file>

<file path=ppt/tags/tag19.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90.xml><?xml version="1.0" encoding="utf-8"?>
<p:tagLst xmlns:a="http://schemas.openxmlformats.org/drawingml/2006/main" xmlns:r="http://schemas.openxmlformats.org/officeDocument/2006/relationships" xmlns:p="http://schemas.openxmlformats.org/presentationml/2006/main">
  <p:tag name="EE4P_MAPWIZARD_ID" val="ES"/>
  <p:tag name="EE4P_MAPWIZARD" val="Spain"/>
</p:tagLst>
</file>

<file path=ppt/tags/tag191.xml><?xml version="1.0" encoding="utf-8"?>
<p:tagLst xmlns:a="http://schemas.openxmlformats.org/drawingml/2006/main" xmlns:r="http://schemas.openxmlformats.org/officeDocument/2006/relationships" xmlns:p="http://schemas.openxmlformats.org/presentationml/2006/main">
  <p:tag name="EE4P_MAPWIZARD_ID" val="SJ"/>
  <p:tag name="EE4P_MAPWIZARD" val="Svalbard and Jan Mayen"/>
</p:tagLst>
</file>

<file path=ppt/tags/tag192.xml><?xml version="1.0" encoding="utf-8"?>
<p:tagLst xmlns:a="http://schemas.openxmlformats.org/drawingml/2006/main" xmlns:r="http://schemas.openxmlformats.org/officeDocument/2006/relationships" xmlns:p="http://schemas.openxmlformats.org/presentationml/2006/main">
  <p:tag name="EE4P_MAPWIZARD_ID" val="SJ"/>
  <p:tag name="EE4P_MAPWIZARD" val="Svalbard and Jan Mayen"/>
</p:tagLst>
</file>

<file path=ppt/tags/tag193.xml><?xml version="1.0" encoding="utf-8"?>
<p:tagLst xmlns:a="http://schemas.openxmlformats.org/drawingml/2006/main" xmlns:r="http://schemas.openxmlformats.org/officeDocument/2006/relationships" xmlns:p="http://schemas.openxmlformats.org/presentationml/2006/main">
  <p:tag name="EE4P_MAPWIZARD_ID" val="SJ"/>
  <p:tag name="EE4P_MAPWIZARD" val="Svalbard and Jan Mayen"/>
</p:tagLst>
</file>

<file path=ppt/tags/tag194.xml><?xml version="1.0" encoding="utf-8"?>
<p:tagLst xmlns:a="http://schemas.openxmlformats.org/drawingml/2006/main" xmlns:r="http://schemas.openxmlformats.org/officeDocument/2006/relationships" xmlns:p="http://schemas.openxmlformats.org/presentationml/2006/main">
  <p:tag name="EE4P_MAPWIZARD_ID" val="EE"/>
  <p:tag name="EE4P_MAPWIZARD" val="Estonia"/>
</p:tagLst>
</file>

<file path=ppt/tags/tag195.xml><?xml version="1.0" encoding="utf-8"?>
<p:tagLst xmlns:a="http://schemas.openxmlformats.org/drawingml/2006/main" xmlns:r="http://schemas.openxmlformats.org/officeDocument/2006/relationships" xmlns:p="http://schemas.openxmlformats.org/presentationml/2006/main">
  <p:tag name="EE4P_MAPWIZARD_ID" val="LT"/>
  <p:tag name="EE4P_MAPWIZARD" val="Lithuania"/>
</p:tagLst>
</file>

<file path=ppt/tags/tag196.xml><?xml version="1.0" encoding="utf-8"?>
<p:tagLst xmlns:a="http://schemas.openxmlformats.org/drawingml/2006/main" xmlns:r="http://schemas.openxmlformats.org/officeDocument/2006/relationships" xmlns:p="http://schemas.openxmlformats.org/presentationml/2006/main">
  <p:tag name="EE4P_MAPWIZARD_ID" val="LV"/>
  <p:tag name="EE4P_MAPWIZARD" val="Latvia"/>
</p:tagLst>
</file>

<file path=ppt/tags/tag197.xml><?xml version="1.0" encoding="utf-8"?>
<p:tagLst xmlns:a="http://schemas.openxmlformats.org/drawingml/2006/main" xmlns:r="http://schemas.openxmlformats.org/officeDocument/2006/relationships" xmlns:p="http://schemas.openxmlformats.org/presentationml/2006/main">
  <p:tag name="EE4P_MAPWIZARD_ID" val="FI"/>
  <p:tag name="EE4P_MAPWIZARD" val="Finland"/>
</p:tagLst>
</file>

<file path=ppt/tags/tag198.xml><?xml version="1.0" encoding="utf-8"?>
<p:tagLst xmlns:a="http://schemas.openxmlformats.org/drawingml/2006/main" xmlns:r="http://schemas.openxmlformats.org/officeDocument/2006/relationships" xmlns:p="http://schemas.openxmlformats.org/presentationml/2006/main">
  <p:tag name="EE4P_MAPWIZARD_ID" val="PL"/>
  <p:tag name="EE4P_MAPWIZARD" val="Poland"/>
</p:tagLst>
</file>

<file path=ppt/tags/tag199.xml><?xml version="1.0" encoding="utf-8"?>
<p:tagLst xmlns:a="http://schemas.openxmlformats.org/drawingml/2006/main" xmlns:r="http://schemas.openxmlformats.org/officeDocument/2006/relationships" xmlns:p="http://schemas.openxmlformats.org/presentationml/2006/main">
  <p:tag name="EE4P_MAPWIZARD_ID" val="SE"/>
  <p:tag name="EE4P_MAPWIZARD" val="Sweden"/>
</p:tagLst>
</file>

<file path=ppt/tags/tag2.xml><?xml version="1.0" encoding="utf-8"?>
<p:tagLst xmlns:a="http://schemas.openxmlformats.org/drawingml/2006/main" xmlns:r="http://schemas.openxmlformats.org/officeDocument/2006/relationships" xmlns:p="http://schemas.openxmlformats.org/presentationml/2006/main">
  <p:tag name="SHAPEFONTSIZE" val="9"/>
</p:tagLst>
</file>

<file path=ppt/tags/tag20.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00.xml><?xml version="1.0" encoding="utf-8"?>
<p:tagLst xmlns:a="http://schemas.openxmlformats.org/drawingml/2006/main" xmlns:r="http://schemas.openxmlformats.org/officeDocument/2006/relationships" xmlns:p="http://schemas.openxmlformats.org/presentationml/2006/main">
  <p:tag name="EE4P_MAPWIZARD_ID" val="SE"/>
  <p:tag name="EE4P_MAPWIZARD" val="Sweden"/>
</p:tagLst>
</file>

<file path=ppt/tags/tag201.xml><?xml version="1.0" encoding="utf-8"?>
<p:tagLst xmlns:a="http://schemas.openxmlformats.org/drawingml/2006/main" xmlns:r="http://schemas.openxmlformats.org/officeDocument/2006/relationships" xmlns:p="http://schemas.openxmlformats.org/presentationml/2006/main">
  <p:tag name="EE4P_MAPWIZARD_ID" val="DK"/>
  <p:tag name="EE4P_MAPWIZARD" val="Denmark"/>
</p:tagLst>
</file>

<file path=ppt/tags/tag202.xml><?xml version="1.0" encoding="utf-8"?>
<p:tagLst xmlns:a="http://schemas.openxmlformats.org/drawingml/2006/main" xmlns:r="http://schemas.openxmlformats.org/officeDocument/2006/relationships" xmlns:p="http://schemas.openxmlformats.org/presentationml/2006/main">
  <p:tag name="EE4P_MAPWIZARD_ID" val="DK"/>
  <p:tag name="EE4P_MAPWIZARD" val="Denmark"/>
</p:tagLst>
</file>

<file path=ppt/tags/tag203.xml><?xml version="1.0" encoding="utf-8"?>
<p:tagLst xmlns:a="http://schemas.openxmlformats.org/drawingml/2006/main" xmlns:r="http://schemas.openxmlformats.org/officeDocument/2006/relationships" xmlns:p="http://schemas.openxmlformats.org/presentationml/2006/main">
  <p:tag name="EE4P_MAPWIZARD_ID" val="NL"/>
  <p:tag name="EE4P_MAPWIZARD" val="Netherlands"/>
</p:tagLst>
</file>

<file path=ppt/tags/tag204.xml><?xml version="1.0" encoding="utf-8"?>
<p:tagLst xmlns:a="http://schemas.openxmlformats.org/drawingml/2006/main" xmlns:r="http://schemas.openxmlformats.org/officeDocument/2006/relationships" xmlns:p="http://schemas.openxmlformats.org/presentationml/2006/main">
  <p:tag name="EE4P_MAPWIZARD_ID" val="NO"/>
  <p:tag name="EE4P_MAPWIZARD" val="Norway"/>
</p:tagLst>
</file>

<file path=ppt/tags/tag205.xml><?xml version="1.0" encoding="utf-8"?>
<p:tagLst xmlns:a="http://schemas.openxmlformats.org/drawingml/2006/main" xmlns:r="http://schemas.openxmlformats.org/officeDocument/2006/relationships" xmlns:p="http://schemas.openxmlformats.org/presentationml/2006/main">
  <p:tag name="EE4P_MAPWIZARD_ID" val="IS"/>
  <p:tag name="EE4P_MAPWIZARD" val="Iceland"/>
</p:tagLst>
</file>

<file path=ppt/tags/tag206.xml><?xml version="1.0" encoding="utf-8"?>
<p:tagLst xmlns:a="http://schemas.openxmlformats.org/drawingml/2006/main" xmlns:r="http://schemas.openxmlformats.org/officeDocument/2006/relationships" xmlns:p="http://schemas.openxmlformats.org/presentationml/2006/main">
  <p:tag name="EE4P_MAPWIZARD_ID" val="GB"/>
  <p:tag name="EE4P_MAPWIZARD" val="United Kingdom"/>
</p:tagLst>
</file>

<file path=ppt/tags/tag207.xml><?xml version="1.0" encoding="utf-8"?>
<p:tagLst xmlns:a="http://schemas.openxmlformats.org/drawingml/2006/main" xmlns:r="http://schemas.openxmlformats.org/officeDocument/2006/relationships" xmlns:p="http://schemas.openxmlformats.org/presentationml/2006/main">
  <p:tag name="EE4P_MAPWIZARD_ID" val="GB"/>
  <p:tag name="EE4P_MAPWIZARD" val="United Kingdom"/>
</p:tagLst>
</file>

<file path=ppt/tags/tag208.xml><?xml version="1.0" encoding="utf-8"?>
<p:tagLst xmlns:a="http://schemas.openxmlformats.org/drawingml/2006/main" xmlns:r="http://schemas.openxmlformats.org/officeDocument/2006/relationships" xmlns:p="http://schemas.openxmlformats.org/presentationml/2006/main">
  <p:tag name="EE4P_MAPWIZARD_ID" val="GB"/>
  <p:tag name="EE4P_MAPWIZARD" val="United Kingdom"/>
</p:tagLst>
</file>

<file path=ppt/tags/tag209.xml><?xml version="1.0" encoding="utf-8"?>
<p:tagLst xmlns:a="http://schemas.openxmlformats.org/drawingml/2006/main" xmlns:r="http://schemas.openxmlformats.org/officeDocument/2006/relationships" xmlns:p="http://schemas.openxmlformats.org/presentationml/2006/main">
  <p:tag name="EE4P_MAPWIZARD_ID" val="IE"/>
  <p:tag name="EE4P_MAPWIZARD" val="Ireland"/>
</p:tagLst>
</file>

<file path=ppt/tags/tag21.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10.xml><?xml version="1.0" encoding="utf-8"?>
<p:tagLst xmlns:a="http://schemas.openxmlformats.org/drawingml/2006/main" xmlns:r="http://schemas.openxmlformats.org/officeDocument/2006/relationships" xmlns:p="http://schemas.openxmlformats.org/presentationml/2006/main">
  <p:tag name="EE4P_MAPWIZARD_ID" val="MG"/>
  <p:tag name="EE4P_MAPWIZARD" val="Madagascar"/>
</p:tagLst>
</file>

<file path=ppt/tags/tag211.xml><?xml version="1.0" encoding="utf-8"?>
<p:tagLst xmlns:a="http://schemas.openxmlformats.org/drawingml/2006/main" xmlns:r="http://schemas.openxmlformats.org/officeDocument/2006/relationships" xmlns:p="http://schemas.openxmlformats.org/presentationml/2006/main">
  <p:tag name="EE4P_MAPWIZARD_ID" val="SO"/>
  <p:tag name="EE4P_MAPWIZARD" val="Somalia"/>
</p:tagLst>
</file>

<file path=ppt/tags/tag212.xml><?xml version="1.0" encoding="utf-8"?>
<p:tagLst xmlns:a="http://schemas.openxmlformats.org/drawingml/2006/main" xmlns:r="http://schemas.openxmlformats.org/officeDocument/2006/relationships" xmlns:p="http://schemas.openxmlformats.org/presentationml/2006/main">
  <p:tag name="EE4P_MAPWIZARD_ID" val="ET"/>
  <p:tag name="EE4P_MAPWIZARD" val="Ethiopia"/>
</p:tagLst>
</file>

<file path=ppt/tags/tag213.xml><?xml version="1.0" encoding="utf-8"?>
<p:tagLst xmlns:a="http://schemas.openxmlformats.org/drawingml/2006/main" xmlns:r="http://schemas.openxmlformats.org/officeDocument/2006/relationships" xmlns:p="http://schemas.openxmlformats.org/presentationml/2006/main">
  <p:tag name="EE4P_MAPWIZARD_ID" val="ER"/>
  <p:tag name="EE4P_MAPWIZARD" val="Eritrea"/>
</p:tagLst>
</file>

<file path=ppt/tags/tag214.xml><?xml version="1.0" encoding="utf-8"?>
<p:tagLst xmlns:a="http://schemas.openxmlformats.org/drawingml/2006/main" xmlns:r="http://schemas.openxmlformats.org/officeDocument/2006/relationships" xmlns:p="http://schemas.openxmlformats.org/presentationml/2006/main">
  <p:tag name="EE4P_MAPWIZARD_ID" val="KE"/>
  <p:tag name="EE4P_MAPWIZARD" val="Kenya"/>
</p:tagLst>
</file>

<file path=ppt/tags/tag215.xml><?xml version="1.0" encoding="utf-8"?>
<p:tagLst xmlns:a="http://schemas.openxmlformats.org/drawingml/2006/main" xmlns:r="http://schemas.openxmlformats.org/officeDocument/2006/relationships" xmlns:p="http://schemas.openxmlformats.org/presentationml/2006/main">
  <p:tag name="EE4P_MAPWIZARD_ID" val="MW"/>
  <p:tag name="EE4P_MAPWIZARD" val="Malawi"/>
</p:tagLst>
</file>

<file path=ppt/tags/tag216.xml><?xml version="1.0" encoding="utf-8"?>
<p:tagLst xmlns:a="http://schemas.openxmlformats.org/drawingml/2006/main" xmlns:r="http://schemas.openxmlformats.org/officeDocument/2006/relationships" xmlns:p="http://schemas.openxmlformats.org/presentationml/2006/main">
  <p:tag name="EE4P_MAPWIZARD_ID" val="SZ"/>
  <p:tag name="EE4P_MAPWIZARD" val="Swaziland"/>
</p:tagLst>
</file>

<file path=ppt/tags/tag217.xml><?xml version="1.0" encoding="utf-8"?>
<p:tagLst xmlns:a="http://schemas.openxmlformats.org/drawingml/2006/main" xmlns:r="http://schemas.openxmlformats.org/officeDocument/2006/relationships" xmlns:p="http://schemas.openxmlformats.org/presentationml/2006/main">
  <p:tag name="EE4P_MAPWIZARD_ID" val="MZ"/>
  <p:tag name="EE4P_MAPWIZARD" val="Mozambique"/>
</p:tagLst>
</file>

<file path=ppt/tags/tag218.xml><?xml version="1.0" encoding="utf-8"?>
<p:tagLst xmlns:a="http://schemas.openxmlformats.org/drawingml/2006/main" xmlns:r="http://schemas.openxmlformats.org/officeDocument/2006/relationships" xmlns:p="http://schemas.openxmlformats.org/presentationml/2006/main">
  <p:tag name="EE4P_MAPWIZARD_ID" val="UG"/>
  <p:tag name="EE4P_MAPWIZARD" val="Uganda"/>
</p:tagLst>
</file>

<file path=ppt/tags/tag219.xml><?xml version="1.0" encoding="utf-8"?>
<p:tagLst xmlns:a="http://schemas.openxmlformats.org/drawingml/2006/main" xmlns:r="http://schemas.openxmlformats.org/officeDocument/2006/relationships" xmlns:p="http://schemas.openxmlformats.org/presentationml/2006/main">
  <p:tag name="EE4P_MAPWIZARD_ID" val="BI"/>
  <p:tag name="EE4P_MAPWIZARD" val="Burundi"/>
</p:tagLst>
</file>

<file path=ppt/tags/tag22.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20.xml><?xml version="1.0" encoding="utf-8"?>
<p:tagLst xmlns:a="http://schemas.openxmlformats.org/drawingml/2006/main" xmlns:r="http://schemas.openxmlformats.org/officeDocument/2006/relationships" xmlns:p="http://schemas.openxmlformats.org/presentationml/2006/main">
  <p:tag name="EE4P_MAPWIZARD_ID" val="TZ"/>
  <p:tag name="EE4P_MAPWIZARD" val="Tanzania, United Republic of"/>
</p:tagLst>
</file>

<file path=ppt/tags/tag221.xml><?xml version="1.0" encoding="utf-8"?>
<p:tagLst xmlns:a="http://schemas.openxmlformats.org/drawingml/2006/main" xmlns:r="http://schemas.openxmlformats.org/officeDocument/2006/relationships" xmlns:p="http://schemas.openxmlformats.org/presentationml/2006/main">
  <p:tag name="EE4P_MAPWIZARD_ID" val="RW"/>
  <p:tag name="EE4P_MAPWIZARD" val="Rwanda"/>
</p:tagLst>
</file>

<file path=ppt/tags/tag222.xml><?xml version="1.0" encoding="utf-8"?>
<p:tagLst xmlns:a="http://schemas.openxmlformats.org/drawingml/2006/main" xmlns:r="http://schemas.openxmlformats.org/officeDocument/2006/relationships" xmlns:p="http://schemas.openxmlformats.org/presentationml/2006/main">
  <p:tag name="EE4P_MAPWIZARD_ID" val="LS"/>
  <p:tag name="EE4P_MAPWIZARD" val="Lesotho"/>
</p:tagLst>
</file>

<file path=ppt/tags/tag223.xml><?xml version="1.0" encoding="utf-8"?>
<p:tagLst xmlns:a="http://schemas.openxmlformats.org/drawingml/2006/main" xmlns:r="http://schemas.openxmlformats.org/officeDocument/2006/relationships" xmlns:p="http://schemas.openxmlformats.org/presentationml/2006/main">
  <p:tag name="EE4P_MAPWIZARD_ID" val="ZW"/>
  <p:tag name="EE4P_MAPWIZARD" val="Zimbabwe"/>
</p:tagLst>
</file>

<file path=ppt/tags/tag224.xml><?xml version="1.0" encoding="utf-8"?>
<p:tagLst xmlns:a="http://schemas.openxmlformats.org/drawingml/2006/main" xmlns:r="http://schemas.openxmlformats.org/officeDocument/2006/relationships" xmlns:p="http://schemas.openxmlformats.org/presentationml/2006/main">
  <p:tag name="EE4P_MAPWIZARD_ID" val="ZM"/>
  <p:tag name="EE4P_MAPWIZARD" val="Zambia"/>
</p:tagLst>
</file>

<file path=ppt/tags/tag225.xml><?xml version="1.0" encoding="utf-8"?>
<p:tagLst xmlns:a="http://schemas.openxmlformats.org/drawingml/2006/main" xmlns:r="http://schemas.openxmlformats.org/officeDocument/2006/relationships" xmlns:p="http://schemas.openxmlformats.org/presentationml/2006/main">
  <p:tag name="EE4P_MAPWIZARD_ID" val="ZM"/>
  <p:tag name="EE4P_MAPWIZARD" val="Zambia"/>
</p:tagLst>
</file>

<file path=ppt/tags/tag226.xml><?xml version="1.0" encoding="utf-8"?>
<p:tagLst xmlns:a="http://schemas.openxmlformats.org/drawingml/2006/main" xmlns:r="http://schemas.openxmlformats.org/officeDocument/2006/relationships" xmlns:p="http://schemas.openxmlformats.org/presentationml/2006/main">
  <p:tag name="EE4P_MAPWIZARD_ID" val="BW"/>
  <p:tag name="EE4P_MAPWIZARD" val="Botswana"/>
</p:tagLst>
</file>

<file path=ppt/tags/tag227.xml><?xml version="1.0" encoding="utf-8"?>
<p:tagLst xmlns:a="http://schemas.openxmlformats.org/drawingml/2006/main" xmlns:r="http://schemas.openxmlformats.org/officeDocument/2006/relationships" xmlns:p="http://schemas.openxmlformats.org/presentationml/2006/main">
  <p:tag name="EE4P_MAPWIZARD_ID" val="ZA"/>
  <p:tag name="EE4P_MAPWIZARD" val="South Africa"/>
</p:tagLst>
</file>

<file path=ppt/tags/tag228.xml><?xml version="1.0" encoding="utf-8"?>
<p:tagLst xmlns:a="http://schemas.openxmlformats.org/drawingml/2006/main" xmlns:r="http://schemas.openxmlformats.org/officeDocument/2006/relationships" xmlns:p="http://schemas.openxmlformats.org/presentationml/2006/main">
  <p:tag name="EE4P_MAPWIZARD_ID" val="CF"/>
  <p:tag name="EE4P_MAPWIZARD" val="Central African Republic"/>
</p:tagLst>
</file>

<file path=ppt/tags/tag229.xml><?xml version="1.0" encoding="utf-8"?>
<p:tagLst xmlns:a="http://schemas.openxmlformats.org/drawingml/2006/main" xmlns:r="http://schemas.openxmlformats.org/officeDocument/2006/relationships" xmlns:p="http://schemas.openxmlformats.org/presentationml/2006/main">
  <p:tag name="EE4P_MAPWIZARD_ID" val="TD"/>
  <p:tag name="EE4P_MAPWIZARD" val="Chad"/>
</p:tagLst>
</file>

<file path=ppt/tags/tag23.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30.xml><?xml version="1.0" encoding="utf-8"?>
<p:tagLst xmlns:a="http://schemas.openxmlformats.org/drawingml/2006/main" xmlns:r="http://schemas.openxmlformats.org/officeDocument/2006/relationships" xmlns:p="http://schemas.openxmlformats.org/presentationml/2006/main">
  <p:tag name="EE4P_MAPWIZARD_ID" val="CD"/>
  <p:tag name="EE4P_MAPWIZARD" val="Congo, the Democratic Republic of the"/>
</p:tagLst>
</file>

<file path=ppt/tags/tag231.xml><?xml version="1.0" encoding="utf-8"?>
<p:tagLst xmlns:a="http://schemas.openxmlformats.org/drawingml/2006/main" xmlns:r="http://schemas.openxmlformats.org/officeDocument/2006/relationships" xmlns:p="http://schemas.openxmlformats.org/presentationml/2006/main">
  <p:tag name="EE4P_MAPWIZARD_ID" val="NA"/>
  <p:tag name="EE4P_MAPWIZARD" val="Namibia"/>
</p:tagLst>
</file>

<file path=ppt/tags/tag232.xml><?xml version="1.0" encoding="utf-8"?>
<p:tagLst xmlns:a="http://schemas.openxmlformats.org/drawingml/2006/main" xmlns:r="http://schemas.openxmlformats.org/officeDocument/2006/relationships" xmlns:p="http://schemas.openxmlformats.org/presentationml/2006/main">
  <p:tag name="EE4P_MAPWIZARD_ID" val="AO"/>
  <p:tag name="EE4P_MAPWIZARD" val="Angola"/>
</p:tagLst>
</file>

<file path=ppt/tags/tag233.xml><?xml version="1.0" encoding="utf-8"?>
<p:tagLst xmlns:a="http://schemas.openxmlformats.org/drawingml/2006/main" xmlns:r="http://schemas.openxmlformats.org/officeDocument/2006/relationships" xmlns:p="http://schemas.openxmlformats.org/presentationml/2006/main">
  <p:tag name="EE4P_MAPWIZARD_ID" val="CG"/>
  <p:tag name="EE4P_MAPWIZARD" val="Congo"/>
</p:tagLst>
</file>

<file path=ppt/tags/tag234.xml><?xml version="1.0" encoding="utf-8"?>
<p:tagLst xmlns:a="http://schemas.openxmlformats.org/drawingml/2006/main" xmlns:r="http://schemas.openxmlformats.org/officeDocument/2006/relationships" xmlns:p="http://schemas.openxmlformats.org/presentationml/2006/main">
  <p:tag name="EE4P_MAPWIZARD_ID" val="GA"/>
  <p:tag name="EE4P_MAPWIZARD" val="Gabon"/>
</p:tagLst>
</file>

<file path=ppt/tags/tag235.xml><?xml version="1.0" encoding="utf-8"?>
<p:tagLst xmlns:a="http://schemas.openxmlformats.org/drawingml/2006/main" xmlns:r="http://schemas.openxmlformats.org/officeDocument/2006/relationships" xmlns:p="http://schemas.openxmlformats.org/presentationml/2006/main">
  <p:tag name="EE4P_MAPWIZARD_ID" val="CM"/>
  <p:tag name="EE4P_MAPWIZARD" val="Cameroon"/>
</p:tagLst>
</file>

<file path=ppt/tags/tag236.xml><?xml version="1.0" encoding="utf-8"?>
<p:tagLst xmlns:a="http://schemas.openxmlformats.org/drawingml/2006/main" xmlns:r="http://schemas.openxmlformats.org/officeDocument/2006/relationships" xmlns:p="http://schemas.openxmlformats.org/presentationml/2006/main">
  <p:tag name="EE4P_MAPWIZARD_ID" val="TN"/>
  <p:tag name="EE4P_MAPWIZARD" val="Tunisia"/>
</p:tagLst>
</file>

<file path=ppt/tags/tag237.xml><?xml version="1.0" encoding="utf-8"?>
<p:tagLst xmlns:a="http://schemas.openxmlformats.org/drawingml/2006/main" xmlns:r="http://schemas.openxmlformats.org/officeDocument/2006/relationships" xmlns:p="http://schemas.openxmlformats.org/presentationml/2006/main">
  <p:tag name="EE4P_MAPWIZARD_ID" val="NE"/>
  <p:tag name="EE4P_MAPWIZARD" val="Niger"/>
</p:tagLst>
</file>

<file path=ppt/tags/tag238.xml><?xml version="1.0" encoding="utf-8"?>
<p:tagLst xmlns:a="http://schemas.openxmlformats.org/drawingml/2006/main" xmlns:r="http://schemas.openxmlformats.org/officeDocument/2006/relationships" xmlns:p="http://schemas.openxmlformats.org/presentationml/2006/main">
  <p:tag name="EE4P_MAPWIZARD_ID" val="NG"/>
  <p:tag name="EE4P_MAPWIZARD" val="Nigeria"/>
</p:tagLst>
</file>

<file path=ppt/tags/tag239.xml><?xml version="1.0" encoding="utf-8"?>
<p:tagLst xmlns:a="http://schemas.openxmlformats.org/drawingml/2006/main" xmlns:r="http://schemas.openxmlformats.org/officeDocument/2006/relationships" xmlns:p="http://schemas.openxmlformats.org/presentationml/2006/main">
  <p:tag name="EE4P_MAPWIZARD_ID" val="BJ"/>
  <p:tag name="EE4P_MAPWIZARD" val="Benin"/>
</p:tagLst>
</file>

<file path=ppt/tags/tag24.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40.xml><?xml version="1.0" encoding="utf-8"?>
<p:tagLst xmlns:a="http://schemas.openxmlformats.org/drawingml/2006/main" xmlns:r="http://schemas.openxmlformats.org/officeDocument/2006/relationships" xmlns:p="http://schemas.openxmlformats.org/presentationml/2006/main">
  <p:tag name="EE4P_MAPWIZARD_ID" val="TG"/>
  <p:tag name="EE4P_MAPWIZARD" val="Togo"/>
</p:tagLst>
</file>

<file path=ppt/tags/tag241.xml><?xml version="1.0" encoding="utf-8"?>
<p:tagLst xmlns:a="http://schemas.openxmlformats.org/drawingml/2006/main" xmlns:r="http://schemas.openxmlformats.org/officeDocument/2006/relationships" xmlns:p="http://schemas.openxmlformats.org/presentationml/2006/main">
  <p:tag name="EE4P_MAPWIZARD_ID" val="GH"/>
  <p:tag name="EE4P_MAPWIZARD" val="Ghana"/>
</p:tagLst>
</file>

<file path=ppt/tags/tag242.xml><?xml version="1.0" encoding="utf-8"?>
<p:tagLst xmlns:a="http://schemas.openxmlformats.org/drawingml/2006/main" xmlns:r="http://schemas.openxmlformats.org/officeDocument/2006/relationships" xmlns:p="http://schemas.openxmlformats.org/presentationml/2006/main">
  <p:tag name="EE4P_MAPWIZARD_ID" val="BF"/>
  <p:tag name="EE4P_MAPWIZARD" val="Burkina Faso"/>
</p:tagLst>
</file>

<file path=ppt/tags/tag243.xml><?xml version="1.0" encoding="utf-8"?>
<p:tagLst xmlns:a="http://schemas.openxmlformats.org/drawingml/2006/main" xmlns:r="http://schemas.openxmlformats.org/officeDocument/2006/relationships" xmlns:p="http://schemas.openxmlformats.org/presentationml/2006/main">
  <p:tag name="EE4P_MAPWIZARD_ID" val="DZ"/>
  <p:tag name="EE4P_MAPWIZARD" val="Algeria"/>
</p:tagLst>
</file>

<file path=ppt/tags/tag244.xml><?xml version="1.0" encoding="utf-8"?>
<p:tagLst xmlns:a="http://schemas.openxmlformats.org/drawingml/2006/main" xmlns:r="http://schemas.openxmlformats.org/officeDocument/2006/relationships" xmlns:p="http://schemas.openxmlformats.org/presentationml/2006/main">
  <p:tag name="EE4P_MAPWIZARD_ID" val="CI"/>
  <p:tag name="EE4P_MAPWIZARD" val="Côte d'Ivoire"/>
</p:tagLst>
</file>

<file path=ppt/tags/tag245.xml><?xml version="1.0" encoding="utf-8"?>
<p:tagLst xmlns:a="http://schemas.openxmlformats.org/drawingml/2006/main" xmlns:r="http://schemas.openxmlformats.org/officeDocument/2006/relationships" xmlns:p="http://schemas.openxmlformats.org/presentationml/2006/main">
  <p:tag name="EE4P_MAPWIZARD_ID" val="LR"/>
  <p:tag name="EE4P_MAPWIZARD" val="Liberia"/>
</p:tagLst>
</file>

<file path=ppt/tags/tag246.xml><?xml version="1.0" encoding="utf-8"?>
<p:tagLst xmlns:a="http://schemas.openxmlformats.org/drawingml/2006/main" xmlns:r="http://schemas.openxmlformats.org/officeDocument/2006/relationships" xmlns:p="http://schemas.openxmlformats.org/presentationml/2006/main">
  <p:tag name="EE4P_MAPWIZARD_ID" val="ML"/>
  <p:tag name="EE4P_MAPWIZARD" val="Mali"/>
</p:tagLst>
</file>

<file path=ppt/tags/tag247.xml><?xml version="1.0" encoding="utf-8"?>
<p:tagLst xmlns:a="http://schemas.openxmlformats.org/drawingml/2006/main" xmlns:r="http://schemas.openxmlformats.org/officeDocument/2006/relationships" xmlns:p="http://schemas.openxmlformats.org/presentationml/2006/main">
  <p:tag name="EE4P_MAPWIZARD_ID" val="MA"/>
  <p:tag name="EE4P_MAPWIZARD" val="Morocco"/>
</p:tagLst>
</file>

<file path=ppt/tags/tag248.xml><?xml version="1.0" encoding="utf-8"?>
<p:tagLst xmlns:a="http://schemas.openxmlformats.org/drawingml/2006/main" xmlns:r="http://schemas.openxmlformats.org/officeDocument/2006/relationships" xmlns:p="http://schemas.openxmlformats.org/presentationml/2006/main">
  <p:tag name="EE4P_MAPWIZARD_ID" val="SL"/>
  <p:tag name="EE4P_MAPWIZARD" val="Sierra Leone"/>
</p:tagLst>
</file>

<file path=ppt/tags/tag249.xml><?xml version="1.0" encoding="utf-8"?>
<p:tagLst xmlns:a="http://schemas.openxmlformats.org/drawingml/2006/main" xmlns:r="http://schemas.openxmlformats.org/officeDocument/2006/relationships" xmlns:p="http://schemas.openxmlformats.org/presentationml/2006/main">
  <p:tag name="EE4P_MAPWIZARD_ID" val="GN"/>
  <p:tag name="EE4P_MAPWIZARD" val="Guinea"/>
</p:tagLst>
</file>

<file path=ppt/tags/tag25.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50.xml><?xml version="1.0" encoding="utf-8"?>
<p:tagLst xmlns:a="http://schemas.openxmlformats.org/drawingml/2006/main" xmlns:r="http://schemas.openxmlformats.org/officeDocument/2006/relationships" xmlns:p="http://schemas.openxmlformats.org/presentationml/2006/main">
  <p:tag name="EE4P_MAPWIZARD_ID" val="EH"/>
  <p:tag name="EE4P_MAPWIZARD" val="Western Sahara"/>
</p:tagLst>
</file>

<file path=ppt/tags/tag251.xml><?xml version="1.0" encoding="utf-8"?>
<p:tagLst xmlns:a="http://schemas.openxmlformats.org/drawingml/2006/main" xmlns:r="http://schemas.openxmlformats.org/officeDocument/2006/relationships" xmlns:p="http://schemas.openxmlformats.org/presentationml/2006/main">
  <p:tag name="EE4P_MAPWIZARD_ID" val="GW"/>
  <p:tag name="EE4P_MAPWIZARD" val="Guinea-Bissau"/>
</p:tagLst>
</file>

<file path=ppt/tags/tag252.xml><?xml version="1.0" encoding="utf-8"?>
<p:tagLst xmlns:a="http://schemas.openxmlformats.org/drawingml/2006/main" xmlns:r="http://schemas.openxmlformats.org/officeDocument/2006/relationships" xmlns:p="http://schemas.openxmlformats.org/presentationml/2006/main">
  <p:tag name="EE4P_MAPWIZARD_ID" val="SN"/>
  <p:tag name="EE4P_MAPWIZARD" val="Senegal"/>
</p:tagLst>
</file>

<file path=ppt/tags/tag253.xml><?xml version="1.0" encoding="utf-8"?>
<p:tagLst xmlns:a="http://schemas.openxmlformats.org/drawingml/2006/main" xmlns:r="http://schemas.openxmlformats.org/officeDocument/2006/relationships" xmlns:p="http://schemas.openxmlformats.org/presentationml/2006/main">
  <p:tag name="EE4P_MAPWIZARD_ID" val="MR"/>
  <p:tag name="EE4P_MAPWIZARD" val="Mauritania"/>
</p:tagLst>
</file>

<file path=ppt/tags/tag254.xml><?xml version="1.0" encoding="utf-8"?>
<p:tagLst xmlns:a="http://schemas.openxmlformats.org/drawingml/2006/main" xmlns:r="http://schemas.openxmlformats.org/officeDocument/2006/relationships" xmlns:p="http://schemas.openxmlformats.org/presentationml/2006/main">
  <p:tag name="EE4P_MAPWIZARD_ID" val="SS"/>
  <p:tag name="EE4P_MAPWIZARD" val="South Sudan"/>
</p:tagLst>
</file>

<file path=ppt/tags/tag255.xml><?xml version="1.0" encoding="utf-8"?>
<p:tagLst xmlns:a="http://schemas.openxmlformats.org/drawingml/2006/main" xmlns:r="http://schemas.openxmlformats.org/officeDocument/2006/relationships" xmlns:p="http://schemas.openxmlformats.org/presentationml/2006/main">
  <p:tag name="EE4P_MAPWIZARD_ID" val="SD"/>
  <p:tag name="EE4P_MAPWIZARD" val="Sudan"/>
</p:tagLst>
</file>

<file path=ppt/tags/tag256.xml><?xml version="1.0" encoding="utf-8"?>
<p:tagLst xmlns:a="http://schemas.openxmlformats.org/drawingml/2006/main" xmlns:r="http://schemas.openxmlformats.org/officeDocument/2006/relationships" xmlns:p="http://schemas.openxmlformats.org/presentationml/2006/main">
  <p:tag name="EE4P_MAPWIZARD_ID" val="GQ"/>
  <p:tag name="EE4P_MAPWIZARD" val="Equatorial Guinea"/>
</p:tagLst>
</file>

<file path=ppt/tags/tag257.xml><?xml version="1.0" encoding="utf-8"?>
<p:tagLst xmlns:a="http://schemas.openxmlformats.org/drawingml/2006/main" xmlns:r="http://schemas.openxmlformats.org/officeDocument/2006/relationships" xmlns:p="http://schemas.openxmlformats.org/presentationml/2006/main">
  <p:tag name="EE4P_MAPWIZARD_ID" val="DJ"/>
  <p:tag name="EE4P_MAPWIZARD" val="Djibouti"/>
</p:tagLst>
</file>

<file path=ppt/tags/tag258.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59.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6.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60.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61.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62.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63.xml><?xml version="1.0" encoding="utf-8"?>
<p:tagLst xmlns:a="http://schemas.openxmlformats.org/drawingml/2006/main" xmlns:r="http://schemas.openxmlformats.org/officeDocument/2006/relationships" xmlns:p="http://schemas.openxmlformats.org/presentationml/2006/main">
  <p:tag name="EE4P_MAPWIZARD_ID" val="BS"/>
  <p:tag name="EE4P_MAPWIZARD" val="Bahamas"/>
</p:tagLst>
</file>

<file path=ppt/tags/tag264.xml><?xml version="1.0" encoding="utf-8"?>
<p:tagLst xmlns:a="http://schemas.openxmlformats.org/drawingml/2006/main" xmlns:r="http://schemas.openxmlformats.org/officeDocument/2006/relationships" xmlns:p="http://schemas.openxmlformats.org/presentationml/2006/main">
  <p:tag name="EE4P_MAPWIZARD_ID" val="BS"/>
  <p:tag name="EE4P_MAPWIZARD" val="Bahamas"/>
</p:tagLst>
</file>

<file path=ppt/tags/tag265.xml><?xml version="1.0" encoding="utf-8"?>
<p:tagLst xmlns:a="http://schemas.openxmlformats.org/drawingml/2006/main" xmlns:r="http://schemas.openxmlformats.org/officeDocument/2006/relationships" xmlns:p="http://schemas.openxmlformats.org/presentationml/2006/main">
  <p:tag name="EE4P_MAPWIZARD_ID" val="ME"/>
  <p:tag name="EE4P_MAPWIZARD" val="Maine"/>
</p:tagLst>
</file>

<file path=ppt/tags/tag266.xml><?xml version="1.0" encoding="utf-8"?>
<p:tagLst xmlns:a="http://schemas.openxmlformats.org/drawingml/2006/main" xmlns:r="http://schemas.openxmlformats.org/officeDocument/2006/relationships" xmlns:p="http://schemas.openxmlformats.org/presentationml/2006/main">
  <p:tag name="EE4P_MAPWIZARD_ID" val="MA"/>
  <p:tag name="EE4P_MAPWIZARD" val="Massachusetts"/>
</p:tagLst>
</file>

<file path=ppt/tags/tag267.xml><?xml version="1.0" encoding="utf-8"?>
<p:tagLst xmlns:a="http://schemas.openxmlformats.org/drawingml/2006/main" xmlns:r="http://schemas.openxmlformats.org/officeDocument/2006/relationships" xmlns:p="http://schemas.openxmlformats.org/presentationml/2006/main">
  <p:tag name="EE4P_MAPWIZARD_ID" val="NH"/>
  <p:tag name="EE4P_MAPWIZARD" val="New Hampshire"/>
</p:tagLst>
</file>

<file path=ppt/tags/tag268.xml><?xml version="1.0" encoding="utf-8"?>
<p:tagLst xmlns:a="http://schemas.openxmlformats.org/drawingml/2006/main" xmlns:r="http://schemas.openxmlformats.org/officeDocument/2006/relationships" xmlns:p="http://schemas.openxmlformats.org/presentationml/2006/main">
  <p:tag name="EE4P_MAPWIZARD_ID" val="RI"/>
  <p:tag name="EE4P_MAPWIZARD" val="Rhode Island"/>
</p:tagLst>
</file>

<file path=ppt/tags/tag269.xml><?xml version="1.0" encoding="utf-8"?>
<p:tagLst xmlns:a="http://schemas.openxmlformats.org/drawingml/2006/main" xmlns:r="http://schemas.openxmlformats.org/officeDocument/2006/relationships" xmlns:p="http://schemas.openxmlformats.org/presentationml/2006/main">
  <p:tag name="EE4P_MAPWIZARD_ID" val="CT"/>
  <p:tag name="EE4P_MAPWIZARD" val="Connecticut"/>
</p:tagLst>
</file>

<file path=ppt/tags/tag27.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70.xml><?xml version="1.0" encoding="utf-8"?>
<p:tagLst xmlns:a="http://schemas.openxmlformats.org/drawingml/2006/main" xmlns:r="http://schemas.openxmlformats.org/officeDocument/2006/relationships" xmlns:p="http://schemas.openxmlformats.org/presentationml/2006/main">
  <p:tag name="EE4P_MAPWIZARD_ID" val="VT"/>
  <p:tag name="EE4P_MAPWIZARD" val="Vermont"/>
</p:tagLst>
</file>

<file path=ppt/tags/tag271.xml><?xml version="1.0" encoding="utf-8"?>
<p:tagLst xmlns:a="http://schemas.openxmlformats.org/drawingml/2006/main" xmlns:r="http://schemas.openxmlformats.org/officeDocument/2006/relationships" xmlns:p="http://schemas.openxmlformats.org/presentationml/2006/main">
  <p:tag name="EE4P_MAPWIZARD_ID" val="NY"/>
  <p:tag name="EE4P_MAPWIZARD" val="New York"/>
</p:tagLst>
</file>

<file path=ppt/tags/tag272.xml><?xml version="1.0" encoding="utf-8"?>
<p:tagLst xmlns:a="http://schemas.openxmlformats.org/drawingml/2006/main" xmlns:r="http://schemas.openxmlformats.org/officeDocument/2006/relationships" xmlns:p="http://schemas.openxmlformats.org/presentationml/2006/main">
  <p:tag name="EE4P_MAPWIZARD_ID" val="NJ"/>
  <p:tag name="EE4P_MAPWIZARD" val="New Jersey"/>
</p:tagLst>
</file>

<file path=ppt/tags/tag273.xml><?xml version="1.0" encoding="utf-8"?>
<p:tagLst xmlns:a="http://schemas.openxmlformats.org/drawingml/2006/main" xmlns:r="http://schemas.openxmlformats.org/officeDocument/2006/relationships" xmlns:p="http://schemas.openxmlformats.org/presentationml/2006/main">
  <p:tag name="EE4P_MAPWIZARD_ID" val="PA"/>
  <p:tag name="EE4P_MAPWIZARD" val="Pennsylvania"/>
</p:tagLst>
</file>

<file path=ppt/tags/tag274.xml><?xml version="1.0" encoding="utf-8"?>
<p:tagLst xmlns:a="http://schemas.openxmlformats.org/drawingml/2006/main" xmlns:r="http://schemas.openxmlformats.org/officeDocument/2006/relationships" xmlns:p="http://schemas.openxmlformats.org/presentationml/2006/main">
  <p:tag name="EE4P_MAPWIZARD_ID" val="VA"/>
  <p:tag name="EE4P_MAPWIZARD" val="Virginia"/>
</p:tagLst>
</file>

<file path=ppt/tags/tag275.xml><?xml version="1.0" encoding="utf-8"?>
<p:tagLst xmlns:a="http://schemas.openxmlformats.org/drawingml/2006/main" xmlns:r="http://schemas.openxmlformats.org/officeDocument/2006/relationships" xmlns:p="http://schemas.openxmlformats.org/presentationml/2006/main">
  <p:tag name="EE4P_MAPWIZARD_ID" val="NC"/>
  <p:tag name="EE4P_MAPWIZARD" val="North Carolina"/>
</p:tagLst>
</file>

<file path=ppt/tags/tag276.xml><?xml version="1.0" encoding="utf-8"?>
<p:tagLst xmlns:a="http://schemas.openxmlformats.org/drawingml/2006/main" xmlns:r="http://schemas.openxmlformats.org/officeDocument/2006/relationships" xmlns:p="http://schemas.openxmlformats.org/presentationml/2006/main">
  <p:tag name="EE4P_MAPWIZARD_ID" val="NC"/>
  <p:tag name="EE4P_MAPWIZARD" val="North Carolina"/>
</p:tagLst>
</file>

<file path=ppt/tags/tag277.xml><?xml version="1.0" encoding="utf-8"?>
<p:tagLst xmlns:a="http://schemas.openxmlformats.org/drawingml/2006/main" xmlns:r="http://schemas.openxmlformats.org/officeDocument/2006/relationships" xmlns:p="http://schemas.openxmlformats.org/presentationml/2006/main">
  <p:tag name="EE4P_MAPWIZARD_ID" val="NC"/>
  <p:tag name="EE4P_MAPWIZARD" val="North Carolina"/>
</p:tagLst>
</file>

<file path=ppt/tags/tag278.xml><?xml version="1.0" encoding="utf-8"?>
<p:tagLst xmlns:a="http://schemas.openxmlformats.org/drawingml/2006/main" xmlns:r="http://schemas.openxmlformats.org/officeDocument/2006/relationships" xmlns:p="http://schemas.openxmlformats.org/presentationml/2006/main">
  <p:tag name="EE4P_MAPWIZARD_ID" val="MD"/>
  <p:tag name="EE4P_MAPWIZARD" val="Maryland"/>
</p:tagLst>
</file>

<file path=ppt/tags/tag279.xml><?xml version="1.0" encoding="utf-8"?>
<p:tagLst xmlns:a="http://schemas.openxmlformats.org/drawingml/2006/main" xmlns:r="http://schemas.openxmlformats.org/officeDocument/2006/relationships" xmlns:p="http://schemas.openxmlformats.org/presentationml/2006/main">
  <p:tag name="EE4P_MAPWIZARD_ID" val="SC"/>
  <p:tag name="EE4P_MAPWIZARD" val="South Carolina"/>
</p:tagLst>
</file>

<file path=ppt/tags/tag28.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80.xml><?xml version="1.0" encoding="utf-8"?>
<p:tagLst xmlns:a="http://schemas.openxmlformats.org/drawingml/2006/main" xmlns:r="http://schemas.openxmlformats.org/officeDocument/2006/relationships" xmlns:p="http://schemas.openxmlformats.org/presentationml/2006/main">
  <p:tag name="EE4P_MAPWIZARD_ID" val="WV"/>
  <p:tag name="EE4P_MAPWIZARD" val="West Virginia"/>
</p:tagLst>
</file>

<file path=ppt/tags/tag281.xml><?xml version="1.0" encoding="utf-8"?>
<p:tagLst xmlns:a="http://schemas.openxmlformats.org/drawingml/2006/main" xmlns:r="http://schemas.openxmlformats.org/officeDocument/2006/relationships" xmlns:p="http://schemas.openxmlformats.org/presentationml/2006/main">
  <p:tag name="EE4P_MAPWIZARD_ID" val="GA"/>
  <p:tag name="EE4P_MAPWIZARD" val="Georgia"/>
</p:tagLst>
</file>

<file path=ppt/tags/tag282.xml><?xml version="1.0" encoding="utf-8"?>
<p:tagLst xmlns:a="http://schemas.openxmlformats.org/drawingml/2006/main" xmlns:r="http://schemas.openxmlformats.org/officeDocument/2006/relationships" xmlns:p="http://schemas.openxmlformats.org/presentationml/2006/main">
  <p:tag name="EE4P_MAPWIZARD_ID" val="FL"/>
  <p:tag name="EE4P_MAPWIZARD" val="Florida"/>
</p:tagLst>
</file>

<file path=ppt/tags/tag283.xml><?xml version="1.0" encoding="utf-8"?>
<p:tagLst xmlns:a="http://schemas.openxmlformats.org/drawingml/2006/main" xmlns:r="http://schemas.openxmlformats.org/officeDocument/2006/relationships" xmlns:p="http://schemas.openxmlformats.org/presentationml/2006/main">
  <p:tag name="EE4P_MAPWIZARD_ID" val="FL"/>
  <p:tag name="EE4P_MAPWIZARD" val="Florida"/>
</p:tagLst>
</file>

<file path=ppt/tags/tag284.xml><?xml version="1.0" encoding="utf-8"?>
<p:tagLst xmlns:a="http://schemas.openxmlformats.org/drawingml/2006/main" xmlns:r="http://schemas.openxmlformats.org/officeDocument/2006/relationships" xmlns:p="http://schemas.openxmlformats.org/presentationml/2006/main">
  <p:tag name="EE4P_MAPWIZARD_ID" val="FL"/>
  <p:tag name="EE4P_MAPWIZARD" val="Florida"/>
</p:tagLst>
</file>

<file path=ppt/tags/tag285.xml><?xml version="1.0" encoding="utf-8"?>
<p:tagLst xmlns:a="http://schemas.openxmlformats.org/drawingml/2006/main" xmlns:r="http://schemas.openxmlformats.org/officeDocument/2006/relationships" xmlns:p="http://schemas.openxmlformats.org/presentationml/2006/main">
  <p:tag name="EE4P_MAPWIZARD_ID" val="OH"/>
  <p:tag name="EE4P_MAPWIZARD" val="Ohio"/>
</p:tagLst>
</file>

<file path=ppt/tags/tag286.xml><?xml version="1.0" encoding="utf-8"?>
<p:tagLst xmlns:a="http://schemas.openxmlformats.org/drawingml/2006/main" xmlns:r="http://schemas.openxmlformats.org/officeDocument/2006/relationships" xmlns:p="http://schemas.openxmlformats.org/presentationml/2006/main">
  <p:tag name="EE4P_MAPWIZARD_ID" val="TN"/>
  <p:tag name="EE4P_MAPWIZARD" val="Tennessee"/>
</p:tagLst>
</file>

<file path=ppt/tags/tag287.xml><?xml version="1.0" encoding="utf-8"?>
<p:tagLst xmlns:a="http://schemas.openxmlformats.org/drawingml/2006/main" xmlns:r="http://schemas.openxmlformats.org/officeDocument/2006/relationships" xmlns:p="http://schemas.openxmlformats.org/presentationml/2006/main">
  <p:tag name="EE4P_MAPWIZARD_ID" val="KY"/>
  <p:tag name="EE4P_MAPWIZARD" val="Kentucky"/>
</p:tagLst>
</file>

<file path=ppt/tags/tag288.xml><?xml version="1.0" encoding="utf-8"?>
<p:tagLst xmlns:a="http://schemas.openxmlformats.org/drawingml/2006/main" xmlns:r="http://schemas.openxmlformats.org/officeDocument/2006/relationships" xmlns:p="http://schemas.openxmlformats.org/presentationml/2006/main">
  <p:tag name="EE4P_MAPWIZARD_ID" val="AL"/>
  <p:tag name="EE4P_MAPWIZARD" val="Alabama"/>
</p:tagLst>
</file>

<file path=ppt/tags/tag289.xml><?xml version="1.0" encoding="utf-8"?>
<p:tagLst xmlns:a="http://schemas.openxmlformats.org/drawingml/2006/main" xmlns:r="http://schemas.openxmlformats.org/officeDocument/2006/relationships" xmlns:p="http://schemas.openxmlformats.org/presentationml/2006/main">
  <p:tag name="EE4P_MAPWIZARD_ID" val="IN"/>
  <p:tag name="EE4P_MAPWIZARD" val="Indiana"/>
</p:tagLst>
</file>

<file path=ppt/tags/tag29.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90.xml><?xml version="1.0" encoding="utf-8"?>
<p:tagLst xmlns:a="http://schemas.openxmlformats.org/drawingml/2006/main" xmlns:r="http://schemas.openxmlformats.org/officeDocument/2006/relationships" xmlns:p="http://schemas.openxmlformats.org/presentationml/2006/main">
  <p:tag name="EE4P_MAPWIZARD_ID" val="IL"/>
  <p:tag name="EE4P_MAPWIZARD" val="Illinois"/>
</p:tagLst>
</file>

<file path=ppt/tags/tag291.xml><?xml version="1.0" encoding="utf-8"?>
<p:tagLst xmlns:a="http://schemas.openxmlformats.org/drawingml/2006/main" xmlns:r="http://schemas.openxmlformats.org/officeDocument/2006/relationships" xmlns:p="http://schemas.openxmlformats.org/presentationml/2006/main">
  <p:tag name="EE4P_MAPWIZARD_ID" val="MS"/>
  <p:tag name="EE4P_MAPWIZARD" val="Mississippi"/>
</p:tagLst>
</file>

<file path=ppt/tags/tag292.xml><?xml version="1.0" encoding="utf-8"?>
<p:tagLst xmlns:a="http://schemas.openxmlformats.org/drawingml/2006/main" xmlns:r="http://schemas.openxmlformats.org/officeDocument/2006/relationships" xmlns:p="http://schemas.openxmlformats.org/presentationml/2006/main">
  <p:tag name="EE4P_MAPWIZARD_ID" val="WI"/>
  <p:tag name="EE4P_MAPWIZARD" val="Wisconsin"/>
</p:tagLst>
</file>

<file path=ppt/tags/tag293.xml><?xml version="1.0" encoding="utf-8"?>
<p:tagLst xmlns:a="http://schemas.openxmlformats.org/drawingml/2006/main" xmlns:r="http://schemas.openxmlformats.org/officeDocument/2006/relationships" xmlns:p="http://schemas.openxmlformats.org/presentationml/2006/main">
  <p:tag name="EE4P_MAPWIZARD_ID" val="WI"/>
  <p:tag name="EE4P_MAPWIZARD" val="Wisconsin"/>
</p:tagLst>
</file>

<file path=ppt/tags/tag294.xml><?xml version="1.0" encoding="utf-8"?>
<p:tagLst xmlns:a="http://schemas.openxmlformats.org/drawingml/2006/main" xmlns:r="http://schemas.openxmlformats.org/officeDocument/2006/relationships" xmlns:p="http://schemas.openxmlformats.org/presentationml/2006/main">
  <p:tag name="EE4P_MAPWIZARD_ID" val="LA"/>
  <p:tag name="EE4P_MAPWIZARD" val="Louisiana"/>
</p:tagLst>
</file>

<file path=ppt/tags/tag295.xml><?xml version="1.0" encoding="utf-8"?>
<p:tagLst xmlns:a="http://schemas.openxmlformats.org/drawingml/2006/main" xmlns:r="http://schemas.openxmlformats.org/officeDocument/2006/relationships" xmlns:p="http://schemas.openxmlformats.org/presentationml/2006/main">
  <p:tag name="EE4P_MAPWIZARD_ID" val="LA"/>
  <p:tag name="EE4P_MAPWIZARD" val="Louisiana"/>
</p:tagLst>
</file>

<file path=ppt/tags/tag296.xml><?xml version="1.0" encoding="utf-8"?>
<p:tagLst xmlns:a="http://schemas.openxmlformats.org/drawingml/2006/main" xmlns:r="http://schemas.openxmlformats.org/officeDocument/2006/relationships" xmlns:p="http://schemas.openxmlformats.org/presentationml/2006/main">
  <p:tag name="EE4P_MAPWIZARD_ID" val="MI"/>
  <p:tag name="EE4P_MAPWIZARD" val="Michigan"/>
</p:tagLst>
</file>

<file path=ppt/tags/tag297.xml><?xml version="1.0" encoding="utf-8"?>
<p:tagLst xmlns:a="http://schemas.openxmlformats.org/drawingml/2006/main" xmlns:r="http://schemas.openxmlformats.org/officeDocument/2006/relationships" xmlns:p="http://schemas.openxmlformats.org/presentationml/2006/main">
  <p:tag name="EE4P_MAPWIZARD_ID" val="MI"/>
  <p:tag name="EE4P_MAPWIZARD" val="Michigan"/>
</p:tagLst>
</file>

<file path=ppt/tags/tag298.xml><?xml version="1.0" encoding="utf-8"?>
<p:tagLst xmlns:a="http://schemas.openxmlformats.org/drawingml/2006/main" xmlns:r="http://schemas.openxmlformats.org/officeDocument/2006/relationships" xmlns:p="http://schemas.openxmlformats.org/presentationml/2006/main">
  <p:tag name="EE4P_MAPWIZARD_ID" val="MO"/>
  <p:tag name="EE4P_MAPWIZARD" val="Missouri"/>
</p:tagLst>
</file>

<file path=ppt/tags/tag299.xml><?xml version="1.0" encoding="utf-8"?>
<p:tagLst xmlns:a="http://schemas.openxmlformats.org/drawingml/2006/main" xmlns:r="http://schemas.openxmlformats.org/officeDocument/2006/relationships" xmlns:p="http://schemas.openxmlformats.org/presentationml/2006/main">
  <p:tag name="EE4P_MAPWIZARD_ID" val="AR"/>
  <p:tag name="EE4P_MAPWIZARD" val="Arkansas"/>
</p:tagLst>
</file>

<file path=ppt/tags/tag3.xml><?xml version="1.0" encoding="utf-8"?>
<p:tagLst xmlns:a="http://schemas.openxmlformats.org/drawingml/2006/main" xmlns:r="http://schemas.openxmlformats.org/officeDocument/2006/relationships" xmlns:p="http://schemas.openxmlformats.org/presentationml/2006/main">
  <p:tag name="SHAPEFONTSIZE" val="9"/>
</p:tagLst>
</file>

<file path=ppt/tags/tag30.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00.xml><?xml version="1.0" encoding="utf-8"?>
<p:tagLst xmlns:a="http://schemas.openxmlformats.org/drawingml/2006/main" xmlns:r="http://schemas.openxmlformats.org/officeDocument/2006/relationships" xmlns:p="http://schemas.openxmlformats.org/presentationml/2006/main">
  <p:tag name="EE4P_MAPWIZARD_ID" val="MN"/>
  <p:tag name="EE4P_MAPWIZARD" val="Minnesota"/>
</p:tagLst>
</file>

<file path=ppt/tags/tag301.xml><?xml version="1.0" encoding="utf-8"?>
<p:tagLst xmlns:a="http://schemas.openxmlformats.org/drawingml/2006/main" xmlns:r="http://schemas.openxmlformats.org/officeDocument/2006/relationships" xmlns:p="http://schemas.openxmlformats.org/presentationml/2006/main">
  <p:tag name="EE4P_MAPWIZARD_ID" val="IA"/>
  <p:tag name="EE4P_MAPWIZARD" val="Iowa"/>
</p:tagLst>
</file>

<file path=ppt/tags/tag302.xml><?xml version="1.0" encoding="utf-8"?>
<p:tagLst xmlns:a="http://schemas.openxmlformats.org/drawingml/2006/main" xmlns:r="http://schemas.openxmlformats.org/officeDocument/2006/relationships" xmlns:p="http://schemas.openxmlformats.org/presentationml/2006/main">
  <p:tag name="EE4P_MAPWIZARD_ID" val="OK"/>
  <p:tag name="EE4P_MAPWIZARD" val="Oklahoma"/>
</p:tagLst>
</file>

<file path=ppt/tags/tag303.xml><?xml version="1.0" encoding="utf-8"?>
<p:tagLst xmlns:a="http://schemas.openxmlformats.org/drawingml/2006/main" xmlns:r="http://schemas.openxmlformats.org/officeDocument/2006/relationships" xmlns:p="http://schemas.openxmlformats.org/presentationml/2006/main">
  <p:tag name="EE4P_MAPWIZARD_ID" val="KS"/>
  <p:tag name="EE4P_MAPWIZARD" val="Kansas"/>
</p:tagLst>
</file>

<file path=ppt/tags/tag304.xml><?xml version="1.0" encoding="utf-8"?>
<p:tagLst xmlns:a="http://schemas.openxmlformats.org/drawingml/2006/main" xmlns:r="http://schemas.openxmlformats.org/officeDocument/2006/relationships" xmlns:p="http://schemas.openxmlformats.org/presentationml/2006/main">
  <p:tag name="EE4P_MAPWIZARD_ID" val="NE"/>
  <p:tag name="EE4P_MAPWIZARD" val="Nebraska"/>
</p:tagLst>
</file>

<file path=ppt/tags/tag305.xml><?xml version="1.0" encoding="utf-8"?>
<p:tagLst xmlns:a="http://schemas.openxmlformats.org/drawingml/2006/main" xmlns:r="http://schemas.openxmlformats.org/officeDocument/2006/relationships" xmlns:p="http://schemas.openxmlformats.org/presentationml/2006/main">
  <p:tag name="EE4P_MAPWIZARD_ID" val="SD"/>
  <p:tag name="EE4P_MAPWIZARD" val="South Dakota"/>
</p:tagLst>
</file>

<file path=ppt/tags/tag306.xml><?xml version="1.0" encoding="utf-8"?>
<p:tagLst xmlns:a="http://schemas.openxmlformats.org/drawingml/2006/main" xmlns:r="http://schemas.openxmlformats.org/officeDocument/2006/relationships" xmlns:p="http://schemas.openxmlformats.org/presentationml/2006/main">
  <p:tag name="EE4P_MAPWIZARD_ID" val="TX"/>
  <p:tag name="EE4P_MAPWIZARD" val="Texas"/>
</p:tagLst>
</file>

<file path=ppt/tags/tag307.xml><?xml version="1.0" encoding="utf-8"?>
<p:tagLst xmlns:a="http://schemas.openxmlformats.org/drawingml/2006/main" xmlns:r="http://schemas.openxmlformats.org/officeDocument/2006/relationships" xmlns:p="http://schemas.openxmlformats.org/presentationml/2006/main">
  <p:tag name="EE4P_MAPWIZARD_ID" val="TX"/>
  <p:tag name="EE4P_MAPWIZARD" val="Texas"/>
</p:tagLst>
</file>

<file path=ppt/tags/tag308.xml><?xml version="1.0" encoding="utf-8"?>
<p:tagLst xmlns:a="http://schemas.openxmlformats.org/drawingml/2006/main" xmlns:r="http://schemas.openxmlformats.org/officeDocument/2006/relationships" xmlns:p="http://schemas.openxmlformats.org/presentationml/2006/main">
  <p:tag name="EE4P_MAPWIZARD_ID" val="TX"/>
  <p:tag name="EE4P_MAPWIZARD" val="Texas"/>
</p:tagLst>
</file>

<file path=ppt/tags/tag309.xml><?xml version="1.0" encoding="utf-8"?>
<p:tagLst xmlns:a="http://schemas.openxmlformats.org/drawingml/2006/main" xmlns:r="http://schemas.openxmlformats.org/officeDocument/2006/relationships" xmlns:p="http://schemas.openxmlformats.org/presentationml/2006/main">
  <p:tag name="EE4P_MAPWIZARD_ID" val="TX"/>
  <p:tag name="EE4P_MAPWIZARD" val="Texas"/>
</p:tagLst>
</file>

<file path=ppt/tags/tag31.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10.xml><?xml version="1.0" encoding="utf-8"?>
<p:tagLst xmlns:a="http://schemas.openxmlformats.org/drawingml/2006/main" xmlns:r="http://schemas.openxmlformats.org/officeDocument/2006/relationships" xmlns:p="http://schemas.openxmlformats.org/presentationml/2006/main">
  <p:tag name="EE4P_MAPWIZARD_ID" val="CO"/>
  <p:tag name="EE4P_MAPWIZARD" val="Colorado"/>
</p:tagLst>
</file>

<file path=ppt/tags/tag311.xml><?xml version="1.0" encoding="utf-8"?>
<p:tagLst xmlns:a="http://schemas.openxmlformats.org/drawingml/2006/main" xmlns:r="http://schemas.openxmlformats.org/officeDocument/2006/relationships" xmlns:p="http://schemas.openxmlformats.org/presentationml/2006/main">
  <p:tag name="EE4P_MAPWIZARD_ID" val="ND"/>
  <p:tag name="EE4P_MAPWIZARD" val="North Dakota"/>
</p:tagLst>
</file>

<file path=ppt/tags/tag312.xml><?xml version="1.0" encoding="utf-8"?>
<p:tagLst xmlns:a="http://schemas.openxmlformats.org/drawingml/2006/main" xmlns:r="http://schemas.openxmlformats.org/officeDocument/2006/relationships" xmlns:p="http://schemas.openxmlformats.org/presentationml/2006/main">
  <p:tag name="EE4P_MAPWIZARD_ID" val="MT"/>
  <p:tag name="EE4P_MAPWIZARD" val="Montana"/>
</p:tagLst>
</file>

<file path=ppt/tags/tag313.xml><?xml version="1.0" encoding="utf-8"?>
<p:tagLst xmlns:a="http://schemas.openxmlformats.org/drawingml/2006/main" xmlns:r="http://schemas.openxmlformats.org/officeDocument/2006/relationships" xmlns:p="http://schemas.openxmlformats.org/presentationml/2006/main">
  <p:tag name="EE4P_MAPWIZARD_ID" val="NM"/>
  <p:tag name="EE4P_MAPWIZARD" val="New Mexico"/>
</p:tagLst>
</file>

<file path=ppt/tags/tag314.xml><?xml version="1.0" encoding="utf-8"?>
<p:tagLst xmlns:a="http://schemas.openxmlformats.org/drawingml/2006/main" xmlns:r="http://schemas.openxmlformats.org/officeDocument/2006/relationships" xmlns:p="http://schemas.openxmlformats.org/presentationml/2006/main">
  <p:tag name="EE4P_MAPWIZARD_ID" val="WY"/>
  <p:tag name="EE4P_MAPWIZARD" val="Wyoming"/>
</p:tagLst>
</file>

<file path=ppt/tags/tag315.xml><?xml version="1.0" encoding="utf-8"?>
<p:tagLst xmlns:a="http://schemas.openxmlformats.org/drawingml/2006/main" xmlns:r="http://schemas.openxmlformats.org/officeDocument/2006/relationships" xmlns:p="http://schemas.openxmlformats.org/presentationml/2006/main">
  <p:tag name="EE4P_MAPWIZARD_ID" val="UT"/>
  <p:tag name="EE4P_MAPWIZARD" val="Utah"/>
</p:tagLst>
</file>

<file path=ppt/tags/tag316.xml><?xml version="1.0" encoding="utf-8"?>
<p:tagLst xmlns:a="http://schemas.openxmlformats.org/drawingml/2006/main" xmlns:r="http://schemas.openxmlformats.org/officeDocument/2006/relationships" xmlns:p="http://schemas.openxmlformats.org/presentationml/2006/main">
  <p:tag name="EE4P_MAPWIZARD_ID" val="AZ"/>
  <p:tag name="EE4P_MAPWIZARD" val="Arizona"/>
</p:tagLst>
</file>

<file path=ppt/tags/tag317.xml><?xml version="1.0" encoding="utf-8"?>
<p:tagLst xmlns:a="http://schemas.openxmlformats.org/drawingml/2006/main" xmlns:r="http://schemas.openxmlformats.org/officeDocument/2006/relationships" xmlns:p="http://schemas.openxmlformats.org/presentationml/2006/main">
  <p:tag name="EE4P_MAPWIZARD_ID" val="NV"/>
  <p:tag name="EE4P_MAPWIZARD" val="Nevada"/>
</p:tagLst>
</file>

<file path=ppt/tags/tag318.xml><?xml version="1.0" encoding="utf-8"?>
<p:tagLst xmlns:a="http://schemas.openxmlformats.org/drawingml/2006/main" xmlns:r="http://schemas.openxmlformats.org/officeDocument/2006/relationships" xmlns:p="http://schemas.openxmlformats.org/presentationml/2006/main">
  <p:tag name="EE4P_MAPWIZARD_ID" val="ID"/>
  <p:tag name="EE4P_MAPWIZARD" val="Idaho"/>
</p:tagLst>
</file>

<file path=ppt/tags/tag319.xml><?xml version="1.0" encoding="utf-8"?>
<p:tagLst xmlns:a="http://schemas.openxmlformats.org/drawingml/2006/main" xmlns:r="http://schemas.openxmlformats.org/officeDocument/2006/relationships" xmlns:p="http://schemas.openxmlformats.org/presentationml/2006/main">
  <p:tag name="EE4P_MAPWIZARD_ID" val="WA"/>
  <p:tag name="EE4P_MAPWIZARD" val="Washington"/>
</p:tagLst>
</file>

<file path=ppt/tags/tag32.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20.xml><?xml version="1.0" encoding="utf-8"?>
<p:tagLst xmlns:a="http://schemas.openxmlformats.org/drawingml/2006/main" xmlns:r="http://schemas.openxmlformats.org/officeDocument/2006/relationships" xmlns:p="http://schemas.openxmlformats.org/presentationml/2006/main">
  <p:tag name="EE4P_MAPWIZARD_ID" val="OR"/>
  <p:tag name="EE4P_MAPWIZARD" val="Oregon"/>
</p:tagLst>
</file>

<file path=ppt/tags/tag321.xml><?xml version="1.0" encoding="utf-8"?>
<p:tagLst xmlns:a="http://schemas.openxmlformats.org/drawingml/2006/main" xmlns:r="http://schemas.openxmlformats.org/officeDocument/2006/relationships" xmlns:p="http://schemas.openxmlformats.org/presentationml/2006/main">
  <p:tag name="EE4P_MAPWIZARD_ID" val="CA"/>
  <p:tag name="EE4P_MAPWIZARD" val="California"/>
</p:tagLst>
</file>

<file path=ppt/tags/tag322.xml><?xml version="1.0" encoding="utf-8"?>
<p:tagLst xmlns:a="http://schemas.openxmlformats.org/drawingml/2006/main" xmlns:r="http://schemas.openxmlformats.org/officeDocument/2006/relationships" xmlns:p="http://schemas.openxmlformats.org/presentationml/2006/main">
  <p:tag name="EE4P_MAPWIZARD_ID" val="CA"/>
  <p:tag name="EE4P_MAPWIZARD" val="California"/>
</p:tagLst>
</file>

<file path=ppt/tags/tag323.xml><?xml version="1.0" encoding="utf-8"?>
<p:tagLst xmlns:a="http://schemas.openxmlformats.org/drawingml/2006/main" xmlns:r="http://schemas.openxmlformats.org/officeDocument/2006/relationships" xmlns:p="http://schemas.openxmlformats.org/presentationml/2006/main">
  <p:tag name="EE4P_MAPWIZARD_ID" val="CA"/>
  <p:tag name="EE4P_MAPWIZARD" val="California"/>
</p:tagLst>
</file>

<file path=ppt/tags/tag33.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4.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5.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6.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7.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8.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9.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xml><?xml version="1.0" encoding="utf-8"?>
<p:tagLst xmlns:a="http://schemas.openxmlformats.org/drawingml/2006/main" xmlns:r="http://schemas.openxmlformats.org/officeDocument/2006/relationships" xmlns:p="http://schemas.openxmlformats.org/presentationml/2006/main">
  <p:tag name="SHAPEFONTSIZE" val="9"/>
</p:tagLst>
</file>

<file path=ppt/tags/tag40.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1.xml><?xml version="1.0" encoding="utf-8"?>
<p:tagLst xmlns:a="http://schemas.openxmlformats.org/drawingml/2006/main" xmlns:r="http://schemas.openxmlformats.org/officeDocument/2006/relationships" xmlns:p="http://schemas.openxmlformats.org/presentationml/2006/main">
  <p:tag name="EE4P_MAPWIZARD_ID" val="GL"/>
  <p:tag name="EE4P_MAPWIZARD" val="Greenland"/>
</p:tagLst>
</file>

<file path=ppt/tags/tag42.xml><?xml version="1.0" encoding="utf-8"?>
<p:tagLst xmlns:a="http://schemas.openxmlformats.org/drawingml/2006/main" xmlns:r="http://schemas.openxmlformats.org/officeDocument/2006/relationships" xmlns:p="http://schemas.openxmlformats.org/presentationml/2006/main">
  <p:tag name="EE4P_MAPWIZARD_ID" val="GL"/>
  <p:tag name="EE4P_MAPWIZARD" val="Greenland"/>
</p:tagLst>
</file>

<file path=ppt/tags/tag43.xml><?xml version="1.0" encoding="utf-8"?>
<p:tagLst xmlns:a="http://schemas.openxmlformats.org/drawingml/2006/main" xmlns:r="http://schemas.openxmlformats.org/officeDocument/2006/relationships" xmlns:p="http://schemas.openxmlformats.org/presentationml/2006/main">
  <p:tag name="EE4P_MAPWIZARD_ID" val="GL"/>
  <p:tag name="EE4P_MAPWIZARD" val="Greenland"/>
</p:tagLst>
</file>

<file path=ppt/tags/tag44.xml><?xml version="1.0" encoding="utf-8"?>
<p:tagLst xmlns:a="http://schemas.openxmlformats.org/drawingml/2006/main" xmlns:r="http://schemas.openxmlformats.org/officeDocument/2006/relationships" xmlns:p="http://schemas.openxmlformats.org/presentationml/2006/main">
  <p:tag name="EE4P_MAPWIZARD_ID" val="GL"/>
  <p:tag name="EE4P_MAPWIZARD" val="Greenland"/>
</p:tagLst>
</file>

<file path=ppt/tags/tag45.xml><?xml version="1.0" encoding="utf-8"?>
<p:tagLst xmlns:a="http://schemas.openxmlformats.org/drawingml/2006/main" xmlns:r="http://schemas.openxmlformats.org/officeDocument/2006/relationships" xmlns:p="http://schemas.openxmlformats.org/presentationml/2006/main">
  <p:tag name="EE4P_MAPWIZARD_ID" val="BR"/>
  <p:tag name="EE4P_MAPWIZARD" val="Brazil"/>
</p:tagLst>
</file>

<file path=ppt/tags/tag46.xml><?xml version="1.0" encoding="utf-8"?>
<p:tagLst xmlns:a="http://schemas.openxmlformats.org/drawingml/2006/main" xmlns:r="http://schemas.openxmlformats.org/officeDocument/2006/relationships" xmlns:p="http://schemas.openxmlformats.org/presentationml/2006/main">
  <p:tag name="EE4P_MAPWIZARD_ID" val="PY"/>
  <p:tag name="EE4P_MAPWIZARD" val="Paraguay"/>
</p:tagLst>
</file>

<file path=ppt/tags/tag47.xml><?xml version="1.0" encoding="utf-8"?>
<p:tagLst xmlns:a="http://schemas.openxmlformats.org/drawingml/2006/main" xmlns:r="http://schemas.openxmlformats.org/officeDocument/2006/relationships" xmlns:p="http://schemas.openxmlformats.org/presentationml/2006/main">
  <p:tag name="EE4P_MAPWIZARD_ID" val="GF"/>
  <p:tag name="EE4P_MAPWIZARD" val="French Guiana"/>
</p:tagLst>
</file>

<file path=ppt/tags/tag48.xml><?xml version="1.0" encoding="utf-8"?>
<p:tagLst xmlns:a="http://schemas.openxmlformats.org/drawingml/2006/main" xmlns:r="http://schemas.openxmlformats.org/officeDocument/2006/relationships" xmlns:p="http://schemas.openxmlformats.org/presentationml/2006/main">
  <p:tag name="EE4P_MAPWIZARD_ID" val="SR"/>
  <p:tag name="EE4P_MAPWIZARD" val="Suriname"/>
</p:tagLst>
</file>

<file path=ppt/tags/tag49.xml><?xml version="1.0" encoding="utf-8"?>
<p:tagLst xmlns:a="http://schemas.openxmlformats.org/drawingml/2006/main" xmlns:r="http://schemas.openxmlformats.org/officeDocument/2006/relationships" xmlns:p="http://schemas.openxmlformats.org/presentationml/2006/main">
  <p:tag name="EE4P_MAPWIZARD_ID" val="GY"/>
  <p:tag name="EE4P_MAPWIZARD" val="Guyana"/>
</p:tagLst>
</file>

<file path=ppt/tags/tag5.xml><?xml version="1.0" encoding="utf-8"?>
<p:tagLst xmlns:a="http://schemas.openxmlformats.org/drawingml/2006/main" xmlns:r="http://schemas.openxmlformats.org/officeDocument/2006/relationships" xmlns:p="http://schemas.openxmlformats.org/presentationml/2006/main">
  <p:tag name="TIMING" val="|20.2|42.6|9.2"/>
</p:tagLst>
</file>

<file path=ppt/tags/tag50.xml><?xml version="1.0" encoding="utf-8"?>
<p:tagLst xmlns:a="http://schemas.openxmlformats.org/drawingml/2006/main" xmlns:r="http://schemas.openxmlformats.org/officeDocument/2006/relationships" xmlns:p="http://schemas.openxmlformats.org/presentationml/2006/main">
  <p:tag name="EE4P_MAPWIZARD_ID" val="UY"/>
  <p:tag name="EE4P_MAPWIZARD" val="Uruguay"/>
</p:tagLst>
</file>

<file path=ppt/tags/tag51.xml><?xml version="1.0" encoding="utf-8"?>
<p:tagLst xmlns:a="http://schemas.openxmlformats.org/drawingml/2006/main" xmlns:r="http://schemas.openxmlformats.org/officeDocument/2006/relationships" xmlns:p="http://schemas.openxmlformats.org/presentationml/2006/main">
  <p:tag name="EE4P_MAPWIZARD_ID" val="FK"/>
  <p:tag name="EE4P_MAPWIZARD" val="Falkland Islands (Malvinas)"/>
</p:tagLst>
</file>

<file path=ppt/tags/tag52.xml><?xml version="1.0" encoding="utf-8"?>
<p:tagLst xmlns:a="http://schemas.openxmlformats.org/drawingml/2006/main" xmlns:r="http://schemas.openxmlformats.org/officeDocument/2006/relationships" xmlns:p="http://schemas.openxmlformats.org/presentationml/2006/main">
  <p:tag name="EE4P_MAPWIZARD_ID" val="FK"/>
  <p:tag name="EE4P_MAPWIZARD" val="Falkland Islands (Malvinas)"/>
</p:tagLst>
</file>

<file path=ppt/tags/tag53.xml><?xml version="1.0" encoding="utf-8"?>
<p:tagLst xmlns:a="http://schemas.openxmlformats.org/drawingml/2006/main" xmlns:r="http://schemas.openxmlformats.org/officeDocument/2006/relationships" xmlns:p="http://schemas.openxmlformats.org/presentationml/2006/main">
  <p:tag name="EE4P_MAPWIZARD_ID" val="BO"/>
  <p:tag name="EE4P_MAPWIZARD" val="Bolivia, Plurinational State of"/>
</p:tagLst>
</file>

<file path=ppt/tags/tag54.xml><?xml version="1.0" encoding="utf-8"?>
<p:tagLst xmlns:a="http://schemas.openxmlformats.org/drawingml/2006/main" xmlns:r="http://schemas.openxmlformats.org/officeDocument/2006/relationships" xmlns:p="http://schemas.openxmlformats.org/presentationml/2006/main">
  <p:tag name="EE4P_MAPWIZARD_ID" val="VE"/>
  <p:tag name="EE4P_MAPWIZARD" val="Venezuela, Bolivarian Republic of"/>
</p:tagLst>
</file>

<file path=ppt/tags/tag55.xml><?xml version="1.0" encoding="utf-8"?>
<p:tagLst xmlns:a="http://schemas.openxmlformats.org/drawingml/2006/main" xmlns:r="http://schemas.openxmlformats.org/officeDocument/2006/relationships" xmlns:p="http://schemas.openxmlformats.org/presentationml/2006/main">
  <p:tag name="EE4P_MAPWIZARD_ID" val="AR"/>
  <p:tag name="EE4P_MAPWIZARD" val="Argentina"/>
</p:tagLst>
</file>

<file path=ppt/tags/tag56.xml><?xml version="1.0" encoding="utf-8"?>
<p:tagLst xmlns:a="http://schemas.openxmlformats.org/drawingml/2006/main" xmlns:r="http://schemas.openxmlformats.org/officeDocument/2006/relationships" xmlns:p="http://schemas.openxmlformats.org/presentationml/2006/main">
  <p:tag name="EE4P_MAPWIZARD_ID" val="AR"/>
  <p:tag name="EE4P_MAPWIZARD" val="Argentina"/>
</p:tagLst>
</file>

<file path=ppt/tags/tag57.xml><?xml version="1.0" encoding="utf-8"?>
<p:tagLst xmlns:a="http://schemas.openxmlformats.org/drawingml/2006/main" xmlns:r="http://schemas.openxmlformats.org/officeDocument/2006/relationships" xmlns:p="http://schemas.openxmlformats.org/presentationml/2006/main">
  <p:tag name="EE4P_MAPWIZARD_ID" val="CL"/>
  <p:tag name="EE4P_MAPWIZARD" val="Chile"/>
</p:tagLst>
</file>

<file path=ppt/tags/tag58.xml><?xml version="1.0" encoding="utf-8"?>
<p:tagLst xmlns:a="http://schemas.openxmlformats.org/drawingml/2006/main" xmlns:r="http://schemas.openxmlformats.org/officeDocument/2006/relationships" xmlns:p="http://schemas.openxmlformats.org/presentationml/2006/main">
  <p:tag name="EE4P_MAPWIZARD_ID" val="CL"/>
  <p:tag name="EE4P_MAPWIZARD" val="Chile"/>
</p:tagLst>
</file>

<file path=ppt/tags/tag59.xml><?xml version="1.0" encoding="utf-8"?>
<p:tagLst xmlns:a="http://schemas.openxmlformats.org/drawingml/2006/main" xmlns:r="http://schemas.openxmlformats.org/officeDocument/2006/relationships" xmlns:p="http://schemas.openxmlformats.org/presentationml/2006/main">
  <p:tag name="EE4P_MAPWIZARD_ID" val="CL"/>
  <p:tag name="EE4P_MAPWIZARD" val="Chile"/>
</p:tagLst>
</file>

<file path=ppt/tags/tag6.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60.xml><?xml version="1.0" encoding="utf-8"?>
<p:tagLst xmlns:a="http://schemas.openxmlformats.org/drawingml/2006/main" xmlns:r="http://schemas.openxmlformats.org/officeDocument/2006/relationships" xmlns:p="http://schemas.openxmlformats.org/presentationml/2006/main">
  <p:tag name="EE4P_MAPWIZARD_ID" val="CO"/>
  <p:tag name="EE4P_MAPWIZARD" val="Colombia"/>
</p:tagLst>
</file>

<file path=ppt/tags/tag61.xml><?xml version="1.0" encoding="utf-8"?>
<p:tagLst xmlns:a="http://schemas.openxmlformats.org/drawingml/2006/main" xmlns:r="http://schemas.openxmlformats.org/officeDocument/2006/relationships" xmlns:p="http://schemas.openxmlformats.org/presentationml/2006/main">
  <p:tag name="EE4P_MAPWIZARD_ID" val="EC"/>
  <p:tag name="EE4P_MAPWIZARD" val="Ecuador"/>
</p:tagLst>
</file>

<file path=ppt/tags/tag62.xml><?xml version="1.0" encoding="utf-8"?>
<p:tagLst xmlns:a="http://schemas.openxmlformats.org/drawingml/2006/main" xmlns:r="http://schemas.openxmlformats.org/officeDocument/2006/relationships" xmlns:p="http://schemas.openxmlformats.org/presentationml/2006/main">
  <p:tag name="EE4P_MAPWIZARD_ID" val="PE"/>
  <p:tag name="EE4P_MAPWIZARD" val="Peru"/>
</p:tagLst>
</file>

<file path=ppt/tags/tag63.xml><?xml version="1.0" encoding="utf-8"?>
<p:tagLst xmlns:a="http://schemas.openxmlformats.org/drawingml/2006/main" xmlns:r="http://schemas.openxmlformats.org/officeDocument/2006/relationships" xmlns:p="http://schemas.openxmlformats.org/presentationml/2006/main">
  <p:tag name="EE4P_MAPWIZARD_ID" val="JM"/>
  <p:tag name="EE4P_MAPWIZARD" val="Jamaica"/>
</p:tagLst>
</file>

<file path=ppt/tags/tag64.xml><?xml version="1.0" encoding="utf-8"?>
<p:tagLst xmlns:a="http://schemas.openxmlformats.org/drawingml/2006/main" xmlns:r="http://schemas.openxmlformats.org/officeDocument/2006/relationships" xmlns:p="http://schemas.openxmlformats.org/presentationml/2006/main">
  <p:tag name="EE4P_MAPWIZARD_ID" val="PA"/>
  <p:tag name="EE4P_MAPWIZARD" val="Panama"/>
</p:tagLst>
</file>

<file path=ppt/tags/tag65.xml><?xml version="1.0" encoding="utf-8"?>
<p:tagLst xmlns:a="http://schemas.openxmlformats.org/drawingml/2006/main" xmlns:r="http://schemas.openxmlformats.org/officeDocument/2006/relationships" xmlns:p="http://schemas.openxmlformats.org/presentationml/2006/main">
  <p:tag name="EE4P_MAPWIZARD_ID" val="CU"/>
  <p:tag name="EE4P_MAPWIZARD" val="Cuba"/>
</p:tagLst>
</file>

<file path=ppt/tags/tag66.xml><?xml version="1.0" encoding="utf-8"?>
<p:tagLst xmlns:a="http://schemas.openxmlformats.org/drawingml/2006/main" xmlns:r="http://schemas.openxmlformats.org/officeDocument/2006/relationships" xmlns:p="http://schemas.openxmlformats.org/presentationml/2006/main">
  <p:tag name="EE4P_MAPWIZARD_ID" val="CR"/>
  <p:tag name="EE4P_MAPWIZARD" val="Costa Rica"/>
</p:tagLst>
</file>

<file path=ppt/tags/tag67.xml><?xml version="1.0" encoding="utf-8"?>
<p:tagLst xmlns:a="http://schemas.openxmlformats.org/drawingml/2006/main" xmlns:r="http://schemas.openxmlformats.org/officeDocument/2006/relationships" xmlns:p="http://schemas.openxmlformats.org/presentationml/2006/main">
  <p:tag name="EE4P_MAPWIZARD_ID" val="NI"/>
  <p:tag name="EE4P_MAPWIZARD" val="Nicaragua"/>
</p:tagLst>
</file>

<file path=ppt/tags/tag68.xml><?xml version="1.0" encoding="utf-8"?>
<p:tagLst xmlns:a="http://schemas.openxmlformats.org/drawingml/2006/main" xmlns:r="http://schemas.openxmlformats.org/officeDocument/2006/relationships" xmlns:p="http://schemas.openxmlformats.org/presentationml/2006/main">
  <p:tag name="EE4P_MAPWIZARD_ID" val="HN"/>
  <p:tag name="EE4P_MAPWIZARD" val="Honduras"/>
</p:tagLst>
</file>

<file path=ppt/tags/tag69.xml><?xml version="1.0" encoding="utf-8"?>
<p:tagLst xmlns:a="http://schemas.openxmlformats.org/drawingml/2006/main" xmlns:r="http://schemas.openxmlformats.org/officeDocument/2006/relationships" xmlns:p="http://schemas.openxmlformats.org/presentationml/2006/main">
  <p:tag name="EE4P_MAPWIZARD_ID" val="SV"/>
  <p:tag name="EE4P_MAPWIZARD" val="El Salvador"/>
</p:tagLst>
</file>

<file path=ppt/tags/tag7.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70.xml><?xml version="1.0" encoding="utf-8"?>
<p:tagLst xmlns:a="http://schemas.openxmlformats.org/drawingml/2006/main" xmlns:r="http://schemas.openxmlformats.org/officeDocument/2006/relationships" xmlns:p="http://schemas.openxmlformats.org/presentationml/2006/main">
  <p:tag name="EE4P_MAPWIZARD_ID" val="BZ"/>
  <p:tag name="EE4P_MAPWIZARD" val="Belize"/>
</p:tagLst>
</file>

<file path=ppt/tags/tag71.xml><?xml version="1.0" encoding="utf-8"?>
<p:tagLst xmlns:a="http://schemas.openxmlformats.org/drawingml/2006/main" xmlns:r="http://schemas.openxmlformats.org/officeDocument/2006/relationships" xmlns:p="http://schemas.openxmlformats.org/presentationml/2006/main">
  <p:tag name="EE4P_MAPWIZARD_ID" val="GT"/>
  <p:tag name="EE4P_MAPWIZARD" val="Guatemala"/>
</p:tagLst>
</file>

<file path=ppt/tags/tag72.xml><?xml version="1.0" encoding="utf-8"?>
<p:tagLst xmlns:a="http://schemas.openxmlformats.org/drawingml/2006/main" xmlns:r="http://schemas.openxmlformats.org/officeDocument/2006/relationships" xmlns:p="http://schemas.openxmlformats.org/presentationml/2006/main">
  <p:tag name="EE4P_MAPWIZARD_ID" val="MX"/>
  <p:tag name="EE4P_MAPWIZARD" val="Mexico"/>
</p:tagLst>
</file>

<file path=ppt/tags/tag73.xml><?xml version="1.0" encoding="utf-8"?>
<p:tagLst xmlns:a="http://schemas.openxmlformats.org/drawingml/2006/main" xmlns:r="http://schemas.openxmlformats.org/officeDocument/2006/relationships" xmlns:p="http://schemas.openxmlformats.org/presentationml/2006/main">
  <p:tag name="EE4P_MAPWIZARD_ID" val="PR"/>
  <p:tag name="EE4P_MAPWIZARD" val="Puerto Rico"/>
</p:tagLst>
</file>

<file path=ppt/tags/tag74.xml><?xml version="1.0" encoding="utf-8"?>
<p:tagLst xmlns:a="http://schemas.openxmlformats.org/drawingml/2006/main" xmlns:r="http://schemas.openxmlformats.org/officeDocument/2006/relationships" xmlns:p="http://schemas.openxmlformats.org/presentationml/2006/main">
  <p:tag name="EE4P_MAPWIZARD_ID" val="DO"/>
  <p:tag name="EE4P_MAPWIZARD" val="Dominican Republic"/>
</p:tagLst>
</file>

<file path=ppt/tags/tag75.xml><?xml version="1.0" encoding="utf-8"?>
<p:tagLst xmlns:a="http://schemas.openxmlformats.org/drawingml/2006/main" xmlns:r="http://schemas.openxmlformats.org/officeDocument/2006/relationships" xmlns:p="http://schemas.openxmlformats.org/presentationml/2006/main">
  <p:tag name="EE4P_MAPWIZARD_ID" val="HT"/>
  <p:tag name="EE4P_MAPWIZARD" val="Haiti"/>
</p:tagLst>
</file>

<file path=ppt/tags/tag76.xml><?xml version="1.0" encoding="utf-8"?>
<p:tagLst xmlns:a="http://schemas.openxmlformats.org/drawingml/2006/main" xmlns:r="http://schemas.openxmlformats.org/officeDocument/2006/relationships" xmlns:p="http://schemas.openxmlformats.org/presentationml/2006/main">
  <p:tag name="EE4P_MAPWIZARD_ID" val="LK"/>
  <p:tag name="EE4P_MAPWIZARD" val="Sri Lanka"/>
</p:tagLst>
</file>

<file path=ppt/tags/tag77.xml><?xml version="1.0" encoding="utf-8"?>
<p:tagLst xmlns:a="http://schemas.openxmlformats.org/drawingml/2006/main" xmlns:r="http://schemas.openxmlformats.org/officeDocument/2006/relationships" xmlns:p="http://schemas.openxmlformats.org/presentationml/2006/main">
  <p:tag name="EE4P_MAPWIZARD_ID" val="BD"/>
  <p:tag name="EE4P_MAPWIZARD" val="Bangladesh"/>
</p:tagLst>
</file>

<file path=ppt/tags/tag78.xml><?xml version="1.0" encoding="utf-8"?>
<p:tagLst xmlns:a="http://schemas.openxmlformats.org/drawingml/2006/main" xmlns:r="http://schemas.openxmlformats.org/officeDocument/2006/relationships" xmlns:p="http://schemas.openxmlformats.org/presentationml/2006/main">
  <p:tag name="EE4P_MAPWIZARD_ID" val="BT"/>
  <p:tag name="EE4P_MAPWIZARD" val="Bhutan"/>
</p:tagLst>
</file>

<file path=ppt/tags/tag79.xml><?xml version="1.0" encoding="utf-8"?>
<p:tagLst xmlns:a="http://schemas.openxmlformats.org/drawingml/2006/main" xmlns:r="http://schemas.openxmlformats.org/officeDocument/2006/relationships" xmlns:p="http://schemas.openxmlformats.org/presentationml/2006/main">
  <p:tag name="EE4P_MAPWIZARD_ID" val="NP"/>
  <p:tag name="EE4P_MAPWIZARD" val="Nepal"/>
</p:tagLst>
</file>

<file path=ppt/tags/tag8.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80.xml><?xml version="1.0" encoding="utf-8"?>
<p:tagLst xmlns:a="http://schemas.openxmlformats.org/drawingml/2006/main" xmlns:r="http://schemas.openxmlformats.org/officeDocument/2006/relationships" xmlns:p="http://schemas.openxmlformats.org/presentationml/2006/main">
  <p:tag name="EE4P_MAPWIZARD_ID" val="IN"/>
  <p:tag name="EE4P_MAPWIZARD" val="India"/>
</p:tagLst>
</file>

<file path=ppt/tags/tag81.xml><?xml version="1.0" encoding="utf-8"?>
<p:tagLst xmlns:a="http://schemas.openxmlformats.org/drawingml/2006/main" xmlns:r="http://schemas.openxmlformats.org/officeDocument/2006/relationships" xmlns:p="http://schemas.openxmlformats.org/presentationml/2006/main">
  <p:tag name="EE4P_MAPWIZARD_ID" val="JP"/>
  <p:tag name="EE4P_MAPWIZARD" val="Japan"/>
</p:tagLst>
</file>

<file path=ppt/tags/tag82.xml><?xml version="1.0" encoding="utf-8"?>
<p:tagLst xmlns:a="http://schemas.openxmlformats.org/drawingml/2006/main" xmlns:r="http://schemas.openxmlformats.org/officeDocument/2006/relationships" xmlns:p="http://schemas.openxmlformats.org/presentationml/2006/main">
  <p:tag name="EE4P_MAPWIZARD_ID" val="JP"/>
  <p:tag name="EE4P_MAPWIZARD" val="Japan"/>
</p:tagLst>
</file>

<file path=ppt/tags/tag83.xml><?xml version="1.0" encoding="utf-8"?>
<p:tagLst xmlns:a="http://schemas.openxmlformats.org/drawingml/2006/main" xmlns:r="http://schemas.openxmlformats.org/officeDocument/2006/relationships" xmlns:p="http://schemas.openxmlformats.org/presentationml/2006/main">
  <p:tag name="EE4P_MAPWIZARD_ID" val="JP"/>
  <p:tag name="EE4P_MAPWIZARD" val="Japan"/>
</p:tagLst>
</file>

<file path=ppt/tags/tag84.xml><?xml version="1.0" encoding="utf-8"?>
<p:tagLst xmlns:a="http://schemas.openxmlformats.org/drawingml/2006/main" xmlns:r="http://schemas.openxmlformats.org/officeDocument/2006/relationships" xmlns:p="http://schemas.openxmlformats.org/presentationml/2006/main">
  <p:tag name="EE4P_MAPWIZARD_ID" val="JP"/>
  <p:tag name="EE4P_MAPWIZARD" val="Japan"/>
</p:tagLst>
</file>

<file path=ppt/tags/tag85.xml><?xml version="1.0" encoding="utf-8"?>
<p:tagLst xmlns:a="http://schemas.openxmlformats.org/drawingml/2006/main" xmlns:r="http://schemas.openxmlformats.org/officeDocument/2006/relationships" xmlns:p="http://schemas.openxmlformats.org/presentationml/2006/main">
  <p:tag name="EE4P_MAPWIZARD_ID" val="TW"/>
  <p:tag name="EE4P_MAPWIZARD" val="Taiwan, Province of China"/>
</p:tagLst>
</file>

<file path=ppt/tags/tag86.xml><?xml version="1.0" encoding="utf-8"?>
<p:tagLst xmlns:a="http://schemas.openxmlformats.org/drawingml/2006/main" xmlns:r="http://schemas.openxmlformats.org/officeDocument/2006/relationships" xmlns:p="http://schemas.openxmlformats.org/presentationml/2006/main">
  <p:tag name="EE4P_MAPWIZARD_ID" val="MN"/>
  <p:tag name="EE4P_MAPWIZARD" val="Mongolia"/>
</p:tagLst>
</file>

<file path=ppt/tags/tag87.xml><?xml version="1.0" encoding="utf-8"?>
<p:tagLst xmlns:a="http://schemas.openxmlformats.org/drawingml/2006/main" xmlns:r="http://schemas.openxmlformats.org/officeDocument/2006/relationships" xmlns:p="http://schemas.openxmlformats.org/presentationml/2006/main">
  <p:tag name="EE4P_MAPWIZARD_ID" val="CN"/>
  <p:tag name="EE4P_MAPWIZARD" val="China"/>
</p:tagLst>
</file>

<file path=ppt/tags/tag88.xml><?xml version="1.0" encoding="utf-8"?>
<p:tagLst xmlns:a="http://schemas.openxmlformats.org/drawingml/2006/main" xmlns:r="http://schemas.openxmlformats.org/officeDocument/2006/relationships" xmlns:p="http://schemas.openxmlformats.org/presentationml/2006/main">
  <p:tag name="EE4P_MAPWIZARD_ID" val="CN"/>
  <p:tag name="EE4P_MAPWIZARD" val="China"/>
</p:tagLst>
</file>

<file path=ppt/tags/tag89.xml><?xml version="1.0" encoding="utf-8"?>
<p:tagLst xmlns:a="http://schemas.openxmlformats.org/drawingml/2006/main" xmlns:r="http://schemas.openxmlformats.org/officeDocument/2006/relationships" xmlns:p="http://schemas.openxmlformats.org/presentationml/2006/main">
  <p:tag name="EE4P_MAPWIZARD_ID" val="CN"/>
  <p:tag name="EE4P_MAPWIZARD" val="China"/>
</p:tagLst>
</file>

<file path=ppt/tags/tag9.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90.xml><?xml version="1.0" encoding="utf-8"?>
<p:tagLst xmlns:a="http://schemas.openxmlformats.org/drawingml/2006/main" xmlns:r="http://schemas.openxmlformats.org/officeDocument/2006/relationships" xmlns:p="http://schemas.openxmlformats.org/presentationml/2006/main">
  <p:tag name="EE4P_MAPWIZARD_ID" val="FJ"/>
  <p:tag name="EE4P_MAPWIZARD" val="Fiji"/>
</p:tagLst>
</file>

<file path=ppt/tags/tag91.xml><?xml version="1.0" encoding="utf-8"?>
<p:tagLst xmlns:a="http://schemas.openxmlformats.org/drawingml/2006/main" xmlns:r="http://schemas.openxmlformats.org/officeDocument/2006/relationships" xmlns:p="http://schemas.openxmlformats.org/presentationml/2006/main">
  <p:tag name="EE4P_MAPWIZARD_ID" val="NZ"/>
  <p:tag name="EE4P_MAPWIZARD" val="New Zealand"/>
</p:tagLst>
</file>

<file path=ppt/tags/tag92.xml><?xml version="1.0" encoding="utf-8"?>
<p:tagLst xmlns:a="http://schemas.openxmlformats.org/drawingml/2006/main" xmlns:r="http://schemas.openxmlformats.org/officeDocument/2006/relationships" xmlns:p="http://schemas.openxmlformats.org/presentationml/2006/main">
  <p:tag name="EE4P_MAPWIZARD_ID" val="NZ"/>
  <p:tag name="EE4P_MAPWIZARD" val="New Zealand"/>
</p:tagLst>
</file>

<file path=ppt/tags/tag93.xml><?xml version="1.0" encoding="utf-8"?>
<p:tagLst xmlns:a="http://schemas.openxmlformats.org/drawingml/2006/main" xmlns:r="http://schemas.openxmlformats.org/officeDocument/2006/relationships" xmlns:p="http://schemas.openxmlformats.org/presentationml/2006/main">
  <p:tag name="EE4P_MAPWIZARD_ID" val="NC"/>
  <p:tag name="EE4P_MAPWIZARD" val="New Caledonia"/>
</p:tagLst>
</file>

<file path=ppt/tags/tag94.xml><?xml version="1.0" encoding="utf-8"?>
<p:tagLst xmlns:a="http://schemas.openxmlformats.org/drawingml/2006/main" xmlns:r="http://schemas.openxmlformats.org/officeDocument/2006/relationships" xmlns:p="http://schemas.openxmlformats.org/presentationml/2006/main">
  <p:tag name="EE4P_MAPWIZARD_ID" val="PG"/>
  <p:tag name="EE4P_MAPWIZARD" val="Papua New Guinea"/>
</p:tagLst>
</file>

<file path=ppt/tags/tag95.xml><?xml version="1.0" encoding="utf-8"?>
<p:tagLst xmlns:a="http://schemas.openxmlformats.org/drawingml/2006/main" xmlns:r="http://schemas.openxmlformats.org/officeDocument/2006/relationships" xmlns:p="http://schemas.openxmlformats.org/presentationml/2006/main">
  <p:tag name="EE4P_MAPWIZARD_ID" val="PG"/>
  <p:tag name="EE4P_MAPWIZARD" val="Papua New Guinea"/>
</p:tagLst>
</file>

<file path=ppt/tags/tag96.xml><?xml version="1.0" encoding="utf-8"?>
<p:tagLst xmlns:a="http://schemas.openxmlformats.org/drawingml/2006/main" xmlns:r="http://schemas.openxmlformats.org/officeDocument/2006/relationships" xmlns:p="http://schemas.openxmlformats.org/presentationml/2006/main">
  <p:tag name="EE4P_MAPWIZARD_ID" val="PG"/>
  <p:tag name="EE4P_MAPWIZARD" val="Papua New Guinea"/>
</p:tagLst>
</file>

<file path=ppt/tags/tag97.xml><?xml version="1.0" encoding="utf-8"?>
<p:tagLst xmlns:a="http://schemas.openxmlformats.org/drawingml/2006/main" xmlns:r="http://schemas.openxmlformats.org/officeDocument/2006/relationships" xmlns:p="http://schemas.openxmlformats.org/presentationml/2006/main">
  <p:tag name="EE4P_MAPWIZARD_ID" val="AU"/>
  <p:tag name="EE4P_MAPWIZARD" val="Australia"/>
</p:tagLst>
</file>

<file path=ppt/tags/tag98.xml><?xml version="1.0" encoding="utf-8"?>
<p:tagLst xmlns:a="http://schemas.openxmlformats.org/drawingml/2006/main" xmlns:r="http://schemas.openxmlformats.org/officeDocument/2006/relationships" xmlns:p="http://schemas.openxmlformats.org/presentationml/2006/main">
  <p:tag name="EE4P_MAPWIZARD_ID" val="AU"/>
  <p:tag name="EE4P_MAPWIZARD" val="Australia"/>
</p:tagLst>
</file>

<file path=ppt/tags/tag99.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heme/theme1.xml><?xml version="1.0" encoding="utf-8"?>
<a:theme xmlns:a="http://schemas.openxmlformats.org/drawingml/2006/main" name="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PowerPoint Template.potx" id="{FCBC89B4-07BA-4C79-87AE-DF8F49B04654}" vid="{8345B864-4005-4AA5-9576-102B88061C5F}"/>
    </a:ext>
  </a:extLst>
</a:theme>
</file>

<file path=ppt/theme/theme10.xml><?xml version="1.0" encoding="utf-8"?>
<a:theme xmlns:a="http://schemas.openxmlformats.org/drawingml/2006/main" name="Sensirion Company Presentation 2016_Sept_templ_D2">
  <a:themeElements>
    <a:clrScheme name="Sensirion">
      <a:dk1>
        <a:srgbClr val="000000"/>
      </a:dk1>
      <a:lt1>
        <a:srgbClr val="FFFFFF"/>
      </a:lt1>
      <a:dk2>
        <a:srgbClr val="77BC1F"/>
      </a:dk2>
      <a:lt2>
        <a:srgbClr val="7B7373"/>
      </a:lt2>
      <a:accent1>
        <a:srgbClr val="77BC1F"/>
      </a:accent1>
      <a:accent2>
        <a:srgbClr val="AB989C"/>
      </a:accent2>
      <a:accent3>
        <a:srgbClr val="D1C5C5"/>
      </a:accent3>
      <a:accent4>
        <a:srgbClr val="BBDE8F"/>
      </a:accent4>
      <a:accent5>
        <a:srgbClr val="C0B3B5"/>
      </a:accent5>
      <a:accent6>
        <a:srgbClr val="E8E2E2"/>
      </a:accent6>
      <a:hlink>
        <a:srgbClr val="000000"/>
      </a:hlink>
      <a:folHlink>
        <a:srgbClr val="000000"/>
      </a:folHlink>
    </a:clrScheme>
    <a:fontScheme name="Entwurfsvorlage_mitSlogan">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wrap="square" lIns="90000" tIns="90000" rIns="90000" bIns="90000" rtlCol="0" anchor="ctr">
        <a:noAutofit/>
      </a:bodyPr>
      <a:lstStyle>
        <a:defPPr marL="0" algn="ctr">
          <a:spcBef>
            <a:spcPct val="50000"/>
          </a:spcBef>
          <a:defRPr sz="2400" dirty="0" err="1" smtClean="0">
            <a:cs typeface="+mn-cs"/>
          </a:defRPr>
        </a:defPPr>
      </a:lstStyle>
    </a:spDef>
    <a:txDef>
      <a:spPr>
        <a:noFill/>
      </a:spPr>
      <a:bodyPr wrap="square" lIns="0" tIns="0" rIns="0" bIns="0" rtlCol="0">
        <a:noAutofit/>
      </a:bodyPr>
      <a:lstStyle>
        <a:defPPr>
          <a:defRPr sz="2400" dirty="0" err="1" smtClean="0">
            <a:solidFill>
              <a:schemeClr val="bg2"/>
            </a:solidFill>
          </a:defRPr>
        </a:defPPr>
      </a:lstStyle>
    </a:txDef>
  </a:objectDefaults>
  <a:extraClrSchemeLst>
    <a:extraClrScheme>
      <a:clrScheme name="Sensirion">
        <a:dk1>
          <a:srgbClr val="000000"/>
        </a:dk1>
        <a:lt1>
          <a:srgbClr val="FFFFFF"/>
        </a:lt1>
        <a:dk2>
          <a:srgbClr val="77BC1F"/>
        </a:dk2>
        <a:lt2>
          <a:srgbClr val="7B7373"/>
        </a:lt2>
        <a:accent1>
          <a:srgbClr val="77BC1F"/>
        </a:accent1>
        <a:accent2>
          <a:srgbClr val="AB989C"/>
        </a:accent2>
        <a:accent3>
          <a:srgbClr val="D1C5C5"/>
        </a:accent3>
        <a:accent4>
          <a:srgbClr val="BBDE8F"/>
        </a:accent4>
        <a:accent5>
          <a:srgbClr val="C0B3B5"/>
        </a:accent5>
        <a:accent6>
          <a:srgbClr val="E8E2E2"/>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4C7912EB-65BD-43AC-B1D2-1D58F355CBAB}" vid="{60FAC46F-A096-4D7A-9023-8897E9402EE9}"/>
    </a:ext>
  </a:extLst>
</a:theme>
</file>

<file path=ppt/theme/theme11.xml><?xml version="1.0" encoding="utf-8"?>
<a:theme xmlns:a="http://schemas.openxmlformats.org/drawingml/2006/main" name="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PowerPoint Template.potx" id="{FCBC89B4-07BA-4C79-87AE-DF8F49B04654}" vid="{8345B864-4005-4AA5-9576-102B88061C5F}"/>
    </a:ext>
  </a:extLst>
</a:theme>
</file>

<file path=ppt/theme/theme12.xml><?xml version="1.0" encoding="utf-8"?>
<a:theme xmlns:a="http://schemas.openxmlformats.org/drawingml/2006/main" name="Sensirion EN Template">
  <a:themeElements>
    <a:clrScheme name="Sensirion">
      <a:dk1>
        <a:srgbClr val="000000"/>
      </a:dk1>
      <a:lt1>
        <a:srgbClr val="FFFFFF"/>
      </a:lt1>
      <a:dk2>
        <a:srgbClr val="77BC1F"/>
      </a:dk2>
      <a:lt2>
        <a:srgbClr val="7B7373"/>
      </a:lt2>
      <a:accent1>
        <a:srgbClr val="77BC1F"/>
      </a:accent1>
      <a:accent2>
        <a:srgbClr val="AB989C"/>
      </a:accent2>
      <a:accent3>
        <a:srgbClr val="D1C5C5"/>
      </a:accent3>
      <a:accent4>
        <a:srgbClr val="BBDE8F"/>
      </a:accent4>
      <a:accent5>
        <a:srgbClr val="C0B3B5"/>
      </a:accent5>
      <a:accent6>
        <a:srgbClr val="E8E2E2"/>
      </a:accent6>
      <a:hlink>
        <a:srgbClr val="000000"/>
      </a:hlink>
      <a:folHlink>
        <a:srgbClr val="000000"/>
      </a:folHlink>
    </a:clrScheme>
    <a:fontScheme name="Entwurfsvorlage_mitSlogan">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wrap="square" lIns="90000" tIns="90000" rIns="90000" bIns="90000" rtlCol="0" anchor="ctr">
        <a:noAutofit/>
      </a:bodyPr>
      <a:lstStyle>
        <a:defPPr marL="0" algn="ctr">
          <a:spcBef>
            <a:spcPct val="50000"/>
          </a:spcBef>
          <a:defRPr sz="2400" dirty="0" err="1" smtClean="0">
            <a:cs typeface="+mn-cs"/>
          </a:defRPr>
        </a:defPPr>
      </a:lstStyle>
    </a:spDef>
    <a:txDef>
      <a:spPr>
        <a:noFill/>
      </a:spPr>
      <a:bodyPr wrap="square" lIns="0" tIns="0" rIns="0" bIns="0" rtlCol="0">
        <a:noAutofit/>
      </a:bodyPr>
      <a:lstStyle>
        <a:defPPr>
          <a:defRPr sz="2400" dirty="0" err="1" smtClean="0">
            <a:solidFill>
              <a:schemeClr val="bg2"/>
            </a:solidFill>
          </a:defRPr>
        </a:defPPr>
      </a:lstStyle>
    </a:txDef>
  </a:objectDefaults>
  <a:extraClrSchemeLst>
    <a:extraClrScheme>
      <a:clrScheme name="Sensirion">
        <a:dk1>
          <a:srgbClr val="000000"/>
        </a:dk1>
        <a:lt1>
          <a:srgbClr val="FFFFFF"/>
        </a:lt1>
        <a:dk2>
          <a:srgbClr val="77BC1F"/>
        </a:dk2>
        <a:lt2>
          <a:srgbClr val="7B7373"/>
        </a:lt2>
        <a:accent1>
          <a:srgbClr val="77BC1F"/>
        </a:accent1>
        <a:accent2>
          <a:srgbClr val="AB989C"/>
        </a:accent2>
        <a:accent3>
          <a:srgbClr val="D1C5C5"/>
        </a:accent3>
        <a:accent4>
          <a:srgbClr val="BBDE8F"/>
        </a:accent4>
        <a:accent5>
          <a:srgbClr val="C0B3B5"/>
        </a:accent5>
        <a:accent6>
          <a:srgbClr val="E8E2E2"/>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ensirion EN Template.pptx" id="{36A8051A-BE76-4866-BDBB-083DE97D09E6}" vid="{F76B4EEE-A49B-467C-BD7F-A1648CAC375E}"/>
    </a:ext>
  </a:extLst>
</a:theme>
</file>

<file path=ppt/theme/theme13.xml><?xml version="1.0" encoding="utf-8"?>
<a:theme xmlns:a="http://schemas.openxmlformats.org/drawingml/2006/main" name="Sensirion Präsentations Vorlagen ">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Presentation2" id="{BA350E3B-3B56-4330-8072-43BDD48A45F2}" vid="{2D67D4E5-64D8-4AC2-B2ED-17E8BDBA0A99}"/>
    </a:ext>
  </a:extLst>
</a:theme>
</file>

<file path=ppt/theme/theme14.xml><?xml version="1.0" encoding="utf-8"?>
<a:theme xmlns:a="http://schemas.openxmlformats.org/drawingml/2006/main" name="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PowerPoint Template" id="{33F3403D-C6FD-4ECF-A9E0-9982DDAD109A}" vid="{AA60C3F1-ECFC-4C34-8987-E93CFACBB4F6}"/>
    </a:ext>
  </a:extLst>
</a:theme>
</file>

<file path=ppt/theme/theme15.xml><?xml version="1.0" encoding="utf-8"?>
<a:theme xmlns:a="http://schemas.openxmlformats.org/drawingml/2006/main" name="Sensirion Präsentations Vorlagen ">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Presentation2" id="{66038C0A-049F-4127-B8C8-5E7A14257E43}" vid="{2DE9B9E3-C7BF-473A-8E33-D632ED73F062}"/>
    </a:ext>
  </a:extLst>
</a:theme>
</file>

<file path=ppt/theme/theme16.xml><?xml version="1.0" encoding="utf-8"?>
<a:theme xmlns:a="http://schemas.openxmlformats.org/drawingml/2006/main" name="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Nubo_Slidedeck_Template.potx" id="{AF816824-B94E-43A9-A831-F251A65A63AD}" vid="{EBC63CBD-E010-4C8D-87F4-A739CB2AAD18}"/>
    </a:ext>
  </a:extLst>
</a:theme>
</file>

<file path=ppt/theme/theme17.xml><?xml version="1.0" encoding="utf-8"?>
<a:theme xmlns:a="http://schemas.openxmlformats.org/drawingml/2006/main" name="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91440" bIns="0" rtlCol="0">
        <a:noAutofit/>
      </a:bodyPr>
      <a:lstStyle>
        <a:defPPr algn="l" fontAlgn="auto">
          <a:spcAft>
            <a:spcPts val="0"/>
          </a:spcAft>
          <a:defRPr dirty="0" smtClean="0"/>
        </a:defPPr>
      </a:lstStyle>
    </a:tx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PowerPoint Template" id="{59F5F1CD-4164-42EB-BCA0-4482A45C149B}" vid="{AD998F6D-4B99-4F2C-8A55-89A32992BBEE}"/>
    </a:ext>
  </a:extLst>
</a:theme>
</file>

<file path=ppt/theme/theme18.xml><?xml version="1.0" encoding="utf-8"?>
<a:theme xmlns:a="http://schemas.openxmlformats.org/drawingml/2006/main" name="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PowerPoint Template" id="{75D38B72-CCC6-43C8-BEF7-9DEB8E3FA257}" vid="{FD374025-E62F-459D-8CBC-8007086AE928}"/>
    </a:ext>
  </a:extLst>
</a:theme>
</file>

<file path=ppt/theme/theme19.xml><?xml version="1.0" encoding="utf-8"?>
<a:theme xmlns:a="http://schemas.openxmlformats.org/drawingml/2006/main" name="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PowerPoint Template" id="{33F3403D-C6FD-4ECF-A9E0-9982DDAD109A}" vid="{AA60C3F1-ECFC-4C34-8987-E93CFACBB4F6}"/>
    </a:ext>
  </a:extLst>
</a:theme>
</file>

<file path=ppt/theme/theme2.xml><?xml version="1.0" encoding="utf-8"?>
<a:theme xmlns:a="http://schemas.openxmlformats.org/drawingml/2006/main" name="Sensirion Präsentations Vorlagen ">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_Template.pptx" id="{4043DE84-ED64-49A1-BADD-C5F4F9D09139}" vid="{9279663F-3704-4631-9C12-1874F21571B2}"/>
    </a:ext>
  </a:extLst>
</a:theme>
</file>

<file path=ppt/theme/theme20.xml><?xml version="1.0" encoding="utf-8"?>
<a:theme xmlns:a="http://schemas.openxmlformats.org/drawingml/2006/main" name="1_Sensirion Company Presentation 2016_Sept_templ_D2">
  <a:themeElements>
    <a:clrScheme name="Sensirion">
      <a:dk1>
        <a:srgbClr val="000000"/>
      </a:dk1>
      <a:lt1>
        <a:srgbClr val="FFFFFF"/>
      </a:lt1>
      <a:dk2>
        <a:srgbClr val="77BC1F"/>
      </a:dk2>
      <a:lt2>
        <a:srgbClr val="7B7373"/>
      </a:lt2>
      <a:accent1>
        <a:srgbClr val="77BC1F"/>
      </a:accent1>
      <a:accent2>
        <a:srgbClr val="AB989C"/>
      </a:accent2>
      <a:accent3>
        <a:srgbClr val="D1C5C5"/>
      </a:accent3>
      <a:accent4>
        <a:srgbClr val="BBDE8F"/>
      </a:accent4>
      <a:accent5>
        <a:srgbClr val="C0B3B5"/>
      </a:accent5>
      <a:accent6>
        <a:srgbClr val="E8E2E2"/>
      </a:accent6>
      <a:hlink>
        <a:srgbClr val="000000"/>
      </a:hlink>
      <a:folHlink>
        <a:srgbClr val="000000"/>
      </a:folHlink>
    </a:clrScheme>
    <a:fontScheme name="Entwurfsvorlage_mitSlogan">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wrap="square" lIns="90000" tIns="90000" rIns="90000" bIns="90000" rtlCol="0" anchor="ctr">
        <a:noAutofit/>
      </a:bodyPr>
      <a:lstStyle>
        <a:defPPr marL="0" algn="ctr">
          <a:spcBef>
            <a:spcPct val="50000"/>
          </a:spcBef>
          <a:defRPr sz="2400" dirty="0" err="1" smtClean="0">
            <a:cs typeface="+mn-cs"/>
          </a:defRPr>
        </a:defPPr>
      </a:lstStyle>
    </a:spDef>
    <a:txDef>
      <a:spPr>
        <a:noFill/>
      </a:spPr>
      <a:bodyPr wrap="square" lIns="0" tIns="0" rIns="0" bIns="0" rtlCol="0">
        <a:noAutofit/>
      </a:bodyPr>
      <a:lstStyle>
        <a:defPPr>
          <a:defRPr sz="2400" dirty="0" err="1" smtClean="0">
            <a:solidFill>
              <a:schemeClr val="bg2"/>
            </a:solidFill>
          </a:defRPr>
        </a:defPPr>
      </a:lstStyle>
    </a:txDef>
  </a:objectDefaults>
  <a:extraClrSchemeLst>
    <a:extraClrScheme>
      <a:clrScheme name="Sensirion">
        <a:dk1>
          <a:srgbClr val="000000"/>
        </a:dk1>
        <a:lt1>
          <a:srgbClr val="FFFFFF"/>
        </a:lt1>
        <a:dk2>
          <a:srgbClr val="77BC1F"/>
        </a:dk2>
        <a:lt2>
          <a:srgbClr val="7B7373"/>
        </a:lt2>
        <a:accent1>
          <a:srgbClr val="77BC1F"/>
        </a:accent1>
        <a:accent2>
          <a:srgbClr val="AB989C"/>
        </a:accent2>
        <a:accent3>
          <a:srgbClr val="D1C5C5"/>
        </a:accent3>
        <a:accent4>
          <a:srgbClr val="BBDE8F"/>
        </a:accent4>
        <a:accent5>
          <a:srgbClr val="C0B3B5"/>
        </a:accent5>
        <a:accent6>
          <a:srgbClr val="E8E2E2"/>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4C7912EB-65BD-43AC-B1D2-1D58F355CBAB}" vid="{60FAC46F-A096-4D7A-9023-8897E9402EE9}"/>
    </a:ext>
  </a:extLst>
</a:theme>
</file>

<file path=ppt/theme/theme21.xml><?xml version="1.0" encoding="utf-8"?>
<a:theme xmlns:a="http://schemas.openxmlformats.org/drawingml/2006/main" name="2_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Presentation1" id="{8E00FE06-4B0F-425E-BF1E-390DCE01684A}" vid="{FAA65992-E7F2-4A39-89E5-C7BFCA5739EB}"/>
    </a:ext>
  </a:extLst>
</a:theme>
</file>

<file path=ppt/theme/theme22.xml><?xml version="1.0" encoding="utf-8"?>
<a:theme xmlns:a="http://schemas.openxmlformats.org/drawingml/2006/main" name="Larissa-Design">
  <a:themeElements>
    <a:clrScheme name="Grau">
      <a:dk1>
        <a:sysClr val="windowText" lastClr="000000"/>
      </a:dk1>
      <a:lt1>
        <a:sysClr val="window" lastClr="FFFFFF"/>
      </a:lt1>
      <a:dk2>
        <a:srgbClr val="000000"/>
      </a:dk2>
      <a:lt2>
        <a:srgbClr val="FFFFFF"/>
      </a:lt2>
      <a:accent1>
        <a:srgbClr val="E0E0E0"/>
      </a:accent1>
      <a:accent2>
        <a:srgbClr val="C0C0C0"/>
      </a:accent2>
      <a:accent3>
        <a:srgbClr val="A0A0A0"/>
      </a:accent3>
      <a:accent4>
        <a:srgbClr val="808080"/>
      </a:accent4>
      <a:accent5>
        <a:srgbClr val="606060"/>
      </a:accent5>
      <a:accent6>
        <a:srgbClr val="40404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Larissa-Design">
  <a:themeElements>
    <a:clrScheme name="Grau">
      <a:dk1>
        <a:sysClr val="windowText" lastClr="000000"/>
      </a:dk1>
      <a:lt1>
        <a:sysClr val="window" lastClr="FFFFFF"/>
      </a:lt1>
      <a:dk2>
        <a:srgbClr val="000000"/>
      </a:dk2>
      <a:lt2>
        <a:srgbClr val="FFFFFF"/>
      </a:lt2>
      <a:accent1>
        <a:srgbClr val="E0E0E0"/>
      </a:accent1>
      <a:accent2>
        <a:srgbClr val="C0C0C0"/>
      </a:accent2>
      <a:accent3>
        <a:srgbClr val="A0A0A0"/>
      </a:accent3>
      <a:accent4>
        <a:srgbClr val="808080"/>
      </a:accent4>
      <a:accent5>
        <a:srgbClr val="606060"/>
      </a:accent5>
      <a:accent6>
        <a:srgbClr val="40404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ensirion Präsentations Vorlagen ">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Product Presentation.potx" id="{E8D454EE-6DDD-4CD3-BBB9-93F5A8CE5427}" vid="{B3985CF9-47C9-4544-80B3-B10868149562}"/>
    </a:ext>
  </a:extLst>
</a:theme>
</file>

<file path=ppt/theme/theme4.xml><?xml version="1.0" encoding="utf-8"?>
<a:theme xmlns:a="http://schemas.openxmlformats.org/drawingml/2006/main" name="1_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PowerPoint Template.potx" id="{FCBC89B4-07BA-4C79-87AE-DF8F49B04654}" vid="{8345B864-4005-4AA5-9576-102B88061C5F}"/>
    </a:ext>
  </a:extLst>
</a:theme>
</file>

<file path=ppt/theme/theme5.xml><?xml version="1.0" encoding="utf-8"?>
<a:theme xmlns:a="http://schemas.openxmlformats.org/drawingml/2006/main" name="2_Sensirion Präsentations Vorlagen ">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Presentation2" id="{66038C0A-049F-4127-B8C8-5E7A14257E43}" vid="{2DE9B9E3-C7BF-473A-8E33-D632ED73F062}"/>
    </a:ext>
  </a:extLst>
</a:theme>
</file>

<file path=ppt/theme/theme6.xml><?xml version="1.0" encoding="utf-8"?>
<a:theme xmlns:a="http://schemas.openxmlformats.org/drawingml/2006/main" name="3_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PowerPoint Template.potx" id="{FCBC89B4-07BA-4C79-87AE-DF8F49B04654}" vid="{8345B864-4005-4AA5-9576-102B88061C5F}"/>
    </a:ext>
  </a:extLst>
</a:theme>
</file>

<file path=ppt/theme/theme7.xml><?xml version="1.0" encoding="utf-8"?>
<a:theme xmlns:a="http://schemas.openxmlformats.org/drawingml/2006/main" name="3_Sensirion Präsentations Vorlagen ">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Market Presentation.potx" id="{FE51DFC4-81D0-4E90-9275-DA8EB326D902}" vid="{AB558555-2CCC-4DC3-A1D9-15E820DFB846}"/>
    </a:ext>
  </a:extLst>
</a:theme>
</file>

<file path=ppt/theme/theme8.xml><?xml version="1.0" encoding="utf-8"?>
<a:theme xmlns:a="http://schemas.openxmlformats.org/drawingml/2006/main" name="4_Sensirion PowerPoint Template">
  <a:themeElements>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fontScheme name="Sensirion_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CC3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6CC3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ensirion">
        <a:dk1>
          <a:srgbClr val="000000"/>
        </a:dk1>
        <a:lt1>
          <a:srgbClr val="FFFFFF"/>
        </a:lt1>
        <a:dk2>
          <a:srgbClr val="000000"/>
        </a:dk2>
        <a:lt2>
          <a:srgbClr val="FFFFFF"/>
        </a:lt2>
        <a:accent1>
          <a:srgbClr val="66CC33"/>
        </a:accent1>
        <a:accent2>
          <a:srgbClr val="BCB0A7"/>
        </a:accent2>
        <a:accent3>
          <a:srgbClr val="E9E4E0"/>
        </a:accent3>
        <a:accent4>
          <a:srgbClr val="66CC33"/>
        </a:accent4>
        <a:accent5>
          <a:srgbClr val="BCB0A7"/>
        </a:accent5>
        <a:accent6>
          <a:srgbClr val="E9E4E0"/>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Green">
      <a:srgbClr val="66CC33"/>
    </a:custClr>
    <a:custClr name="Yellow">
      <a:srgbClr val="FAFA00"/>
    </a:custClr>
    <a:custClr name="Orange">
      <a:srgbClr val="EB871E"/>
    </a:custClr>
    <a:custClr name="Red">
      <a:srgbClr val="B41937"/>
    </a:custClr>
    <a:custClr name="Purple">
      <a:srgbClr val="5A2364"/>
    </a:custClr>
    <a:custClr name="Blue">
      <a:srgbClr val="2D3787"/>
    </a:custClr>
    <a:custClr name="Brown">
      <a:srgbClr val="872828"/>
    </a:custClr>
    <a:custClr name="Dark grey">
      <a:srgbClr val="BCB0A7"/>
    </a:custClr>
    <a:custClr name="Clear grey">
      <a:srgbClr val="E9E4E0"/>
    </a:custClr>
    <a:custClr name="Weiss">
      <a:srgbClr val="FFFFFF"/>
    </a:custClr>
    <a:custClr name="Green 80%">
      <a:srgbClr val="85D65C"/>
    </a:custClr>
    <a:custClr name="Yellow 80%">
      <a:srgbClr val="FBFB33"/>
    </a:custClr>
    <a:custClr name="Orange 80%">
      <a:srgbClr val="EF9F4B"/>
    </a:custClr>
    <a:custClr name="Red 80%">
      <a:srgbClr val="C3475F"/>
    </a:custClr>
    <a:custClr name="Purple 80%">
      <a:srgbClr val="7B4F83"/>
    </a:custClr>
    <a:custClr name="Blue 80%">
      <a:srgbClr val="575F9F"/>
    </a:custClr>
    <a:custClr name="Brown 80%">
      <a:srgbClr val="9F5353"/>
    </a:custClr>
    <a:custClr name="Dark grey 80%">
      <a:srgbClr val="C9C0B9"/>
    </a:custClr>
    <a:custClr name="Clear grey 80%">
      <a:srgbClr val="EDE9E6"/>
    </a:custClr>
    <a:custClr name="Weiss">
      <a:srgbClr val="FFFFFF"/>
    </a:custClr>
    <a:custClr name="Green 60%">
      <a:srgbClr val="A3E085"/>
    </a:custClr>
    <a:custClr name="Yellow 60%">
      <a:srgbClr val="FCFC66"/>
    </a:custClr>
    <a:custClr name="Orange 60%">
      <a:srgbClr val="F3B778"/>
    </a:custClr>
    <a:custClr name="Red 60%">
      <a:srgbClr val="D27587"/>
    </a:custClr>
    <a:custClr name="Purple 60%">
      <a:srgbClr val="9C7BA2"/>
    </a:custClr>
    <a:custClr name="Blue 60%">
      <a:srgbClr val="8187B7"/>
    </a:custClr>
    <a:custClr name="Brown 60%">
      <a:srgbClr val="B77E7E"/>
    </a:custClr>
    <a:custClr name="Dark grey 60%">
      <a:srgbClr val="D7D0CA"/>
    </a:custClr>
    <a:custClr name="Clear grey 60%">
      <a:srgbClr val="F2EFEC"/>
    </a:custClr>
    <a:custClr name="Weiss">
      <a:srgbClr val="FFFFFF"/>
    </a:custClr>
    <a:custClr name="Green 40%">
      <a:srgbClr val="C2EBAD"/>
    </a:custClr>
    <a:custClr name="Yellow 40%">
      <a:srgbClr val="FDFD99"/>
    </a:custClr>
    <a:custClr name="Orange 40%">
      <a:srgbClr val="F7CFA5"/>
    </a:custClr>
    <a:custClr name="Red 40%">
      <a:srgbClr val="E1A3AF"/>
    </a:custClr>
    <a:custClr name="Purple 40%">
      <a:srgbClr val="BDA7C1"/>
    </a:custClr>
    <a:custClr name="Blue 40%">
      <a:srgbClr val="ABAFCF"/>
    </a:custClr>
    <a:custClr name="Brown 40%">
      <a:srgbClr val="CFA9A9"/>
    </a:custClr>
    <a:custClr name="Dark grey 40%">
      <a:srgbClr val="E4DFDC"/>
    </a:custClr>
    <a:custClr name="Clear grey 40%">
      <a:srgbClr val="F6F4F3"/>
    </a:custClr>
    <a:custClr name="Weiss">
      <a:srgbClr val="FFFFFF"/>
    </a:custClr>
    <a:custClr name="Green 20%">
      <a:srgbClr val="E0F5D6"/>
    </a:custClr>
    <a:custClr name="Yellow 20%">
      <a:srgbClr val="FEFECC"/>
    </a:custClr>
    <a:custClr name="Orange 20%">
      <a:srgbClr val="FBE7D2"/>
    </a:custClr>
    <a:custClr name="Red 20%">
      <a:srgbClr val="F0D1D7"/>
    </a:custClr>
    <a:custClr name="Purple 20%">
      <a:srgbClr val="DED3E0"/>
    </a:custClr>
    <a:custClr name="Blue 20%">
      <a:srgbClr val="D5D7E7"/>
    </a:custClr>
    <a:custClr name="Brown 20%">
      <a:srgbClr val="E7D4D4"/>
    </a:custClr>
    <a:custClr name="Dark grey 20%">
      <a:srgbClr val="F2EFED"/>
    </a:custClr>
    <a:custClr name="Clear grey 20%">
      <a:srgbClr val="FBFAF9"/>
    </a:custClr>
    <a:custClr name="Weiss">
      <a:srgbClr val="FFFFFF"/>
    </a:custClr>
  </a:custClrLst>
  <a:extLst>
    <a:ext uri="{05A4C25C-085E-4340-85A3-A5531E510DB2}">
      <thm15:themeFamily xmlns:thm15="http://schemas.microsoft.com/office/thememl/2012/main" name="Sensirion Company Presentation" id="{A7CCDEDB-4DC7-41B9-8030-653371DF60D7}" vid="{411AF726-980C-4788-8807-7E73708BBABE}"/>
    </a:ext>
  </a:extLst>
</a:theme>
</file>

<file path=ppt/theme/theme9.xml><?xml version="1.0" encoding="utf-8"?>
<a:theme xmlns:a="http://schemas.openxmlformats.org/drawingml/2006/main" name="Standardpraesentation2011_mitVorlagen">
  <a:themeElements>
    <a:clrScheme name="Standardpräsentation_neu2 16">
      <a:dk1>
        <a:srgbClr val="000000"/>
      </a:dk1>
      <a:lt1>
        <a:srgbClr val="FFFFFF"/>
      </a:lt1>
      <a:dk2>
        <a:srgbClr val="66CC33"/>
      </a:dk2>
      <a:lt2>
        <a:srgbClr val="7B7373"/>
      </a:lt2>
      <a:accent1>
        <a:srgbClr val="EBE6E6"/>
      </a:accent1>
      <a:accent2>
        <a:srgbClr val="A3E085"/>
      </a:accent2>
      <a:accent3>
        <a:srgbClr val="FFFFFF"/>
      </a:accent3>
      <a:accent4>
        <a:srgbClr val="000000"/>
      </a:accent4>
      <a:accent5>
        <a:srgbClr val="F3F0F0"/>
      </a:accent5>
      <a:accent6>
        <a:srgbClr val="93CB78"/>
      </a:accent6>
      <a:hlink>
        <a:srgbClr val="C8BBBB"/>
      </a:hlink>
      <a:folHlink>
        <a:srgbClr val="CCDCFF"/>
      </a:folHlink>
    </a:clrScheme>
    <a:fontScheme name="Standardpräsentation_neu2">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präsentation_neu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präsentation_neu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präsentation_neu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präsentation_neu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präsentation_neu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präsentation_neu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präsentation_neu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präsentation_neu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präsentation_neu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präsentation_neu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präsentation_neu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präsentation_neu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präsentation_neu2 13">
        <a:dk1>
          <a:srgbClr val="000000"/>
        </a:dk1>
        <a:lt1>
          <a:srgbClr val="FFFFFF"/>
        </a:lt1>
        <a:dk2>
          <a:srgbClr val="66CC33"/>
        </a:dk2>
        <a:lt2>
          <a:srgbClr val="7B7373"/>
        </a:lt2>
        <a:accent1>
          <a:srgbClr val="66CC33"/>
        </a:accent1>
        <a:accent2>
          <a:srgbClr val="EBE6E6"/>
        </a:accent2>
        <a:accent3>
          <a:srgbClr val="FFFFFF"/>
        </a:accent3>
        <a:accent4>
          <a:srgbClr val="000000"/>
        </a:accent4>
        <a:accent5>
          <a:srgbClr val="B8E2AD"/>
        </a:accent5>
        <a:accent6>
          <a:srgbClr val="D5D0D0"/>
        </a:accent6>
        <a:hlink>
          <a:srgbClr val="7B7373"/>
        </a:hlink>
        <a:folHlink>
          <a:srgbClr val="F37B0D"/>
        </a:folHlink>
      </a:clrScheme>
      <a:clrMap bg1="lt1" tx1="dk1" bg2="lt2" tx2="dk2" accent1="accent1" accent2="accent2" accent3="accent3" accent4="accent4" accent5="accent5" accent6="accent6" hlink="hlink" folHlink="folHlink"/>
    </a:extraClrScheme>
    <a:extraClrScheme>
      <a:clrScheme name="Standardpräsentation_neu2 14">
        <a:dk1>
          <a:srgbClr val="000000"/>
        </a:dk1>
        <a:lt1>
          <a:srgbClr val="FFFFFF"/>
        </a:lt1>
        <a:dk2>
          <a:srgbClr val="66CC33"/>
        </a:dk2>
        <a:lt2>
          <a:srgbClr val="7B7373"/>
        </a:lt2>
        <a:accent1>
          <a:srgbClr val="66CC33"/>
        </a:accent1>
        <a:accent2>
          <a:srgbClr val="EBE6E6"/>
        </a:accent2>
        <a:accent3>
          <a:srgbClr val="FFFFFF"/>
        </a:accent3>
        <a:accent4>
          <a:srgbClr val="000000"/>
        </a:accent4>
        <a:accent5>
          <a:srgbClr val="B8E2AD"/>
        </a:accent5>
        <a:accent6>
          <a:srgbClr val="D5D0D0"/>
        </a:accent6>
        <a:hlink>
          <a:srgbClr val="7B7373"/>
        </a:hlink>
        <a:folHlink>
          <a:srgbClr val="CCDCFF"/>
        </a:folHlink>
      </a:clrScheme>
      <a:clrMap bg1="lt1" tx1="dk1" bg2="lt2" tx2="dk2" accent1="accent1" accent2="accent2" accent3="accent3" accent4="accent4" accent5="accent5" accent6="accent6" hlink="hlink" folHlink="folHlink"/>
    </a:extraClrScheme>
    <a:extraClrScheme>
      <a:clrScheme name="Standardpräsentation_neu2 15">
        <a:dk1>
          <a:srgbClr val="000000"/>
        </a:dk1>
        <a:lt1>
          <a:srgbClr val="FFFFFF"/>
        </a:lt1>
        <a:dk2>
          <a:srgbClr val="66CC33"/>
        </a:dk2>
        <a:lt2>
          <a:srgbClr val="7B7373"/>
        </a:lt2>
        <a:accent1>
          <a:srgbClr val="EBE6E6"/>
        </a:accent1>
        <a:accent2>
          <a:srgbClr val="66CC33"/>
        </a:accent2>
        <a:accent3>
          <a:srgbClr val="FFFFFF"/>
        </a:accent3>
        <a:accent4>
          <a:srgbClr val="000000"/>
        </a:accent4>
        <a:accent5>
          <a:srgbClr val="F3F0F0"/>
        </a:accent5>
        <a:accent6>
          <a:srgbClr val="5CB92D"/>
        </a:accent6>
        <a:hlink>
          <a:srgbClr val="7B7373"/>
        </a:hlink>
        <a:folHlink>
          <a:srgbClr val="CCDCFF"/>
        </a:folHlink>
      </a:clrScheme>
      <a:clrMap bg1="lt1" tx1="dk1" bg2="lt2" tx2="dk2" accent1="accent1" accent2="accent2" accent3="accent3" accent4="accent4" accent5="accent5" accent6="accent6" hlink="hlink" folHlink="folHlink"/>
    </a:extraClrScheme>
    <a:extraClrScheme>
      <a:clrScheme name="Standardpräsentation_neu2 16">
        <a:dk1>
          <a:srgbClr val="000000"/>
        </a:dk1>
        <a:lt1>
          <a:srgbClr val="FFFFFF"/>
        </a:lt1>
        <a:dk2>
          <a:srgbClr val="66CC33"/>
        </a:dk2>
        <a:lt2>
          <a:srgbClr val="7B7373"/>
        </a:lt2>
        <a:accent1>
          <a:srgbClr val="EBE6E6"/>
        </a:accent1>
        <a:accent2>
          <a:srgbClr val="A3E085"/>
        </a:accent2>
        <a:accent3>
          <a:srgbClr val="FFFFFF"/>
        </a:accent3>
        <a:accent4>
          <a:srgbClr val="000000"/>
        </a:accent4>
        <a:accent5>
          <a:srgbClr val="F3F0F0"/>
        </a:accent5>
        <a:accent6>
          <a:srgbClr val="93CB78"/>
        </a:accent6>
        <a:hlink>
          <a:srgbClr val="C8BBBB"/>
        </a:hlink>
        <a:folHlink>
          <a:srgbClr val="CCDCFF"/>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0a8a23e-255e-4b78-950b-9496fe63517d" xsi:nil="true"/>
    <lcf76f155ced4ddcb4097134ff3c332f xmlns="dd18e9c4-b958-4bca-9283-eb4783d04f1a">
      <Terms xmlns="http://schemas.microsoft.com/office/infopath/2007/PartnerControls"/>
    </lcf76f155ced4ddcb4097134ff3c332f>
    <SharedWithUsers xmlns="9b096da1-55ae-40f0-828e-d96caf0055d1">
      <UserInfo>
        <DisplayName>Marco Gysel</DisplayName>
        <AccountId>34</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437FCC4D680A84388BB6BDCCCD3F8C2" ma:contentTypeVersion="15" ma:contentTypeDescription="Create a new document." ma:contentTypeScope="" ma:versionID="5292927c6db3867810f05b610f106470">
  <xsd:schema xmlns:xsd="http://www.w3.org/2001/XMLSchema" xmlns:xs="http://www.w3.org/2001/XMLSchema" xmlns:p="http://schemas.microsoft.com/office/2006/metadata/properties" xmlns:ns2="9b096da1-55ae-40f0-828e-d96caf0055d1" xmlns:ns3="dd18e9c4-b958-4bca-9283-eb4783d04f1a" xmlns:ns4="e0a8a23e-255e-4b78-950b-9496fe63517d" targetNamespace="http://schemas.microsoft.com/office/2006/metadata/properties" ma:root="true" ma:fieldsID="6df71acb3b4b6257276db196181bf2c5" ns2:_="" ns3:_="" ns4:_="">
    <xsd:import namespace="9b096da1-55ae-40f0-828e-d96caf0055d1"/>
    <xsd:import namespace="dd18e9c4-b958-4bca-9283-eb4783d04f1a"/>
    <xsd:import namespace="e0a8a23e-255e-4b78-950b-9496fe63517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4:TaxCatchAll" minOccurs="0"/>
                <xsd:element ref="ns3:MediaServiceOCR" minOccurs="0"/>
                <xsd:element ref="ns3:MediaServiceGenerationTime" minOccurs="0"/>
                <xsd:element ref="ns3:MediaServiceEventHashCode" minOccurs="0"/>
                <xsd:element ref="ns3:lcf76f155ced4ddcb4097134ff3c332f"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096da1-55ae-40f0-828e-d96caf0055d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18e9c4-b958-4bca-9283-eb4783d04f1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4b8de631-2c85-4ba1-af09-54e0ec8ee11a"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a8a23e-255e-4b78-950b-9496fe63517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7305c04-f3cd-424c-a986-64eeb62f5627}" ma:internalName="TaxCatchAll" ma:showField="CatchAllData" ma:web="e0a8a23e-255e-4b78-950b-9496fe63517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7577B2-1345-4359-8783-067E84C42306}">
  <ds:schemaRefs>
    <ds:schemaRef ds:uri="http://purl.org/dc/elements/1.1/"/>
    <ds:schemaRef ds:uri="http://schemas.microsoft.com/office/2006/metadata/properties"/>
    <ds:schemaRef ds:uri="http://schemas.microsoft.com/office/2006/documentManagement/types"/>
    <ds:schemaRef ds:uri="9b096da1-55ae-40f0-828e-d96caf0055d1"/>
    <ds:schemaRef ds:uri="http://purl.org/dc/terms/"/>
    <ds:schemaRef ds:uri="http://schemas.openxmlformats.org/package/2006/metadata/core-properties"/>
    <ds:schemaRef ds:uri="http://purl.org/dc/dcmitype/"/>
    <ds:schemaRef ds:uri="http://schemas.microsoft.com/office/infopath/2007/PartnerControls"/>
    <ds:schemaRef ds:uri="e0a8a23e-255e-4b78-950b-9496fe63517d"/>
    <ds:schemaRef ds:uri="dd18e9c4-b958-4bca-9283-eb4783d04f1a"/>
    <ds:schemaRef ds:uri="http://www.w3.org/XML/1998/namespace"/>
  </ds:schemaRefs>
</ds:datastoreItem>
</file>

<file path=customXml/itemProps2.xml><?xml version="1.0" encoding="utf-8"?>
<ds:datastoreItem xmlns:ds="http://schemas.openxmlformats.org/officeDocument/2006/customXml" ds:itemID="{CF3A08AC-BDD7-4006-922E-92B0F542BA8A}">
  <ds:schemaRefs>
    <ds:schemaRef ds:uri="9b096da1-55ae-40f0-828e-d96caf0055d1"/>
    <ds:schemaRef ds:uri="dd18e9c4-b958-4bca-9283-eb4783d04f1a"/>
    <ds:schemaRef ds:uri="e0a8a23e-255e-4b78-950b-9496fe63517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08BB5E3-C955-4245-AB26-E5E40A3BCB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974</Words>
  <Application>Microsoft Office PowerPoint</Application>
  <PresentationFormat>Widescreen</PresentationFormat>
  <Paragraphs>2079</Paragraphs>
  <Slides>128</Slides>
  <Notes>45</Notes>
  <HiddenSlides>19</HiddenSlides>
  <MMClips>0</MMClips>
  <ScaleCrop>false</ScaleCrop>
  <HeadingPairs>
    <vt:vector size="6" baseType="variant">
      <vt:variant>
        <vt:lpstr>Fonts Used</vt:lpstr>
      </vt:variant>
      <vt:variant>
        <vt:i4>14</vt:i4>
      </vt:variant>
      <vt:variant>
        <vt:lpstr>Theme</vt:lpstr>
      </vt:variant>
      <vt:variant>
        <vt:i4>21</vt:i4>
      </vt:variant>
      <vt:variant>
        <vt:lpstr>Slide Titles</vt:lpstr>
      </vt:variant>
      <vt:variant>
        <vt:i4>128</vt:i4>
      </vt:variant>
    </vt:vector>
  </HeadingPairs>
  <TitlesOfParts>
    <vt:vector size="163" baseType="lpstr">
      <vt:lpstr>Arial Narrow (Headings)</vt:lpstr>
      <vt:lpstr>Arian narrow</vt:lpstr>
      <vt:lpstr>Dotum</vt:lpstr>
      <vt:lpstr>GeneralGrotesque-Regular</vt:lpstr>
      <vt:lpstr>Arial</vt:lpstr>
      <vt:lpstr>Arial Black</vt:lpstr>
      <vt:lpstr>Arial Narrow</vt:lpstr>
      <vt:lpstr>Calibri</vt:lpstr>
      <vt:lpstr>Roboto</vt:lpstr>
      <vt:lpstr>Segoe UI</vt:lpstr>
      <vt:lpstr>Segoe UI Semibold</vt:lpstr>
      <vt:lpstr>Symbol</vt:lpstr>
      <vt:lpstr>Times New Roman</vt:lpstr>
      <vt:lpstr>Wingdings</vt:lpstr>
      <vt:lpstr>Sensirion PowerPoint Template</vt:lpstr>
      <vt:lpstr>Sensirion Präsentations Vorlagen </vt:lpstr>
      <vt:lpstr>1_Sensirion Präsentations Vorlagen </vt:lpstr>
      <vt:lpstr>1_Sensirion PowerPoint Template</vt:lpstr>
      <vt:lpstr>2_Sensirion Präsentations Vorlagen </vt:lpstr>
      <vt:lpstr>3_Sensirion PowerPoint Template</vt:lpstr>
      <vt:lpstr>3_Sensirion Präsentations Vorlagen </vt:lpstr>
      <vt:lpstr>4_Sensirion PowerPoint Template</vt:lpstr>
      <vt:lpstr>Standardpraesentation2011_mitVorlagen</vt:lpstr>
      <vt:lpstr>Sensirion Company Presentation 2016_Sept_templ_D2</vt:lpstr>
      <vt:lpstr>Sensirion PowerPoint Template</vt:lpstr>
      <vt:lpstr>Sensirion EN Template</vt:lpstr>
      <vt:lpstr>Sensirion Präsentations Vorlagen </vt:lpstr>
      <vt:lpstr>Sensirion PowerPoint Template</vt:lpstr>
      <vt:lpstr>Sensirion Präsentations Vorlagen </vt:lpstr>
      <vt:lpstr>Sensirion PowerPoint Template</vt:lpstr>
      <vt:lpstr>Sensirion PowerPoint Template</vt:lpstr>
      <vt:lpstr>Sensirion PowerPoint Template</vt:lpstr>
      <vt:lpstr>Sensirion PowerPoint Template</vt:lpstr>
      <vt:lpstr>1_Sensirion Company Presentation 2016_Sept_templ_D2</vt:lpstr>
      <vt:lpstr>2_Sensirion PowerPoint Template</vt:lpstr>
      <vt:lpstr>Arrow ACT  - Sensirion - 2023 </vt:lpstr>
      <vt:lpstr>PowerPoint Presentation</vt:lpstr>
      <vt:lpstr>Facts &amp; figures</vt:lpstr>
      <vt:lpstr>Global footprint</vt:lpstr>
      <vt:lpstr>Our Growth Drivers: Megatrends</vt:lpstr>
      <vt:lpstr>Wide range of solutions across diverse end markets</vt:lpstr>
      <vt:lpstr>PowerPoint Presentation</vt:lpstr>
      <vt:lpstr>PowerPoint Presentation</vt:lpstr>
      <vt:lpstr>Our Key Customers are catalyst to our innovation</vt:lpstr>
      <vt:lpstr>NPI Status and more than 15% revenue YoY into R&amp;D projects</vt:lpstr>
      <vt:lpstr>Product Updates</vt:lpstr>
      <vt:lpstr>Sensirion Product Lines</vt:lpstr>
      <vt:lpstr>Sensirion advantage: expertise across entire value chain</vt:lpstr>
      <vt:lpstr>Sensirion has vast technology capabilities and expertise</vt:lpstr>
      <vt:lpstr>Sensirion has vast technology capabilities and expertise</vt:lpstr>
      <vt:lpstr>Indoor Air Quality</vt:lpstr>
      <vt:lpstr>Three reasons why we should care about Indoor Air Quality </vt:lpstr>
      <vt:lpstr>Indoor Air Quality Trend is a great business opportunity</vt:lpstr>
      <vt:lpstr>PowerPoint Presentation</vt:lpstr>
      <vt:lpstr>What are the key parameters to evaluate air quality?</vt:lpstr>
      <vt:lpstr>Which applications should we focus on?</vt:lpstr>
      <vt:lpstr>Sensirion: reliable one-stop-shop  for Indoor Air Quality sensors </vt:lpstr>
      <vt:lpstr>Leverage SHTxx reputation to upsell air quality sensors</vt:lpstr>
      <vt:lpstr>All you need to know about Indoor Air Quality in a single presentation</vt:lpstr>
      <vt:lpstr>Six take home messages to remember </vt:lpstr>
      <vt:lpstr>Four trends that shape Indoor Air Quality in 2022 and beyond</vt:lpstr>
      <vt:lpstr>Six business opportunities for measuring Indoor Air Quality</vt:lpstr>
      <vt:lpstr>Combo Module Sensor</vt:lpstr>
      <vt:lpstr>SEN5x – Sensirion’s Next Generation Air Quality Combo Module</vt:lpstr>
      <vt:lpstr>How to measure PM, VOC, NOx, RH, and T if not with the SEN5x Node? </vt:lpstr>
      <vt:lpstr>Particulate matter - USPs and specs</vt:lpstr>
      <vt:lpstr>Product Variants – SEN5x Product Family</vt:lpstr>
      <vt:lpstr>Key SEN5x Combo Sensor Features</vt:lpstr>
      <vt:lpstr>Integrated Algorithms – RH/T, PM, and VOC/NOx Sensors</vt:lpstr>
      <vt:lpstr>Accelerate the design-in process</vt:lpstr>
      <vt:lpstr>Competition and market dynamics</vt:lpstr>
      <vt:lpstr>SENxx – PM2.5 Sensors and Environmental Nodes</vt:lpstr>
      <vt:lpstr>PowerPoint Presentation</vt:lpstr>
      <vt:lpstr>PowerPoint Presentation</vt:lpstr>
      <vt:lpstr>PowerPoint Presentation</vt:lpstr>
      <vt:lpstr>SGP4x – VOC and NOx Multipixel Gas Sensors</vt:lpstr>
      <vt:lpstr>SFA30 – Formaldehyde Sensor </vt:lpstr>
      <vt:lpstr>Possible IAQ Applications</vt:lpstr>
      <vt:lpstr>Summary</vt:lpstr>
      <vt:lpstr>Demonstrations – Seeing is Believing</vt:lpstr>
      <vt:lpstr>IAQ Application Overview: Clean Air in Buildings Challenge </vt:lpstr>
      <vt:lpstr>         Indoor Air Quality Monitoring</vt:lpstr>
      <vt:lpstr>      HVAC Systems (Heating, Ventilation, and Air Conditioning) </vt:lpstr>
      <vt:lpstr>        Air Purification </vt:lpstr>
      <vt:lpstr>Carbon Dioxide Sensors</vt:lpstr>
      <vt:lpstr>Why Measure CO2 Concentration?</vt:lpstr>
      <vt:lpstr>Viral Infections: Source and Impact of CO2</vt:lpstr>
      <vt:lpstr>Measuring CO2 Levels to Reflect Medical Risks</vt:lpstr>
      <vt:lpstr>Sensirion CO2 Sensor Portfoli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CD4x Product Family Upgrade</vt:lpstr>
      <vt:lpstr>Sensirion SCD30 and SCD4x Roadmap</vt:lpstr>
      <vt:lpstr>SCD4x CO2 Accuracy Specifications</vt:lpstr>
      <vt:lpstr>PowerPoint Presentation</vt:lpstr>
      <vt:lpstr>New SCD4x CO2 Accuracy Specifications</vt:lpstr>
      <vt:lpstr>Existing SCD40 Customer Points</vt:lpstr>
      <vt:lpstr>Existing SCD41 Customer Points</vt:lpstr>
      <vt:lpstr>SCD42 Customer Points</vt:lpstr>
      <vt:lpstr>Distribution Points</vt:lpstr>
      <vt:lpstr>SCD4x CO2 Sensor Strategy</vt:lpstr>
      <vt:lpstr>Why SCD40?</vt:lpstr>
      <vt:lpstr>PowerPoint Presentation</vt:lpstr>
      <vt:lpstr>SCDxx – Optical Carbon Dioxide Sensors </vt:lpstr>
      <vt:lpstr>Demonstrations – Seeing is Believing</vt:lpstr>
      <vt:lpstr>PowerPoint Presentation</vt:lpstr>
      <vt:lpstr>PowerPoint Presentation</vt:lpstr>
      <vt:lpstr>PowerPoint Presentation</vt:lpstr>
      <vt:lpstr>Humidity and Temperature Sensors</vt:lpstr>
      <vt:lpstr>4th-Generation RH/T Sensor Product Portfolio</vt:lpstr>
      <vt:lpstr>SHT4x / STS4x – Key Selling Points</vt:lpstr>
      <vt:lpstr>PowerPoint Presentation</vt:lpstr>
      <vt:lpstr>Cold Chain Certification</vt:lpstr>
      <vt:lpstr>Why Certification: Regulated End-to-End Monitoring</vt:lpstr>
      <vt:lpstr>Trusting is Hard… Knowing Who to Trust Even Harder</vt:lpstr>
      <vt:lpstr>Roadmap – SHT43</vt:lpstr>
      <vt:lpstr>Why Does Sensirion Win in IoT of Supply Chain ?  </vt:lpstr>
      <vt:lpstr>What‘s the Right SHT4xX for my Customer?            </vt:lpstr>
      <vt:lpstr>Migrate Customers to SHT4x Family</vt:lpstr>
      <vt:lpstr>SHT4x – Market Leading Humidity &amp; Temperature Sensor</vt:lpstr>
      <vt:lpstr>Gas Flow Sensors</vt:lpstr>
      <vt:lpstr>Our Gas Flow Sensor Family (SFMxx / SDPxx / SFCxx)</vt:lpstr>
      <vt:lpstr>Sensirion’s Gas Flow Sensor - Applications</vt:lpstr>
      <vt:lpstr>Our Strengths in Ventilation</vt:lpstr>
      <vt:lpstr>Differential Pressure Sensor Applications </vt:lpstr>
      <vt:lpstr>Liquid Flow Products</vt:lpstr>
      <vt:lpstr>Sensirion’s Liquid Flow Sensor Overview</vt:lpstr>
      <vt:lpstr>Sensirion Liquid Flow Products – Typical Applications</vt:lpstr>
      <vt:lpstr>Liquid Flow Sensors</vt:lpstr>
      <vt:lpstr>Liquid Flow Applications</vt:lpstr>
      <vt:lpstr>Evaluation Kits</vt:lpstr>
      <vt:lpstr>SmartGadget – How to use in a customer meeting</vt:lpstr>
      <vt:lpstr>Sensor evaluation – Sensor Bridge (Hardware)</vt:lpstr>
      <vt:lpstr>Developer Experience - https://developer.sensirion.com/home/  </vt:lpstr>
      <vt:lpstr>Platform partners</vt:lpstr>
      <vt:lpstr>Ecosystem partners</vt:lpstr>
      <vt:lpstr>Standard platform support</vt:lpstr>
      <vt:lpstr>ST Micro Partnership</vt:lpstr>
      <vt:lpstr>Success Stories</vt:lpstr>
      <vt:lpstr>LI-COR Biosciences Inc:  Lincoln, Nebraska</vt:lpstr>
      <vt:lpstr>Verkada-San Mateo, CA</vt:lpstr>
      <vt:lpstr>NED Group – Newton Engineering : Arizona</vt:lpstr>
      <vt:lpstr>Customer Name : Winegard – Burlington Iowa</vt:lpstr>
      <vt:lpstr>Registrations/Support </vt:lpstr>
      <vt:lpstr>Our global sales network</vt:lpstr>
      <vt:lpstr>Sensirion Registration Program</vt:lpstr>
      <vt:lpstr>Key point of Contacts</vt:lpstr>
      <vt:lpstr>Sensirion US Rep Map</vt:lpstr>
      <vt:lpstr>Sensirion Partner Portal</vt:lpstr>
      <vt:lpstr>Take-home Messages</vt:lpstr>
      <vt:lpstr>Closing Note:  Sensirion Has the ….. </vt:lpstr>
      <vt:lpstr>PowerPoint Presentation</vt:lpstr>
      <vt:lpstr>PowerPoint Presentation</vt:lpstr>
      <vt:lpstr>Gas &amp; Liquid Flow NPIs</vt:lpstr>
      <vt:lpstr>Humidity &amp; Temp NPIs</vt:lpstr>
      <vt:lpstr>Combo Module NPIs</vt:lpstr>
      <vt:lpstr>Why Sensirion?</vt:lpstr>
    </vt:vector>
  </TitlesOfParts>
  <Company>Sensirio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komo Smith</dc:creator>
  <cp:keywords/>
  <cp:lastModifiedBy>Diane Haynes</cp:lastModifiedBy>
  <cp:revision>72</cp:revision>
  <dcterms:created xsi:type="dcterms:W3CDTF">2019-03-04T21:17:37Z</dcterms:created>
  <dcterms:modified xsi:type="dcterms:W3CDTF">2023-03-09T11:4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MCKnowledgeTag">
    <vt:lpwstr/>
  </property>
  <property fmtid="{D5CDD505-2E9C-101B-9397-08002B2CF9AE}" pid="4" name="ContentTypeId">
    <vt:lpwstr>0x010100E437FCC4D680A84388BB6BDCCCD3F8C2</vt:lpwstr>
  </property>
  <property fmtid="{D5CDD505-2E9C-101B-9397-08002B2CF9AE}" pid="5" name="MediaServiceImageTags">
    <vt:lpwstr/>
  </property>
</Properties>
</file>